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Default Extension="mp4" ContentType="video/unknown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7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9.xml" ContentType="application/vnd.openxmlformats-officedocument.theme+xml"/>
  <Override PartName="/ppt/slideLayouts/slideLayout43.xml" ContentType="application/vnd.openxmlformats-officedocument.presentationml.slideLayout+xml"/>
  <Override PartName="/ppt/theme/theme10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11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8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9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0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11.xml" ContentType="application/vnd.openxmlformats-officedocument.presentationml.notesSl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2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3" r:id="rId4"/>
    <p:sldMasterId id="2147483812" r:id="rId5"/>
    <p:sldMasterId id="2147483816" r:id="rId6"/>
    <p:sldMasterId id="2147483822" r:id="rId7"/>
    <p:sldMasterId id="2147483827" r:id="rId8"/>
    <p:sldMasterId id="2147483834" r:id="rId9"/>
    <p:sldMasterId id="2147483836" r:id="rId10"/>
    <p:sldMasterId id="2147483839" r:id="rId11"/>
    <p:sldMasterId id="2147483842" r:id="rId12"/>
    <p:sldMasterId id="2147483847" r:id="rId13"/>
    <p:sldMasterId id="2147483850" r:id="rId14"/>
    <p:sldMasterId id="2147483856" r:id="rId15"/>
  </p:sldMasterIdLst>
  <p:notesMasterIdLst>
    <p:notesMasterId r:id="rId40"/>
  </p:notesMasterIdLst>
  <p:handoutMasterIdLst>
    <p:handoutMasterId r:id="rId41"/>
  </p:handoutMasterIdLst>
  <p:sldIdLst>
    <p:sldId id="692" r:id="rId16"/>
    <p:sldId id="515" r:id="rId17"/>
    <p:sldId id="713" r:id="rId18"/>
    <p:sldId id="678" r:id="rId19"/>
    <p:sldId id="680" r:id="rId20"/>
    <p:sldId id="716" r:id="rId21"/>
    <p:sldId id="682" r:id="rId22"/>
    <p:sldId id="715" r:id="rId23"/>
    <p:sldId id="704" r:id="rId24"/>
    <p:sldId id="708" r:id="rId25"/>
    <p:sldId id="699" r:id="rId26"/>
    <p:sldId id="719" r:id="rId27"/>
    <p:sldId id="717" r:id="rId28"/>
    <p:sldId id="720" r:id="rId29"/>
    <p:sldId id="711" r:id="rId30"/>
    <p:sldId id="701" r:id="rId31"/>
    <p:sldId id="727" r:id="rId32"/>
    <p:sldId id="683" r:id="rId33"/>
    <p:sldId id="674" r:id="rId34"/>
    <p:sldId id="723" r:id="rId35"/>
    <p:sldId id="722" r:id="rId36"/>
    <p:sldId id="724" r:id="rId37"/>
    <p:sldId id="726" r:id="rId38"/>
    <p:sldId id="690" r:id="rId39"/>
  </p:sldIdLst>
  <p:sldSz cx="9144000" cy="5143500" type="screen16x9"/>
  <p:notesSz cx="6797675" cy="9874250"/>
  <p:custDataLst>
    <p:tags r:id="rId4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1" orient="horz" pos="752" userDrawn="1">
          <p15:clr>
            <a:srgbClr val="A4A3A4"/>
          </p15:clr>
        </p15:guide>
        <p15:guide id="15" orient="horz" pos="2962" userDrawn="1">
          <p15:clr>
            <a:srgbClr val="A4A3A4"/>
          </p15:clr>
        </p15:guide>
        <p15:guide id="21" pos="272" userDrawn="1">
          <p15:clr>
            <a:srgbClr val="A4A3A4"/>
          </p15:clr>
        </p15:guide>
        <p15:guide id="22" pos="5486" userDrawn="1">
          <p15:clr>
            <a:srgbClr val="A4A3A4"/>
          </p15:clr>
        </p15:guide>
        <p15:guide id="23" orient="horz" pos="274" userDrawn="1">
          <p15:clr>
            <a:srgbClr val="A4A3A4"/>
          </p15:clr>
        </p15:guide>
        <p15:guide id="24" orient="horz" pos="9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A291C"/>
    <a:srgbClr val="666666"/>
    <a:srgbClr val="FACDC8"/>
    <a:srgbClr val="6295AC"/>
    <a:srgbClr val="055283"/>
    <a:srgbClr val="DD4937"/>
    <a:srgbClr val="F37D6E"/>
    <a:srgbClr val="90A9CD"/>
    <a:srgbClr val="A8C4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404" autoAdjust="0"/>
    <p:restoredTop sz="95186" autoAdjust="0"/>
  </p:normalViewPr>
  <p:slideViewPr>
    <p:cSldViewPr snapToGrid="0" snapToObjects="1">
      <p:cViewPr varScale="1">
        <p:scale>
          <a:sx n="98" d="100"/>
          <a:sy n="98" d="100"/>
        </p:scale>
        <p:origin x="-582" y="-102"/>
      </p:cViewPr>
      <p:guideLst>
        <p:guide orient="horz" pos="752"/>
        <p:guide orient="horz" pos="2962"/>
        <p:guide orient="horz" pos="274"/>
        <p:guide orient="horz" pos="917"/>
        <p:guide pos="272"/>
        <p:guide pos="548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 showGuides="1">
      <p:cViewPr varScale="1">
        <p:scale>
          <a:sx n="170" d="100"/>
          <a:sy n="170" d="100"/>
        </p:scale>
        <p:origin x="6584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tags" Target="tags/tag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tableStyles" Target="tableStyles.xml"/><Relationship Id="rId20" Type="http://schemas.openxmlformats.org/officeDocument/2006/relationships/slide" Target="slides/slide5.xml"/><Relationship Id="rId41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5F68C1-94C5-D54A-96E9-C1429FDF5B8B}" type="datetimeFigureOut">
              <a:rPr lang="en-GB" smtClean="0"/>
              <a:t>05/09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237419-D722-2343-8BDB-E438D5E5B8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5400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3450E7-8A7E-5644-BBF8-5ECAA86576C7}" type="datetimeFigureOut">
              <a:rPr lang="de-AT"/>
              <a:t>05.09.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/>
              <a:t>Click to edit Master text styles</a:t>
            </a:r>
          </a:p>
          <a:p>
            <a:pPr lvl="1"/>
            <a:r>
              <a:rPr lang="de-AT"/>
              <a:t>Second level</a:t>
            </a:r>
          </a:p>
          <a:p>
            <a:pPr lvl="2"/>
            <a:r>
              <a:rPr lang="de-AT"/>
              <a:t>Third level</a:t>
            </a:r>
          </a:p>
          <a:p>
            <a:pPr lvl="3"/>
            <a:r>
              <a:rPr lang="de-AT"/>
              <a:t>Fourth level</a:t>
            </a:r>
          </a:p>
          <a:p>
            <a:pPr lvl="4"/>
            <a:r>
              <a:rPr lang="de-AT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E3F907-4EA1-8B4A-A123-2F634F0A3CEB}" type="slidenum">
              <a:r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546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82537F5-BE19-401A-B13D-11EB39FF4CDD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77937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E3F907-4EA1-8B4A-A123-2F634F0A3CEB}" type="slidenum">
              <a:rPr lang="de-AT" smtClean="0">
                <a:solidFill>
                  <a:prstClr val="black"/>
                </a:solidFill>
              </a:rPr>
              <a:pPr/>
              <a:t>17</a:t>
            </a:fld>
            <a:endParaRPr lang="de-A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5528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E3F907-4EA1-8B4A-A123-2F634F0A3CEB}" type="slidenum">
              <a:rPr lang="de-AT" smtClean="0">
                <a:solidFill>
                  <a:prstClr val="black"/>
                </a:solidFill>
              </a:rPr>
              <a:pPr/>
              <a:t>18</a:t>
            </a:fld>
            <a:endParaRPr lang="de-A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1455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E3F907-4EA1-8B4A-A123-2F634F0A3CEB}" type="slidenum">
              <a:rPr lang="de-AT" smtClean="0">
                <a:solidFill>
                  <a:prstClr val="black"/>
                </a:solidFill>
              </a:rPr>
              <a:pPr/>
              <a:t>19</a:t>
            </a:fld>
            <a:endParaRPr lang="de-A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5344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E3F907-4EA1-8B4A-A123-2F634F0A3CEB}" type="slidenum">
              <a:rPr lang="de-AT" smtClean="0">
                <a:solidFill>
                  <a:prstClr val="black"/>
                </a:solidFill>
              </a:rPr>
              <a:pPr/>
              <a:t>24</a:t>
            </a:fld>
            <a:endParaRPr lang="de-A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758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82537F5-BE19-401A-B13D-11EB39FF4CDD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3815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82537F5-BE19-401A-B13D-11EB39FF4CDD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5702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82537F5-BE19-401A-B13D-11EB39FF4CDD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5730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E3F907-4EA1-8B4A-A123-2F634F0A3CEB}" type="slidenum">
              <a:rPr lang="de-DE" smtClean="0">
                <a:solidFill>
                  <a:prstClr val="black"/>
                </a:solidFill>
              </a:rPr>
              <a:pPr/>
              <a:t>7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2490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E3F907-4EA1-8B4A-A123-2F634F0A3CEB}" type="slidenum">
              <a:rPr lang="de-AT" smtClean="0">
                <a:solidFill>
                  <a:prstClr val="black"/>
                </a:solidFill>
              </a:rPr>
              <a:pPr/>
              <a:t>9</a:t>
            </a:fld>
            <a:endParaRPr lang="de-A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8713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E3F907-4EA1-8B4A-A123-2F634F0A3CEB}" type="slidenum">
              <a:rPr lang="de-DE" smtClean="0">
                <a:solidFill>
                  <a:prstClr val="black"/>
                </a:solidFill>
              </a:rPr>
              <a:pPr/>
              <a:t>11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6509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E3F907-4EA1-8B4A-A123-2F634F0A3CEB}" type="slidenum">
              <a:rPr lang="de-DE" smtClean="0">
                <a:solidFill>
                  <a:prstClr val="black"/>
                </a:solidFill>
              </a:rPr>
              <a:pPr/>
              <a:t>15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44783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E3F907-4EA1-8B4A-A123-2F634F0A3CEB}" type="slidenum">
              <a:rPr lang="de-AT" smtClean="0">
                <a:solidFill>
                  <a:prstClr val="black"/>
                </a:solidFill>
              </a:rPr>
              <a:pPr/>
              <a:t>16</a:t>
            </a:fld>
            <a:endParaRPr lang="de-A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6932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.xml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.xml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396031"/>
            <a:ext cx="8283049" cy="3092206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AT" noProof="0" dirty="0"/>
              <a:t>Text hinzufüg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023176" y="4778188"/>
            <a:ext cx="7318106" cy="2056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600">
                <a:cs typeface="Verdana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sz="600" noProof="0" dirty="0">
                <a:solidFill>
                  <a:schemeClr val="accent4"/>
                </a:solidFill>
                <a:latin typeface="+mn-lt"/>
                <a:cs typeface="Verdana"/>
              </a:rPr>
              <a:t>Land | Vorname Nachname | Präsentatio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287156"/>
            <a:ext cx="8283049" cy="153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1"/>
              </a:buClr>
              <a:buFont typeface="Arial" charset="0"/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AT" noProof="0" dirty="0"/>
              <a:t>Titel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440837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noProof="0" dirty="0">
                <a:solidFill>
                  <a:schemeClr val="accent1"/>
                </a:solidFill>
              </a:rPr>
              <a:t>Kernaussage der Folie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24162229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2">
          <p15:clr>
            <a:srgbClr val="FBAE40"/>
          </p15:clr>
        </p15:guide>
        <p15:guide id="2" orient="horz" pos="91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ndsc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297872" y="1949499"/>
            <a:ext cx="8416978" cy="1053033"/>
          </a:xfrm>
          <a:prstGeom prst="rect">
            <a:avLst/>
          </a:prstGeom>
        </p:spPr>
        <p:txBody>
          <a:bodyPr lIns="90000"/>
          <a:lstStyle>
            <a:lvl1pPr marL="3600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sz="3000" b="1" baseline="0">
                <a:solidFill>
                  <a:schemeClr val="accent2"/>
                </a:solidFill>
              </a:defRPr>
            </a:lvl1pPr>
          </a:lstStyle>
          <a:p>
            <a:r>
              <a:rPr lang="de-AT" noProof="0" dirty="0"/>
              <a:t>A1 Muster Folien</a:t>
            </a:r>
            <a:br>
              <a:rPr lang="de-AT" noProof="0" dirty="0"/>
            </a:br>
            <a:r>
              <a:rPr lang="de-AT" noProof="0" dirty="0"/>
              <a:t>Titelblatt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97408" y="3002532"/>
            <a:ext cx="8417441" cy="153681"/>
          </a:xfrm>
          <a:prstGeom prst="rect">
            <a:avLst/>
          </a:prstGeom>
        </p:spPr>
        <p:txBody>
          <a:bodyPr tIns="0" bIns="0"/>
          <a:lstStyle>
            <a:lvl1pPr marL="36000" indent="0">
              <a:buClr>
                <a:schemeClr val="accent1"/>
              </a:buClr>
              <a:buFont typeface="Arial" charset="0"/>
              <a:buNone/>
              <a:defRPr sz="800" baseline="0">
                <a:solidFill>
                  <a:schemeClr val="accent2"/>
                </a:solidFill>
              </a:defRPr>
            </a:lvl1pPr>
          </a:lstStyle>
          <a:p>
            <a:r>
              <a:rPr lang="de-AT" noProof="0" dirty="0"/>
              <a:t>TT Monat JJJJ, Vorname und Nachname</a:t>
            </a:r>
          </a:p>
        </p:txBody>
      </p:sp>
    </p:spTree>
    <p:extLst>
      <p:ext uri="{BB962C8B-B14F-4D97-AF65-F5344CB8AC3E}">
        <p14:creationId xmlns:p14="http://schemas.microsoft.com/office/powerpoint/2010/main" val="11390156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oma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297872" y="1949499"/>
            <a:ext cx="8416978" cy="1053033"/>
          </a:xfrm>
          <a:prstGeom prst="rect">
            <a:avLst/>
          </a:prstGeom>
        </p:spPr>
        <p:txBody>
          <a:bodyPr lIns="90000"/>
          <a:lstStyle>
            <a:lvl1pPr marL="3600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sz="3000" b="1" baseline="0">
                <a:solidFill>
                  <a:schemeClr val="accent2"/>
                </a:solidFill>
              </a:defRPr>
            </a:lvl1pPr>
          </a:lstStyle>
          <a:p>
            <a:r>
              <a:rPr lang="de-AT" noProof="0" dirty="0"/>
              <a:t>A1 Muster Folie</a:t>
            </a:r>
            <a:br>
              <a:rPr lang="de-AT" noProof="0" dirty="0"/>
            </a:br>
            <a:r>
              <a:rPr lang="de-AT" noProof="0" dirty="0"/>
              <a:t>Titelblatt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97408" y="3002532"/>
            <a:ext cx="8417441" cy="153681"/>
          </a:xfrm>
          <a:prstGeom prst="rect">
            <a:avLst/>
          </a:prstGeom>
        </p:spPr>
        <p:txBody>
          <a:bodyPr tIns="0" bIns="0"/>
          <a:lstStyle>
            <a:lvl1pPr marL="36000" indent="0">
              <a:buClr>
                <a:schemeClr val="accent1"/>
              </a:buClr>
              <a:buFont typeface="Arial" charset="0"/>
              <a:buNone/>
              <a:defRPr sz="800" baseline="0">
                <a:solidFill>
                  <a:schemeClr val="accent2"/>
                </a:solidFill>
              </a:defRPr>
            </a:lvl1pPr>
          </a:lstStyle>
          <a:p>
            <a:r>
              <a:rPr lang="de-AT" noProof="0" dirty="0"/>
              <a:t>TT Monat JJJJ, Vorname und Nachname</a:t>
            </a:r>
          </a:p>
        </p:txBody>
      </p:sp>
    </p:spTree>
    <p:extLst>
      <p:ext uri="{BB962C8B-B14F-4D97-AF65-F5344CB8AC3E}">
        <p14:creationId xmlns:p14="http://schemas.microsoft.com/office/powerpoint/2010/main" val="40016246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a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297872" y="1949499"/>
            <a:ext cx="8416978" cy="1053033"/>
          </a:xfrm>
          <a:prstGeom prst="rect">
            <a:avLst/>
          </a:prstGeom>
        </p:spPr>
        <p:txBody>
          <a:bodyPr lIns="90000"/>
          <a:lstStyle>
            <a:lvl1pPr marL="3600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sz="3000" b="1" baseline="0">
                <a:solidFill>
                  <a:schemeClr val="bg2"/>
                </a:solidFill>
              </a:defRPr>
            </a:lvl1pPr>
          </a:lstStyle>
          <a:p>
            <a:r>
              <a:rPr lang="de-AT" noProof="0" dirty="0"/>
              <a:t>A1 Muster Folie</a:t>
            </a:r>
            <a:br>
              <a:rPr lang="de-AT" noProof="0" dirty="0"/>
            </a:br>
            <a:r>
              <a:rPr lang="de-AT" noProof="0" dirty="0"/>
              <a:t>Titelblatt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97408" y="3002532"/>
            <a:ext cx="8417441" cy="153681"/>
          </a:xfrm>
          <a:prstGeom prst="rect">
            <a:avLst/>
          </a:prstGeom>
        </p:spPr>
        <p:txBody>
          <a:bodyPr tIns="0" bIns="0"/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sz="800" baseline="0">
                <a:solidFill>
                  <a:schemeClr val="bg2"/>
                </a:solidFill>
              </a:defRPr>
            </a:lvl1pPr>
          </a:lstStyle>
          <a:p>
            <a:r>
              <a:rPr lang="de-AT" noProof="0" dirty="0"/>
              <a:t>TT Monat JJJJ, Vorname und Nachname</a:t>
            </a:r>
          </a:p>
        </p:txBody>
      </p:sp>
    </p:spTree>
    <p:extLst>
      <p:ext uri="{BB962C8B-B14F-4D97-AF65-F5344CB8AC3E}">
        <p14:creationId xmlns:p14="http://schemas.microsoft.com/office/powerpoint/2010/main" val="37192286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igit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297872" y="1949499"/>
            <a:ext cx="8416978" cy="1053033"/>
          </a:xfrm>
          <a:prstGeom prst="rect">
            <a:avLst/>
          </a:prstGeom>
        </p:spPr>
        <p:txBody>
          <a:bodyPr lIns="90000"/>
          <a:lstStyle>
            <a:lvl1pPr marL="3600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sz="3000" b="1" baseline="0">
                <a:solidFill>
                  <a:schemeClr val="bg2"/>
                </a:solidFill>
              </a:defRPr>
            </a:lvl1pPr>
          </a:lstStyle>
          <a:p>
            <a:r>
              <a:rPr lang="de-AT" noProof="0" dirty="0"/>
              <a:t>A1 Muster Folie </a:t>
            </a:r>
            <a:br>
              <a:rPr lang="de-AT" noProof="0" dirty="0"/>
            </a:br>
            <a:r>
              <a:rPr lang="de-AT" noProof="0" dirty="0"/>
              <a:t>Titelblat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97408" y="3002532"/>
            <a:ext cx="8417441" cy="153681"/>
          </a:xfrm>
          <a:prstGeom prst="rect">
            <a:avLst/>
          </a:prstGeom>
        </p:spPr>
        <p:txBody>
          <a:bodyPr tIns="0" bIns="0"/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sz="800" baseline="0">
                <a:solidFill>
                  <a:schemeClr val="bg2"/>
                </a:solidFill>
              </a:defRPr>
            </a:lvl1pPr>
          </a:lstStyle>
          <a:p>
            <a:r>
              <a:rPr lang="de-AT" noProof="0" dirty="0"/>
              <a:t>TT Monat JJJJ, Vorname und Nachname</a:t>
            </a:r>
          </a:p>
        </p:txBody>
      </p:sp>
    </p:spTree>
    <p:extLst>
      <p:ext uri="{BB962C8B-B14F-4D97-AF65-F5344CB8AC3E}">
        <p14:creationId xmlns:p14="http://schemas.microsoft.com/office/powerpoint/2010/main" val="32195652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297872" y="2144944"/>
            <a:ext cx="8416978" cy="1053033"/>
          </a:xfrm>
          <a:prstGeom prst="rect">
            <a:avLst/>
          </a:prstGeom>
        </p:spPr>
        <p:txBody>
          <a:bodyPr lIns="90000"/>
          <a:lstStyle>
            <a:lvl1pPr marL="3600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3000" b="1" baseline="0">
                <a:solidFill>
                  <a:schemeClr val="accent2"/>
                </a:solidFill>
              </a:defRPr>
            </a:lvl1pPr>
          </a:lstStyle>
          <a:p>
            <a:r>
              <a:rPr lang="de-AT" noProof="0" dirty="0"/>
              <a:t>Danke</a:t>
            </a:r>
          </a:p>
        </p:txBody>
      </p:sp>
    </p:spTree>
    <p:extLst>
      <p:ext uri="{BB962C8B-B14F-4D97-AF65-F5344CB8AC3E}">
        <p14:creationId xmlns:p14="http://schemas.microsoft.com/office/powerpoint/2010/main" val="4951410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ßzeile ohne Entwurf Hinw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54542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7101768" y="4723675"/>
            <a:ext cx="1697567" cy="295277"/>
          </a:xfrm>
          <a:prstGeom prst="rect">
            <a:avLst/>
          </a:prstGeom>
        </p:spPr>
        <p:txBody>
          <a:bodyPr vert="horz" lIns="91440" tIns="45720" rIns="91440" bIns="5400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EEB748-9ECA-0045-A0B7-CAB4A7055F7F}" type="slidenum">
              <a:rPr lang="en-US" sz="600" b="1" smtClean="0">
                <a:solidFill>
                  <a:schemeClr val="accent1"/>
                </a:solidFill>
                <a:latin typeface="Verdana"/>
                <a:cs typeface="Verdana"/>
              </a:rPr>
              <a:t>‹#›</a:t>
            </a:fld>
            <a:endParaRPr lang="en-US" sz="600" b="1" dirty="0">
              <a:solidFill>
                <a:schemeClr val="accent1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2127468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line + text + footer + without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8"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Bild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7101768" y="4723675"/>
            <a:ext cx="1697567" cy="295277"/>
          </a:xfrm>
          <a:prstGeom prst="rect">
            <a:avLst/>
          </a:prstGeom>
        </p:spPr>
        <p:txBody>
          <a:bodyPr vert="horz" lIns="91440" tIns="45720" rIns="91440" bIns="5400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EEB748-9ECA-0045-A0B7-CAB4A7055F7F}" type="slidenum">
              <a:rPr lang="en-US" sz="600" b="1" smtClean="0">
                <a:solidFill>
                  <a:schemeClr val="accent1"/>
                </a:solidFill>
                <a:latin typeface="Verdana"/>
                <a:cs typeface="Verdana"/>
              </a:rPr>
              <a:t>‹#›</a:t>
            </a:fld>
            <a:endParaRPr lang="en-US" sz="600" b="1" dirty="0">
              <a:solidFill>
                <a:schemeClr val="accent1"/>
              </a:solidFill>
              <a:latin typeface="Verdana"/>
              <a:cs typeface="Verdana"/>
            </a:endParaRP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297872" y="440837"/>
            <a:ext cx="8416978" cy="747302"/>
          </a:xfrm>
          <a:prstGeom prst="rect">
            <a:avLst/>
          </a:prstGeom>
        </p:spPr>
        <p:txBody>
          <a:bodyPr lIns="90000"/>
          <a:lstStyle>
            <a:lvl1pPr marL="3600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/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dirty="0">
                <a:solidFill>
                  <a:schemeClr val="accent1"/>
                </a:solidFill>
              </a:rPr>
              <a:t>Key </a:t>
            </a:r>
            <a:r>
              <a:rPr lang="de-AT" sz="2000" dirty="0" err="1">
                <a:solidFill>
                  <a:schemeClr val="accent1"/>
                </a:solidFill>
              </a:rPr>
              <a:t>message</a:t>
            </a:r>
            <a:r>
              <a:rPr lang="de-AT" sz="2000" dirty="0">
                <a:solidFill>
                  <a:schemeClr val="accent1"/>
                </a:solidFill>
              </a:rPr>
              <a:t> </a:t>
            </a:r>
            <a:r>
              <a:rPr lang="de-AT" sz="2000" dirty="0" err="1">
                <a:solidFill>
                  <a:schemeClr val="accent1"/>
                </a:solidFill>
              </a:rPr>
              <a:t>of</a:t>
            </a:r>
            <a:r>
              <a:rPr lang="de-AT" sz="2000" dirty="0">
                <a:solidFill>
                  <a:schemeClr val="accent1"/>
                </a:solidFill>
              </a:rPr>
              <a:t> </a:t>
            </a:r>
            <a:r>
              <a:rPr lang="de-AT" sz="2000" dirty="0" err="1">
                <a:solidFill>
                  <a:schemeClr val="accent1"/>
                </a:solidFill>
              </a:rPr>
              <a:t>the</a:t>
            </a:r>
            <a:r>
              <a:rPr lang="de-AT" sz="2000" dirty="0">
                <a:solidFill>
                  <a:schemeClr val="accent1"/>
                </a:solidFill>
              </a:rPr>
              <a:t> </a:t>
            </a:r>
            <a:r>
              <a:rPr lang="de-AT" sz="2000" dirty="0" err="1">
                <a:solidFill>
                  <a:schemeClr val="accent1"/>
                </a:solidFill>
              </a:rPr>
              <a:t>slide</a:t>
            </a:r>
            <a:r>
              <a:rPr lang="en-US" sz="2000" dirty="0">
                <a:solidFill>
                  <a:schemeClr val="accent1"/>
                </a:solidFill>
              </a:rPr>
              <a:t/>
            </a:r>
            <a:br>
              <a:rPr lang="en-US" sz="2000" dirty="0">
                <a:solidFill>
                  <a:schemeClr val="accent1"/>
                </a:solidFill>
              </a:rPr>
            </a:b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91574" y="1339315"/>
            <a:ext cx="8423275" cy="2962800"/>
          </a:xfrm>
          <a:prstGeom prst="rect">
            <a:avLst/>
          </a:prstGeom>
        </p:spPr>
        <p:txBody>
          <a:bodyPr lIns="108000" tIns="108000" rIns="144000" bIns="108000"/>
          <a:lstStyle>
            <a:lvl1pPr marL="360000" indent="-180000">
              <a:lnSpc>
                <a:spcPts val="1800"/>
              </a:lnSpc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36471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Bild 2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7101768" y="4723675"/>
            <a:ext cx="1697567" cy="295277"/>
          </a:xfrm>
          <a:prstGeom prst="rect">
            <a:avLst/>
          </a:prstGeom>
        </p:spPr>
        <p:txBody>
          <a:bodyPr vert="horz" lIns="91440" tIns="45720" rIns="91440" bIns="5400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EEB748-9ECA-0045-A0B7-CAB4A7055F7F}" type="slidenum">
              <a:rPr lang="en-US" sz="600" b="1" smtClean="0">
                <a:solidFill>
                  <a:schemeClr val="accent1"/>
                </a:solidFill>
                <a:latin typeface="Verdana"/>
                <a:cs typeface="Verdana"/>
              </a:rPr>
              <a:t>‹#›</a:t>
            </a:fld>
            <a:endParaRPr lang="en-US" sz="600" b="1" dirty="0">
              <a:solidFill>
                <a:schemeClr val="accent1"/>
              </a:solidFill>
              <a:latin typeface="Verdana"/>
              <a:cs typeface="Verdana"/>
            </a:endParaRP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297872" y="440837"/>
            <a:ext cx="8416978" cy="747302"/>
          </a:xfrm>
          <a:prstGeom prst="rect">
            <a:avLst/>
          </a:prstGeom>
        </p:spPr>
        <p:txBody>
          <a:bodyPr lIns="90000"/>
          <a:lstStyle>
            <a:lvl1pPr marL="3600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/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dirty="0">
                <a:solidFill>
                  <a:schemeClr val="accent1"/>
                </a:solidFill>
              </a:rPr>
              <a:t>Key </a:t>
            </a:r>
            <a:r>
              <a:rPr lang="de-AT" sz="2000" dirty="0" err="1">
                <a:solidFill>
                  <a:schemeClr val="accent1"/>
                </a:solidFill>
              </a:rPr>
              <a:t>message</a:t>
            </a:r>
            <a:r>
              <a:rPr lang="de-AT" sz="2000" dirty="0">
                <a:solidFill>
                  <a:schemeClr val="accent1"/>
                </a:solidFill>
              </a:rPr>
              <a:t> </a:t>
            </a:r>
            <a:r>
              <a:rPr lang="de-AT" sz="2000" dirty="0" err="1">
                <a:solidFill>
                  <a:schemeClr val="accent1"/>
                </a:solidFill>
              </a:rPr>
              <a:t>of</a:t>
            </a:r>
            <a:r>
              <a:rPr lang="de-AT" sz="2000" dirty="0">
                <a:solidFill>
                  <a:schemeClr val="accent1"/>
                </a:solidFill>
              </a:rPr>
              <a:t> </a:t>
            </a:r>
            <a:r>
              <a:rPr lang="de-AT" sz="2000" dirty="0" err="1">
                <a:solidFill>
                  <a:schemeClr val="accent1"/>
                </a:solidFill>
              </a:rPr>
              <a:t>the</a:t>
            </a:r>
            <a:r>
              <a:rPr lang="de-AT" sz="2000" dirty="0">
                <a:solidFill>
                  <a:schemeClr val="accent1"/>
                </a:solidFill>
              </a:rPr>
              <a:t> </a:t>
            </a:r>
            <a:r>
              <a:rPr lang="de-AT" sz="2000" dirty="0" err="1">
                <a:solidFill>
                  <a:schemeClr val="accent1"/>
                </a:solidFill>
              </a:rPr>
              <a:t>slide</a:t>
            </a:r>
            <a:r>
              <a:rPr lang="en-US" sz="2000" dirty="0">
                <a:solidFill>
                  <a:schemeClr val="accent1"/>
                </a:solidFill>
              </a:rPr>
              <a:t/>
            </a:r>
            <a:br>
              <a:rPr lang="en-US" sz="2000" dirty="0">
                <a:solidFill>
                  <a:schemeClr val="accent1"/>
                </a:solidFill>
              </a:rPr>
            </a:b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91574" y="1339315"/>
            <a:ext cx="8423275" cy="2962800"/>
          </a:xfrm>
          <a:prstGeom prst="rect">
            <a:avLst/>
          </a:prstGeom>
        </p:spPr>
        <p:txBody>
          <a:bodyPr lIns="108000" tIns="108000" rIns="144000" bIns="108000"/>
          <a:lstStyle>
            <a:lvl1pPr marL="360000" indent="-180000">
              <a:lnSpc>
                <a:spcPts val="1800"/>
              </a:lnSpc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12179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+ text + footer + without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05"/>
            <a:ext cx="9144000" cy="5143500"/>
          </a:xfrm>
          <a:prstGeom prst="rect">
            <a:avLst/>
          </a:prstGeom>
        </p:spPr>
      </p:pic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1" y="1248771"/>
            <a:ext cx="8283049" cy="3239467"/>
          </a:xfrm>
          <a:prstGeom prst="rect">
            <a:avLst/>
          </a:prstGeom>
        </p:spPr>
        <p:txBody>
          <a:bodyPr lIns="0" tIns="0" rIns="0" bIns="0"/>
          <a:lstStyle>
            <a:lvl1pPr marL="179996" indent="-179996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>
                <a:latin typeface="A1 Serif" pitchFamily="2" charset="-52"/>
              </a:defRPr>
            </a:lvl1pPr>
            <a:lvl2pPr marL="358766" indent="-174621">
              <a:buClr>
                <a:schemeClr val="accent1"/>
              </a:buClr>
              <a:buFont typeface="Wingdings" charset="2"/>
              <a:buChar char="§"/>
              <a:defRPr/>
            </a:lvl2pPr>
            <a:lvl3pPr marL="539737" indent="-177796">
              <a:buClr>
                <a:schemeClr val="accent1"/>
              </a:buClr>
              <a:buFont typeface="Wingdings" charset="2"/>
              <a:buChar char="§"/>
              <a:defRPr/>
            </a:lvl3pPr>
            <a:lvl4pPr marL="714357" indent="-182558">
              <a:buClr>
                <a:schemeClr val="accent1"/>
              </a:buClr>
              <a:buFont typeface="Wingdings" charset="2"/>
              <a:buChar char="§"/>
              <a:defRPr/>
            </a:lvl4pPr>
            <a:lvl5pPr marL="900091" indent="-177796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AT" noProof="0" dirty="0" smtClean="0"/>
              <a:t>Edit </a:t>
            </a:r>
            <a:r>
              <a:rPr lang="de-AT" noProof="0" dirty="0" err="1" smtClean="0"/>
              <a:t>text</a:t>
            </a:r>
            <a:endParaRPr lang="de-AT" noProof="0" dirty="0" smtClean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318006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2700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E60604"/>
                </a:solidFill>
                <a:latin typeface="A1 Serif" pitchFamily="2" charset="-52"/>
                <a:ea typeface="A1 Serif" pitchFamily="2" charset="-52"/>
                <a:cs typeface="A1 Serif" pitchFamily="2" charset="-52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2000" noProof="0" dirty="0" smtClean="0">
                <a:solidFill>
                  <a:schemeClr val="accent1"/>
                </a:solidFill>
              </a:rPr>
              <a:t>Key message of the slide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31368198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3094">
          <p15:clr>
            <a:srgbClr val="FBAE40"/>
          </p15:clr>
        </p15:guide>
        <p15:guide id="2" pos="27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-1 White - INTERNAL 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05874" y="512334"/>
            <a:ext cx="4166127" cy="23529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6000" baseline="0" dirty="0">
                <a:solidFill>
                  <a:schemeClr val="accent3"/>
                </a:solidFill>
                <a:latin typeface="Nokia Pure Headline Ultra Light" panose="020B0204040602060303" pitchFamily="34" charset="0"/>
              </a:defRPr>
            </a:lvl1pPr>
          </a:lstStyle>
          <a:p>
            <a:pPr marL="340761" lvl="0" indent="-34076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05874" y="3078938"/>
            <a:ext cx="3658901" cy="109565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  <a:latin typeface="+mj-lt"/>
                <a:ea typeface="Nokia Pure Text Light" panose="020B0403020202020204" pitchFamily="34" charset="0"/>
              </a:defRPr>
            </a:lvl1pPr>
            <a:lvl2pPr marL="228963" indent="0">
              <a:spcBef>
                <a:spcPts val="0"/>
              </a:spcBef>
              <a:spcAft>
                <a:spcPts val="596"/>
              </a:spcAft>
              <a:buNone/>
              <a:defRPr sz="1400">
                <a:solidFill>
                  <a:schemeClr val="accent3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59715" indent="0">
              <a:spcBef>
                <a:spcPts val="0"/>
              </a:spcBef>
              <a:spcAft>
                <a:spcPts val="596"/>
              </a:spcAft>
              <a:buNone/>
              <a:defRPr sz="1200">
                <a:solidFill>
                  <a:schemeClr val="accent3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88676" indent="0">
              <a:spcBef>
                <a:spcPts val="0"/>
              </a:spcBef>
              <a:spcAft>
                <a:spcPts val="596"/>
              </a:spcAft>
              <a:buNone/>
              <a:defRPr sz="1000">
                <a:solidFill>
                  <a:schemeClr val="accent3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17639" indent="0">
              <a:spcBef>
                <a:spcPts val="0"/>
              </a:spcBef>
              <a:spcAft>
                <a:spcPts val="596"/>
              </a:spcAft>
              <a:buFont typeface="Arial" panose="020B0604020202020204" pitchFamily="34" charset="0"/>
              <a:buNone/>
              <a:defRPr sz="900">
                <a:solidFill>
                  <a:schemeClr val="accent3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146602" indent="0">
              <a:spcBef>
                <a:spcPts val="0"/>
              </a:spcBef>
              <a:spcAft>
                <a:spcPts val="596"/>
              </a:spcAft>
              <a:buFont typeface="Nokia Pure Text" panose="020B0503020202020204" pitchFamily="34" charset="0"/>
              <a:buNone/>
              <a:defRPr sz="795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75565" indent="0">
              <a:spcBef>
                <a:spcPts val="0"/>
              </a:spcBef>
              <a:spcAft>
                <a:spcPts val="596"/>
              </a:spcAft>
              <a:buNone/>
              <a:defRPr sz="696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04528" indent="0">
              <a:spcBef>
                <a:spcPts val="0"/>
              </a:spcBef>
              <a:spcAft>
                <a:spcPts val="596"/>
              </a:spcAft>
              <a:buNone/>
              <a:defRPr sz="596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-title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xmlns="" id="{DC24C058-1012-475A-80D5-F8CF41525E5D}"/>
              </a:ext>
            </a:extLst>
          </p:cNvPr>
          <p:cNvSpPr>
            <a:spLocks noChangeAspect="1"/>
          </p:cNvSpPr>
          <p:nvPr userDrawn="1"/>
        </p:nvSpPr>
        <p:spPr>
          <a:xfrm>
            <a:off x="477960" y="4544763"/>
            <a:ext cx="1237824" cy="201315"/>
          </a:xfrm>
          <a:custGeom>
            <a:avLst/>
            <a:gdLst>
              <a:gd name="connsiteX0" fmla="*/ 6960911 w 7924447"/>
              <a:gd name="connsiteY0" fmla="*/ 321135 h 1288800"/>
              <a:gd name="connsiteX1" fmla="*/ 6719487 w 7924447"/>
              <a:gd name="connsiteY1" fmla="*/ 779851 h 1288800"/>
              <a:gd name="connsiteX2" fmla="*/ 7204868 w 7924447"/>
              <a:gd name="connsiteY2" fmla="*/ 779851 h 1288800"/>
              <a:gd name="connsiteX3" fmla="*/ 2388009 w 7924447"/>
              <a:gd name="connsiteY3" fmla="*/ 315532 h 1288800"/>
              <a:gd name="connsiteX4" fmla="*/ 2313866 w 7924447"/>
              <a:gd name="connsiteY4" fmla="*/ 389523 h 1288800"/>
              <a:gd name="connsiteX5" fmla="*/ 2313866 w 7924447"/>
              <a:gd name="connsiteY5" fmla="*/ 895278 h 1288800"/>
              <a:gd name="connsiteX6" fmla="*/ 2388009 w 7924447"/>
              <a:gd name="connsiteY6" fmla="*/ 969269 h 1288800"/>
              <a:gd name="connsiteX7" fmla="*/ 3186375 w 7924447"/>
              <a:gd name="connsiteY7" fmla="*/ 969269 h 1288800"/>
              <a:gd name="connsiteX8" fmla="*/ 3260517 w 7924447"/>
              <a:gd name="connsiteY8" fmla="*/ 895278 h 1288800"/>
              <a:gd name="connsiteX9" fmla="*/ 3260517 w 7924447"/>
              <a:gd name="connsiteY9" fmla="*/ 389523 h 1288800"/>
              <a:gd name="connsiteX10" fmla="*/ 3186375 w 7924447"/>
              <a:gd name="connsiteY10" fmla="*/ 315532 h 1288800"/>
              <a:gd name="connsiteX11" fmla="*/ 5545757 w 7924447"/>
              <a:gd name="connsiteY11" fmla="*/ 14419 h 1288800"/>
              <a:gd name="connsiteX12" fmla="*/ 5939564 w 7924447"/>
              <a:gd name="connsiteY12" fmla="*/ 14419 h 1288800"/>
              <a:gd name="connsiteX13" fmla="*/ 5939564 w 7924447"/>
              <a:gd name="connsiteY13" fmla="*/ 1273030 h 1288800"/>
              <a:gd name="connsiteX14" fmla="*/ 5545757 w 7924447"/>
              <a:gd name="connsiteY14" fmla="*/ 1273030 h 1288800"/>
              <a:gd name="connsiteX15" fmla="*/ 3781683 w 7924447"/>
              <a:gd name="connsiteY15" fmla="*/ 14419 h 1288800"/>
              <a:gd name="connsiteX16" fmla="*/ 4175490 w 7924447"/>
              <a:gd name="connsiteY16" fmla="*/ 14419 h 1288800"/>
              <a:gd name="connsiteX17" fmla="*/ 4175490 w 7924447"/>
              <a:gd name="connsiteY17" fmla="*/ 1273030 h 1288800"/>
              <a:gd name="connsiteX18" fmla="*/ 3781683 w 7924447"/>
              <a:gd name="connsiteY18" fmla="*/ 1273030 h 1288800"/>
              <a:gd name="connsiteX19" fmla="*/ 6726931 w 7924447"/>
              <a:gd name="connsiteY19" fmla="*/ 14418 h 1288800"/>
              <a:gd name="connsiteX20" fmla="*/ 7216062 w 7924447"/>
              <a:gd name="connsiteY20" fmla="*/ 14418 h 1288800"/>
              <a:gd name="connsiteX21" fmla="*/ 7924447 w 7924447"/>
              <a:gd name="connsiteY21" fmla="*/ 1273030 h 1288800"/>
              <a:gd name="connsiteX22" fmla="*/ 7467155 w 7924447"/>
              <a:gd name="connsiteY22" fmla="*/ 1273030 h 1288800"/>
              <a:gd name="connsiteX23" fmla="*/ 7349796 w 7924447"/>
              <a:gd name="connsiteY23" fmla="*/ 1052360 h 1288800"/>
              <a:gd name="connsiteX24" fmla="*/ 6576065 w 7924447"/>
              <a:gd name="connsiteY24" fmla="*/ 1052360 h 1288800"/>
              <a:gd name="connsiteX25" fmla="*/ 6459926 w 7924447"/>
              <a:gd name="connsiteY25" fmla="*/ 1273030 h 1288800"/>
              <a:gd name="connsiteX26" fmla="*/ 6011821 w 7924447"/>
              <a:gd name="connsiteY26" fmla="*/ 1273030 h 1288800"/>
              <a:gd name="connsiteX27" fmla="*/ 139469 w 7924447"/>
              <a:gd name="connsiteY27" fmla="*/ 14418 h 1288800"/>
              <a:gd name="connsiteX28" fmla="*/ 657720 w 7924447"/>
              <a:gd name="connsiteY28" fmla="*/ 14418 h 1288800"/>
              <a:gd name="connsiteX29" fmla="*/ 1414558 w 7924447"/>
              <a:gd name="connsiteY29" fmla="*/ 955333 h 1288800"/>
              <a:gd name="connsiteX30" fmla="*/ 1414558 w 7924447"/>
              <a:gd name="connsiteY30" fmla="*/ 14420 h 1288800"/>
              <a:gd name="connsiteX31" fmla="*/ 1793219 w 7924447"/>
              <a:gd name="connsiteY31" fmla="*/ 14420 h 1288800"/>
              <a:gd name="connsiteX32" fmla="*/ 1793219 w 7924447"/>
              <a:gd name="connsiteY32" fmla="*/ 1273030 h 1288800"/>
              <a:gd name="connsiteX33" fmla="*/ 1151296 w 7924447"/>
              <a:gd name="connsiteY33" fmla="*/ 1273030 h 1288800"/>
              <a:gd name="connsiteX34" fmla="*/ 378661 w 7924447"/>
              <a:gd name="connsiteY34" fmla="*/ 311950 h 1288800"/>
              <a:gd name="connsiteX35" fmla="*/ 378661 w 7924447"/>
              <a:gd name="connsiteY35" fmla="*/ 1273030 h 1288800"/>
              <a:gd name="connsiteX36" fmla="*/ 0 w 7924447"/>
              <a:gd name="connsiteY36" fmla="*/ 1273030 h 1288800"/>
              <a:gd name="connsiteX37" fmla="*/ 0 w 7924447"/>
              <a:gd name="connsiteY37" fmla="*/ 14420 h 1288800"/>
              <a:gd name="connsiteX38" fmla="*/ 139470 w 7924447"/>
              <a:gd name="connsiteY38" fmla="*/ 14420 h 1288800"/>
              <a:gd name="connsiteX39" fmla="*/ 4850522 w 7924447"/>
              <a:gd name="connsiteY39" fmla="*/ 14418 h 1288800"/>
              <a:gd name="connsiteX40" fmla="*/ 5385591 w 7924447"/>
              <a:gd name="connsiteY40" fmla="*/ 14418 h 1288800"/>
              <a:gd name="connsiteX41" fmla="*/ 4668730 w 7924447"/>
              <a:gd name="connsiteY41" fmla="*/ 603446 h 1288800"/>
              <a:gd name="connsiteX42" fmla="*/ 5474313 w 7924447"/>
              <a:gd name="connsiteY42" fmla="*/ 1273029 h 1288800"/>
              <a:gd name="connsiteX43" fmla="*/ 4911442 w 7924447"/>
              <a:gd name="connsiteY43" fmla="*/ 1273029 h 1288800"/>
              <a:gd name="connsiteX44" fmla="*/ 4178297 w 7924447"/>
              <a:gd name="connsiteY44" fmla="*/ 616444 h 1288800"/>
              <a:gd name="connsiteX45" fmla="*/ 2308976 w 7924447"/>
              <a:gd name="connsiteY45" fmla="*/ 0 h 1288800"/>
              <a:gd name="connsiteX46" fmla="*/ 3257392 w 7924447"/>
              <a:gd name="connsiteY46" fmla="*/ 0 h 1288800"/>
              <a:gd name="connsiteX47" fmla="*/ 3620245 w 7924447"/>
              <a:gd name="connsiteY47" fmla="*/ 334112 h 1288800"/>
              <a:gd name="connsiteX48" fmla="*/ 3620245 w 7924447"/>
              <a:gd name="connsiteY48" fmla="*/ 950689 h 1288800"/>
              <a:gd name="connsiteX49" fmla="*/ 3261400 w 7924447"/>
              <a:gd name="connsiteY49" fmla="*/ 1284801 h 1288800"/>
              <a:gd name="connsiteX50" fmla="*/ 2333021 w 7924447"/>
              <a:gd name="connsiteY50" fmla="*/ 1288800 h 1288800"/>
              <a:gd name="connsiteX51" fmla="*/ 1954138 w 7924447"/>
              <a:gd name="connsiteY51" fmla="*/ 950689 h 1288800"/>
              <a:gd name="connsiteX52" fmla="*/ 1954138 w 7924447"/>
              <a:gd name="connsiteY52" fmla="*/ 334112 h 1288800"/>
              <a:gd name="connsiteX53" fmla="*/ 2308976 w 7924447"/>
              <a:gd name="connsiteY53" fmla="*/ 0 h 12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924447" h="1288800">
                <a:moveTo>
                  <a:pt x="6960911" y="321135"/>
                </a:moveTo>
                <a:lnTo>
                  <a:pt x="6719487" y="779851"/>
                </a:lnTo>
                <a:lnTo>
                  <a:pt x="7204868" y="779851"/>
                </a:lnTo>
                <a:close/>
                <a:moveTo>
                  <a:pt x="2388009" y="315532"/>
                </a:moveTo>
                <a:cubicBezTo>
                  <a:pt x="2347061" y="315532"/>
                  <a:pt x="2313866" y="348659"/>
                  <a:pt x="2313866" y="389523"/>
                </a:cubicBezTo>
                <a:lnTo>
                  <a:pt x="2313866" y="895278"/>
                </a:lnTo>
                <a:cubicBezTo>
                  <a:pt x="2313866" y="936142"/>
                  <a:pt x="2347061" y="969269"/>
                  <a:pt x="2388009" y="969269"/>
                </a:cubicBezTo>
                <a:lnTo>
                  <a:pt x="3186375" y="969269"/>
                </a:lnTo>
                <a:cubicBezTo>
                  <a:pt x="3227323" y="969269"/>
                  <a:pt x="3260517" y="936142"/>
                  <a:pt x="3260517" y="895278"/>
                </a:cubicBezTo>
                <a:lnTo>
                  <a:pt x="3260517" y="389523"/>
                </a:lnTo>
                <a:cubicBezTo>
                  <a:pt x="3260517" y="348659"/>
                  <a:pt x="3227323" y="315532"/>
                  <a:pt x="3186375" y="315532"/>
                </a:cubicBezTo>
                <a:close/>
                <a:moveTo>
                  <a:pt x="5545757" y="14419"/>
                </a:moveTo>
                <a:lnTo>
                  <a:pt x="5939564" y="14419"/>
                </a:lnTo>
                <a:lnTo>
                  <a:pt x="5939564" y="1273030"/>
                </a:lnTo>
                <a:lnTo>
                  <a:pt x="5545757" y="1273030"/>
                </a:lnTo>
                <a:close/>
                <a:moveTo>
                  <a:pt x="3781683" y="14419"/>
                </a:moveTo>
                <a:lnTo>
                  <a:pt x="4175490" y="14419"/>
                </a:lnTo>
                <a:lnTo>
                  <a:pt x="4175490" y="1273030"/>
                </a:lnTo>
                <a:lnTo>
                  <a:pt x="3781683" y="1273030"/>
                </a:lnTo>
                <a:close/>
                <a:moveTo>
                  <a:pt x="6726931" y="14418"/>
                </a:moveTo>
                <a:lnTo>
                  <a:pt x="7216062" y="14418"/>
                </a:lnTo>
                <a:lnTo>
                  <a:pt x="7924447" y="1273030"/>
                </a:lnTo>
                <a:lnTo>
                  <a:pt x="7467155" y="1273030"/>
                </a:lnTo>
                <a:lnTo>
                  <a:pt x="7349796" y="1052360"/>
                </a:lnTo>
                <a:lnTo>
                  <a:pt x="6576065" y="1052360"/>
                </a:lnTo>
                <a:lnTo>
                  <a:pt x="6459926" y="1273030"/>
                </a:lnTo>
                <a:lnTo>
                  <a:pt x="6011821" y="1273030"/>
                </a:lnTo>
                <a:close/>
                <a:moveTo>
                  <a:pt x="139469" y="14418"/>
                </a:moveTo>
                <a:lnTo>
                  <a:pt x="657720" y="14418"/>
                </a:lnTo>
                <a:lnTo>
                  <a:pt x="1414558" y="955333"/>
                </a:lnTo>
                <a:lnTo>
                  <a:pt x="1414558" y="14420"/>
                </a:lnTo>
                <a:lnTo>
                  <a:pt x="1793219" y="14420"/>
                </a:lnTo>
                <a:lnTo>
                  <a:pt x="1793219" y="1273030"/>
                </a:lnTo>
                <a:lnTo>
                  <a:pt x="1151296" y="1273030"/>
                </a:lnTo>
                <a:lnTo>
                  <a:pt x="378661" y="311950"/>
                </a:lnTo>
                <a:lnTo>
                  <a:pt x="378661" y="1273030"/>
                </a:lnTo>
                <a:lnTo>
                  <a:pt x="0" y="1273030"/>
                </a:lnTo>
                <a:lnTo>
                  <a:pt x="0" y="14420"/>
                </a:lnTo>
                <a:lnTo>
                  <a:pt x="139470" y="14420"/>
                </a:lnTo>
                <a:close/>
                <a:moveTo>
                  <a:pt x="4850522" y="14418"/>
                </a:moveTo>
                <a:lnTo>
                  <a:pt x="5385591" y="14418"/>
                </a:lnTo>
                <a:lnTo>
                  <a:pt x="4668730" y="603446"/>
                </a:lnTo>
                <a:lnTo>
                  <a:pt x="5474313" y="1273029"/>
                </a:lnTo>
                <a:lnTo>
                  <a:pt x="4911442" y="1273029"/>
                </a:lnTo>
                <a:lnTo>
                  <a:pt x="4178297" y="616444"/>
                </a:lnTo>
                <a:close/>
                <a:moveTo>
                  <a:pt x="2308976" y="0"/>
                </a:moveTo>
                <a:lnTo>
                  <a:pt x="3257392" y="0"/>
                </a:lnTo>
                <a:cubicBezTo>
                  <a:pt x="3442298" y="0"/>
                  <a:pt x="3624253" y="119593"/>
                  <a:pt x="3620245" y="334112"/>
                </a:cubicBezTo>
                <a:lnTo>
                  <a:pt x="3620245" y="950689"/>
                </a:lnTo>
                <a:cubicBezTo>
                  <a:pt x="3620245" y="1159210"/>
                  <a:pt x="3446305" y="1284801"/>
                  <a:pt x="3261400" y="1284801"/>
                </a:cubicBezTo>
                <a:lnTo>
                  <a:pt x="2333021" y="1288800"/>
                </a:lnTo>
                <a:cubicBezTo>
                  <a:pt x="2148115" y="1286801"/>
                  <a:pt x="1954138" y="1181205"/>
                  <a:pt x="1954138" y="950689"/>
                </a:cubicBezTo>
                <a:lnTo>
                  <a:pt x="1954138" y="334112"/>
                </a:lnTo>
                <a:cubicBezTo>
                  <a:pt x="1962153" y="113594"/>
                  <a:pt x="2124071" y="0"/>
                  <a:pt x="2308976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endParaRPr lang="en-US" sz="1811" dirty="0">
              <a:latin typeface="+mn-lt"/>
            </a:endParaRPr>
          </a:p>
        </p:txBody>
      </p:sp>
      <p:sp>
        <p:nvSpPr>
          <p:cNvPr id="7" name="Footer Placeholder 27">
            <a:extLst>
              <a:ext uri="{FF2B5EF4-FFF2-40B4-BE49-F238E27FC236}">
                <a16:creationId xmlns:a16="http://schemas.microsoft.com/office/drawing/2014/main" xmlns="" id="{85B22BFE-7C74-4741-97D2-7E3AD84113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5202650"/>
            <a:ext cx="2716981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5">
                <a:solidFill>
                  <a:schemeClr val="accent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Ultra-optimized solution to de-risk your 5G deployment</a:t>
            </a:r>
            <a:endParaRPr lang="en-US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xmlns="" id="{C53912A6-48D0-4F3E-91D4-37D73BE4FF81}"/>
              </a:ext>
            </a:extLst>
          </p:cNvPr>
          <p:cNvGrpSpPr/>
          <p:nvPr userDrawn="1"/>
        </p:nvGrpSpPr>
        <p:grpSpPr>
          <a:xfrm>
            <a:off x="5028434" y="4672845"/>
            <a:ext cx="2449107" cy="362236"/>
            <a:chOff x="4997005" y="4644000"/>
            <a:chExt cx="2433800" cy="360000"/>
          </a:xfrm>
        </p:grpSpPr>
        <p:sp>
          <p:nvSpPr>
            <p:cNvPr id="11" name="&lt; forward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xmlns="" id="{2E9D62E1-082F-4940-8473-AE2BA9EC47C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2325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3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&lt; back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xmlns="" id="{C8847437-A229-4783-A1F6-9CB13F2702A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105771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3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back link">
              <a:hlinkClick r:id="" action="ppaction://hlinkshowjump?jump=previous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9FC9E5B2-0E5E-4A8F-8273-6135D71ED737}"/>
                </a:ext>
              </a:extLst>
            </p:cNvPr>
            <p:cNvSpPr/>
            <p:nvPr userDrawn="1"/>
          </p:nvSpPr>
          <p:spPr>
            <a:xfrm>
              <a:off x="5731557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3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revious</a:t>
              </a:r>
            </a:p>
          </p:txBody>
        </p:sp>
        <p:sp>
          <p:nvSpPr>
            <p:cNvPr id="14" name="forward link">
              <a:hlinkClick r:id="" action="ppaction://hlinkshowjump?jump=next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CB4449ED-39C2-4ABB-B9FF-93D97F8DE992}"/>
                </a:ext>
              </a:extLst>
            </p:cNvPr>
            <p:cNvSpPr/>
            <p:nvPr userDrawn="1"/>
          </p:nvSpPr>
          <p:spPr>
            <a:xfrm>
              <a:off x="67972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80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ext</a:t>
              </a:r>
            </a:p>
          </p:txBody>
        </p:sp>
        <p:sp>
          <p:nvSpPr>
            <p:cNvPr id="15" name="Freihandform: Form 14">
              <a:hlinkClick r:id="" action="ppaction://hlinkshowjump?jump=lastslideviewed"/>
              <a:extLst>
                <a:ext uri="{FF2B5EF4-FFF2-40B4-BE49-F238E27FC236}">
                  <a16:creationId xmlns:a16="http://schemas.microsoft.com/office/drawing/2014/main" xmlns="" id="{B5C7C3F4-7B46-491F-8451-81EA6EE98BC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5410986" y="4804666"/>
              <a:ext cx="53776" cy="99082"/>
            </a:xfrm>
            <a:custGeom>
              <a:avLst/>
              <a:gdLst>
                <a:gd name="connsiteX0" fmla="*/ 23824 w 82557"/>
                <a:gd name="connsiteY0" fmla="*/ 0 h 152109"/>
                <a:gd name="connsiteX1" fmla="*/ 0 w 82557"/>
                <a:gd name="connsiteY1" fmla="*/ 0 h 152109"/>
                <a:gd name="connsiteX2" fmla="*/ 58734 w 82557"/>
                <a:gd name="connsiteY2" fmla="*/ 76055 h 152109"/>
                <a:gd name="connsiteX3" fmla="*/ 0 w 82557"/>
                <a:gd name="connsiteY3" fmla="*/ 152109 h 152109"/>
                <a:gd name="connsiteX4" fmla="*/ 23824 w 82557"/>
                <a:gd name="connsiteY4" fmla="*/ 152109 h 152109"/>
                <a:gd name="connsiteX5" fmla="*/ 82557 w 82557"/>
                <a:gd name="connsiteY5" fmla="*/ 76055 h 152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57" h="152109">
                  <a:moveTo>
                    <a:pt x="23824" y="0"/>
                  </a:moveTo>
                  <a:lnTo>
                    <a:pt x="0" y="0"/>
                  </a:lnTo>
                  <a:lnTo>
                    <a:pt x="58734" y="76055"/>
                  </a:lnTo>
                  <a:lnTo>
                    <a:pt x="0" y="152109"/>
                  </a:lnTo>
                  <a:lnTo>
                    <a:pt x="23824" y="152109"/>
                  </a:lnTo>
                  <a:lnTo>
                    <a:pt x="82557" y="76055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3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back link">
              <a:hlinkClick r:id="" action="ppaction://hlinkshowjump?jump=lastslideviewed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11D5218C-7381-47ED-84BC-AAE99564E838}"/>
                </a:ext>
              </a:extLst>
            </p:cNvPr>
            <p:cNvSpPr/>
            <p:nvPr userDrawn="1"/>
          </p:nvSpPr>
          <p:spPr>
            <a:xfrm>
              <a:off x="49970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3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last visited</a:t>
              </a:r>
            </a:p>
          </p:txBody>
        </p:sp>
      </p:grpSp>
      <p:sp>
        <p:nvSpPr>
          <p:cNvPr id="18" name="Rechteck 17">
            <a:hlinkClick r:id="rId3" action="ppaction://hlinksldjump"/>
            <a:extLst>
              <a:ext uri="{FF2B5EF4-FFF2-40B4-BE49-F238E27FC236}">
                <a16:creationId xmlns:a16="http://schemas.microsoft.com/office/drawing/2014/main" xmlns="" id="{3157E71D-D13A-4E41-B0A8-FE44930D6439}"/>
              </a:ext>
            </a:extLst>
          </p:cNvPr>
          <p:cNvSpPr/>
          <p:nvPr userDrawn="1"/>
        </p:nvSpPr>
        <p:spPr>
          <a:xfrm>
            <a:off x="405873" y="4398587"/>
            <a:ext cx="1311260" cy="477838"/>
          </a:xfrm>
          <a:prstGeom prst="rect">
            <a:avLst/>
          </a:prstGeom>
          <a:solidFill>
            <a:srgbClr val="FFFF00">
              <a:alpha val="0"/>
            </a:srgbClr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0" dirty="0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sp>
        <p:nvSpPr>
          <p:cNvPr id="19" name="Rechteck 18">
            <a:hlinkClick r:id="rId3" action="ppaction://hlinksldjump"/>
            <a:extLst>
              <a:ext uri="{FF2B5EF4-FFF2-40B4-BE49-F238E27FC236}">
                <a16:creationId xmlns:a16="http://schemas.microsoft.com/office/drawing/2014/main" xmlns="" id="{61C163DE-6201-4DAA-97D7-21DE67D7E855}"/>
              </a:ext>
            </a:extLst>
          </p:cNvPr>
          <p:cNvSpPr/>
          <p:nvPr userDrawn="1"/>
        </p:nvSpPr>
        <p:spPr>
          <a:xfrm>
            <a:off x="7832740" y="4665662"/>
            <a:ext cx="1311260" cy="477838"/>
          </a:xfrm>
          <a:prstGeom prst="rect">
            <a:avLst/>
          </a:prstGeom>
          <a:solidFill>
            <a:srgbClr val="FFFF00">
              <a:alpha val="0"/>
            </a:srgbClr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0" dirty="0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19070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+ footer + without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05"/>
            <a:ext cx="9144000" cy="5143500"/>
          </a:xfrm>
          <a:prstGeom prst="rect">
            <a:avLst/>
          </a:prstGeom>
        </p:spPr>
      </p:pic>
      <p:sp>
        <p:nvSpPr>
          <p:cNvPr id="10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023176" y="4778188"/>
            <a:ext cx="7318106" cy="2056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sz="600" noProof="0" dirty="0">
                <a:solidFill>
                  <a:schemeClr val="accent4"/>
                </a:solidFill>
                <a:latin typeface="+mn-lt"/>
                <a:cs typeface="Verdana"/>
              </a:rPr>
              <a:t>Land | Vorname Nachname | Präsentatio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287156"/>
            <a:ext cx="8283049" cy="153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1"/>
              </a:buClr>
              <a:buFont typeface="Arial" charset="0"/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AT" noProof="0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440837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noProof="0" dirty="0">
                <a:solidFill>
                  <a:schemeClr val="accent1"/>
                </a:solidFill>
              </a:rPr>
              <a:t>Kernaussage der Folie</a:t>
            </a:r>
            <a:endParaRPr lang="de-AT" noProof="0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396031"/>
            <a:ext cx="8283049" cy="3092206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AT" noProof="0" dirty="0"/>
              <a:t>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342061421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2" orient="horz" pos="3094">
          <p15:clr>
            <a:srgbClr val="FBAE40"/>
          </p15:clr>
        </p15:guide>
        <p15:guide id="3" pos="27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2" y="4816800"/>
            <a:ext cx="2847687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5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Ultra-optimized solution to de-risk your 5G deploy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2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1988">
                <a:latin typeface="+mj-lt"/>
              </a:defRPr>
            </a:lvl2pPr>
            <a:lvl3pPr>
              <a:defRPr sz="1988">
                <a:latin typeface="+mj-lt"/>
              </a:defRPr>
            </a:lvl3pPr>
            <a:lvl4pPr>
              <a:defRPr sz="1988">
                <a:latin typeface="+mj-lt"/>
              </a:defRPr>
            </a:lvl4pPr>
            <a:lvl5pPr>
              <a:defRPr sz="1988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xmlns="" id="{C836EC8E-5F24-405B-AED7-22B300A20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00" y="280990"/>
            <a:ext cx="8308800" cy="309351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6044668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xmlns="" id="{21525A51-9EF0-4DE2-8A80-7A44CFF31D56}"/>
              </a:ext>
            </a:extLst>
          </p:cNvPr>
          <p:cNvSpPr/>
          <p:nvPr userDrawn="1"/>
        </p:nvSpPr>
        <p:spPr>
          <a:xfrm>
            <a:off x="0" y="1086470"/>
            <a:ext cx="9144000" cy="2195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200" dirty="0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xmlns="" id="{D334C907-D30C-4B34-8261-6342D98B0184}"/>
              </a:ext>
            </a:extLst>
          </p:cNvPr>
          <p:cNvSpPr/>
          <p:nvPr userDrawn="1"/>
        </p:nvSpPr>
        <p:spPr>
          <a:xfrm>
            <a:off x="155399" y="1770425"/>
            <a:ext cx="2581092" cy="2580891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2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4" tIns="71994" rIns="71994" bIns="71994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en-US" sz="1200" dirty="0">
              <a:solidFill>
                <a:schemeClr val="bg2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2" y="4816800"/>
            <a:ext cx="2847687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5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Ultra-optimized solution to de-risk your 5G deploy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2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1988">
                <a:latin typeface="+mj-lt"/>
              </a:defRPr>
            </a:lvl2pPr>
            <a:lvl3pPr>
              <a:defRPr sz="1988">
                <a:latin typeface="+mj-lt"/>
              </a:defRPr>
            </a:lvl3pPr>
            <a:lvl4pPr>
              <a:defRPr sz="1988">
                <a:latin typeface="+mj-lt"/>
              </a:defRPr>
            </a:lvl4pPr>
            <a:lvl5pPr>
              <a:defRPr sz="1988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xmlns="" id="{C836EC8E-5F24-405B-AED7-22B300A20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00" y="280990"/>
            <a:ext cx="8308800" cy="309351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</a:p>
        </p:txBody>
      </p:sp>
      <p:grpSp>
        <p:nvGrpSpPr>
          <p:cNvPr id="518" name="Gruppieren 297">
            <a:extLst>
              <a:ext uri="{FF2B5EF4-FFF2-40B4-BE49-F238E27FC236}">
                <a16:creationId xmlns:a16="http://schemas.microsoft.com/office/drawing/2014/main" xmlns="" id="{98B4CD08-9233-44C4-BFB5-DFF1C8B37A58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1157315" y="2435501"/>
            <a:ext cx="468401" cy="222769"/>
            <a:chOff x="1585913" y="981550"/>
            <a:chExt cx="5862636" cy="2721294"/>
          </a:xfrm>
          <a:noFill/>
        </p:grpSpPr>
        <p:sp>
          <p:nvSpPr>
            <p:cNvPr id="519" name="Trapezoid 518">
              <a:extLst>
                <a:ext uri="{FF2B5EF4-FFF2-40B4-BE49-F238E27FC236}">
                  <a16:creationId xmlns:a16="http://schemas.microsoft.com/office/drawing/2014/main" xmlns="" id="{B59E0879-498E-4320-B627-AF092B9C05F9}"/>
                </a:ext>
              </a:extLst>
            </p:cNvPr>
            <p:cNvSpPr/>
            <p:nvPr/>
          </p:nvSpPr>
          <p:spPr>
            <a:xfrm flipV="1">
              <a:off x="1585913" y="981550"/>
              <a:ext cx="5862636" cy="2721293"/>
            </a:xfrm>
            <a:prstGeom prst="trapezoid">
              <a:avLst/>
            </a:pr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20" name="Freihandform: Form 404">
              <a:extLst>
                <a:ext uri="{FF2B5EF4-FFF2-40B4-BE49-F238E27FC236}">
                  <a16:creationId xmlns:a16="http://schemas.microsoft.com/office/drawing/2014/main" xmlns="" id="{E31AC673-FB0D-42A7-88D4-978B9D781AD4}"/>
                </a:ext>
              </a:extLst>
            </p:cNvPr>
            <p:cNvSpPr/>
            <p:nvPr/>
          </p:nvSpPr>
          <p:spPr>
            <a:xfrm>
              <a:off x="2772271" y="1122998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21" name="Freihandform: Form 405">
              <a:extLst>
                <a:ext uri="{FF2B5EF4-FFF2-40B4-BE49-F238E27FC236}">
                  <a16:creationId xmlns:a16="http://schemas.microsoft.com/office/drawing/2014/main" xmlns="" id="{B0D4A6B6-FC68-40A0-AFBC-8CFDC9478769}"/>
                </a:ext>
              </a:extLst>
            </p:cNvPr>
            <p:cNvSpPr/>
            <p:nvPr/>
          </p:nvSpPr>
          <p:spPr>
            <a:xfrm>
              <a:off x="2002632" y="1122998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22" name="Freihandform: Form 406">
              <a:extLst>
                <a:ext uri="{FF2B5EF4-FFF2-40B4-BE49-F238E27FC236}">
                  <a16:creationId xmlns:a16="http://schemas.microsoft.com/office/drawing/2014/main" xmlns="" id="{09E04977-905A-4D99-8029-ED3974446E8F}"/>
                </a:ext>
              </a:extLst>
            </p:cNvPr>
            <p:cNvSpPr/>
            <p:nvPr/>
          </p:nvSpPr>
          <p:spPr>
            <a:xfrm>
              <a:off x="4311549" y="1122998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23" name="Freihandform: Form 407">
              <a:extLst>
                <a:ext uri="{FF2B5EF4-FFF2-40B4-BE49-F238E27FC236}">
                  <a16:creationId xmlns:a16="http://schemas.microsoft.com/office/drawing/2014/main" xmlns="" id="{11E449FA-97B1-43AE-842A-1CD841674CF9}"/>
                </a:ext>
              </a:extLst>
            </p:cNvPr>
            <p:cNvSpPr/>
            <p:nvPr/>
          </p:nvSpPr>
          <p:spPr>
            <a:xfrm>
              <a:off x="3541910" y="1122998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24" name="Freihandform: Form 408">
              <a:extLst>
                <a:ext uri="{FF2B5EF4-FFF2-40B4-BE49-F238E27FC236}">
                  <a16:creationId xmlns:a16="http://schemas.microsoft.com/office/drawing/2014/main" xmlns="" id="{B05989F5-8579-43E2-9FA5-C22E90D6D0C1}"/>
                </a:ext>
              </a:extLst>
            </p:cNvPr>
            <p:cNvSpPr/>
            <p:nvPr/>
          </p:nvSpPr>
          <p:spPr>
            <a:xfrm>
              <a:off x="5850827" y="1122998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25" name="Freihandform: Form 409">
              <a:extLst>
                <a:ext uri="{FF2B5EF4-FFF2-40B4-BE49-F238E27FC236}">
                  <a16:creationId xmlns:a16="http://schemas.microsoft.com/office/drawing/2014/main" xmlns="" id="{6919B86F-77B2-4A48-B998-FEB6ECE06E7B}"/>
                </a:ext>
              </a:extLst>
            </p:cNvPr>
            <p:cNvSpPr/>
            <p:nvPr/>
          </p:nvSpPr>
          <p:spPr>
            <a:xfrm>
              <a:off x="5081188" y="1122998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26" name="Freihandform: Form 410">
              <a:extLst>
                <a:ext uri="{FF2B5EF4-FFF2-40B4-BE49-F238E27FC236}">
                  <a16:creationId xmlns:a16="http://schemas.microsoft.com/office/drawing/2014/main" xmlns="" id="{77DBAB19-DB1B-4F2B-A0AD-FFA1E0CD908C}"/>
                </a:ext>
              </a:extLst>
            </p:cNvPr>
            <p:cNvSpPr/>
            <p:nvPr/>
          </p:nvSpPr>
          <p:spPr>
            <a:xfrm>
              <a:off x="6620469" y="1122998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27" name="Freihandform: Form 461">
              <a:extLst>
                <a:ext uri="{FF2B5EF4-FFF2-40B4-BE49-F238E27FC236}">
                  <a16:creationId xmlns:a16="http://schemas.microsoft.com/office/drawing/2014/main" xmlns="" id="{A06DED03-F722-4175-9B8F-CA39B7B82A30}"/>
                </a:ext>
              </a:extLst>
            </p:cNvPr>
            <p:cNvSpPr/>
            <p:nvPr/>
          </p:nvSpPr>
          <p:spPr>
            <a:xfrm>
              <a:off x="2360961" y="2020014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28" name="Freihandform: Form 462">
              <a:extLst>
                <a:ext uri="{FF2B5EF4-FFF2-40B4-BE49-F238E27FC236}">
                  <a16:creationId xmlns:a16="http://schemas.microsoft.com/office/drawing/2014/main" xmlns="" id="{C57C4401-7C54-4300-AD18-A6C3592C2EA2}"/>
                </a:ext>
              </a:extLst>
            </p:cNvPr>
            <p:cNvSpPr/>
            <p:nvPr/>
          </p:nvSpPr>
          <p:spPr>
            <a:xfrm>
              <a:off x="3900239" y="2020014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29" name="Freihandform: Form 484">
              <a:extLst>
                <a:ext uri="{FF2B5EF4-FFF2-40B4-BE49-F238E27FC236}">
                  <a16:creationId xmlns:a16="http://schemas.microsoft.com/office/drawing/2014/main" xmlns="" id="{61E7C97B-7689-4E28-B51D-9F93FADDFAC8}"/>
                </a:ext>
              </a:extLst>
            </p:cNvPr>
            <p:cNvSpPr/>
            <p:nvPr/>
          </p:nvSpPr>
          <p:spPr>
            <a:xfrm>
              <a:off x="3130600" y="2020014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30" name="Freihandform: Form 485">
              <a:extLst>
                <a:ext uri="{FF2B5EF4-FFF2-40B4-BE49-F238E27FC236}">
                  <a16:creationId xmlns:a16="http://schemas.microsoft.com/office/drawing/2014/main" xmlns="" id="{FB7CBE24-4D05-435A-8951-DB12E6B45EE8}"/>
                </a:ext>
              </a:extLst>
            </p:cNvPr>
            <p:cNvSpPr/>
            <p:nvPr/>
          </p:nvSpPr>
          <p:spPr>
            <a:xfrm>
              <a:off x="5439517" y="2020014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31" name="Freihandform: Form 486">
              <a:extLst>
                <a:ext uri="{FF2B5EF4-FFF2-40B4-BE49-F238E27FC236}">
                  <a16:creationId xmlns:a16="http://schemas.microsoft.com/office/drawing/2014/main" xmlns="" id="{1D412FDD-A12E-4601-831E-77D8CE0C8F1E}"/>
                </a:ext>
              </a:extLst>
            </p:cNvPr>
            <p:cNvSpPr/>
            <p:nvPr/>
          </p:nvSpPr>
          <p:spPr>
            <a:xfrm>
              <a:off x="4669878" y="2020014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32" name="Freihandform: Form 487">
              <a:extLst>
                <a:ext uri="{FF2B5EF4-FFF2-40B4-BE49-F238E27FC236}">
                  <a16:creationId xmlns:a16="http://schemas.microsoft.com/office/drawing/2014/main" xmlns="" id="{D5C40664-A915-4BBB-9B64-51F484F46052}"/>
                </a:ext>
              </a:extLst>
            </p:cNvPr>
            <p:cNvSpPr/>
            <p:nvPr/>
          </p:nvSpPr>
          <p:spPr>
            <a:xfrm>
              <a:off x="6209159" y="2020014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cxnSp>
          <p:nvCxnSpPr>
            <p:cNvPr id="533" name="Gerader Verbinder 488">
              <a:extLst>
                <a:ext uri="{FF2B5EF4-FFF2-40B4-BE49-F238E27FC236}">
                  <a16:creationId xmlns:a16="http://schemas.microsoft.com/office/drawing/2014/main" xmlns="" id="{5783E9E5-2318-47DD-9CEC-AD257D960689}"/>
                </a:ext>
              </a:extLst>
            </p:cNvPr>
            <p:cNvCxnSpPr>
              <a:cxnSpLocks/>
            </p:cNvCxnSpPr>
            <p:nvPr/>
          </p:nvCxnSpPr>
          <p:spPr>
            <a:xfrm>
              <a:off x="2034302" y="2795110"/>
              <a:ext cx="4968240" cy="0"/>
            </a:xfrm>
            <a:prstGeom prst="line">
              <a:avLst/>
            </a:pr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</p:cxnSp>
        <p:cxnSp>
          <p:nvCxnSpPr>
            <p:cNvPr id="534" name="Gerader Verbinder 489">
              <a:extLst>
                <a:ext uri="{FF2B5EF4-FFF2-40B4-BE49-F238E27FC236}">
                  <a16:creationId xmlns:a16="http://schemas.microsoft.com/office/drawing/2014/main" xmlns="" id="{6D4DA0D4-A718-425D-BA0C-582A9140C67B}"/>
                </a:ext>
              </a:extLst>
            </p:cNvPr>
            <p:cNvCxnSpPr>
              <a:cxnSpLocks/>
            </p:cNvCxnSpPr>
            <p:nvPr/>
          </p:nvCxnSpPr>
          <p:spPr>
            <a:xfrm>
              <a:off x="1811657" y="1887379"/>
              <a:ext cx="5410674" cy="0"/>
            </a:xfrm>
            <a:prstGeom prst="line">
              <a:avLst/>
            </a:pr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</p:cxnSp>
        <p:sp>
          <p:nvSpPr>
            <p:cNvPr id="535" name="Freihandform: Form 491">
              <a:extLst>
                <a:ext uri="{FF2B5EF4-FFF2-40B4-BE49-F238E27FC236}">
                  <a16:creationId xmlns:a16="http://schemas.microsoft.com/office/drawing/2014/main" xmlns="" id="{B8441ADE-5F63-456F-8F17-F01EBA1615D7}"/>
                </a:ext>
              </a:extLst>
            </p:cNvPr>
            <p:cNvSpPr/>
            <p:nvPr/>
          </p:nvSpPr>
          <p:spPr>
            <a:xfrm>
              <a:off x="3130601" y="2938463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300" h="764381">
                  <a:moveTo>
                    <a:pt x="1191" y="764381"/>
                  </a:moveTo>
                  <a:cubicBezTo>
                    <a:pt x="0" y="592138"/>
                    <a:pt x="1191" y="419894"/>
                    <a:pt x="0" y="247651"/>
                  </a:cubicBezTo>
                  <a:lnTo>
                    <a:pt x="0" y="247650"/>
                  </a:lnTo>
                  <a:cubicBezTo>
                    <a:pt x="0" y="110877"/>
                    <a:pt x="110877" y="0"/>
                    <a:pt x="247650" y="0"/>
                  </a:cubicBezTo>
                  <a:cubicBezTo>
                    <a:pt x="384423" y="0"/>
                    <a:pt x="495300" y="110877"/>
                    <a:pt x="495300" y="247650"/>
                  </a:cubicBezTo>
                  <a:lnTo>
                    <a:pt x="495300" y="24765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36" name="Freihandform: Form 497">
              <a:extLst>
                <a:ext uri="{FF2B5EF4-FFF2-40B4-BE49-F238E27FC236}">
                  <a16:creationId xmlns:a16="http://schemas.microsoft.com/office/drawing/2014/main" xmlns="" id="{C50E3049-8A0F-4F16-98E4-1F3580C84F13}"/>
                </a:ext>
              </a:extLst>
            </p:cNvPr>
            <p:cNvSpPr/>
            <p:nvPr/>
          </p:nvSpPr>
          <p:spPr>
            <a:xfrm>
              <a:off x="3900241" y="2938463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300" h="764381">
                  <a:moveTo>
                    <a:pt x="1191" y="764381"/>
                  </a:moveTo>
                  <a:cubicBezTo>
                    <a:pt x="0" y="592138"/>
                    <a:pt x="1191" y="419894"/>
                    <a:pt x="0" y="247651"/>
                  </a:cubicBezTo>
                  <a:lnTo>
                    <a:pt x="0" y="247650"/>
                  </a:lnTo>
                  <a:cubicBezTo>
                    <a:pt x="0" y="110877"/>
                    <a:pt x="110877" y="0"/>
                    <a:pt x="247650" y="0"/>
                  </a:cubicBezTo>
                  <a:cubicBezTo>
                    <a:pt x="384423" y="0"/>
                    <a:pt x="495300" y="110877"/>
                    <a:pt x="495300" y="247650"/>
                  </a:cubicBezTo>
                  <a:lnTo>
                    <a:pt x="495300" y="24765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37" name="Freihandform: Form 498">
              <a:extLst>
                <a:ext uri="{FF2B5EF4-FFF2-40B4-BE49-F238E27FC236}">
                  <a16:creationId xmlns:a16="http://schemas.microsoft.com/office/drawing/2014/main" xmlns="" id="{1F8E4DFB-3834-430A-82D3-7D07C56AF5D2}"/>
                </a:ext>
              </a:extLst>
            </p:cNvPr>
            <p:cNvSpPr/>
            <p:nvPr/>
          </p:nvSpPr>
          <p:spPr>
            <a:xfrm>
              <a:off x="4669881" y="2938463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300" h="764381">
                  <a:moveTo>
                    <a:pt x="1191" y="764381"/>
                  </a:moveTo>
                  <a:cubicBezTo>
                    <a:pt x="0" y="592138"/>
                    <a:pt x="1191" y="419894"/>
                    <a:pt x="0" y="247651"/>
                  </a:cubicBezTo>
                  <a:lnTo>
                    <a:pt x="0" y="247650"/>
                  </a:lnTo>
                  <a:cubicBezTo>
                    <a:pt x="0" y="110877"/>
                    <a:pt x="110877" y="0"/>
                    <a:pt x="247650" y="0"/>
                  </a:cubicBezTo>
                  <a:cubicBezTo>
                    <a:pt x="384423" y="0"/>
                    <a:pt x="495300" y="110877"/>
                    <a:pt x="495300" y="247650"/>
                  </a:cubicBezTo>
                  <a:lnTo>
                    <a:pt x="495300" y="24765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38" name="Freihandform: Form 503">
              <a:extLst>
                <a:ext uri="{FF2B5EF4-FFF2-40B4-BE49-F238E27FC236}">
                  <a16:creationId xmlns:a16="http://schemas.microsoft.com/office/drawing/2014/main" xmlns="" id="{3FF0B123-5AC0-4D4A-A5FE-E8B7A95DE890}"/>
                </a:ext>
              </a:extLst>
            </p:cNvPr>
            <p:cNvSpPr/>
            <p:nvPr/>
          </p:nvSpPr>
          <p:spPr>
            <a:xfrm>
              <a:off x="5439521" y="2938463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300" h="764381">
                  <a:moveTo>
                    <a:pt x="1191" y="764381"/>
                  </a:moveTo>
                  <a:cubicBezTo>
                    <a:pt x="0" y="592138"/>
                    <a:pt x="1191" y="419894"/>
                    <a:pt x="0" y="247651"/>
                  </a:cubicBezTo>
                  <a:lnTo>
                    <a:pt x="0" y="247650"/>
                  </a:lnTo>
                  <a:cubicBezTo>
                    <a:pt x="0" y="110877"/>
                    <a:pt x="110877" y="0"/>
                    <a:pt x="247650" y="0"/>
                  </a:cubicBezTo>
                  <a:cubicBezTo>
                    <a:pt x="384423" y="0"/>
                    <a:pt x="495300" y="110877"/>
                    <a:pt x="495300" y="247650"/>
                  </a:cubicBezTo>
                  <a:lnTo>
                    <a:pt x="495300" y="24765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39" name="Freihandform: Form 504">
              <a:extLst>
                <a:ext uri="{FF2B5EF4-FFF2-40B4-BE49-F238E27FC236}">
                  <a16:creationId xmlns:a16="http://schemas.microsoft.com/office/drawing/2014/main" xmlns="" id="{A1590DBF-989B-4175-A126-FEDC3E939DC3}"/>
                </a:ext>
              </a:extLst>
            </p:cNvPr>
            <p:cNvSpPr/>
            <p:nvPr/>
          </p:nvSpPr>
          <p:spPr>
            <a:xfrm>
              <a:off x="6209159" y="2938463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300" h="764381">
                  <a:moveTo>
                    <a:pt x="1191" y="764381"/>
                  </a:moveTo>
                  <a:cubicBezTo>
                    <a:pt x="0" y="592138"/>
                    <a:pt x="1191" y="419894"/>
                    <a:pt x="0" y="247651"/>
                  </a:cubicBezTo>
                  <a:lnTo>
                    <a:pt x="0" y="247650"/>
                  </a:lnTo>
                  <a:cubicBezTo>
                    <a:pt x="0" y="110877"/>
                    <a:pt x="110877" y="0"/>
                    <a:pt x="247650" y="0"/>
                  </a:cubicBezTo>
                  <a:cubicBezTo>
                    <a:pt x="384423" y="0"/>
                    <a:pt x="495300" y="110877"/>
                    <a:pt x="495300" y="247650"/>
                  </a:cubicBezTo>
                  <a:lnTo>
                    <a:pt x="495300" y="24765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540" name="Freihandform: Form 505">
              <a:extLst>
                <a:ext uri="{FF2B5EF4-FFF2-40B4-BE49-F238E27FC236}">
                  <a16:creationId xmlns:a16="http://schemas.microsoft.com/office/drawing/2014/main" xmlns="" id="{6A3B243C-4589-4AEC-8748-F4F45850638F}"/>
                </a:ext>
              </a:extLst>
            </p:cNvPr>
            <p:cNvSpPr/>
            <p:nvPr/>
          </p:nvSpPr>
          <p:spPr>
            <a:xfrm>
              <a:off x="2360961" y="2938463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300" h="764381">
                  <a:moveTo>
                    <a:pt x="1191" y="764381"/>
                  </a:moveTo>
                  <a:cubicBezTo>
                    <a:pt x="0" y="592138"/>
                    <a:pt x="1191" y="419894"/>
                    <a:pt x="0" y="247651"/>
                  </a:cubicBezTo>
                  <a:lnTo>
                    <a:pt x="0" y="247650"/>
                  </a:lnTo>
                  <a:cubicBezTo>
                    <a:pt x="0" y="110877"/>
                    <a:pt x="110877" y="0"/>
                    <a:pt x="247650" y="0"/>
                  </a:cubicBezTo>
                  <a:cubicBezTo>
                    <a:pt x="384423" y="0"/>
                    <a:pt x="495300" y="110877"/>
                    <a:pt x="495300" y="247650"/>
                  </a:cubicBezTo>
                  <a:lnTo>
                    <a:pt x="495300" y="24765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1457">
                <a:defRPr/>
              </a:pPr>
              <a:endParaRPr lang="en-US" sz="1778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</p:grpSp>
      <p:grpSp>
        <p:nvGrpSpPr>
          <p:cNvPr id="541" name="Gruppieren 540">
            <a:extLst>
              <a:ext uri="{FF2B5EF4-FFF2-40B4-BE49-F238E27FC236}">
                <a16:creationId xmlns:a16="http://schemas.microsoft.com/office/drawing/2014/main" xmlns="" id="{05840438-FED9-4EE4-9FBE-4EF186E26D89}"/>
              </a:ext>
            </a:extLst>
          </p:cNvPr>
          <p:cNvGrpSpPr/>
          <p:nvPr userDrawn="1"/>
        </p:nvGrpSpPr>
        <p:grpSpPr>
          <a:xfrm>
            <a:off x="186430" y="2391069"/>
            <a:ext cx="2414714" cy="1416738"/>
            <a:chOff x="718665" y="1881009"/>
            <a:chExt cx="2399622" cy="1407993"/>
          </a:xfrm>
        </p:grpSpPr>
        <p:grpSp>
          <p:nvGrpSpPr>
            <p:cNvPr id="542" name="Gruppieren 391">
              <a:extLst>
                <a:ext uri="{FF2B5EF4-FFF2-40B4-BE49-F238E27FC236}">
                  <a16:creationId xmlns:a16="http://schemas.microsoft.com/office/drawing/2014/main" xmlns="" id="{3DB17AAA-D928-41B0-8F67-9D0244ED1ECD}"/>
                </a:ext>
              </a:extLst>
            </p:cNvPr>
            <p:cNvGrpSpPr/>
            <p:nvPr userDrawn="1"/>
          </p:nvGrpSpPr>
          <p:grpSpPr>
            <a:xfrm>
              <a:off x="861005" y="1944197"/>
              <a:ext cx="359328" cy="275325"/>
              <a:chOff x="4317506" y="1841320"/>
              <a:chExt cx="612000" cy="466034"/>
            </a:xfrm>
            <a:noFill/>
          </p:grpSpPr>
          <p:sp>
            <p:nvSpPr>
              <p:cNvPr id="791" name="Freihandform: Form 322">
                <a:extLst>
                  <a:ext uri="{FF2B5EF4-FFF2-40B4-BE49-F238E27FC236}">
                    <a16:creationId xmlns:a16="http://schemas.microsoft.com/office/drawing/2014/main" xmlns="" id="{3E102BBB-A853-4BCA-8AA3-943662A05DF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81179" y="1841320"/>
                <a:ext cx="464969" cy="466034"/>
              </a:xfrm>
              <a:custGeom>
                <a:avLst/>
                <a:gdLst>
                  <a:gd name="connsiteX0" fmla="*/ 0 w 2038350"/>
                  <a:gd name="connsiteY0" fmla="*/ 2033588 h 2043113"/>
                  <a:gd name="connsiteX1" fmla="*/ 0 w 2038350"/>
                  <a:gd name="connsiteY1" fmla="*/ 766763 h 2043113"/>
                  <a:gd name="connsiteX2" fmla="*/ 514350 w 2038350"/>
                  <a:gd name="connsiteY2" fmla="*/ 1023938 h 2043113"/>
                  <a:gd name="connsiteX3" fmla="*/ 514350 w 2038350"/>
                  <a:gd name="connsiteY3" fmla="*/ 762000 h 2043113"/>
                  <a:gd name="connsiteX4" fmla="*/ 1019175 w 2038350"/>
                  <a:gd name="connsiteY4" fmla="*/ 1023938 h 2043113"/>
                  <a:gd name="connsiteX5" fmla="*/ 1019175 w 2038350"/>
                  <a:gd name="connsiteY5" fmla="*/ 762000 h 2043113"/>
                  <a:gd name="connsiteX6" fmla="*/ 1528762 w 2038350"/>
                  <a:gd name="connsiteY6" fmla="*/ 1019175 h 2043113"/>
                  <a:gd name="connsiteX7" fmla="*/ 1785937 w 2038350"/>
                  <a:gd name="connsiteY7" fmla="*/ 0 h 2043113"/>
                  <a:gd name="connsiteX8" fmla="*/ 2038350 w 2038350"/>
                  <a:gd name="connsiteY8" fmla="*/ 0 h 2043113"/>
                  <a:gd name="connsiteX9" fmla="*/ 2038350 w 2038350"/>
                  <a:gd name="connsiteY9" fmla="*/ 2038350 h 2043113"/>
                  <a:gd name="connsiteX10" fmla="*/ 1643062 w 2038350"/>
                  <a:gd name="connsiteY10" fmla="*/ 2038350 h 2043113"/>
                  <a:gd name="connsiteX11" fmla="*/ 1643062 w 2038350"/>
                  <a:gd name="connsiteY11" fmla="*/ 1528763 h 2043113"/>
                  <a:gd name="connsiteX12" fmla="*/ 1333500 w 2038350"/>
                  <a:gd name="connsiteY12" fmla="*/ 1528763 h 2043113"/>
                  <a:gd name="connsiteX13" fmla="*/ 1333500 w 2038350"/>
                  <a:gd name="connsiteY13" fmla="*/ 2043113 h 2043113"/>
                  <a:gd name="connsiteX14" fmla="*/ 0 w 2038350"/>
                  <a:gd name="connsiteY14" fmla="*/ 2033588 h 2043113"/>
                  <a:gd name="connsiteX0" fmla="*/ 0 w 2038350"/>
                  <a:gd name="connsiteY0" fmla="*/ 2043026 h 2043113"/>
                  <a:gd name="connsiteX1" fmla="*/ 0 w 2038350"/>
                  <a:gd name="connsiteY1" fmla="*/ 766763 h 2043113"/>
                  <a:gd name="connsiteX2" fmla="*/ 514350 w 2038350"/>
                  <a:gd name="connsiteY2" fmla="*/ 1023938 h 2043113"/>
                  <a:gd name="connsiteX3" fmla="*/ 514350 w 2038350"/>
                  <a:gd name="connsiteY3" fmla="*/ 762000 h 2043113"/>
                  <a:gd name="connsiteX4" fmla="*/ 1019175 w 2038350"/>
                  <a:gd name="connsiteY4" fmla="*/ 1023938 h 2043113"/>
                  <a:gd name="connsiteX5" fmla="*/ 1019175 w 2038350"/>
                  <a:gd name="connsiteY5" fmla="*/ 762000 h 2043113"/>
                  <a:gd name="connsiteX6" fmla="*/ 1528762 w 2038350"/>
                  <a:gd name="connsiteY6" fmla="*/ 1019175 h 2043113"/>
                  <a:gd name="connsiteX7" fmla="*/ 1785937 w 2038350"/>
                  <a:gd name="connsiteY7" fmla="*/ 0 h 2043113"/>
                  <a:gd name="connsiteX8" fmla="*/ 2038350 w 2038350"/>
                  <a:gd name="connsiteY8" fmla="*/ 0 h 2043113"/>
                  <a:gd name="connsiteX9" fmla="*/ 2038350 w 2038350"/>
                  <a:gd name="connsiteY9" fmla="*/ 2038350 h 2043113"/>
                  <a:gd name="connsiteX10" fmla="*/ 1643062 w 2038350"/>
                  <a:gd name="connsiteY10" fmla="*/ 2038350 h 2043113"/>
                  <a:gd name="connsiteX11" fmla="*/ 1643062 w 2038350"/>
                  <a:gd name="connsiteY11" fmla="*/ 1528763 h 2043113"/>
                  <a:gd name="connsiteX12" fmla="*/ 1333500 w 2038350"/>
                  <a:gd name="connsiteY12" fmla="*/ 1528763 h 2043113"/>
                  <a:gd name="connsiteX13" fmla="*/ 1333500 w 2038350"/>
                  <a:gd name="connsiteY13" fmla="*/ 2043113 h 2043113"/>
                  <a:gd name="connsiteX14" fmla="*/ 0 w 2038350"/>
                  <a:gd name="connsiteY14" fmla="*/ 2043026 h 2043113"/>
                  <a:gd name="connsiteX0" fmla="*/ 0 w 2038350"/>
                  <a:gd name="connsiteY0" fmla="*/ 2043026 h 2405486"/>
                  <a:gd name="connsiteX1" fmla="*/ 0 w 2038350"/>
                  <a:gd name="connsiteY1" fmla="*/ 766763 h 2405486"/>
                  <a:gd name="connsiteX2" fmla="*/ 514350 w 2038350"/>
                  <a:gd name="connsiteY2" fmla="*/ 1023938 h 2405486"/>
                  <a:gd name="connsiteX3" fmla="*/ 514350 w 2038350"/>
                  <a:gd name="connsiteY3" fmla="*/ 762000 h 2405486"/>
                  <a:gd name="connsiteX4" fmla="*/ 1019175 w 2038350"/>
                  <a:gd name="connsiteY4" fmla="*/ 1023938 h 2405486"/>
                  <a:gd name="connsiteX5" fmla="*/ 1019175 w 2038350"/>
                  <a:gd name="connsiteY5" fmla="*/ 762000 h 2405486"/>
                  <a:gd name="connsiteX6" fmla="*/ 1528762 w 2038350"/>
                  <a:gd name="connsiteY6" fmla="*/ 1019175 h 2405486"/>
                  <a:gd name="connsiteX7" fmla="*/ 1785937 w 2038350"/>
                  <a:gd name="connsiteY7" fmla="*/ 0 h 2405486"/>
                  <a:gd name="connsiteX8" fmla="*/ 2038350 w 2038350"/>
                  <a:gd name="connsiteY8" fmla="*/ 0 h 2405486"/>
                  <a:gd name="connsiteX9" fmla="*/ 2038350 w 2038350"/>
                  <a:gd name="connsiteY9" fmla="*/ 2038350 h 2405486"/>
                  <a:gd name="connsiteX10" fmla="*/ 1643062 w 2038350"/>
                  <a:gd name="connsiteY10" fmla="*/ 2038350 h 2405486"/>
                  <a:gd name="connsiteX11" fmla="*/ 1643062 w 2038350"/>
                  <a:gd name="connsiteY11" fmla="*/ 1528763 h 2405486"/>
                  <a:gd name="connsiteX12" fmla="*/ 1333500 w 2038350"/>
                  <a:gd name="connsiteY12" fmla="*/ 1528763 h 2405486"/>
                  <a:gd name="connsiteX13" fmla="*/ 1695873 w 2038350"/>
                  <a:gd name="connsiteY13" fmla="*/ 2405486 h 2405486"/>
                  <a:gd name="connsiteX0" fmla="*/ 0 w 2038350"/>
                  <a:gd name="connsiteY0" fmla="*/ 2043026 h 2405486"/>
                  <a:gd name="connsiteX1" fmla="*/ 0 w 2038350"/>
                  <a:gd name="connsiteY1" fmla="*/ 766763 h 2405486"/>
                  <a:gd name="connsiteX2" fmla="*/ 514350 w 2038350"/>
                  <a:gd name="connsiteY2" fmla="*/ 1023938 h 2405486"/>
                  <a:gd name="connsiteX3" fmla="*/ 514350 w 2038350"/>
                  <a:gd name="connsiteY3" fmla="*/ 762000 h 2405486"/>
                  <a:gd name="connsiteX4" fmla="*/ 1019175 w 2038350"/>
                  <a:gd name="connsiteY4" fmla="*/ 1023938 h 2405486"/>
                  <a:gd name="connsiteX5" fmla="*/ 1019175 w 2038350"/>
                  <a:gd name="connsiteY5" fmla="*/ 762000 h 2405486"/>
                  <a:gd name="connsiteX6" fmla="*/ 1528762 w 2038350"/>
                  <a:gd name="connsiteY6" fmla="*/ 1019175 h 2405486"/>
                  <a:gd name="connsiteX7" fmla="*/ 1785937 w 2038350"/>
                  <a:gd name="connsiteY7" fmla="*/ 0 h 2405486"/>
                  <a:gd name="connsiteX8" fmla="*/ 2038350 w 2038350"/>
                  <a:gd name="connsiteY8" fmla="*/ 0 h 2405486"/>
                  <a:gd name="connsiteX9" fmla="*/ 2038350 w 2038350"/>
                  <a:gd name="connsiteY9" fmla="*/ 2038350 h 2405486"/>
                  <a:gd name="connsiteX10" fmla="*/ 1643062 w 2038350"/>
                  <a:gd name="connsiteY10" fmla="*/ 2038350 h 2405486"/>
                  <a:gd name="connsiteX11" fmla="*/ 1643062 w 2038350"/>
                  <a:gd name="connsiteY11" fmla="*/ 1528763 h 2405486"/>
                  <a:gd name="connsiteX12" fmla="*/ 1333500 w 2038350"/>
                  <a:gd name="connsiteY12" fmla="*/ 1528763 h 2405486"/>
                  <a:gd name="connsiteX13" fmla="*/ 1695873 w 2038350"/>
                  <a:gd name="connsiteY13" fmla="*/ 2405486 h 240548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7274 w 2038350"/>
                  <a:gd name="connsiteY13" fmla="*/ 2009142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3054 w 2038350"/>
                  <a:gd name="connsiteY13" fmla="*/ 1859204 h 2043026"/>
                  <a:gd name="connsiteX14" fmla="*/ 1337274 w 2038350"/>
                  <a:gd name="connsiteY14" fmla="*/ 2009142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7274 w 2038350"/>
                  <a:gd name="connsiteY13" fmla="*/ 2009142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18402 w 2038350"/>
                  <a:gd name="connsiteY13" fmla="*/ 2028018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18402 w 2038350"/>
                  <a:gd name="connsiteY13" fmla="*/ 2028018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27838 w 2038350"/>
                  <a:gd name="connsiteY13" fmla="*/ 2037454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46710 w 2038350"/>
                  <a:gd name="connsiteY13" fmla="*/ 2037454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5803 w 2038350"/>
                  <a:gd name="connsiteY13" fmla="*/ 2037454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5803 w 2038350"/>
                  <a:gd name="connsiteY13" fmla="*/ 2037454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5803 w 2038350"/>
                  <a:gd name="connsiteY13" fmla="*/ 2034728 h 204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38350" h="2043026">
                    <a:moveTo>
                      <a:pt x="0" y="2043026"/>
                    </a:moveTo>
                    <a:lnTo>
                      <a:pt x="0" y="766763"/>
                    </a:lnTo>
                    <a:lnTo>
                      <a:pt x="514350" y="1023938"/>
                    </a:lnTo>
                    <a:lnTo>
                      <a:pt x="514350" y="762000"/>
                    </a:lnTo>
                    <a:lnTo>
                      <a:pt x="1019175" y="1023938"/>
                    </a:lnTo>
                    <a:lnTo>
                      <a:pt x="1019175" y="762000"/>
                    </a:lnTo>
                    <a:lnTo>
                      <a:pt x="1528762" y="1019175"/>
                    </a:lnTo>
                    <a:lnTo>
                      <a:pt x="1785937" y="0"/>
                    </a:lnTo>
                    <a:lnTo>
                      <a:pt x="2038350" y="0"/>
                    </a:lnTo>
                    <a:lnTo>
                      <a:pt x="2038350" y="2038350"/>
                    </a:lnTo>
                    <a:lnTo>
                      <a:pt x="1643062" y="2038350"/>
                    </a:lnTo>
                    <a:lnTo>
                      <a:pt x="1643062" y="1528763"/>
                    </a:lnTo>
                    <a:lnTo>
                      <a:pt x="1333500" y="1528763"/>
                    </a:lnTo>
                    <a:cubicBezTo>
                      <a:pt x="1334268" y="1698327"/>
                      <a:pt x="1335035" y="1865164"/>
                      <a:pt x="1335803" y="2034728"/>
                    </a:cubicBezTo>
                  </a:path>
                </a:pathLst>
              </a:custGeom>
              <a:grpFill/>
              <a:ln w="8001" cap="flat" cmpd="sng" algn="ctr">
                <a:solidFill>
                  <a:schemeClr val="accent2">
                    <a:lumMod val="75000"/>
                  </a:scheme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53332" tIns="53332" rIns="53332" bIns="5333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1457">
                  <a:defRPr/>
                </a:pPr>
                <a:endParaRPr lang="en-US" sz="1186" kern="0">
                  <a:solidFill>
                    <a:srgbClr val="001135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792" name="Line 201">
                <a:extLst>
                  <a:ext uri="{FF2B5EF4-FFF2-40B4-BE49-F238E27FC236}">
                    <a16:creationId xmlns:a16="http://schemas.microsoft.com/office/drawing/2014/main" xmlns="" id="{CECD2458-3F3E-46A0-9BCD-32BC85BEC5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17506" y="2307354"/>
                <a:ext cx="612000" cy="0"/>
              </a:xfrm>
              <a:prstGeom prst="line">
                <a:avLst/>
              </a:prstGeom>
              <a:grpFill/>
              <a:ln w="8001" cap="flat">
                <a:solidFill>
                  <a:schemeClr val="accent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7731" tIns="33866" rIns="67731" bIns="33866" numCol="1" anchor="t" anchorCtr="0" compatLnSpc="1">
                <a:prstTxWarp prst="textNoShape">
                  <a:avLst/>
                </a:prstTxWarp>
              </a:bodyPr>
              <a:lstStyle/>
              <a:p>
                <a:pPr defTabSz="451468">
                  <a:defRPr/>
                </a:pPr>
                <a:endParaRPr lang="en-US" sz="1778">
                  <a:solidFill>
                    <a:srgbClr val="124191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</p:grpSp>
        <p:grpSp>
          <p:nvGrpSpPr>
            <p:cNvPr id="543" name="Gruppieren 584">
              <a:extLst>
                <a:ext uri="{FF2B5EF4-FFF2-40B4-BE49-F238E27FC236}">
                  <a16:creationId xmlns:a16="http://schemas.microsoft.com/office/drawing/2014/main" xmlns="" id="{CADB2100-6E61-4AF5-9A1F-F0D722A1EF32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3452" y="2317736"/>
              <a:ext cx="892572" cy="90748"/>
              <a:chOff x="2444750" y="2740025"/>
              <a:chExt cx="3886682" cy="392717"/>
            </a:xfrm>
            <a:noFill/>
          </p:grpSpPr>
          <p:sp>
            <p:nvSpPr>
              <p:cNvPr id="757" name="Freihandform: Form 585">
                <a:extLst>
                  <a:ext uri="{FF2B5EF4-FFF2-40B4-BE49-F238E27FC236}">
                    <a16:creationId xmlns:a16="http://schemas.microsoft.com/office/drawing/2014/main" xmlns="" id="{56821C3E-F569-40C2-A1C6-321046D13755}"/>
                  </a:ext>
                </a:extLst>
              </p:cNvPr>
              <p:cNvSpPr/>
              <p:nvPr/>
            </p:nvSpPr>
            <p:spPr>
              <a:xfrm>
                <a:off x="5598255" y="2742168"/>
                <a:ext cx="376737" cy="90399"/>
              </a:xfrm>
              <a:custGeom>
                <a:avLst/>
                <a:gdLst>
                  <a:gd name="connsiteX0" fmla="*/ 0 w 376737"/>
                  <a:gd name="connsiteY0" fmla="*/ 0 h 90399"/>
                  <a:gd name="connsiteX1" fmla="*/ 87929 w 376737"/>
                  <a:gd name="connsiteY1" fmla="*/ 239 h 90399"/>
                  <a:gd name="connsiteX2" fmla="*/ 369907 w 376737"/>
                  <a:gd name="connsiteY2" fmla="*/ 86337 h 90399"/>
                  <a:gd name="connsiteX3" fmla="*/ 376737 w 376737"/>
                  <a:gd name="connsiteY3" fmla="*/ 90399 h 90399"/>
                  <a:gd name="connsiteX4" fmla="*/ 70479 w 376737"/>
                  <a:gd name="connsiteY4" fmla="*/ 90399 h 90399"/>
                  <a:gd name="connsiteX5" fmla="*/ 0 w 376737"/>
                  <a:gd name="connsiteY5" fmla="*/ 19920 h 90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6737" h="90399">
                    <a:moveTo>
                      <a:pt x="0" y="0"/>
                    </a:moveTo>
                    <a:lnTo>
                      <a:pt x="87929" y="239"/>
                    </a:lnTo>
                    <a:cubicBezTo>
                      <a:pt x="165807" y="140"/>
                      <a:pt x="276500" y="37881"/>
                      <a:pt x="369907" y="86337"/>
                    </a:cubicBezTo>
                    <a:lnTo>
                      <a:pt x="376737" y="90399"/>
                    </a:lnTo>
                    <a:lnTo>
                      <a:pt x="70479" y="90399"/>
                    </a:lnTo>
                    <a:cubicBezTo>
                      <a:pt x="31555" y="90399"/>
                      <a:pt x="0" y="58844"/>
                      <a:pt x="0" y="19920"/>
                    </a:cubicBezTo>
                    <a:close/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53332" tIns="53332" rIns="53332" bIns="5333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1468">
                  <a:defRPr/>
                </a:pPr>
                <a:endParaRPr lang="en-US" sz="1186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758" name="Freihandform: Form 586">
                <a:extLst>
                  <a:ext uri="{FF2B5EF4-FFF2-40B4-BE49-F238E27FC236}">
                    <a16:creationId xmlns:a16="http://schemas.microsoft.com/office/drawing/2014/main" xmlns="" id="{25BB59C4-DDFD-45C1-909B-290AD0D484EA}"/>
                  </a:ext>
                </a:extLst>
              </p:cNvPr>
              <p:cNvSpPr/>
              <p:nvPr/>
            </p:nvSpPr>
            <p:spPr>
              <a:xfrm>
                <a:off x="2444750" y="2740025"/>
                <a:ext cx="2327275" cy="292100"/>
              </a:xfrm>
              <a:custGeom>
                <a:avLst/>
                <a:gdLst>
                  <a:gd name="connsiteX0" fmla="*/ 3175 w 2327275"/>
                  <a:gd name="connsiteY0" fmla="*/ 0 h 292100"/>
                  <a:gd name="connsiteX1" fmla="*/ 2327275 w 2327275"/>
                  <a:gd name="connsiteY1" fmla="*/ 0 h 292100"/>
                  <a:gd name="connsiteX2" fmla="*/ 2327275 w 2327275"/>
                  <a:gd name="connsiteY2" fmla="*/ 292100 h 292100"/>
                  <a:gd name="connsiteX3" fmla="*/ 0 w 2327275"/>
                  <a:gd name="connsiteY3" fmla="*/ 292100 h 29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27275" h="292100">
                    <a:moveTo>
                      <a:pt x="3175" y="0"/>
                    </a:moveTo>
                    <a:lnTo>
                      <a:pt x="2327275" y="0"/>
                    </a:lnTo>
                    <a:lnTo>
                      <a:pt x="2327275" y="292100"/>
                    </a:lnTo>
                    <a:lnTo>
                      <a:pt x="0" y="292100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1468">
                  <a:defRPr/>
                </a:pPr>
                <a:endParaRPr lang="en-US" sz="1778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759" name="Freihandform: Form 587">
                <a:extLst>
                  <a:ext uri="{FF2B5EF4-FFF2-40B4-BE49-F238E27FC236}">
                    <a16:creationId xmlns:a16="http://schemas.microsoft.com/office/drawing/2014/main" xmlns="" id="{CED112FC-4D33-4AFA-9111-AF1A63F729FA}"/>
                  </a:ext>
                </a:extLst>
              </p:cNvPr>
              <p:cNvSpPr/>
              <p:nvPr/>
            </p:nvSpPr>
            <p:spPr>
              <a:xfrm>
                <a:off x="2638425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1468">
                  <a:defRPr/>
                </a:pPr>
                <a:endParaRPr lang="en-US" sz="1778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760" name="Freihandform: Form 588">
                <a:extLst>
                  <a:ext uri="{FF2B5EF4-FFF2-40B4-BE49-F238E27FC236}">
                    <a16:creationId xmlns:a16="http://schemas.microsoft.com/office/drawing/2014/main" xmlns="" id="{186B23D7-AA13-452E-AAA7-133399798B1D}"/>
                  </a:ext>
                </a:extLst>
              </p:cNvPr>
              <p:cNvSpPr/>
              <p:nvPr/>
            </p:nvSpPr>
            <p:spPr>
              <a:xfrm>
                <a:off x="2884650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1468">
                  <a:defRPr/>
                </a:pPr>
                <a:endParaRPr lang="en-US" sz="1778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761" name="Freihandform: Form 589">
                <a:extLst>
                  <a:ext uri="{FF2B5EF4-FFF2-40B4-BE49-F238E27FC236}">
                    <a16:creationId xmlns:a16="http://schemas.microsoft.com/office/drawing/2014/main" xmlns="" id="{07CA693E-72AB-48B3-B540-381C1181FB84}"/>
                  </a:ext>
                </a:extLst>
              </p:cNvPr>
              <p:cNvSpPr/>
              <p:nvPr/>
            </p:nvSpPr>
            <p:spPr>
              <a:xfrm>
                <a:off x="3120748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1468">
                  <a:defRPr/>
                </a:pPr>
                <a:endParaRPr lang="en-US" sz="1778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762" name="Freihandform: Form 590">
                <a:extLst>
                  <a:ext uri="{FF2B5EF4-FFF2-40B4-BE49-F238E27FC236}">
                    <a16:creationId xmlns:a16="http://schemas.microsoft.com/office/drawing/2014/main" xmlns="" id="{54D40BCE-2E22-4AFF-86AA-A3A5B0817B3D}"/>
                  </a:ext>
                </a:extLst>
              </p:cNvPr>
              <p:cNvSpPr/>
              <p:nvPr/>
            </p:nvSpPr>
            <p:spPr>
              <a:xfrm>
                <a:off x="3366973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1468">
                  <a:defRPr/>
                </a:pPr>
                <a:endParaRPr lang="en-US" sz="1778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763" name="Freihandform: Form 591">
                <a:extLst>
                  <a:ext uri="{FF2B5EF4-FFF2-40B4-BE49-F238E27FC236}">
                    <a16:creationId xmlns:a16="http://schemas.microsoft.com/office/drawing/2014/main" xmlns="" id="{E6D773A4-08EB-4F8C-9F38-2313136D7D8D}"/>
                  </a:ext>
                </a:extLst>
              </p:cNvPr>
              <p:cNvSpPr/>
              <p:nvPr/>
            </p:nvSpPr>
            <p:spPr>
              <a:xfrm>
                <a:off x="3602163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1468">
                  <a:defRPr/>
                </a:pPr>
                <a:endParaRPr lang="en-US" sz="1778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764" name="Freihandform: Form 592">
                <a:extLst>
                  <a:ext uri="{FF2B5EF4-FFF2-40B4-BE49-F238E27FC236}">
                    <a16:creationId xmlns:a16="http://schemas.microsoft.com/office/drawing/2014/main" xmlns="" id="{4415C4FC-5C91-4D56-8237-D5E8477106D6}"/>
                  </a:ext>
                </a:extLst>
              </p:cNvPr>
              <p:cNvSpPr/>
              <p:nvPr userDrawn="1"/>
            </p:nvSpPr>
            <p:spPr>
              <a:xfrm>
                <a:off x="3848388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1468">
                  <a:defRPr/>
                </a:pPr>
                <a:endParaRPr lang="en-US" sz="1778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765" name="Freihandform: Form 593">
                <a:extLst>
                  <a:ext uri="{FF2B5EF4-FFF2-40B4-BE49-F238E27FC236}">
                    <a16:creationId xmlns:a16="http://schemas.microsoft.com/office/drawing/2014/main" xmlns="" id="{C19FBBDF-7E58-4E2A-A46E-C51C017B938D}"/>
                  </a:ext>
                </a:extLst>
              </p:cNvPr>
              <p:cNvSpPr/>
              <p:nvPr/>
            </p:nvSpPr>
            <p:spPr>
              <a:xfrm>
                <a:off x="4077256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1468">
                  <a:defRPr/>
                </a:pPr>
                <a:endParaRPr lang="en-US" sz="1778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766" name="Freihandform: Form 594">
                <a:extLst>
                  <a:ext uri="{FF2B5EF4-FFF2-40B4-BE49-F238E27FC236}">
                    <a16:creationId xmlns:a16="http://schemas.microsoft.com/office/drawing/2014/main" xmlns="" id="{89CF28D9-8A8E-4F7D-8072-2DC4AC3D62AA}"/>
                  </a:ext>
                </a:extLst>
              </p:cNvPr>
              <p:cNvSpPr/>
              <p:nvPr/>
            </p:nvSpPr>
            <p:spPr>
              <a:xfrm>
                <a:off x="4323481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1468">
                  <a:defRPr/>
                </a:pPr>
                <a:endParaRPr lang="en-US" sz="1778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767" name="Freihandform: Form 595">
                <a:extLst>
                  <a:ext uri="{FF2B5EF4-FFF2-40B4-BE49-F238E27FC236}">
                    <a16:creationId xmlns:a16="http://schemas.microsoft.com/office/drawing/2014/main" xmlns="" id="{2082EDFD-2C73-4A55-B927-CD8B4965BE52}"/>
                  </a:ext>
                </a:extLst>
              </p:cNvPr>
              <p:cNvSpPr/>
              <p:nvPr/>
            </p:nvSpPr>
            <p:spPr>
              <a:xfrm>
                <a:off x="4550877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1468">
                  <a:defRPr/>
                </a:pPr>
                <a:endParaRPr lang="en-US" sz="1778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768" name="Freihandform: Form 596">
                <a:extLst>
                  <a:ext uri="{FF2B5EF4-FFF2-40B4-BE49-F238E27FC236}">
                    <a16:creationId xmlns:a16="http://schemas.microsoft.com/office/drawing/2014/main" xmlns="" id="{8955A56D-0BCC-4D0F-8808-189DB8A8895D}"/>
                  </a:ext>
                </a:extLst>
              </p:cNvPr>
              <p:cNvSpPr/>
              <p:nvPr/>
            </p:nvSpPr>
            <p:spPr>
              <a:xfrm>
                <a:off x="4909182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1468">
                  <a:defRPr/>
                </a:pPr>
                <a:endParaRPr lang="en-US" sz="1778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769" name="Freihandform: Form 597">
                <a:extLst>
                  <a:ext uri="{FF2B5EF4-FFF2-40B4-BE49-F238E27FC236}">
                    <a16:creationId xmlns:a16="http://schemas.microsoft.com/office/drawing/2014/main" xmlns="" id="{D4F1211A-1D02-4B56-BDDF-6FD145A1CAD9}"/>
                  </a:ext>
                </a:extLst>
              </p:cNvPr>
              <p:cNvSpPr/>
              <p:nvPr/>
            </p:nvSpPr>
            <p:spPr>
              <a:xfrm>
                <a:off x="5155407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1468">
                  <a:defRPr/>
                </a:pPr>
                <a:endParaRPr lang="en-US" sz="1778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770" name="Freihandform: Form 598">
                <a:extLst>
                  <a:ext uri="{FF2B5EF4-FFF2-40B4-BE49-F238E27FC236}">
                    <a16:creationId xmlns:a16="http://schemas.microsoft.com/office/drawing/2014/main" xmlns="" id="{FDC28DDA-8F2D-4B06-B4B7-0493E8993B3F}"/>
                  </a:ext>
                </a:extLst>
              </p:cNvPr>
              <p:cNvSpPr/>
              <p:nvPr/>
            </p:nvSpPr>
            <p:spPr>
              <a:xfrm>
                <a:off x="5382803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1468">
                  <a:defRPr/>
                </a:pPr>
                <a:endParaRPr lang="en-US" sz="1778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771" name="Freihandform: Form 599">
                <a:extLst>
                  <a:ext uri="{FF2B5EF4-FFF2-40B4-BE49-F238E27FC236}">
                    <a16:creationId xmlns:a16="http://schemas.microsoft.com/office/drawing/2014/main" xmlns="" id="{E4D20E0A-E521-4B69-B52E-8BE87B0CC119}"/>
                  </a:ext>
                </a:extLst>
              </p:cNvPr>
              <p:cNvSpPr/>
              <p:nvPr/>
            </p:nvSpPr>
            <p:spPr>
              <a:xfrm flipH="1">
                <a:off x="4811559" y="2740025"/>
                <a:ext cx="1335690" cy="294482"/>
              </a:xfrm>
              <a:custGeom>
                <a:avLst/>
                <a:gdLst>
                  <a:gd name="connsiteX0" fmla="*/ 3175 w 2327275"/>
                  <a:gd name="connsiteY0" fmla="*/ 0 h 292100"/>
                  <a:gd name="connsiteX1" fmla="*/ 2327275 w 2327275"/>
                  <a:gd name="connsiteY1" fmla="*/ 0 h 292100"/>
                  <a:gd name="connsiteX2" fmla="*/ 2327275 w 2327275"/>
                  <a:gd name="connsiteY2" fmla="*/ 292100 h 292100"/>
                  <a:gd name="connsiteX3" fmla="*/ 0 w 2327275"/>
                  <a:gd name="connsiteY3" fmla="*/ 292100 h 292100"/>
                  <a:gd name="connsiteX0" fmla="*/ 3175 w 2327275"/>
                  <a:gd name="connsiteY0" fmla="*/ 0 h 292100"/>
                  <a:gd name="connsiteX1" fmla="*/ 2327275 w 2327275"/>
                  <a:gd name="connsiteY1" fmla="*/ 0 h 292100"/>
                  <a:gd name="connsiteX2" fmla="*/ 2327275 w 2327275"/>
                  <a:gd name="connsiteY2" fmla="*/ 292100 h 292100"/>
                  <a:gd name="connsiteX3" fmla="*/ 0 w 2327275"/>
                  <a:gd name="connsiteY3" fmla="*/ 292100 h 292100"/>
                  <a:gd name="connsiteX4" fmla="*/ 3175 w 2327275"/>
                  <a:gd name="connsiteY4" fmla="*/ 0 h 292100"/>
                  <a:gd name="connsiteX0" fmla="*/ 298508 w 2622608"/>
                  <a:gd name="connsiteY0" fmla="*/ 0 h 294482"/>
                  <a:gd name="connsiteX1" fmla="*/ 2622608 w 2622608"/>
                  <a:gd name="connsiteY1" fmla="*/ 0 h 294482"/>
                  <a:gd name="connsiteX2" fmla="*/ 2622608 w 2622608"/>
                  <a:gd name="connsiteY2" fmla="*/ 292100 h 294482"/>
                  <a:gd name="connsiteX3" fmla="*/ 0 w 2622608"/>
                  <a:gd name="connsiteY3" fmla="*/ 294482 h 294482"/>
                  <a:gd name="connsiteX4" fmla="*/ 298508 w 2622608"/>
                  <a:gd name="connsiteY4" fmla="*/ 0 h 294482"/>
                  <a:gd name="connsiteX0" fmla="*/ 784055 w 2622608"/>
                  <a:gd name="connsiteY0" fmla="*/ 2381 h 294482"/>
                  <a:gd name="connsiteX1" fmla="*/ 2622608 w 2622608"/>
                  <a:gd name="connsiteY1" fmla="*/ 0 h 294482"/>
                  <a:gd name="connsiteX2" fmla="*/ 2622608 w 2622608"/>
                  <a:gd name="connsiteY2" fmla="*/ 292100 h 294482"/>
                  <a:gd name="connsiteX3" fmla="*/ 0 w 2622608"/>
                  <a:gd name="connsiteY3" fmla="*/ 294482 h 294482"/>
                  <a:gd name="connsiteX4" fmla="*/ 784055 w 2622608"/>
                  <a:gd name="connsiteY4" fmla="*/ 2381 h 294482"/>
                  <a:gd name="connsiteX0" fmla="*/ 784055 w 2622608"/>
                  <a:gd name="connsiteY0" fmla="*/ 2381 h 294482"/>
                  <a:gd name="connsiteX1" fmla="*/ 2622608 w 2622608"/>
                  <a:gd name="connsiteY1" fmla="*/ 0 h 294482"/>
                  <a:gd name="connsiteX2" fmla="*/ 2622608 w 2622608"/>
                  <a:gd name="connsiteY2" fmla="*/ 292100 h 294482"/>
                  <a:gd name="connsiteX3" fmla="*/ 0 w 2622608"/>
                  <a:gd name="connsiteY3" fmla="*/ 294482 h 294482"/>
                  <a:gd name="connsiteX4" fmla="*/ 784055 w 2622608"/>
                  <a:gd name="connsiteY4" fmla="*/ 2381 h 294482"/>
                  <a:gd name="connsiteX0" fmla="*/ 971201 w 2809754"/>
                  <a:gd name="connsiteY0" fmla="*/ 2381 h 294482"/>
                  <a:gd name="connsiteX1" fmla="*/ 2809754 w 2809754"/>
                  <a:gd name="connsiteY1" fmla="*/ 0 h 294482"/>
                  <a:gd name="connsiteX2" fmla="*/ 2809754 w 2809754"/>
                  <a:gd name="connsiteY2" fmla="*/ 292100 h 294482"/>
                  <a:gd name="connsiteX3" fmla="*/ 187146 w 2809754"/>
                  <a:gd name="connsiteY3" fmla="*/ 294482 h 294482"/>
                  <a:gd name="connsiteX4" fmla="*/ 971201 w 2809754"/>
                  <a:gd name="connsiteY4" fmla="*/ 2381 h 294482"/>
                  <a:gd name="connsiteX0" fmla="*/ 965143 w 2803696"/>
                  <a:gd name="connsiteY0" fmla="*/ 2381 h 294482"/>
                  <a:gd name="connsiteX1" fmla="*/ 2803696 w 2803696"/>
                  <a:gd name="connsiteY1" fmla="*/ 0 h 294482"/>
                  <a:gd name="connsiteX2" fmla="*/ 2803696 w 2803696"/>
                  <a:gd name="connsiteY2" fmla="*/ 292100 h 294482"/>
                  <a:gd name="connsiteX3" fmla="*/ 181088 w 2803696"/>
                  <a:gd name="connsiteY3" fmla="*/ 294482 h 294482"/>
                  <a:gd name="connsiteX4" fmla="*/ 965143 w 2803696"/>
                  <a:gd name="connsiteY4" fmla="*/ 2381 h 294482"/>
                  <a:gd name="connsiteX0" fmla="*/ 969206 w 2807759"/>
                  <a:gd name="connsiteY0" fmla="*/ 2381 h 294482"/>
                  <a:gd name="connsiteX1" fmla="*/ 2807759 w 2807759"/>
                  <a:gd name="connsiteY1" fmla="*/ 0 h 294482"/>
                  <a:gd name="connsiteX2" fmla="*/ 2807759 w 2807759"/>
                  <a:gd name="connsiteY2" fmla="*/ 292100 h 294482"/>
                  <a:gd name="connsiteX3" fmla="*/ 185151 w 2807759"/>
                  <a:gd name="connsiteY3" fmla="*/ 294482 h 294482"/>
                  <a:gd name="connsiteX4" fmla="*/ 969206 w 2807759"/>
                  <a:gd name="connsiteY4" fmla="*/ 2381 h 294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07759" h="294482">
                    <a:moveTo>
                      <a:pt x="969206" y="2381"/>
                    </a:moveTo>
                    <a:lnTo>
                      <a:pt x="2807759" y="0"/>
                    </a:lnTo>
                    <a:lnTo>
                      <a:pt x="2807759" y="292100"/>
                    </a:lnTo>
                    <a:lnTo>
                      <a:pt x="185151" y="294482"/>
                    </a:lnTo>
                    <a:cubicBezTo>
                      <a:pt x="-394443" y="270934"/>
                      <a:pt x="532656" y="2117"/>
                      <a:pt x="969206" y="2381"/>
                    </a:cubicBezTo>
                    <a:close/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1468">
                  <a:defRPr/>
                </a:pPr>
                <a:endParaRPr lang="en-US" sz="1778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grpSp>
            <p:nvGrpSpPr>
              <p:cNvPr id="772" name="Gruppieren 600">
                <a:extLst>
                  <a:ext uri="{FF2B5EF4-FFF2-40B4-BE49-F238E27FC236}">
                    <a16:creationId xmlns:a16="http://schemas.microsoft.com/office/drawing/2014/main" xmlns="" id="{AB8E0A40-49C6-4B02-A857-CFC47038A517}"/>
                  </a:ext>
                </a:extLst>
              </p:cNvPr>
              <p:cNvGrpSpPr/>
              <p:nvPr/>
            </p:nvGrpSpPr>
            <p:grpSpPr>
              <a:xfrm>
                <a:off x="2446936" y="3082933"/>
                <a:ext cx="3884496" cy="49809"/>
                <a:chOff x="2294536" y="2930533"/>
                <a:chExt cx="3884496" cy="49809"/>
              </a:xfrm>
              <a:grpFill/>
            </p:grpSpPr>
            <p:cxnSp>
              <p:nvCxnSpPr>
                <p:cNvPr id="773" name="Gerader Verbinder 601">
                  <a:extLst>
                    <a:ext uri="{FF2B5EF4-FFF2-40B4-BE49-F238E27FC236}">
                      <a16:creationId xmlns:a16="http://schemas.microsoft.com/office/drawing/2014/main" xmlns="" id="{555DCD6A-F189-43C3-9A8C-771AF8FD8658}"/>
                    </a:ext>
                  </a:extLst>
                </p:cNvPr>
                <p:cNvCxnSpPr/>
                <p:nvPr/>
              </p:nvCxnSpPr>
              <p:spPr>
                <a:xfrm>
                  <a:off x="2294536" y="2955437"/>
                  <a:ext cx="3884496" cy="0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74" name="Gerader Verbinder 602">
                  <a:extLst>
                    <a:ext uri="{FF2B5EF4-FFF2-40B4-BE49-F238E27FC236}">
                      <a16:creationId xmlns:a16="http://schemas.microsoft.com/office/drawing/2014/main" xmlns="" id="{D9B1CD6B-A4F8-4AC8-B190-855F5703F983}"/>
                    </a:ext>
                  </a:extLst>
                </p:cNvPr>
                <p:cNvCxnSpPr/>
                <p:nvPr/>
              </p:nvCxnSpPr>
              <p:spPr>
                <a:xfrm>
                  <a:off x="2410655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75" name="Gerader Verbinder 603">
                  <a:extLst>
                    <a:ext uri="{FF2B5EF4-FFF2-40B4-BE49-F238E27FC236}">
                      <a16:creationId xmlns:a16="http://schemas.microsoft.com/office/drawing/2014/main" xmlns="" id="{756EC34E-15FA-44B9-88DD-0D1A0E0E43E5}"/>
                    </a:ext>
                  </a:extLst>
                </p:cNvPr>
                <p:cNvCxnSpPr/>
                <p:nvPr/>
              </p:nvCxnSpPr>
              <p:spPr>
                <a:xfrm>
                  <a:off x="2639026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76" name="Gerader Verbinder 604">
                  <a:extLst>
                    <a:ext uri="{FF2B5EF4-FFF2-40B4-BE49-F238E27FC236}">
                      <a16:creationId xmlns:a16="http://schemas.microsoft.com/office/drawing/2014/main" xmlns="" id="{4D171A4B-4EC7-490E-AD6C-C6EBB0750BF6}"/>
                    </a:ext>
                  </a:extLst>
                </p:cNvPr>
                <p:cNvCxnSpPr/>
                <p:nvPr/>
              </p:nvCxnSpPr>
              <p:spPr>
                <a:xfrm>
                  <a:off x="2867397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77" name="Gerader Verbinder 605">
                  <a:extLst>
                    <a:ext uri="{FF2B5EF4-FFF2-40B4-BE49-F238E27FC236}">
                      <a16:creationId xmlns:a16="http://schemas.microsoft.com/office/drawing/2014/main" xmlns="" id="{CE02A587-9AA9-45CC-A06F-FEFF450E7DF4}"/>
                    </a:ext>
                  </a:extLst>
                </p:cNvPr>
                <p:cNvCxnSpPr/>
                <p:nvPr/>
              </p:nvCxnSpPr>
              <p:spPr>
                <a:xfrm>
                  <a:off x="3095768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78" name="Gerader Verbinder 606">
                  <a:extLst>
                    <a:ext uri="{FF2B5EF4-FFF2-40B4-BE49-F238E27FC236}">
                      <a16:creationId xmlns:a16="http://schemas.microsoft.com/office/drawing/2014/main" xmlns="" id="{D6005FBE-21D1-4227-845C-13179454AB76}"/>
                    </a:ext>
                  </a:extLst>
                </p:cNvPr>
                <p:cNvCxnSpPr/>
                <p:nvPr/>
              </p:nvCxnSpPr>
              <p:spPr>
                <a:xfrm>
                  <a:off x="3324139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79" name="Gerader Verbinder 607">
                  <a:extLst>
                    <a:ext uri="{FF2B5EF4-FFF2-40B4-BE49-F238E27FC236}">
                      <a16:creationId xmlns:a16="http://schemas.microsoft.com/office/drawing/2014/main" xmlns="" id="{A6765C86-518C-4EA5-81B1-7A41D24A55F0}"/>
                    </a:ext>
                  </a:extLst>
                </p:cNvPr>
                <p:cNvCxnSpPr/>
                <p:nvPr/>
              </p:nvCxnSpPr>
              <p:spPr>
                <a:xfrm>
                  <a:off x="3552510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80" name="Gerader Verbinder 608">
                  <a:extLst>
                    <a:ext uri="{FF2B5EF4-FFF2-40B4-BE49-F238E27FC236}">
                      <a16:creationId xmlns:a16="http://schemas.microsoft.com/office/drawing/2014/main" xmlns="" id="{874A677A-7848-40FA-BC04-FB30CD995BB9}"/>
                    </a:ext>
                  </a:extLst>
                </p:cNvPr>
                <p:cNvCxnSpPr/>
                <p:nvPr/>
              </p:nvCxnSpPr>
              <p:spPr>
                <a:xfrm>
                  <a:off x="3780881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81" name="Gerader Verbinder 609">
                  <a:extLst>
                    <a:ext uri="{FF2B5EF4-FFF2-40B4-BE49-F238E27FC236}">
                      <a16:creationId xmlns:a16="http://schemas.microsoft.com/office/drawing/2014/main" xmlns="" id="{59F21F7F-0057-4E16-BC1B-D285A62506E9}"/>
                    </a:ext>
                  </a:extLst>
                </p:cNvPr>
                <p:cNvCxnSpPr/>
                <p:nvPr/>
              </p:nvCxnSpPr>
              <p:spPr>
                <a:xfrm>
                  <a:off x="4009252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82" name="Gerader Verbinder 610">
                  <a:extLst>
                    <a:ext uri="{FF2B5EF4-FFF2-40B4-BE49-F238E27FC236}">
                      <a16:creationId xmlns:a16="http://schemas.microsoft.com/office/drawing/2014/main" xmlns="" id="{090ADE8C-726A-43CF-BCE2-5F8AFE46AD01}"/>
                    </a:ext>
                  </a:extLst>
                </p:cNvPr>
                <p:cNvCxnSpPr/>
                <p:nvPr/>
              </p:nvCxnSpPr>
              <p:spPr>
                <a:xfrm>
                  <a:off x="4237623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83" name="Gerader Verbinder 611">
                  <a:extLst>
                    <a:ext uri="{FF2B5EF4-FFF2-40B4-BE49-F238E27FC236}">
                      <a16:creationId xmlns:a16="http://schemas.microsoft.com/office/drawing/2014/main" xmlns="" id="{3DF15D92-BBC3-49C8-9BBB-DA5E04FDEA12}"/>
                    </a:ext>
                  </a:extLst>
                </p:cNvPr>
                <p:cNvCxnSpPr/>
                <p:nvPr/>
              </p:nvCxnSpPr>
              <p:spPr>
                <a:xfrm>
                  <a:off x="4465994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84" name="Gerader Verbinder 612">
                  <a:extLst>
                    <a:ext uri="{FF2B5EF4-FFF2-40B4-BE49-F238E27FC236}">
                      <a16:creationId xmlns:a16="http://schemas.microsoft.com/office/drawing/2014/main" xmlns="" id="{F42B8D30-2E21-49BF-A45D-7E26395A0D4E}"/>
                    </a:ext>
                  </a:extLst>
                </p:cNvPr>
                <p:cNvCxnSpPr/>
                <p:nvPr/>
              </p:nvCxnSpPr>
              <p:spPr>
                <a:xfrm>
                  <a:off x="4694365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85" name="Gerader Verbinder 613">
                  <a:extLst>
                    <a:ext uri="{FF2B5EF4-FFF2-40B4-BE49-F238E27FC236}">
                      <a16:creationId xmlns:a16="http://schemas.microsoft.com/office/drawing/2014/main" xmlns="" id="{4F1C9053-27E4-40BA-9DFA-354E8F628427}"/>
                    </a:ext>
                  </a:extLst>
                </p:cNvPr>
                <p:cNvCxnSpPr/>
                <p:nvPr/>
              </p:nvCxnSpPr>
              <p:spPr>
                <a:xfrm>
                  <a:off x="4922736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86" name="Gerader Verbinder 614">
                  <a:extLst>
                    <a:ext uri="{FF2B5EF4-FFF2-40B4-BE49-F238E27FC236}">
                      <a16:creationId xmlns:a16="http://schemas.microsoft.com/office/drawing/2014/main" xmlns="" id="{C7595671-1E3A-4C56-8623-01273B66D2C2}"/>
                    </a:ext>
                  </a:extLst>
                </p:cNvPr>
                <p:cNvCxnSpPr/>
                <p:nvPr/>
              </p:nvCxnSpPr>
              <p:spPr>
                <a:xfrm>
                  <a:off x="5151107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87" name="Gerader Verbinder 615">
                  <a:extLst>
                    <a:ext uri="{FF2B5EF4-FFF2-40B4-BE49-F238E27FC236}">
                      <a16:creationId xmlns:a16="http://schemas.microsoft.com/office/drawing/2014/main" xmlns="" id="{DA8ACAF8-48CD-444B-963C-E19A68689C3E}"/>
                    </a:ext>
                  </a:extLst>
                </p:cNvPr>
                <p:cNvCxnSpPr/>
                <p:nvPr/>
              </p:nvCxnSpPr>
              <p:spPr>
                <a:xfrm>
                  <a:off x="5379478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88" name="Gerader Verbinder 616">
                  <a:extLst>
                    <a:ext uri="{FF2B5EF4-FFF2-40B4-BE49-F238E27FC236}">
                      <a16:creationId xmlns:a16="http://schemas.microsoft.com/office/drawing/2014/main" xmlns="" id="{1F4FBEBC-130E-47C4-9884-C86E4A34AB45}"/>
                    </a:ext>
                  </a:extLst>
                </p:cNvPr>
                <p:cNvCxnSpPr/>
                <p:nvPr/>
              </p:nvCxnSpPr>
              <p:spPr>
                <a:xfrm>
                  <a:off x="5607849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89" name="Gerader Verbinder 617">
                  <a:extLst>
                    <a:ext uri="{FF2B5EF4-FFF2-40B4-BE49-F238E27FC236}">
                      <a16:creationId xmlns:a16="http://schemas.microsoft.com/office/drawing/2014/main" xmlns="" id="{EB6549C4-3B5E-4212-A519-2047F05740EF}"/>
                    </a:ext>
                  </a:extLst>
                </p:cNvPr>
                <p:cNvCxnSpPr/>
                <p:nvPr/>
              </p:nvCxnSpPr>
              <p:spPr>
                <a:xfrm>
                  <a:off x="5836220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790" name="Gerader Verbinder 618">
                  <a:extLst>
                    <a:ext uri="{FF2B5EF4-FFF2-40B4-BE49-F238E27FC236}">
                      <a16:creationId xmlns:a16="http://schemas.microsoft.com/office/drawing/2014/main" xmlns="" id="{DD62B529-91DA-4FC9-960A-94CBDFFD4462}"/>
                    </a:ext>
                  </a:extLst>
                </p:cNvPr>
                <p:cNvCxnSpPr/>
                <p:nvPr/>
              </p:nvCxnSpPr>
              <p:spPr>
                <a:xfrm>
                  <a:off x="6064595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</p:grpSp>
        </p:grpSp>
        <p:grpSp>
          <p:nvGrpSpPr>
            <p:cNvPr id="544" name="Gruppieren 543">
              <a:extLst>
                <a:ext uri="{FF2B5EF4-FFF2-40B4-BE49-F238E27FC236}">
                  <a16:creationId xmlns:a16="http://schemas.microsoft.com/office/drawing/2014/main" xmlns="" id="{CBE6C9B6-D8B6-4A59-9E26-FFAEB79F4524}"/>
                </a:ext>
              </a:extLst>
            </p:cNvPr>
            <p:cNvGrpSpPr/>
            <p:nvPr userDrawn="1"/>
          </p:nvGrpSpPr>
          <p:grpSpPr>
            <a:xfrm>
              <a:off x="718665" y="1881009"/>
              <a:ext cx="2399622" cy="1407993"/>
              <a:chOff x="224823" y="2404047"/>
              <a:chExt cx="2399622" cy="1407993"/>
            </a:xfrm>
          </p:grpSpPr>
          <p:grpSp>
            <p:nvGrpSpPr>
              <p:cNvPr id="545" name="Gruppieren 544">
                <a:extLst>
                  <a:ext uri="{FF2B5EF4-FFF2-40B4-BE49-F238E27FC236}">
                    <a16:creationId xmlns:a16="http://schemas.microsoft.com/office/drawing/2014/main" xmlns="" id="{EA0D4499-B2A2-4C7E-BCFA-28C3D1BAD7AB}"/>
                  </a:ext>
                </a:extLst>
              </p:cNvPr>
              <p:cNvGrpSpPr/>
              <p:nvPr/>
            </p:nvGrpSpPr>
            <p:grpSpPr>
              <a:xfrm>
                <a:off x="224823" y="2404047"/>
                <a:ext cx="2399622" cy="1407993"/>
                <a:chOff x="224823" y="2404047"/>
                <a:chExt cx="2399622" cy="1407993"/>
              </a:xfrm>
            </p:grpSpPr>
            <p:grpSp>
              <p:nvGrpSpPr>
                <p:cNvPr id="548" name="Gruppieren 547">
                  <a:extLst>
                    <a:ext uri="{FF2B5EF4-FFF2-40B4-BE49-F238E27FC236}">
                      <a16:creationId xmlns:a16="http://schemas.microsoft.com/office/drawing/2014/main" xmlns="" id="{B97E1C74-CDDB-41C6-88CE-2A7EF100E83F}"/>
                    </a:ext>
                  </a:extLst>
                </p:cNvPr>
                <p:cNvGrpSpPr/>
                <p:nvPr/>
              </p:nvGrpSpPr>
              <p:grpSpPr>
                <a:xfrm>
                  <a:off x="771901" y="2477602"/>
                  <a:ext cx="254188" cy="760121"/>
                  <a:chOff x="1510396" y="547704"/>
                  <a:chExt cx="565155" cy="1690030"/>
                </a:xfrm>
              </p:grpSpPr>
              <p:sp>
                <p:nvSpPr>
                  <p:cNvPr id="733" name="Rectangle 193">
                    <a:extLst>
                      <a:ext uri="{FF2B5EF4-FFF2-40B4-BE49-F238E27FC236}">
                        <a16:creationId xmlns:a16="http://schemas.microsoft.com/office/drawing/2014/main" xmlns="" id="{DE9263FD-000A-4773-8DD5-4211D3B5E84D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510396" y="547704"/>
                    <a:ext cx="565155" cy="1690030"/>
                  </a:xfrm>
                  <a:prstGeom prst="rect">
                    <a:avLst/>
                  </a:prstGeom>
                  <a:solidFill>
                    <a:schemeClr val="accent1">
                      <a:lumMod val="40000"/>
                      <a:lumOff val="60000"/>
                    </a:schemeClr>
                  </a:solidFill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grpSp>
                <p:nvGrpSpPr>
                  <p:cNvPr id="734" name="Gruppieren 733">
                    <a:extLst>
                      <a:ext uri="{FF2B5EF4-FFF2-40B4-BE49-F238E27FC236}">
                        <a16:creationId xmlns:a16="http://schemas.microsoft.com/office/drawing/2014/main" xmlns="" id="{28F65075-624D-4AB3-B202-03CB260ED81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561759" y="627641"/>
                    <a:ext cx="462428" cy="754224"/>
                    <a:chOff x="1587718" y="627641"/>
                    <a:chExt cx="462428" cy="754224"/>
                  </a:xfrm>
                </p:grpSpPr>
                <p:grpSp>
                  <p:nvGrpSpPr>
                    <p:cNvPr id="739" name="Gruppieren 738">
                      <a:extLst>
                        <a:ext uri="{FF2B5EF4-FFF2-40B4-BE49-F238E27FC236}">
                          <a16:creationId xmlns:a16="http://schemas.microsoft.com/office/drawing/2014/main" xmlns="" id="{D80C9963-893B-45DE-888E-7D9CA0444CAC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587718" y="627641"/>
                      <a:ext cx="116404" cy="754224"/>
                      <a:chOff x="1587718" y="627641"/>
                      <a:chExt cx="77489" cy="754224"/>
                    </a:xfrm>
                  </p:grpSpPr>
                  <p:sp>
                    <p:nvSpPr>
                      <p:cNvPr id="752" name="Rectangle 220">
                        <a:extLst>
                          <a:ext uri="{FF2B5EF4-FFF2-40B4-BE49-F238E27FC236}">
                            <a16:creationId xmlns:a16="http://schemas.microsoft.com/office/drawing/2014/main" xmlns="" id="{DD156322-DEFE-473A-9F14-E40BB14248DF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627641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753" name="Rectangle 220">
                        <a:extLst>
                          <a:ext uri="{FF2B5EF4-FFF2-40B4-BE49-F238E27FC236}">
                            <a16:creationId xmlns:a16="http://schemas.microsoft.com/office/drawing/2014/main" xmlns="" id="{38D58F51-E4F3-4D6E-BAAE-CE68110E8AB8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79369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754" name="Rectangle 220">
                        <a:extLst>
                          <a:ext uri="{FF2B5EF4-FFF2-40B4-BE49-F238E27FC236}">
                            <a16:creationId xmlns:a16="http://schemas.microsoft.com/office/drawing/2014/main" xmlns="" id="{E473545F-5DA0-4DBF-B2F4-6226E5436D27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95975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755" name="Rectangle 220">
                        <a:extLst>
                          <a:ext uri="{FF2B5EF4-FFF2-40B4-BE49-F238E27FC236}">
                            <a16:creationId xmlns:a16="http://schemas.microsoft.com/office/drawing/2014/main" xmlns="" id="{5BADC488-A47D-44AA-87A6-F95F1A6E787C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12580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756" name="Rectangle 220">
                        <a:extLst>
                          <a:ext uri="{FF2B5EF4-FFF2-40B4-BE49-F238E27FC236}">
                            <a16:creationId xmlns:a16="http://schemas.microsoft.com/office/drawing/2014/main" xmlns="" id="{D96911A1-5976-4583-95EA-D05CF6B54C67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29186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</p:grpSp>
                <p:grpSp>
                  <p:nvGrpSpPr>
                    <p:cNvPr id="740" name="Gruppieren 739">
                      <a:extLst>
                        <a:ext uri="{FF2B5EF4-FFF2-40B4-BE49-F238E27FC236}">
                          <a16:creationId xmlns:a16="http://schemas.microsoft.com/office/drawing/2014/main" xmlns="" id="{E8E7583E-12F3-4278-ABBE-A1A621A3DA33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760730" y="627641"/>
                      <a:ext cx="116404" cy="754224"/>
                      <a:chOff x="1587718" y="627641"/>
                      <a:chExt cx="77489" cy="754224"/>
                    </a:xfrm>
                  </p:grpSpPr>
                  <p:sp>
                    <p:nvSpPr>
                      <p:cNvPr id="747" name="Rectangle 220">
                        <a:extLst>
                          <a:ext uri="{FF2B5EF4-FFF2-40B4-BE49-F238E27FC236}">
                            <a16:creationId xmlns:a16="http://schemas.microsoft.com/office/drawing/2014/main" xmlns="" id="{79827A52-0024-4DB9-80EF-E58CE47BCAB4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627641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748" name="Rectangle 220">
                        <a:extLst>
                          <a:ext uri="{FF2B5EF4-FFF2-40B4-BE49-F238E27FC236}">
                            <a16:creationId xmlns:a16="http://schemas.microsoft.com/office/drawing/2014/main" xmlns="" id="{7ADA9ABF-2C7E-4823-A78E-E3C9698F8986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79369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749" name="Rectangle 220">
                        <a:extLst>
                          <a:ext uri="{FF2B5EF4-FFF2-40B4-BE49-F238E27FC236}">
                            <a16:creationId xmlns:a16="http://schemas.microsoft.com/office/drawing/2014/main" xmlns="" id="{72B10192-900B-4B15-B269-0686F7A8AFA2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95975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750" name="Rectangle 220">
                        <a:extLst>
                          <a:ext uri="{FF2B5EF4-FFF2-40B4-BE49-F238E27FC236}">
                            <a16:creationId xmlns:a16="http://schemas.microsoft.com/office/drawing/2014/main" xmlns="" id="{F55547A3-B1C6-46C3-80C6-8FDDF108290B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12580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751" name="Rectangle 220">
                        <a:extLst>
                          <a:ext uri="{FF2B5EF4-FFF2-40B4-BE49-F238E27FC236}">
                            <a16:creationId xmlns:a16="http://schemas.microsoft.com/office/drawing/2014/main" xmlns="" id="{AB489E3B-0CE7-477E-BF7A-2F28915534CE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29186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</p:grpSp>
                <p:grpSp>
                  <p:nvGrpSpPr>
                    <p:cNvPr id="741" name="Gruppieren 740">
                      <a:extLst>
                        <a:ext uri="{FF2B5EF4-FFF2-40B4-BE49-F238E27FC236}">
                          <a16:creationId xmlns:a16="http://schemas.microsoft.com/office/drawing/2014/main" xmlns="" id="{A1E3B0BB-CF64-4BD2-B02D-531AD2910B2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933742" y="627641"/>
                      <a:ext cx="116404" cy="754224"/>
                      <a:chOff x="1587718" y="627641"/>
                      <a:chExt cx="77489" cy="754224"/>
                    </a:xfrm>
                  </p:grpSpPr>
                  <p:sp>
                    <p:nvSpPr>
                      <p:cNvPr id="742" name="Rectangle 220">
                        <a:extLst>
                          <a:ext uri="{FF2B5EF4-FFF2-40B4-BE49-F238E27FC236}">
                            <a16:creationId xmlns:a16="http://schemas.microsoft.com/office/drawing/2014/main" xmlns="" id="{1D227F06-BFA4-443A-86C7-EBB4A35D3FBD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627641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743" name="Rectangle 220">
                        <a:extLst>
                          <a:ext uri="{FF2B5EF4-FFF2-40B4-BE49-F238E27FC236}">
                            <a16:creationId xmlns:a16="http://schemas.microsoft.com/office/drawing/2014/main" xmlns="" id="{3E5ACBFE-3DF6-4FCD-83ED-B607F760885C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79369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744" name="Rectangle 220">
                        <a:extLst>
                          <a:ext uri="{FF2B5EF4-FFF2-40B4-BE49-F238E27FC236}">
                            <a16:creationId xmlns:a16="http://schemas.microsoft.com/office/drawing/2014/main" xmlns="" id="{6D535B7B-4F44-4ACE-95F4-99454683274B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95975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745" name="Rectangle 220">
                        <a:extLst>
                          <a:ext uri="{FF2B5EF4-FFF2-40B4-BE49-F238E27FC236}">
                            <a16:creationId xmlns:a16="http://schemas.microsoft.com/office/drawing/2014/main" xmlns="" id="{54A2A859-0B7F-45AC-8638-B955185DA0A1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12580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746" name="Rectangle 220">
                        <a:extLst>
                          <a:ext uri="{FF2B5EF4-FFF2-40B4-BE49-F238E27FC236}">
                            <a16:creationId xmlns:a16="http://schemas.microsoft.com/office/drawing/2014/main" xmlns="" id="{66FEDEF4-350C-4619-A677-93C53FB219D5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29186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</p:grpSp>
              </p:grpSp>
              <p:sp>
                <p:nvSpPr>
                  <p:cNvPr id="735" name="Rectangle 220">
                    <a:extLst>
                      <a:ext uri="{FF2B5EF4-FFF2-40B4-BE49-F238E27FC236}">
                        <a16:creationId xmlns:a16="http://schemas.microsoft.com/office/drawing/2014/main" xmlns="" id="{69BD188B-EE2B-4625-8D55-79D4CB2DF61E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734771" y="1445876"/>
                    <a:ext cx="116404" cy="90000"/>
                  </a:xfrm>
                  <a:custGeom>
                    <a:avLst/>
                    <a:gdLst>
                      <a:gd name="connsiteX0" fmla="*/ 0 w 28417"/>
                      <a:gd name="connsiteY0" fmla="*/ 0 h 27223"/>
                      <a:gd name="connsiteX1" fmla="*/ 28417 w 28417"/>
                      <a:gd name="connsiteY1" fmla="*/ 0 h 27223"/>
                      <a:gd name="connsiteX2" fmla="*/ 28417 w 28417"/>
                      <a:gd name="connsiteY2" fmla="*/ 27223 h 27223"/>
                      <a:gd name="connsiteX3" fmla="*/ 0 w 28417"/>
                      <a:gd name="connsiteY3" fmla="*/ 27223 h 27223"/>
                      <a:gd name="connsiteX4" fmla="*/ 0 w 28417"/>
                      <a:gd name="connsiteY4" fmla="*/ 0 h 27223"/>
                      <a:gd name="connsiteX0" fmla="*/ 0 w 28417"/>
                      <a:gd name="connsiteY0" fmla="*/ 0 h 27223"/>
                      <a:gd name="connsiteX1" fmla="*/ 28417 w 28417"/>
                      <a:gd name="connsiteY1" fmla="*/ 0 h 27223"/>
                      <a:gd name="connsiteX2" fmla="*/ 0 w 28417"/>
                      <a:gd name="connsiteY2" fmla="*/ 27223 h 27223"/>
                      <a:gd name="connsiteX3" fmla="*/ 0 w 28417"/>
                      <a:gd name="connsiteY3" fmla="*/ 0 h 27223"/>
                      <a:gd name="connsiteX0" fmla="*/ 0 w 132887"/>
                      <a:gd name="connsiteY0" fmla="*/ 0 h 33158"/>
                      <a:gd name="connsiteX1" fmla="*/ 28417 w 132887"/>
                      <a:gd name="connsiteY1" fmla="*/ 0 h 33158"/>
                      <a:gd name="connsiteX2" fmla="*/ 132814 w 132887"/>
                      <a:gd name="connsiteY2" fmla="*/ 33158 h 33158"/>
                      <a:gd name="connsiteX3" fmla="*/ 0 w 132887"/>
                      <a:gd name="connsiteY3" fmla="*/ 27223 h 33158"/>
                      <a:gd name="connsiteX4" fmla="*/ 0 w 132887"/>
                      <a:gd name="connsiteY4" fmla="*/ 0 h 33158"/>
                      <a:gd name="connsiteX0" fmla="*/ 0 w 132887"/>
                      <a:gd name="connsiteY0" fmla="*/ 0 h 88199"/>
                      <a:gd name="connsiteX1" fmla="*/ 28417 w 132887"/>
                      <a:gd name="connsiteY1" fmla="*/ 0 h 88199"/>
                      <a:gd name="connsiteX2" fmla="*/ 132814 w 132887"/>
                      <a:gd name="connsiteY2" fmla="*/ 33158 h 88199"/>
                      <a:gd name="connsiteX3" fmla="*/ 70812 w 132887"/>
                      <a:gd name="connsiteY3" fmla="*/ 88173 h 88199"/>
                      <a:gd name="connsiteX4" fmla="*/ 0 w 132887"/>
                      <a:gd name="connsiteY4" fmla="*/ 27223 h 88199"/>
                      <a:gd name="connsiteX5" fmla="*/ 0 w 132887"/>
                      <a:gd name="connsiteY5" fmla="*/ 0 h 88199"/>
                      <a:gd name="connsiteX0" fmla="*/ 70812 w 166347"/>
                      <a:gd name="connsiteY0" fmla="*/ 88173 h 88173"/>
                      <a:gd name="connsiteX1" fmla="*/ 0 w 166347"/>
                      <a:gd name="connsiteY1" fmla="*/ 27223 h 88173"/>
                      <a:gd name="connsiteX2" fmla="*/ 0 w 166347"/>
                      <a:gd name="connsiteY2" fmla="*/ 0 h 88173"/>
                      <a:gd name="connsiteX3" fmla="*/ 28417 w 166347"/>
                      <a:gd name="connsiteY3" fmla="*/ 0 h 88173"/>
                      <a:gd name="connsiteX4" fmla="*/ 166347 w 166347"/>
                      <a:gd name="connsiteY4" fmla="*/ 66691 h 88173"/>
                      <a:gd name="connsiteX0" fmla="*/ 70812 w 70812"/>
                      <a:gd name="connsiteY0" fmla="*/ 88173 h 88173"/>
                      <a:gd name="connsiteX1" fmla="*/ 0 w 70812"/>
                      <a:gd name="connsiteY1" fmla="*/ 27223 h 88173"/>
                      <a:gd name="connsiteX2" fmla="*/ 0 w 70812"/>
                      <a:gd name="connsiteY2" fmla="*/ 0 h 88173"/>
                      <a:gd name="connsiteX3" fmla="*/ 28417 w 70812"/>
                      <a:gd name="connsiteY3" fmla="*/ 0 h 88173"/>
                      <a:gd name="connsiteX0" fmla="*/ 0 w 28417"/>
                      <a:gd name="connsiteY0" fmla="*/ 27223 h 27223"/>
                      <a:gd name="connsiteX1" fmla="*/ 0 w 28417"/>
                      <a:gd name="connsiteY1" fmla="*/ 0 h 27223"/>
                      <a:gd name="connsiteX2" fmla="*/ 28417 w 28417"/>
                      <a:gd name="connsiteY2" fmla="*/ 0 h 272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8417" h="27223">
                        <a:moveTo>
                          <a:pt x="0" y="27223"/>
                        </a:moveTo>
                        <a:lnTo>
                          <a:pt x="0" y="0"/>
                        </a:lnTo>
                        <a:lnTo>
                          <a:pt x="28417" y="0"/>
                        </a:lnTo>
                      </a:path>
                    </a:pathLst>
                  </a:custGeom>
                  <a:noFill/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36" name="Rectangle 220">
                    <a:extLst>
                      <a:ext uri="{FF2B5EF4-FFF2-40B4-BE49-F238E27FC236}">
                        <a16:creationId xmlns:a16="http://schemas.microsoft.com/office/drawing/2014/main" xmlns="" id="{75EE3B5B-00E0-4F37-93FF-5DFCF58FA621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734771" y="1611933"/>
                    <a:ext cx="116404" cy="90000"/>
                  </a:xfrm>
                  <a:custGeom>
                    <a:avLst/>
                    <a:gdLst>
                      <a:gd name="connsiteX0" fmla="*/ 0 w 28417"/>
                      <a:gd name="connsiteY0" fmla="*/ 0 h 27223"/>
                      <a:gd name="connsiteX1" fmla="*/ 28417 w 28417"/>
                      <a:gd name="connsiteY1" fmla="*/ 0 h 27223"/>
                      <a:gd name="connsiteX2" fmla="*/ 28417 w 28417"/>
                      <a:gd name="connsiteY2" fmla="*/ 27223 h 27223"/>
                      <a:gd name="connsiteX3" fmla="*/ 0 w 28417"/>
                      <a:gd name="connsiteY3" fmla="*/ 27223 h 27223"/>
                      <a:gd name="connsiteX4" fmla="*/ 0 w 28417"/>
                      <a:gd name="connsiteY4" fmla="*/ 0 h 27223"/>
                      <a:gd name="connsiteX0" fmla="*/ 0 w 28417"/>
                      <a:gd name="connsiteY0" fmla="*/ 0 h 27223"/>
                      <a:gd name="connsiteX1" fmla="*/ 28417 w 28417"/>
                      <a:gd name="connsiteY1" fmla="*/ 0 h 27223"/>
                      <a:gd name="connsiteX2" fmla="*/ 0 w 28417"/>
                      <a:gd name="connsiteY2" fmla="*/ 27223 h 27223"/>
                      <a:gd name="connsiteX3" fmla="*/ 0 w 28417"/>
                      <a:gd name="connsiteY3" fmla="*/ 0 h 27223"/>
                      <a:gd name="connsiteX0" fmla="*/ 0 w 132887"/>
                      <a:gd name="connsiteY0" fmla="*/ 0 h 33158"/>
                      <a:gd name="connsiteX1" fmla="*/ 28417 w 132887"/>
                      <a:gd name="connsiteY1" fmla="*/ 0 h 33158"/>
                      <a:gd name="connsiteX2" fmla="*/ 132814 w 132887"/>
                      <a:gd name="connsiteY2" fmla="*/ 33158 h 33158"/>
                      <a:gd name="connsiteX3" fmla="*/ 0 w 132887"/>
                      <a:gd name="connsiteY3" fmla="*/ 27223 h 33158"/>
                      <a:gd name="connsiteX4" fmla="*/ 0 w 132887"/>
                      <a:gd name="connsiteY4" fmla="*/ 0 h 33158"/>
                      <a:gd name="connsiteX0" fmla="*/ 0 w 132887"/>
                      <a:gd name="connsiteY0" fmla="*/ 0 h 88199"/>
                      <a:gd name="connsiteX1" fmla="*/ 28417 w 132887"/>
                      <a:gd name="connsiteY1" fmla="*/ 0 h 88199"/>
                      <a:gd name="connsiteX2" fmla="*/ 132814 w 132887"/>
                      <a:gd name="connsiteY2" fmla="*/ 33158 h 88199"/>
                      <a:gd name="connsiteX3" fmla="*/ 70812 w 132887"/>
                      <a:gd name="connsiteY3" fmla="*/ 88173 h 88199"/>
                      <a:gd name="connsiteX4" fmla="*/ 0 w 132887"/>
                      <a:gd name="connsiteY4" fmla="*/ 27223 h 88199"/>
                      <a:gd name="connsiteX5" fmla="*/ 0 w 132887"/>
                      <a:gd name="connsiteY5" fmla="*/ 0 h 88199"/>
                      <a:gd name="connsiteX0" fmla="*/ 70812 w 166347"/>
                      <a:gd name="connsiteY0" fmla="*/ 88173 h 88173"/>
                      <a:gd name="connsiteX1" fmla="*/ 0 w 166347"/>
                      <a:gd name="connsiteY1" fmla="*/ 27223 h 88173"/>
                      <a:gd name="connsiteX2" fmla="*/ 0 w 166347"/>
                      <a:gd name="connsiteY2" fmla="*/ 0 h 88173"/>
                      <a:gd name="connsiteX3" fmla="*/ 28417 w 166347"/>
                      <a:gd name="connsiteY3" fmla="*/ 0 h 88173"/>
                      <a:gd name="connsiteX4" fmla="*/ 166347 w 166347"/>
                      <a:gd name="connsiteY4" fmla="*/ 66691 h 88173"/>
                      <a:gd name="connsiteX0" fmla="*/ 70812 w 70812"/>
                      <a:gd name="connsiteY0" fmla="*/ 88173 h 88173"/>
                      <a:gd name="connsiteX1" fmla="*/ 0 w 70812"/>
                      <a:gd name="connsiteY1" fmla="*/ 27223 h 88173"/>
                      <a:gd name="connsiteX2" fmla="*/ 0 w 70812"/>
                      <a:gd name="connsiteY2" fmla="*/ 0 h 88173"/>
                      <a:gd name="connsiteX3" fmla="*/ 28417 w 70812"/>
                      <a:gd name="connsiteY3" fmla="*/ 0 h 88173"/>
                      <a:gd name="connsiteX0" fmla="*/ 0 w 28417"/>
                      <a:gd name="connsiteY0" fmla="*/ 27223 h 27223"/>
                      <a:gd name="connsiteX1" fmla="*/ 0 w 28417"/>
                      <a:gd name="connsiteY1" fmla="*/ 0 h 27223"/>
                      <a:gd name="connsiteX2" fmla="*/ 28417 w 28417"/>
                      <a:gd name="connsiteY2" fmla="*/ 0 h 272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8417" h="27223">
                        <a:moveTo>
                          <a:pt x="0" y="27223"/>
                        </a:moveTo>
                        <a:lnTo>
                          <a:pt x="0" y="0"/>
                        </a:lnTo>
                        <a:lnTo>
                          <a:pt x="28417" y="0"/>
                        </a:lnTo>
                      </a:path>
                    </a:pathLst>
                  </a:custGeom>
                  <a:noFill/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37" name="Rectangle 220">
                    <a:extLst>
                      <a:ext uri="{FF2B5EF4-FFF2-40B4-BE49-F238E27FC236}">
                        <a16:creationId xmlns:a16="http://schemas.microsoft.com/office/drawing/2014/main" xmlns="" id="{ACD99A97-294B-4BBD-8035-B1A83C0746B6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734771" y="1777990"/>
                    <a:ext cx="116404" cy="90000"/>
                  </a:xfrm>
                  <a:custGeom>
                    <a:avLst/>
                    <a:gdLst>
                      <a:gd name="connsiteX0" fmla="*/ 0 w 28417"/>
                      <a:gd name="connsiteY0" fmla="*/ 0 h 27223"/>
                      <a:gd name="connsiteX1" fmla="*/ 28417 w 28417"/>
                      <a:gd name="connsiteY1" fmla="*/ 0 h 27223"/>
                      <a:gd name="connsiteX2" fmla="*/ 28417 w 28417"/>
                      <a:gd name="connsiteY2" fmla="*/ 27223 h 27223"/>
                      <a:gd name="connsiteX3" fmla="*/ 0 w 28417"/>
                      <a:gd name="connsiteY3" fmla="*/ 27223 h 27223"/>
                      <a:gd name="connsiteX4" fmla="*/ 0 w 28417"/>
                      <a:gd name="connsiteY4" fmla="*/ 0 h 27223"/>
                      <a:gd name="connsiteX0" fmla="*/ 0 w 28417"/>
                      <a:gd name="connsiteY0" fmla="*/ 0 h 27223"/>
                      <a:gd name="connsiteX1" fmla="*/ 28417 w 28417"/>
                      <a:gd name="connsiteY1" fmla="*/ 0 h 27223"/>
                      <a:gd name="connsiteX2" fmla="*/ 0 w 28417"/>
                      <a:gd name="connsiteY2" fmla="*/ 27223 h 27223"/>
                      <a:gd name="connsiteX3" fmla="*/ 0 w 28417"/>
                      <a:gd name="connsiteY3" fmla="*/ 0 h 27223"/>
                      <a:gd name="connsiteX0" fmla="*/ 0 w 132887"/>
                      <a:gd name="connsiteY0" fmla="*/ 0 h 33158"/>
                      <a:gd name="connsiteX1" fmla="*/ 28417 w 132887"/>
                      <a:gd name="connsiteY1" fmla="*/ 0 h 33158"/>
                      <a:gd name="connsiteX2" fmla="*/ 132814 w 132887"/>
                      <a:gd name="connsiteY2" fmla="*/ 33158 h 33158"/>
                      <a:gd name="connsiteX3" fmla="*/ 0 w 132887"/>
                      <a:gd name="connsiteY3" fmla="*/ 27223 h 33158"/>
                      <a:gd name="connsiteX4" fmla="*/ 0 w 132887"/>
                      <a:gd name="connsiteY4" fmla="*/ 0 h 33158"/>
                      <a:gd name="connsiteX0" fmla="*/ 0 w 132887"/>
                      <a:gd name="connsiteY0" fmla="*/ 0 h 88199"/>
                      <a:gd name="connsiteX1" fmla="*/ 28417 w 132887"/>
                      <a:gd name="connsiteY1" fmla="*/ 0 h 88199"/>
                      <a:gd name="connsiteX2" fmla="*/ 132814 w 132887"/>
                      <a:gd name="connsiteY2" fmla="*/ 33158 h 88199"/>
                      <a:gd name="connsiteX3" fmla="*/ 70812 w 132887"/>
                      <a:gd name="connsiteY3" fmla="*/ 88173 h 88199"/>
                      <a:gd name="connsiteX4" fmla="*/ 0 w 132887"/>
                      <a:gd name="connsiteY4" fmla="*/ 27223 h 88199"/>
                      <a:gd name="connsiteX5" fmla="*/ 0 w 132887"/>
                      <a:gd name="connsiteY5" fmla="*/ 0 h 88199"/>
                      <a:gd name="connsiteX0" fmla="*/ 70812 w 166347"/>
                      <a:gd name="connsiteY0" fmla="*/ 88173 h 88173"/>
                      <a:gd name="connsiteX1" fmla="*/ 0 w 166347"/>
                      <a:gd name="connsiteY1" fmla="*/ 27223 h 88173"/>
                      <a:gd name="connsiteX2" fmla="*/ 0 w 166347"/>
                      <a:gd name="connsiteY2" fmla="*/ 0 h 88173"/>
                      <a:gd name="connsiteX3" fmla="*/ 28417 w 166347"/>
                      <a:gd name="connsiteY3" fmla="*/ 0 h 88173"/>
                      <a:gd name="connsiteX4" fmla="*/ 166347 w 166347"/>
                      <a:gd name="connsiteY4" fmla="*/ 66691 h 88173"/>
                      <a:gd name="connsiteX0" fmla="*/ 70812 w 70812"/>
                      <a:gd name="connsiteY0" fmla="*/ 88173 h 88173"/>
                      <a:gd name="connsiteX1" fmla="*/ 0 w 70812"/>
                      <a:gd name="connsiteY1" fmla="*/ 27223 h 88173"/>
                      <a:gd name="connsiteX2" fmla="*/ 0 w 70812"/>
                      <a:gd name="connsiteY2" fmla="*/ 0 h 88173"/>
                      <a:gd name="connsiteX3" fmla="*/ 28417 w 70812"/>
                      <a:gd name="connsiteY3" fmla="*/ 0 h 88173"/>
                      <a:gd name="connsiteX0" fmla="*/ 0 w 28417"/>
                      <a:gd name="connsiteY0" fmla="*/ 27223 h 27223"/>
                      <a:gd name="connsiteX1" fmla="*/ 0 w 28417"/>
                      <a:gd name="connsiteY1" fmla="*/ 0 h 27223"/>
                      <a:gd name="connsiteX2" fmla="*/ 28417 w 28417"/>
                      <a:gd name="connsiteY2" fmla="*/ 0 h 272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8417" h="27223">
                        <a:moveTo>
                          <a:pt x="0" y="27223"/>
                        </a:moveTo>
                        <a:lnTo>
                          <a:pt x="0" y="0"/>
                        </a:lnTo>
                        <a:lnTo>
                          <a:pt x="28417" y="0"/>
                        </a:lnTo>
                      </a:path>
                    </a:pathLst>
                  </a:custGeom>
                  <a:noFill/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38" name="Rectangle 220">
                    <a:extLst>
                      <a:ext uri="{FF2B5EF4-FFF2-40B4-BE49-F238E27FC236}">
                        <a16:creationId xmlns:a16="http://schemas.microsoft.com/office/drawing/2014/main" xmlns="" id="{54409159-C188-4649-9E8E-184166F6DBC6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907783" y="1445876"/>
                    <a:ext cx="116404" cy="90000"/>
                  </a:xfrm>
                  <a:custGeom>
                    <a:avLst/>
                    <a:gdLst>
                      <a:gd name="connsiteX0" fmla="*/ 0 w 28417"/>
                      <a:gd name="connsiteY0" fmla="*/ 0 h 27223"/>
                      <a:gd name="connsiteX1" fmla="*/ 28417 w 28417"/>
                      <a:gd name="connsiteY1" fmla="*/ 0 h 27223"/>
                      <a:gd name="connsiteX2" fmla="*/ 28417 w 28417"/>
                      <a:gd name="connsiteY2" fmla="*/ 27223 h 27223"/>
                      <a:gd name="connsiteX3" fmla="*/ 0 w 28417"/>
                      <a:gd name="connsiteY3" fmla="*/ 27223 h 27223"/>
                      <a:gd name="connsiteX4" fmla="*/ 0 w 28417"/>
                      <a:gd name="connsiteY4" fmla="*/ 0 h 27223"/>
                      <a:gd name="connsiteX0" fmla="*/ 0 w 28417"/>
                      <a:gd name="connsiteY0" fmla="*/ 0 h 27223"/>
                      <a:gd name="connsiteX1" fmla="*/ 28417 w 28417"/>
                      <a:gd name="connsiteY1" fmla="*/ 0 h 27223"/>
                      <a:gd name="connsiteX2" fmla="*/ 0 w 28417"/>
                      <a:gd name="connsiteY2" fmla="*/ 27223 h 27223"/>
                      <a:gd name="connsiteX3" fmla="*/ 0 w 28417"/>
                      <a:gd name="connsiteY3" fmla="*/ 0 h 27223"/>
                      <a:gd name="connsiteX0" fmla="*/ 0 w 132887"/>
                      <a:gd name="connsiteY0" fmla="*/ 0 h 33158"/>
                      <a:gd name="connsiteX1" fmla="*/ 28417 w 132887"/>
                      <a:gd name="connsiteY1" fmla="*/ 0 h 33158"/>
                      <a:gd name="connsiteX2" fmla="*/ 132814 w 132887"/>
                      <a:gd name="connsiteY2" fmla="*/ 33158 h 33158"/>
                      <a:gd name="connsiteX3" fmla="*/ 0 w 132887"/>
                      <a:gd name="connsiteY3" fmla="*/ 27223 h 33158"/>
                      <a:gd name="connsiteX4" fmla="*/ 0 w 132887"/>
                      <a:gd name="connsiteY4" fmla="*/ 0 h 33158"/>
                      <a:gd name="connsiteX0" fmla="*/ 0 w 132887"/>
                      <a:gd name="connsiteY0" fmla="*/ 0 h 88199"/>
                      <a:gd name="connsiteX1" fmla="*/ 28417 w 132887"/>
                      <a:gd name="connsiteY1" fmla="*/ 0 h 88199"/>
                      <a:gd name="connsiteX2" fmla="*/ 132814 w 132887"/>
                      <a:gd name="connsiteY2" fmla="*/ 33158 h 88199"/>
                      <a:gd name="connsiteX3" fmla="*/ 70812 w 132887"/>
                      <a:gd name="connsiteY3" fmla="*/ 88173 h 88199"/>
                      <a:gd name="connsiteX4" fmla="*/ 0 w 132887"/>
                      <a:gd name="connsiteY4" fmla="*/ 27223 h 88199"/>
                      <a:gd name="connsiteX5" fmla="*/ 0 w 132887"/>
                      <a:gd name="connsiteY5" fmla="*/ 0 h 88199"/>
                      <a:gd name="connsiteX0" fmla="*/ 70812 w 166347"/>
                      <a:gd name="connsiteY0" fmla="*/ 88173 h 88173"/>
                      <a:gd name="connsiteX1" fmla="*/ 0 w 166347"/>
                      <a:gd name="connsiteY1" fmla="*/ 27223 h 88173"/>
                      <a:gd name="connsiteX2" fmla="*/ 0 w 166347"/>
                      <a:gd name="connsiteY2" fmla="*/ 0 h 88173"/>
                      <a:gd name="connsiteX3" fmla="*/ 28417 w 166347"/>
                      <a:gd name="connsiteY3" fmla="*/ 0 h 88173"/>
                      <a:gd name="connsiteX4" fmla="*/ 166347 w 166347"/>
                      <a:gd name="connsiteY4" fmla="*/ 66691 h 88173"/>
                      <a:gd name="connsiteX0" fmla="*/ 70812 w 70812"/>
                      <a:gd name="connsiteY0" fmla="*/ 88173 h 88173"/>
                      <a:gd name="connsiteX1" fmla="*/ 0 w 70812"/>
                      <a:gd name="connsiteY1" fmla="*/ 27223 h 88173"/>
                      <a:gd name="connsiteX2" fmla="*/ 0 w 70812"/>
                      <a:gd name="connsiteY2" fmla="*/ 0 h 88173"/>
                      <a:gd name="connsiteX3" fmla="*/ 28417 w 70812"/>
                      <a:gd name="connsiteY3" fmla="*/ 0 h 88173"/>
                      <a:gd name="connsiteX0" fmla="*/ 0 w 28417"/>
                      <a:gd name="connsiteY0" fmla="*/ 27223 h 27223"/>
                      <a:gd name="connsiteX1" fmla="*/ 0 w 28417"/>
                      <a:gd name="connsiteY1" fmla="*/ 0 h 27223"/>
                      <a:gd name="connsiteX2" fmla="*/ 28417 w 28417"/>
                      <a:gd name="connsiteY2" fmla="*/ 0 h 272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8417" h="27223">
                        <a:moveTo>
                          <a:pt x="0" y="27223"/>
                        </a:moveTo>
                        <a:lnTo>
                          <a:pt x="0" y="0"/>
                        </a:lnTo>
                        <a:lnTo>
                          <a:pt x="28417" y="0"/>
                        </a:lnTo>
                      </a:path>
                    </a:pathLst>
                  </a:custGeom>
                  <a:noFill/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</p:grpSp>
            <p:grpSp>
              <p:nvGrpSpPr>
                <p:cNvPr id="549" name="Gruppieren 548">
                  <a:extLst>
                    <a:ext uri="{FF2B5EF4-FFF2-40B4-BE49-F238E27FC236}">
                      <a16:creationId xmlns:a16="http://schemas.microsoft.com/office/drawing/2014/main" xmlns="" id="{37B4B85F-A315-4665-8AA8-F0AB89CE1D5F}"/>
                    </a:ext>
                  </a:extLst>
                </p:cNvPr>
                <p:cNvGrpSpPr/>
                <p:nvPr/>
              </p:nvGrpSpPr>
              <p:grpSpPr>
                <a:xfrm>
                  <a:off x="1582619" y="2721787"/>
                  <a:ext cx="168040" cy="456819"/>
                  <a:chOff x="3312924" y="1090617"/>
                  <a:chExt cx="373616" cy="1015676"/>
                </a:xfrm>
              </p:grpSpPr>
              <p:sp>
                <p:nvSpPr>
                  <p:cNvPr id="723" name="Rectangle 193">
                    <a:extLst>
                      <a:ext uri="{FF2B5EF4-FFF2-40B4-BE49-F238E27FC236}">
                        <a16:creationId xmlns:a16="http://schemas.microsoft.com/office/drawing/2014/main" xmlns="" id="{7499F634-4FB2-479C-875A-E81B17ED06D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312924" y="1090617"/>
                    <a:ext cx="373616" cy="1015676"/>
                  </a:xfrm>
                  <a:custGeom>
                    <a:avLst/>
                    <a:gdLst>
                      <a:gd name="connsiteX0" fmla="*/ 0 w 168040"/>
                      <a:gd name="connsiteY0" fmla="*/ 0 h 456819"/>
                      <a:gd name="connsiteX1" fmla="*/ 168040 w 168040"/>
                      <a:gd name="connsiteY1" fmla="*/ 0 h 456819"/>
                      <a:gd name="connsiteX2" fmla="*/ 168040 w 168040"/>
                      <a:gd name="connsiteY2" fmla="*/ 456819 h 456819"/>
                      <a:gd name="connsiteX3" fmla="*/ 0 w 168040"/>
                      <a:gd name="connsiteY3" fmla="*/ 456819 h 456819"/>
                      <a:gd name="connsiteX4" fmla="*/ 0 w 168040"/>
                      <a:gd name="connsiteY4" fmla="*/ 0 h 456819"/>
                      <a:gd name="connsiteX0" fmla="*/ 3850 w 171890"/>
                      <a:gd name="connsiteY0" fmla="*/ 0 h 609582"/>
                      <a:gd name="connsiteX1" fmla="*/ 171890 w 171890"/>
                      <a:gd name="connsiteY1" fmla="*/ 0 h 609582"/>
                      <a:gd name="connsiteX2" fmla="*/ 171890 w 171890"/>
                      <a:gd name="connsiteY2" fmla="*/ 456819 h 609582"/>
                      <a:gd name="connsiteX3" fmla="*/ 0 w 171890"/>
                      <a:gd name="connsiteY3" fmla="*/ 609582 h 609582"/>
                      <a:gd name="connsiteX4" fmla="*/ 3850 w 171890"/>
                      <a:gd name="connsiteY4" fmla="*/ 456819 h 609582"/>
                      <a:gd name="connsiteX5" fmla="*/ 3850 w 171890"/>
                      <a:gd name="connsiteY5" fmla="*/ 0 h 609582"/>
                      <a:gd name="connsiteX0" fmla="*/ 3850 w 252177"/>
                      <a:gd name="connsiteY0" fmla="*/ 0 h 620856"/>
                      <a:gd name="connsiteX1" fmla="*/ 171890 w 252177"/>
                      <a:gd name="connsiteY1" fmla="*/ 0 h 620856"/>
                      <a:gd name="connsiteX2" fmla="*/ 171890 w 252177"/>
                      <a:gd name="connsiteY2" fmla="*/ 456819 h 620856"/>
                      <a:gd name="connsiteX3" fmla="*/ 247650 w 252177"/>
                      <a:gd name="connsiteY3" fmla="*/ 604818 h 620856"/>
                      <a:gd name="connsiteX4" fmla="*/ 0 w 252177"/>
                      <a:gd name="connsiteY4" fmla="*/ 609582 h 620856"/>
                      <a:gd name="connsiteX5" fmla="*/ 3850 w 252177"/>
                      <a:gd name="connsiteY5" fmla="*/ 456819 h 620856"/>
                      <a:gd name="connsiteX6" fmla="*/ 3850 w 252177"/>
                      <a:gd name="connsiteY6" fmla="*/ 0 h 620856"/>
                      <a:gd name="connsiteX0" fmla="*/ 0 w 339090"/>
                      <a:gd name="connsiteY0" fmla="*/ 609582 h 696258"/>
                      <a:gd name="connsiteX1" fmla="*/ 3850 w 339090"/>
                      <a:gd name="connsiteY1" fmla="*/ 456819 h 696258"/>
                      <a:gd name="connsiteX2" fmla="*/ 3850 w 339090"/>
                      <a:gd name="connsiteY2" fmla="*/ 0 h 696258"/>
                      <a:gd name="connsiteX3" fmla="*/ 171890 w 339090"/>
                      <a:gd name="connsiteY3" fmla="*/ 0 h 696258"/>
                      <a:gd name="connsiteX4" fmla="*/ 171890 w 339090"/>
                      <a:gd name="connsiteY4" fmla="*/ 456819 h 696258"/>
                      <a:gd name="connsiteX5" fmla="*/ 339090 w 339090"/>
                      <a:gd name="connsiteY5" fmla="*/ 696258 h 696258"/>
                      <a:gd name="connsiteX0" fmla="*/ 0 w 171890"/>
                      <a:gd name="connsiteY0" fmla="*/ 609582 h 609582"/>
                      <a:gd name="connsiteX1" fmla="*/ 3850 w 171890"/>
                      <a:gd name="connsiteY1" fmla="*/ 456819 h 609582"/>
                      <a:gd name="connsiteX2" fmla="*/ 3850 w 171890"/>
                      <a:gd name="connsiteY2" fmla="*/ 0 h 609582"/>
                      <a:gd name="connsiteX3" fmla="*/ 171890 w 171890"/>
                      <a:gd name="connsiteY3" fmla="*/ 0 h 609582"/>
                      <a:gd name="connsiteX4" fmla="*/ 171890 w 171890"/>
                      <a:gd name="connsiteY4" fmla="*/ 456819 h 609582"/>
                      <a:gd name="connsiteX0" fmla="*/ 0 w 168040"/>
                      <a:gd name="connsiteY0" fmla="*/ 456819 h 456819"/>
                      <a:gd name="connsiteX1" fmla="*/ 0 w 168040"/>
                      <a:gd name="connsiteY1" fmla="*/ 0 h 456819"/>
                      <a:gd name="connsiteX2" fmla="*/ 168040 w 168040"/>
                      <a:gd name="connsiteY2" fmla="*/ 0 h 456819"/>
                      <a:gd name="connsiteX3" fmla="*/ 168040 w 168040"/>
                      <a:gd name="connsiteY3" fmla="*/ 456819 h 456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8040" h="456819">
                        <a:moveTo>
                          <a:pt x="0" y="456819"/>
                        </a:moveTo>
                        <a:lnTo>
                          <a:pt x="0" y="0"/>
                        </a:lnTo>
                        <a:lnTo>
                          <a:pt x="168040" y="0"/>
                        </a:lnTo>
                        <a:lnTo>
                          <a:pt x="168040" y="456819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grpSp>
                <p:nvGrpSpPr>
                  <p:cNvPr id="724" name="Gruppieren 723">
                    <a:extLst>
                      <a:ext uri="{FF2B5EF4-FFF2-40B4-BE49-F238E27FC236}">
                        <a16:creationId xmlns:a16="http://schemas.microsoft.com/office/drawing/2014/main" xmlns="" id="{E8DFC036-5459-4F7A-9E92-19E5E3E8E3A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3395411" y="1154977"/>
                    <a:ext cx="222783" cy="754224"/>
                    <a:chOff x="3395411" y="1154977"/>
                    <a:chExt cx="222783" cy="754224"/>
                  </a:xfrm>
                </p:grpSpPr>
                <p:sp>
                  <p:nvSpPr>
                    <p:cNvPr id="725" name="Rectangle 220">
                      <a:extLst>
                        <a:ext uri="{FF2B5EF4-FFF2-40B4-BE49-F238E27FC236}">
                          <a16:creationId xmlns:a16="http://schemas.microsoft.com/office/drawing/2014/main" xmlns="" id="{E783732D-D9A9-4732-8CA2-7A7064EE3D1B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540705" y="1154977"/>
                      <a:ext cx="77489" cy="90000"/>
                    </a:xfrm>
                    <a:custGeom>
                      <a:avLst/>
                      <a:gdLst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28417 w 28417"/>
                        <a:gd name="connsiteY2" fmla="*/ 27223 h 27223"/>
                        <a:gd name="connsiteX3" fmla="*/ 0 w 28417"/>
                        <a:gd name="connsiteY3" fmla="*/ 27223 h 27223"/>
                        <a:gd name="connsiteX4" fmla="*/ 0 w 28417"/>
                        <a:gd name="connsiteY4" fmla="*/ 0 h 27223"/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0 w 28417"/>
                        <a:gd name="connsiteY2" fmla="*/ 27223 h 27223"/>
                        <a:gd name="connsiteX3" fmla="*/ 0 w 28417"/>
                        <a:gd name="connsiteY3" fmla="*/ 0 h 27223"/>
                        <a:gd name="connsiteX0" fmla="*/ 0 w 132887"/>
                        <a:gd name="connsiteY0" fmla="*/ 0 h 33158"/>
                        <a:gd name="connsiteX1" fmla="*/ 28417 w 132887"/>
                        <a:gd name="connsiteY1" fmla="*/ 0 h 33158"/>
                        <a:gd name="connsiteX2" fmla="*/ 132814 w 132887"/>
                        <a:gd name="connsiteY2" fmla="*/ 33158 h 33158"/>
                        <a:gd name="connsiteX3" fmla="*/ 0 w 132887"/>
                        <a:gd name="connsiteY3" fmla="*/ 27223 h 33158"/>
                        <a:gd name="connsiteX4" fmla="*/ 0 w 132887"/>
                        <a:gd name="connsiteY4" fmla="*/ 0 h 33158"/>
                        <a:gd name="connsiteX0" fmla="*/ 0 w 132887"/>
                        <a:gd name="connsiteY0" fmla="*/ 0 h 88199"/>
                        <a:gd name="connsiteX1" fmla="*/ 28417 w 132887"/>
                        <a:gd name="connsiteY1" fmla="*/ 0 h 88199"/>
                        <a:gd name="connsiteX2" fmla="*/ 132814 w 132887"/>
                        <a:gd name="connsiteY2" fmla="*/ 33158 h 88199"/>
                        <a:gd name="connsiteX3" fmla="*/ 70812 w 132887"/>
                        <a:gd name="connsiteY3" fmla="*/ 88173 h 88199"/>
                        <a:gd name="connsiteX4" fmla="*/ 0 w 132887"/>
                        <a:gd name="connsiteY4" fmla="*/ 27223 h 88199"/>
                        <a:gd name="connsiteX5" fmla="*/ 0 w 132887"/>
                        <a:gd name="connsiteY5" fmla="*/ 0 h 88199"/>
                        <a:gd name="connsiteX0" fmla="*/ 70812 w 166347"/>
                        <a:gd name="connsiteY0" fmla="*/ 88173 h 88173"/>
                        <a:gd name="connsiteX1" fmla="*/ 0 w 166347"/>
                        <a:gd name="connsiteY1" fmla="*/ 27223 h 88173"/>
                        <a:gd name="connsiteX2" fmla="*/ 0 w 166347"/>
                        <a:gd name="connsiteY2" fmla="*/ 0 h 88173"/>
                        <a:gd name="connsiteX3" fmla="*/ 28417 w 166347"/>
                        <a:gd name="connsiteY3" fmla="*/ 0 h 88173"/>
                        <a:gd name="connsiteX4" fmla="*/ 166347 w 166347"/>
                        <a:gd name="connsiteY4" fmla="*/ 66691 h 88173"/>
                        <a:gd name="connsiteX0" fmla="*/ 70812 w 70812"/>
                        <a:gd name="connsiteY0" fmla="*/ 88173 h 88173"/>
                        <a:gd name="connsiteX1" fmla="*/ 0 w 70812"/>
                        <a:gd name="connsiteY1" fmla="*/ 27223 h 88173"/>
                        <a:gd name="connsiteX2" fmla="*/ 0 w 70812"/>
                        <a:gd name="connsiteY2" fmla="*/ 0 h 88173"/>
                        <a:gd name="connsiteX3" fmla="*/ 28417 w 70812"/>
                        <a:gd name="connsiteY3" fmla="*/ 0 h 88173"/>
                        <a:gd name="connsiteX0" fmla="*/ 0 w 28417"/>
                        <a:gd name="connsiteY0" fmla="*/ 27223 h 27223"/>
                        <a:gd name="connsiteX1" fmla="*/ 0 w 28417"/>
                        <a:gd name="connsiteY1" fmla="*/ 0 h 27223"/>
                        <a:gd name="connsiteX2" fmla="*/ 28417 w 28417"/>
                        <a:gd name="connsiteY2" fmla="*/ 0 h 272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8417" h="27223">
                          <a:moveTo>
                            <a:pt x="0" y="27223"/>
                          </a:moveTo>
                          <a:lnTo>
                            <a:pt x="0" y="0"/>
                          </a:lnTo>
                          <a:lnTo>
                            <a:pt x="28417" y="0"/>
                          </a:lnTo>
                        </a:path>
                      </a:pathLst>
                    </a:custGeom>
                    <a:noFill/>
                    <a:ln w="9525" cap="sq">
                      <a:solidFill>
                        <a:srgbClr val="98A2AE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726" name="Rectangle 220">
                      <a:extLst>
                        <a:ext uri="{FF2B5EF4-FFF2-40B4-BE49-F238E27FC236}">
                          <a16:creationId xmlns:a16="http://schemas.microsoft.com/office/drawing/2014/main" xmlns="" id="{00E27B07-A74B-48CB-8D0C-5DDA6E706079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3395411" y="1154977"/>
                      <a:ext cx="77489" cy="90000"/>
                    </a:xfrm>
                    <a:custGeom>
                      <a:avLst/>
                      <a:gdLst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28417 w 28417"/>
                        <a:gd name="connsiteY2" fmla="*/ 27223 h 27223"/>
                        <a:gd name="connsiteX3" fmla="*/ 0 w 28417"/>
                        <a:gd name="connsiteY3" fmla="*/ 27223 h 27223"/>
                        <a:gd name="connsiteX4" fmla="*/ 0 w 28417"/>
                        <a:gd name="connsiteY4" fmla="*/ 0 h 27223"/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0 w 28417"/>
                        <a:gd name="connsiteY2" fmla="*/ 27223 h 27223"/>
                        <a:gd name="connsiteX3" fmla="*/ 0 w 28417"/>
                        <a:gd name="connsiteY3" fmla="*/ 0 h 27223"/>
                        <a:gd name="connsiteX0" fmla="*/ 0 w 132887"/>
                        <a:gd name="connsiteY0" fmla="*/ 0 h 33158"/>
                        <a:gd name="connsiteX1" fmla="*/ 28417 w 132887"/>
                        <a:gd name="connsiteY1" fmla="*/ 0 h 33158"/>
                        <a:gd name="connsiteX2" fmla="*/ 132814 w 132887"/>
                        <a:gd name="connsiteY2" fmla="*/ 33158 h 33158"/>
                        <a:gd name="connsiteX3" fmla="*/ 0 w 132887"/>
                        <a:gd name="connsiteY3" fmla="*/ 27223 h 33158"/>
                        <a:gd name="connsiteX4" fmla="*/ 0 w 132887"/>
                        <a:gd name="connsiteY4" fmla="*/ 0 h 33158"/>
                        <a:gd name="connsiteX0" fmla="*/ 0 w 132887"/>
                        <a:gd name="connsiteY0" fmla="*/ 0 h 88199"/>
                        <a:gd name="connsiteX1" fmla="*/ 28417 w 132887"/>
                        <a:gd name="connsiteY1" fmla="*/ 0 h 88199"/>
                        <a:gd name="connsiteX2" fmla="*/ 132814 w 132887"/>
                        <a:gd name="connsiteY2" fmla="*/ 33158 h 88199"/>
                        <a:gd name="connsiteX3" fmla="*/ 70812 w 132887"/>
                        <a:gd name="connsiteY3" fmla="*/ 88173 h 88199"/>
                        <a:gd name="connsiteX4" fmla="*/ 0 w 132887"/>
                        <a:gd name="connsiteY4" fmla="*/ 27223 h 88199"/>
                        <a:gd name="connsiteX5" fmla="*/ 0 w 132887"/>
                        <a:gd name="connsiteY5" fmla="*/ 0 h 88199"/>
                        <a:gd name="connsiteX0" fmla="*/ 70812 w 166347"/>
                        <a:gd name="connsiteY0" fmla="*/ 88173 h 88173"/>
                        <a:gd name="connsiteX1" fmla="*/ 0 w 166347"/>
                        <a:gd name="connsiteY1" fmla="*/ 27223 h 88173"/>
                        <a:gd name="connsiteX2" fmla="*/ 0 w 166347"/>
                        <a:gd name="connsiteY2" fmla="*/ 0 h 88173"/>
                        <a:gd name="connsiteX3" fmla="*/ 28417 w 166347"/>
                        <a:gd name="connsiteY3" fmla="*/ 0 h 88173"/>
                        <a:gd name="connsiteX4" fmla="*/ 166347 w 166347"/>
                        <a:gd name="connsiteY4" fmla="*/ 66691 h 88173"/>
                        <a:gd name="connsiteX0" fmla="*/ 70812 w 70812"/>
                        <a:gd name="connsiteY0" fmla="*/ 88173 h 88173"/>
                        <a:gd name="connsiteX1" fmla="*/ 0 w 70812"/>
                        <a:gd name="connsiteY1" fmla="*/ 27223 h 88173"/>
                        <a:gd name="connsiteX2" fmla="*/ 0 w 70812"/>
                        <a:gd name="connsiteY2" fmla="*/ 0 h 88173"/>
                        <a:gd name="connsiteX3" fmla="*/ 28417 w 70812"/>
                        <a:gd name="connsiteY3" fmla="*/ 0 h 88173"/>
                        <a:gd name="connsiteX0" fmla="*/ 0 w 28417"/>
                        <a:gd name="connsiteY0" fmla="*/ 27223 h 27223"/>
                        <a:gd name="connsiteX1" fmla="*/ 0 w 28417"/>
                        <a:gd name="connsiteY1" fmla="*/ 0 h 27223"/>
                        <a:gd name="connsiteX2" fmla="*/ 28417 w 28417"/>
                        <a:gd name="connsiteY2" fmla="*/ 0 h 272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8417" h="27223">
                          <a:moveTo>
                            <a:pt x="0" y="27223"/>
                          </a:moveTo>
                          <a:lnTo>
                            <a:pt x="0" y="0"/>
                          </a:lnTo>
                          <a:lnTo>
                            <a:pt x="28417" y="0"/>
                          </a:lnTo>
                        </a:path>
                      </a:pathLst>
                    </a:custGeom>
                    <a:noFill/>
                    <a:ln w="9525" cap="sq">
                      <a:solidFill>
                        <a:srgbClr val="98A2AE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727" name="Rectangle 220">
                      <a:extLst>
                        <a:ext uri="{FF2B5EF4-FFF2-40B4-BE49-F238E27FC236}">
                          <a16:creationId xmlns:a16="http://schemas.microsoft.com/office/drawing/2014/main" xmlns="" id="{9EDEAAED-255D-4F16-B351-9462E59BDBAD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3395411" y="1321034"/>
                      <a:ext cx="77489" cy="90000"/>
                    </a:xfrm>
                    <a:custGeom>
                      <a:avLst/>
                      <a:gdLst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28417 w 28417"/>
                        <a:gd name="connsiteY2" fmla="*/ 27223 h 27223"/>
                        <a:gd name="connsiteX3" fmla="*/ 0 w 28417"/>
                        <a:gd name="connsiteY3" fmla="*/ 27223 h 27223"/>
                        <a:gd name="connsiteX4" fmla="*/ 0 w 28417"/>
                        <a:gd name="connsiteY4" fmla="*/ 0 h 27223"/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0 w 28417"/>
                        <a:gd name="connsiteY2" fmla="*/ 27223 h 27223"/>
                        <a:gd name="connsiteX3" fmla="*/ 0 w 28417"/>
                        <a:gd name="connsiteY3" fmla="*/ 0 h 27223"/>
                        <a:gd name="connsiteX0" fmla="*/ 0 w 132887"/>
                        <a:gd name="connsiteY0" fmla="*/ 0 h 33158"/>
                        <a:gd name="connsiteX1" fmla="*/ 28417 w 132887"/>
                        <a:gd name="connsiteY1" fmla="*/ 0 h 33158"/>
                        <a:gd name="connsiteX2" fmla="*/ 132814 w 132887"/>
                        <a:gd name="connsiteY2" fmla="*/ 33158 h 33158"/>
                        <a:gd name="connsiteX3" fmla="*/ 0 w 132887"/>
                        <a:gd name="connsiteY3" fmla="*/ 27223 h 33158"/>
                        <a:gd name="connsiteX4" fmla="*/ 0 w 132887"/>
                        <a:gd name="connsiteY4" fmla="*/ 0 h 33158"/>
                        <a:gd name="connsiteX0" fmla="*/ 0 w 132887"/>
                        <a:gd name="connsiteY0" fmla="*/ 0 h 88199"/>
                        <a:gd name="connsiteX1" fmla="*/ 28417 w 132887"/>
                        <a:gd name="connsiteY1" fmla="*/ 0 h 88199"/>
                        <a:gd name="connsiteX2" fmla="*/ 132814 w 132887"/>
                        <a:gd name="connsiteY2" fmla="*/ 33158 h 88199"/>
                        <a:gd name="connsiteX3" fmla="*/ 70812 w 132887"/>
                        <a:gd name="connsiteY3" fmla="*/ 88173 h 88199"/>
                        <a:gd name="connsiteX4" fmla="*/ 0 w 132887"/>
                        <a:gd name="connsiteY4" fmla="*/ 27223 h 88199"/>
                        <a:gd name="connsiteX5" fmla="*/ 0 w 132887"/>
                        <a:gd name="connsiteY5" fmla="*/ 0 h 88199"/>
                        <a:gd name="connsiteX0" fmla="*/ 70812 w 166347"/>
                        <a:gd name="connsiteY0" fmla="*/ 88173 h 88173"/>
                        <a:gd name="connsiteX1" fmla="*/ 0 w 166347"/>
                        <a:gd name="connsiteY1" fmla="*/ 27223 h 88173"/>
                        <a:gd name="connsiteX2" fmla="*/ 0 w 166347"/>
                        <a:gd name="connsiteY2" fmla="*/ 0 h 88173"/>
                        <a:gd name="connsiteX3" fmla="*/ 28417 w 166347"/>
                        <a:gd name="connsiteY3" fmla="*/ 0 h 88173"/>
                        <a:gd name="connsiteX4" fmla="*/ 166347 w 166347"/>
                        <a:gd name="connsiteY4" fmla="*/ 66691 h 88173"/>
                        <a:gd name="connsiteX0" fmla="*/ 70812 w 70812"/>
                        <a:gd name="connsiteY0" fmla="*/ 88173 h 88173"/>
                        <a:gd name="connsiteX1" fmla="*/ 0 w 70812"/>
                        <a:gd name="connsiteY1" fmla="*/ 27223 h 88173"/>
                        <a:gd name="connsiteX2" fmla="*/ 0 w 70812"/>
                        <a:gd name="connsiteY2" fmla="*/ 0 h 88173"/>
                        <a:gd name="connsiteX3" fmla="*/ 28417 w 70812"/>
                        <a:gd name="connsiteY3" fmla="*/ 0 h 88173"/>
                        <a:gd name="connsiteX0" fmla="*/ 0 w 28417"/>
                        <a:gd name="connsiteY0" fmla="*/ 27223 h 27223"/>
                        <a:gd name="connsiteX1" fmla="*/ 0 w 28417"/>
                        <a:gd name="connsiteY1" fmla="*/ 0 h 27223"/>
                        <a:gd name="connsiteX2" fmla="*/ 28417 w 28417"/>
                        <a:gd name="connsiteY2" fmla="*/ 0 h 272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8417" h="27223">
                          <a:moveTo>
                            <a:pt x="0" y="27223"/>
                          </a:moveTo>
                          <a:lnTo>
                            <a:pt x="0" y="0"/>
                          </a:lnTo>
                          <a:lnTo>
                            <a:pt x="28417" y="0"/>
                          </a:lnTo>
                        </a:path>
                      </a:pathLst>
                    </a:custGeom>
                    <a:noFill/>
                    <a:ln w="9525" cap="sq">
                      <a:solidFill>
                        <a:srgbClr val="98A2AE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728" name="Rectangle 220">
                      <a:extLst>
                        <a:ext uri="{FF2B5EF4-FFF2-40B4-BE49-F238E27FC236}">
                          <a16:creationId xmlns:a16="http://schemas.microsoft.com/office/drawing/2014/main" xmlns="" id="{B788817C-F819-4172-B7C0-9E0AE685CBD6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3395411" y="1487091"/>
                      <a:ext cx="77489" cy="90000"/>
                    </a:xfrm>
                    <a:custGeom>
                      <a:avLst/>
                      <a:gdLst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28417 w 28417"/>
                        <a:gd name="connsiteY2" fmla="*/ 27223 h 27223"/>
                        <a:gd name="connsiteX3" fmla="*/ 0 w 28417"/>
                        <a:gd name="connsiteY3" fmla="*/ 27223 h 27223"/>
                        <a:gd name="connsiteX4" fmla="*/ 0 w 28417"/>
                        <a:gd name="connsiteY4" fmla="*/ 0 h 27223"/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0 w 28417"/>
                        <a:gd name="connsiteY2" fmla="*/ 27223 h 27223"/>
                        <a:gd name="connsiteX3" fmla="*/ 0 w 28417"/>
                        <a:gd name="connsiteY3" fmla="*/ 0 h 27223"/>
                        <a:gd name="connsiteX0" fmla="*/ 0 w 132887"/>
                        <a:gd name="connsiteY0" fmla="*/ 0 h 33158"/>
                        <a:gd name="connsiteX1" fmla="*/ 28417 w 132887"/>
                        <a:gd name="connsiteY1" fmla="*/ 0 h 33158"/>
                        <a:gd name="connsiteX2" fmla="*/ 132814 w 132887"/>
                        <a:gd name="connsiteY2" fmla="*/ 33158 h 33158"/>
                        <a:gd name="connsiteX3" fmla="*/ 0 w 132887"/>
                        <a:gd name="connsiteY3" fmla="*/ 27223 h 33158"/>
                        <a:gd name="connsiteX4" fmla="*/ 0 w 132887"/>
                        <a:gd name="connsiteY4" fmla="*/ 0 h 33158"/>
                        <a:gd name="connsiteX0" fmla="*/ 0 w 132887"/>
                        <a:gd name="connsiteY0" fmla="*/ 0 h 88199"/>
                        <a:gd name="connsiteX1" fmla="*/ 28417 w 132887"/>
                        <a:gd name="connsiteY1" fmla="*/ 0 h 88199"/>
                        <a:gd name="connsiteX2" fmla="*/ 132814 w 132887"/>
                        <a:gd name="connsiteY2" fmla="*/ 33158 h 88199"/>
                        <a:gd name="connsiteX3" fmla="*/ 70812 w 132887"/>
                        <a:gd name="connsiteY3" fmla="*/ 88173 h 88199"/>
                        <a:gd name="connsiteX4" fmla="*/ 0 w 132887"/>
                        <a:gd name="connsiteY4" fmla="*/ 27223 h 88199"/>
                        <a:gd name="connsiteX5" fmla="*/ 0 w 132887"/>
                        <a:gd name="connsiteY5" fmla="*/ 0 h 88199"/>
                        <a:gd name="connsiteX0" fmla="*/ 70812 w 166347"/>
                        <a:gd name="connsiteY0" fmla="*/ 88173 h 88173"/>
                        <a:gd name="connsiteX1" fmla="*/ 0 w 166347"/>
                        <a:gd name="connsiteY1" fmla="*/ 27223 h 88173"/>
                        <a:gd name="connsiteX2" fmla="*/ 0 w 166347"/>
                        <a:gd name="connsiteY2" fmla="*/ 0 h 88173"/>
                        <a:gd name="connsiteX3" fmla="*/ 28417 w 166347"/>
                        <a:gd name="connsiteY3" fmla="*/ 0 h 88173"/>
                        <a:gd name="connsiteX4" fmla="*/ 166347 w 166347"/>
                        <a:gd name="connsiteY4" fmla="*/ 66691 h 88173"/>
                        <a:gd name="connsiteX0" fmla="*/ 70812 w 70812"/>
                        <a:gd name="connsiteY0" fmla="*/ 88173 h 88173"/>
                        <a:gd name="connsiteX1" fmla="*/ 0 w 70812"/>
                        <a:gd name="connsiteY1" fmla="*/ 27223 h 88173"/>
                        <a:gd name="connsiteX2" fmla="*/ 0 w 70812"/>
                        <a:gd name="connsiteY2" fmla="*/ 0 h 88173"/>
                        <a:gd name="connsiteX3" fmla="*/ 28417 w 70812"/>
                        <a:gd name="connsiteY3" fmla="*/ 0 h 88173"/>
                        <a:gd name="connsiteX0" fmla="*/ 0 w 28417"/>
                        <a:gd name="connsiteY0" fmla="*/ 27223 h 27223"/>
                        <a:gd name="connsiteX1" fmla="*/ 0 w 28417"/>
                        <a:gd name="connsiteY1" fmla="*/ 0 h 27223"/>
                        <a:gd name="connsiteX2" fmla="*/ 28417 w 28417"/>
                        <a:gd name="connsiteY2" fmla="*/ 0 h 272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8417" h="27223">
                          <a:moveTo>
                            <a:pt x="0" y="27223"/>
                          </a:moveTo>
                          <a:lnTo>
                            <a:pt x="0" y="0"/>
                          </a:lnTo>
                          <a:lnTo>
                            <a:pt x="28417" y="0"/>
                          </a:lnTo>
                        </a:path>
                      </a:pathLst>
                    </a:custGeom>
                    <a:noFill/>
                    <a:ln w="9525" cap="sq">
                      <a:solidFill>
                        <a:srgbClr val="98A2AE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729" name="Rectangle 220">
                      <a:extLst>
                        <a:ext uri="{FF2B5EF4-FFF2-40B4-BE49-F238E27FC236}">
                          <a16:creationId xmlns:a16="http://schemas.microsoft.com/office/drawing/2014/main" xmlns="" id="{3DED5BAA-7CCC-49EC-B60F-BA5CC3C345F9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3395411" y="1653144"/>
                      <a:ext cx="77489" cy="90000"/>
                    </a:xfrm>
                    <a:custGeom>
                      <a:avLst/>
                      <a:gdLst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28417 w 28417"/>
                        <a:gd name="connsiteY2" fmla="*/ 27223 h 27223"/>
                        <a:gd name="connsiteX3" fmla="*/ 0 w 28417"/>
                        <a:gd name="connsiteY3" fmla="*/ 27223 h 27223"/>
                        <a:gd name="connsiteX4" fmla="*/ 0 w 28417"/>
                        <a:gd name="connsiteY4" fmla="*/ 0 h 27223"/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0 w 28417"/>
                        <a:gd name="connsiteY2" fmla="*/ 27223 h 27223"/>
                        <a:gd name="connsiteX3" fmla="*/ 0 w 28417"/>
                        <a:gd name="connsiteY3" fmla="*/ 0 h 27223"/>
                        <a:gd name="connsiteX0" fmla="*/ 0 w 132887"/>
                        <a:gd name="connsiteY0" fmla="*/ 0 h 33158"/>
                        <a:gd name="connsiteX1" fmla="*/ 28417 w 132887"/>
                        <a:gd name="connsiteY1" fmla="*/ 0 h 33158"/>
                        <a:gd name="connsiteX2" fmla="*/ 132814 w 132887"/>
                        <a:gd name="connsiteY2" fmla="*/ 33158 h 33158"/>
                        <a:gd name="connsiteX3" fmla="*/ 0 w 132887"/>
                        <a:gd name="connsiteY3" fmla="*/ 27223 h 33158"/>
                        <a:gd name="connsiteX4" fmla="*/ 0 w 132887"/>
                        <a:gd name="connsiteY4" fmla="*/ 0 h 33158"/>
                        <a:gd name="connsiteX0" fmla="*/ 0 w 132887"/>
                        <a:gd name="connsiteY0" fmla="*/ 0 h 88199"/>
                        <a:gd name="connsiteX1" fmla="*/ 28417 w 132887"/>
                        <a:gd name="connsiteY1" fmla="*/ 0 h 88199"/>
                        <a:gd name="connsiteX2" fmla="*/ 132814 w 132887"/>
                        <a:gd name="connsiteY2" fmla="*/ 33158 h 88199"/>
                        <a:gd name="connsiteX3" fmla="*/ 70812 w 132887"/>
                        <a:gd name="connsiteY3" fmla="*/ 88173 h 88199"/>
                        <a:gd name="connsiteX4" fmla="*/ 0 w 132887"/>
                        <a:gd name="connsiteY4" fmla="*/ 27223 h 88199"/>
                        <a:gd name="connsiteX5" fmla="*/ 0 w 132887"/>
                        <a:gd name="connsiteY5" fmla="*/ 0 h 88199"/>
                        <a:gd name="connsiteX0" fmla="*/ 70812 w 166347"/>
                        <a:gd name="connsiteY0" fmla="*/ 88173 h 88173"/>
                        <a:gd name="connsiteX1" fmla="*/ 0 w 166347"/>
                        <a:gd name="connsiteY1" fmla="*/ 27223 h 88173"/>
                        <a:gd name="connsiteX2" fmla="*/ 0 w 166347"/>
                        <a:gd name="connsiteY2" fmla="*/ 0 h 88173"/>
                        <a:gd name="connsiteX3" fmla="*/ 28417 w 166347"/>
                        <a:gd name="connsiteY3" fmla="*/ 0 h 88173"/>
                        <a:gd name="connsiteX4" fmla="*/ 166347 w 166347"/>
                        <a:gd name="connsiteY4" fmla="*/ 66691 h 88173"/>
                        <a:gd name="connsiteX0" fmla="*/ 70812 w 70812"/>
                        <a:gd name="connsiteY0" fmla="*/ 88173 h 88173"/>
                        <a:gd name="connsiteX1" fmla="*/ 0 w 70812"/>
                        <a:gd name="connsiteY1" fmla="*/ 27223 h 88173"/>
                        <a:gd name="connsiteX2" fmla="*/ 0 w 70812"/>
                        <a:gd name="connsiteY2" fmla="*/ 0 h 88173"/>
                        <a:gd name="connsiteX3" fmla="*/ 28417 w 70812"/>
                        <a:gd name="connsiteY3" fmla="*/ 0 h 88173"/>
                        <a:gd name="connsiteX0" fmla="*/ 0 w 28417"/>
                        <a:gd name="connsiteY0" fmla="*/ 27223 h 27223"/>
                        <a:gd name="connsiteX1" fmla="*/ 0 w 28417"/>
                        <a:gd name="connsiteY1" fmla="*/ 0 h 27223"/>
                        <a:gd name="connsiteX2" fmla="*/ 28417 w 28417"/>
                        <a:gd name="connsiteY2" fmla="*/ 0 h 272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8417" h="27223">
                          <a:moveTo>
                            <a:pt x="0" y="27223"/>
                          </a:moveTo>
                          <a:lnTo>
                            <a:pt x="0" y="0"/>
                          </a:lnTo>
                          <a:lnTo>
                            <a:pt x="28417" y="0"/>
                          </a:lnTo>
                        </a:path>
                      </a:pathLst>
                    </a:custGeom>
                    <a:noFill/>
                    <a:ln w="9525" cap="sq">
                      <a:solidFill>
                        <a:srgbClr val="98A2AE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730" name="Rectangle 220">
                      <a:extLst>
                        <a:ext uri="{FF2B5EF4-FFF2-40B4-BE49-F238E27FC236}">
                          <a16:creationId xmlns:a16="http://schemas.microsoft.com/office/drawing/2014/main" xmlns="" id="{834A67A7-D9CC-47E2-A26B-F6D461B35B97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3395411" y="1819201"/>
                      <a:ext cx="77489" cy="90000"/>
                    </a:xfrm>
                    <a:custGeom>
                      <a:avLst/>
                      <a:gdLst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28417 w 28417"/>
                        <a:gd name="connsiteY2" fmla="*/ 27223 h 27223"/>
                        <a:gd name="connsiteX3" fmla="*/ 0 w 28417"/>
                        <a:gd name="connsiteY3" fmla="*/ 27223 h 27223"/>
                        <a:gd name="connsiteX4" fmla="*/ 0 w 28417"/>
                        <a:gd name="connsiteY4" fmla="*/ 0 h 27223"/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0 w 28417"/>
                        <a:gd name="connsiteY2" fmla="*/ 27223 h 27223"/>
                        <a:gd name="connsiteX3" fmla="*/ 0 w 28417"/>
                        <a:gd name="connsiteY3" fmla="*/ 0 h 27223"/>
                        <a:gd name="connsiteX0" fmla="*/ 0 w 132887"/>
                        <a:gd name="connsiteY0" fmla="*/ 0 h 33158"/>
                        <a:gd name="connsiteX1" fmla="*/ 28417 w 132887"/>
                        <a:gd name="connsiteY1" fmla="*/ 0 h 33158"/>
                        <a:gd name="connsiteX2" fmla="*/ 132814 w 132887"/>
                        <a:gd name="connsiteY2" fmla="*/ 33158 h 33158"/>
                        <a:gd name="connsiteX3" fmla="*/ 0 w 132887"/>
                        <a:gd name="connsiteY3" fmla="*/ 27223 h 33158"/>
                        <a:gd name="connsiteX4" fmla="*/ 0 w 132887"/>
                        <a:gd name="connsiteY4" fmla="*/ 0 h 33158"/>
                        <a:gd name="connsiteX0" fmla="*/ 0 w 132887"/>
                        <a:gd name="connsiteY0" fmla="*/ 0 h 88199"/>
                        <a:gd name="connsiteX1" fmla="*/ 28417 w 132887"/>
                        <a:gd name="connsiteY1" fmla="*/ 0 h 88199"/>
                        <a:gd name="connsiteX2" fmla="*/ 132814 w 132887"/>
                        <a:gd name="connsiteY2" fmla="*/ 33158 h 88199"/>
                        <a:gd name="connsiteX3" fmla="*/ 70812 w 132887"/>
                        <a:gd name="connsiteY3" fmla="*/ 88173 h 88199"/>
                        <a:gd name="connsiteX4" fmla="*/ 0 w 132887"/>
                        <a:gd name="connsiteY4" fmla="*/ 27223 h 88199"/>
                        <a:gd name="connsiteX5" fmla="*/ 0 w 132887"/>
                        <a:gd name="connsiteY5" fmla="*/ 0 h 88199"/>
                        <a:gd name="connsiteX0" fmla="*/ 70812 w 166347"/>
                        <a:gd name="connsiteY0" fmla="*/ 88173 h 88173"/>
                        <a:gd name="connsiteX1" fmla="*/ 0 w 166347"/>
                        <a:gd name="connsiteY1" fmla="*/ 27223 h 88173"/>
                        <a:gd name="connsiteX2" fmla="*/ 0 w 166347"/>
                        <a:gd name="connsiteY2" fmla="*/ 0 h 88173"/>
                        <a:gd name="connsiteX3" fmla="*/ 28417 w 166347"/>
                        <a:gd name="connsiteY3" fmla="*/ 0 h 88173"/>
                        <a:gd name="connsiteX4" fmla="*/ 166347 w 166347"/>
                        <a:gd name="connsiteY4" fmla="*/ 66691 h 88173"/>
                        <a:gd name="connsiteX0" fmla="*/ 70812 w 70812"/>
                        <a:gd name="connsiteY0" fmla="*/ 88173 h 88173"/>
                        <a:gd name="connsiteX1" fmla="*/ 0 w 70812"/>
                        <a:gd name="connsiteY1" fmla="*/ 27223 h 88173"/>
                        <a:gd name="connsiteX2" fmla="*/ 0 w 70812"/>
                        <a:gd name="connsiteY2" fmla="*/ 0 h 88173"/>
                        <a:gd name="connsiteX3" fmla="*/ 28417 w 70812"/>
                        <a:gd name="connsiteY3" fmla="*/ 0 h 88173"/>
                        <a:gd name="connsiteX0" fmla="*/ 0 w 28417"/>
                        <a:gd name="connsiteY0" fmla="*/ 27223 h 27223"/>
                        <a:gd name="connsiteX1" fmla="*/ 0 w 28417"/>
                        <a:gd name="connsiteY1" fmla="*/ 0 h 27223"/>
                        <a:gd name="connsiteX2" fmla="*/ 28417 w 28417"/>
                        <a:gd name="connsiteY2" fmla="*/ 0 h 272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8417" h="27223">
                          <a:moveTo>
                            <a:pt x="0" y="27223"/>
                          </a:moveTo>
                          <a:lnTo>
                            <a:pt x="0" y="0"/>
                          </a:lnTo>
                          <a:lnTo>
                            <a:pt x="28417" y="0"/>
                          </a:lnTo>
                        </a:path>
                      </a:pathLst>
                    </a:custGeom>
                    <a:noFill/>
                    <a:ln w="9525" cap="sq">
                      <a:solidFill>
                        <a:srgbClr val="98A2AE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731" name="Rectangle 220">
                      <a:extLst>
                        <a:ext uri="{FF2B5EF4-FFF2-40B4-BE49-F238E27FC236}">
                          <a16:creationId xmlns:a16="http://schemas.microsoft.com/office/drawing/2014/main" xmlns="" id="{78158B0A-685B-4852-8017-8A93B32754C3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3540705" y="1321034"/>
                      <a:ext cx="77489" cy="90000"/>
                    </a:xfrm>
                    <a:custGeom>
                      <a:avLst/>
                      <a:gdLst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28417 w 28417"/>
                        <a:gd name="connsiteY2" fmla="*/ 27223 h 27223"/>
                        <a:gd name="connsiteX3" fmla="*/ 0 w 28417"/>
                        <a:gd name="connsiteY3" fmla="*/ 27223 h 27223"/>
                        <a:gd name="connsiteX4" fmla="*/ 0 w 28417"/>
                        <a:gd name="connsiteY4" fmla="*/ 0 h 27223"/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0 w 28417"/>
                        <a:gd name="connsiteY2" fmla="*/ 27223 h 27223"/>
                        <a:gd name="connsiteX3" fmla="*/ 0 w 28417"/>
                        <a:gd name="connsiteY3" fmla="*/ 0 h 27223"/>
                        <a:gd name="connsiteX0" fmla="*/ 0 w 132887"/>
                        <a:gd name="connsiteY0" fmla="*/ 0 h 33158"/>
                        <a:gd name="connsiteX1" fmla="*/ 28417 w 132887"/>
                        <a:gd name="connsiteY1" fmla="*/ 0 h 33158"/>
                        <a:gd name="connsiteX2" fmla="*/ 132814 w 132887"/>
                        <a:gd name="connsiteY2" fmla="*/ 33158 h 33158"/>
                        <a:gd name="connsiteX3" fmla="*/ 0 w 132887"/>
                        <a:gd name="connsiteY3" fmla="*/ 27223 h 33158"/>
                        <a:gd name="connsiteX4" fmla="*/ 0 w 132887"/>
                        <a:gd name="connsiteY4" fmla="*/ 0 h 33158"/>
                        <a:gd name="connsiteX0" fmla="*/ 0 w 132887"/>
                        <a:gd name="connsiteY0" fmla="*/ 0 h 88199"/>
                        <a:gd name="connsiteX1" fmla="*/ 28417 w 132887"/>
                        <a:gd name="connsiteY1" fmla="*/ 0 h 88199"/>
                        <a:gd name="connsiteX2" fmla="*/ 132814 w 132887"/>
                        <a:gd name="connsiteY2" fmla="*/ 33158 h 88199"/>
                        <a:gd name="connsiteX3" fmla="*/ 70812 w 132887"/>
                        <a:gd name="connsiteY3" fmla="*/ 88173 h 88199"/>
                        <a:gd name="connsiteX4" fmla="*/ 0 w 132887"/>
                        <a:gd name="connsiteY4" fmla="*/ 27223 h 88199"/>
                        <a:gd name="connsiteX5" fmla="*/ 0 w 132887"/>
                        <a:gd name="connsiteY5" fmla="*/ 0 h 88199"/>
                        <a:gd name="connsiteX0" fmla="*/ 70812 w 166347"/>
                        <a:gd name="connsiteY0" fmla="*/ 88173 h 88173"/>
                        <a:gd name="connsiteX1" fmla="*/ 0 w 166347"/>
                        <a:gd name="connsiteY1" fmla="*/ 27223 h 88173"/>
                        <a:gd name="connsiteX2" fmla="*/ 0 w 166347"/>
                        <a:gd name="connsiteY2" fmla="*/ 0 h 88173"/>
                        <a:gd name="connsiteX3" fmla="*/ 28417 w 166347"/>
                        <a:gd name="connsiteY3" fmla="*/ 0 h 88173"/>
                        <a:gd name="connsiteX4" fmla="*/ 166347 w 166347"/>
                        <a:gd name="connsiteY4" fmla="*/ 66691 h 88173"/>
                        <a:gd name="connsiteX0" fmla="*/ 70812 w 70812"/>
                        <a:gd name="connsiteY0" fmla="*/ 88173 h 88173"/>
                        <a:gd name="connsiteX1" fmla="*/ 0 w 70812"/>
                        <a:gd name="connsiteY1" fmla="*/ 27223 h 88173"/>
                        <a:gd name="connsiteX2" fmla="*/ 0 w 70812"/>
                        <a:gd name="connsiteY2" fmla="*/ 0 h 88173"/>
                        <a:gd name="connsiteX3" fmla="*/ 28417 w 70812"/>
                        <a:gd name="connsiteY3" fmla="*/ 0 h 88173"/>
                        <a:gd name="connsiteX0" fmla="*/ 0 w 28417"/>
                        <a:gd name="connsiteY0" fmla="*/ 27223 h 27223"/>
                        <a:gd name="connsiteX1" fmla="*/ 0 w 28417"/>
                        <a:gd name="connsiteY1" fmla="*/ 0 h 27223"/>
                        <a:gd name="connsiteX2" fmla="*/ 28417 w 28417"/>
                        <a:gd name="connsiteY2" fmla="*/ 0 h 272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8417" h="27223">
                          <a:moveTo>
                            <a:pt x="0" y="27223"/>
                          </a:moveTo>
                          <a:lnTo>
                            <a:pt x="0" y="0"/>
                          </a:lnTo>
                          <a:lnTo>
                            <a:pt x="28417" y="0"/>
                          </a:lnTo>
                        </a:path>
                      </a:pathLst>
                    </a:custGeom>
                    <a:noFill/>
                    <a:ln w="9525" cap="sq">
                      <a:solidFill>
                        <a:srgbClr val="98A2AE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732" name="Rectangle 220">
                      <a:extLst>
                        <a:ext uri="{FF2B5EF4-FFF2-40B4-BE49-F238E27FC236}">
                          <a16:creationId xmlns:a16="http://schemas.microsoft.com/office/drawing/2014/main" xmlns="" id="{224EA0B7-886F-46C1-9F82-9A992E370888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3540705" y="1487091"/>
                      <a:ext cx="77489" cy="90000"/>
                    </a:xfrm>
                    <a:custGeom>
                      <a:avLst/>
                      <a:gdLst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28417 w 28417"/>
                        <a:gd name="connsiteY2" fmla="*/ 27223 h 27223"/>
                        <a:gd name="connsiteX3" fmla="*/ 0 w 28417"/>
                        <a:gd name="connsiteY3" fmla="*/ 27223 h 27223"/>
                        <a:gd name="connsiteX4" fmla="*/ 0 w 28417"/>
                        <a:gd name="connsiteY4" fmla="*/ 0 h 27223"/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0 w 28417"/>
                        <a:gd name="connsiteY2" fmla="*/ 27223 h 27223"/>
                        <a:gd name="connsiteX3" fmla="*/ 0 w 28417"/>
                        <a:gd name="connsiteY3" fmla="*/ 0 h 27223"/>
                        <a:gd name="connsiteX0" fmla="*/ 0 w 132887"/>
                        <a:gd name="connsiteY0" fmla="*/ 0 h 33158"/>
                        <a:gd name="connsiteX1" fmla="*/ 28417 w 132887"/>
                        <a:gd name="connsiteY1" fmla="*/ 0 h 33158"/>
                        <a:gd name="connsiteX2" fmla="*/ 132814 w 132887"/>
                        <a:gd name="connsiteY2" fmla="*/ 33158 h 33158"/>
                        <a:gd name="connsiteX3" fmla="*/ 0 w 132887"/>
                        <a:gd name="connsiteY3" fmla="*/ 27223 h 33158"/>
                        <a:gd name="connsiteX4" fmla="*/ 0 w 132887"/>
                        <a:gd name="connsiteY4" fmla="*/ 0 h 33158"/>
                        <a:gd name="connsiteX0" fmla="*/ 0 w 132887"/>
                        <a:gd name="connsiteY0" fmla="*/ 0 h 88199"/>
                        <a:gd name="connsiteX1" fmla="*/ 28417 w 132887"/>
                        <a:gd name="connsiteY1" fmla="*/ 0 h 88199"/>
                        <a:gd name="connsiteX2" fmla="*/ 132814 w 132887"/>
                        <a:gd name="connsiteY2" fmla="*/ 33158 h 88199"/>
                        <a:gd name="connsiteX3" fmla="*/ 70812 w 132887"/>
                        <a:gd name="connsiteY3" fmla="*/ 88173 h 88199"/>
                        <a:gd name="connsiteX4" fmla="*/ 0 w 132887"/>
                        <a:gd name="connsiteY4" fmla="*/ 27223 h 88199"/>
                        <a:gd name="connsiteX5" fmla="*/ 0 w 132887"/>
                        <a:gd name="connsiteY5" fmla="*/ 0 h 88199"/>
                        <a:gd name="connsiteX0" fmla="*/ 70812 w 166347"/>
                        <a:gd name="connsiteY0" fmla="*/ 88173 h 88173"/>
                        <a:gd name="connsiteX1" fmla="*/ 0 w 166347"/>
                        <a:gd name="connsiteY1" fmla="*/ 27223 h 88173"/>
                        <a:gd name="connsiteX2" fmla="*/ 0 w 166347"/>
                        <a:gd name="connsiteY2" fmla="*/ 0 h 88173"/>
                        <a:gd name="connsiteX3" fmla="*/ 28417 w 166347"/>
                        <a:gd name="connsiteY3" fmla="*/ 0 h 88173"/>
                        <a:gd name="connsiteX4" fmla="*/ 166347 w 166347"/>
                        <a:gd name="connsiteY4" fmla="*/ 66691 h 88173"/>
                        <a:gd name="connsiteX0" fmla="*/ 70812 w 70812"/>
                        <a:gd name="connsiteY0" fmla="*/ 88173 h 88173"/>
                        <a:gd name="connsiteX1" fmla="*/ 0 w 70812"/>
                        <a:gd name="connsiteY1" fmla="*/ 27223 h 88173"/>
                        <a:gd name="connsiteX2" fmla="*/ 0 w 70812"/>
                        <a:gd name="connsiteY2" fmla="*/ 0 h 88173"/>
                        <a:gd name="connsiteX3" fmla="*/ 28417 w 70812"/>
                        <a:gd name="connsiteY3" fmla="*/ 0 h 88173"/>
                        <a:gd name="connsiteX0" fmla="*/ 0 w 28417"/>
                        <a:gd name="connsiteY0" fmla="*/ 27223 h 27223"/>
                        <a:gd name="connsiteX1" fmla="*/ 0 w 28417"/>
                        <a:gd name="connsiteY1" fmla="*/ 0 h 27223"/>
                        <a:gd name="connsiteX2" fmla="*/ 28417 w 28417"/>
                        <a:gd name="connsiteY2" fmla="*/ 0 h 272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8417" h="27223">
                          <a:moveTo>
                            <a:pt x="0" y="27223"/>
                          </a:moveTo>
                          <a:lnTo>
                            <a:pt x="0" y="0"/>
                          </a:lnTo>
                          <a:lnTo>
                            <a:pt x="28417" y="0"/>
                          </a:lnTo>
                        </a:path>
                      </a:pathLst>
                    </a:custGeom>
                    <a:noFill/>
                    <a:ln w="9525" cap="sq">
                      <a:solidFill>
                        <a:srgbClr val="98A2AE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</p:grpSp>
            <p:grpSp>
              <p:nvGrpSpPr>
                <p:cNvPr id="550" name="Gruppieren 549">
                  <a:extLst>
                    <a:ext uri="{FF2B5EF4-FFF2-40B4-BE49-F238E27FC236}">
                      <a16:creationId xmlns:a16="http://schemas.microsoft.com/office/drawing/2014/main" xmlns="" id="{383809C8-AF92-4D92-B966-F9A3B4FA054C}"/>
                    </a:ext>
                  </a:extLst>
                </p:cNvPr>
                <p:cNvGrpSpPr/>
                <p:nvPr/>
              </p:nvGrpSpPr>
              <p:grpSpPr>
                <a:xfrm>
                  <a:off x="1694164" y="2989403"/>
                  <a:ext cx="327366" cy="265358"/>
                  <a:chOff x="3560928" y="1685628"/>
                  <a:chExt cx="727857" cy="589988"/>
                </a:xfrm>
              </p:grpSpPr>
              <p:sp>
                <p:nvSpPr>
                  <p:cNvPr id="714" name="Rectangle 196">
                    <a:extLst>
                      <a:ext uri="{FF2B5EF4-FFF2-40B4-BE49-F238E27FC236}">
                        <a16:creationId xmlns:a16="http://schemas.microsoft.com/office/drawing/2014/main" xmlns="" id="{058626BB-583E-4B98-83CA-5D426476CE8C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3560928" y="1685628"/>
                    <a:ext cx="727857" cy="589988"/>
                  </a:xfrm>
                  <a:custGeom>
                    <a:avLst/>
                    <a:gdLst>
                      <a:gd name="connsiteX0" fmla="*/ 0 w 327366"/>
                      <a:gd name="connsiteY0" fmla="*/ 0 h 265358"/>
                      <a:gd name="connsiteX1" fmla="*/ 327366 w 327366"/>
                      <a:gd name="connsiteY1" fmla="*/ 0 h 265358"/>
                      <a:gd name="connsiteX2" fmla="*/ 327366 w 327366"/>
                      <a:gd name="connsiteY2" fmla="*/ 265358 h 265358"/>
                      <a:gd name="connsiteX3" fmla="*/ 0 w 327366"/>
                      <a:gd name="connsiteY3" fmla="*/ 265358 h 265358"/>
                      <a:gd name="connsiteX4" fmla="*/ 0 w 327366"/>
                      <a:gd name="connsiteY4" fmla="*/ 0 h 265358"/>
                      <a:gd name="connsiteX0" fmla="*/ 0 w 327366"/>
                      <a:gd name="connsiteY0" fmla="*/ 0 h 325301"/>
                      <a:gd name="connsiteX1" fmla="*/ 327366 w 327366"/>
                      <a:gd name="connsiteY1" fmla="*/ 0 h 325301"/>
                      <a:gd name="connsiteX2" fmla="*/ 327366 w 327366"/>
                      <a:gd name="connsiteY2" fmla="*/ 265358 h 325301"/>
                      <a:gd name="connsiteX3" fmla="*/ 241792 w 327366"/>
                      <a:gd name="connsiteY3" fmla="*/ 325296 h 325301"/>
                      <a:gd name="connsiteX4" fmla="*/ 0 w 327366"/>
                      <a:gd name="connsiteY4" fmla="*/ 265358 h 325301"/>
                      <a:gd name="connsiteX5" fmla="*/ 0 w 327366"/>
                      <a:gd name="connsiteY5" fmla="*/ 0 h 325301"/>
                      <a:gd name="connsiteX0" fmla="*/ 0 w 327366"/>
                      <a:gd name="connsiteY0" fmla="*/ 0 h 362438"/>
                      <a:gd name="connsiteX1" fmla="*/ 327366 w 327366"/>
                      <a:gd name="connsiteY1" fmla="*/ 0 h 362438"/>
                      <a:gd name="connsiteX2" fmla="*/ 327366 w 327366"/>
                      <a:gd name="connsiteY2" fmla="*/ 265358 h 362438"/>
                      <a:gd name="connsiteX3" fmla="*/ 241792 w 327366"/>
                      <a:gd name="connsiteY3" fmla="*/ 325296 h 362438"/>
                      <a:gd name="connsiteX4" fmla="*/ 117967 w 327366"/>
                      <a:gd name="connsiteY4" fmla="*/ 361015 h 362438"/>
                      <a:gd name="connsiteX5" fmla="*/ 0 w 327366"/>
                      <a:gd name="connsiteY5" fmla="*/ 265358 h 362438"/>
                      <a:gd name="connsiteX6" fmla="*/ 0 w 327366"/>
                      <a:gd name="connsiteY6" fmla="*/ 0 h 362438"/>
                      <a:gd name="connsiteX0" fmla="*/ 117967 w 333232"/>
                      <a:gd name="connsiteY0" fmla="*/ 361015 h 416736"/>
                      <a:gd name="connsiteX1" fmla="*/ 0 w 333232"/>
                      <a:gd name="connsiteY1" fmla="*/ 265358 h 416736"/>
                      <a:gd name="connsiteX2" fmla="*/ 0 w 333232"/>
                      <a:gd name="connsiteY2" fmla="*/ 0 h 416736"/>
                      <a:gd name="connsiteX3" fmla="*/ 327366 w 333232"/>
                      <a:gd name="connsiteY3" fmla="*/ 0 h 416736"/>
                      <a:gd name="connsiteX4" fmla="*/ 327366 w 333232"/>
                      <a:gd name="connsiteY4" fmla="*/ 265358 h 416736"/>
                      <a:gd name="connsiteX5" fmla="*/ 333232 w 333232"/>
                      <a:gd name="connsiteY5" fmla="*/ 416736 h 416736"/>
                      <a:gd name="connsiteX0" fmla="*/ 117967 w 327366"/>
                      <a:gd name="connsiteY0" fmla="*/ 361015 h 361015"/>
                      <a:gd name="connsiteX1" fmla="*/ 0 w 327366"/>
                      <a:gd name="connsiteY1" fmla="*/ 265358 h 361015"/>
                      <a:gd name="connsiteX2" fmla="*/ 0 w 327366"/>
                      <a:gd name="connsiteY2" fmla="*/ 0 h 361015"/>
                      <a:gd name="connsiteX3" fmla="*/ 327366 w 327366"/>
                      <a:gd name="connsiteY3" fmla="*/ 0 h 361015"/>
                      <a:gd name="connsiteX4" fmla="*/ 327366 w 327366"/>
                      <a:gd name="connsiteY4" fmla="*/ 265358 h 361015"/>
                      <a:gd name="connsiteX0" fmla="*/ 0 w 327366"/>
                      <a:gd name="connsiteY0" fmla="*/ 265358 h 265358"/>
                      <a:gd name="connsiteX1" fmla="*/ 0 w 327366"/>
                      <a:gd name="connsiteY1" fmla="*/ 0 h 265358"/>
                      <a:gd name="connsiteX2" fmla="*/ 327366 w 327366"/>
                      <a:gd name="connsiteY2" fmla="*/ 0 h 265358"/>
                      <a:gd name="connsiteX3" fmla="*/ 327366 w 327366"/>
                      <a:gd name="connsiteY3" fmla="*/ 265358 h 265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27366" h="265358">
                        <a:moveTo>
                          <a:pt x="0" y="265358"/>
                        </a:moveTo>
                        <a:lnTo>
                          <a:pt x="0" y="0"/>
                        </a:lnTo>
                        <a:lnTo>
                          <a:pt x="327366" y="0"/>
                        </a:lnTo>
                        <a:lnTo>
                          <a:pt x="327366" y="265358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15" name="Rectangle 221">
                    <a:extLst>
                      <a:ext uri="{FF2B5EF4-FFF2-40B4-BE49-F238E27FC236}">
                        <a16:creationId xmlns:a16="http://schemas.microsoft.com/office/drawing/2014/main" xmlns="" id="{4F8AF0A3-042C-4D7E-9D00-990048AFFBE6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3632254" y="1746989"/>
                    <a:ext cx="169003" cy="112669"/>
                  </a:xfrm>
                  <a:custGeom>
                    <a:avLst/>
                    <a:gdLst>
                      <a:gd name="connsiteX0" fmla="*/ 0 w 169003"/>
                      <a:gd name="connsiteY0" fmla="*/ 0 h 112669"/>
                      <a:gd name="connsiteX1" fmla="*/ 169003 w 169003"/>
                      <a:gd name="connsiteY1" fmla="*/ 0 h 112669"/>
                      <a:gd name="connsiteX2" fmla="*/ 169003 w 169003"/>
                      <a:gd name="connsiteY2" fmla="*/ 112669 h 112669"/>
                      <a:gd name="connsiteX3" fmla="*/ 0 w 169003"/>
                      <a:gd name="connsiteY3" fmla="*/ 112669 h 112669"/>
                      <a:gd name="connsiteX4" fmla="*/ 0 w 169003"/>
                      <a:gd name="connsiteY4" fmla="*/ 0 h 112669"/>
                      <a:gd name="connsiteX0" fmla="*/ 0 w 169003"/>
                      <a:gd name="connsiteY0" fmla="*/ 0 h 188974"/>
                      <a:gd name="connsiteX1" fmla="*/ 169003 w 169003"/>
                      <a:gd name="connsiteY1" fmla="*/ 0 h 188974"/>
                      <a:gd name="connsiteX2" fmla="*/ 169003 w 169003"/>
                      <a:gd name="connsiteY2" fmla="*/ 112669 h 188974"/>
                      <a:gd name="connsiteX3" fmla="*/ 108690 w 169003"/>
                      <a:gd name="connsiteY3" fmla="*/ 188969 h 188974"/>
                      <a:gd name="connsiteX4" fmla="*/ 0 w 169003"/>
                      <a:gd name="connsiteY4" fmla="*/ 112669 h 188974"/>
                      <a:gd name="connsiteX5" fmla="*/ 0 w 169003"/>
                      <a:gd name="connsiteY5" fmla="*/ 0 h 188974"/>
                      <a:gd name="connsiteX0" fmla="*/ 108690 w 260443"/>
                      <a:gd name="connsiteY0" fmla="*/ 188969 h 204109"/>
                      <a:gd name="connsiteX1" fmla="*/ 0 w 260443"/>
                      <a:gd name="connsiteY1" fmla="*/ 112669 h 204109"/>
                      <a:gd name="connsiteX2" fmla="*/ 0 w 260443"/>
                      <a:gd name="connsiteY2" fmla="*/ 0 h 204109"/>
                      <a:gd name="connsiteX3" fmla="*/ 169003 w 260443"/>
                      <a:gd name="connsiteY3" fmla="*/ 0 h 204109"/>
                      <a:gd name="connsiteX4" fmla="*/ 260443 w 260443"/>
                      <a:gd name="connsiteY4" fmla="*/ 204109 h 204109"/>
                      <a:gd name="connsiteX0" fmla="*/ 108690 w 169003"/>
                      <a:gd name="connsiteY0" fmla="*/ 188969 h 188969"/>
                      <a:gd name="connsiteX1" fmla="*/ 0 w 169003"/>
                      <a:gd name="connsiteY1" fmla="*/ 112669 h 188969"/>
                      <a:gd name="connsiteX2" fmla="*/ 0 w 169003"/>
                      <a:gd name="connsiteY2" fmla="*/ 0 h 188969"/>
                      <a:gd name="connsiteX3" fmla="*/ 169003 w 169003"/>
                      <a:gd name="connsiteY3" fmla="*/ 0 h 188969"/>
                      <a:gd name="connsiteX0" fmla="*/ 0 w 169003"/>
                      <a:gd name="connsiteY0" fmla="*/ 112669 h 112669"/>
                      <a:gd name="connsiteX1" fmla="*/ 0 w 169003"/>
                      <a:gd name="connsiteY1" fmla="*/ 0 h 112669"/>
                      <a:gd name="connsiteX2" fmla="*/ 169003 w 169003"/>
                      <a:gd name="connsiteY2" fmla="*/ 0 h 112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9003" h="112669">
                        <a:moveTo>
                          <a:pt x="0" y="112669"/>
                        </a:moveTo>
                        <a:lnTo>
                          <a:pt x="0" y="0"/>
                        </a:lnTo>
                        <a:lnTo>
                          <a:pt x="169003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16" name="Rectangle 221">
                    <a:extLst>
                      <a:ext uri="{FF2B5EF4-FFF2-40B4-BE49-F238E27FC236}">
                        <a16:creationId xmlns:a16="http://schemas.microsoft.com/office/drawing/2014/main" xmlns="" id="{FEF708BA-C40D-44FD-9B29-86C70FF43D92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3865302" y="1746989"/>
                    <a:ext cx="169003" cy="112669"/>
                  </a:xfrm>
                  <a:custGeom>
                    <a:avLst/>
                    <a:gdLst>
                      <a:gd name="connsiteX0" fmla="*/ 0 w 169003"/>
                      <a:gd name="connsiteY0" fmla="*/ 0 h 112669"/>
                      <a:gd name="connsiteX1" fmla="*/ 169003 w 169003"/>
                      <a:gd name="connsiteY1" fmla="*/ 0 h 112669"/>
                      <a:gd name="connsiteX2" fmla="*/ 169003 w 169003"/>
                      <a:gd name="connsiteY2" fmla="*/ 112669 h 112669"/>
                      <a:gd name="connsiteX3" fmla="*/ 0 w 169003"/>
                      <a:gd name="connsiteY3" fmla="*/ 112669 h 112669"/>
                      <a:gd name="connsiteX4" fmla="*/ 0 w 169003"/>
                      <a:gd name="connsiteY4" fmla="*/ 0 h 112669"/>
                      <a:gd name="connsiteX0" fmla="*/ 0 w 169003"/>
                      <a:gd name="connsiteY0" fmla="*/ 0 h 188974"/>
                      <a:gd name="connsiteX1" fmla="*/ 169003 w 169003"/>
                      <a:gd name="connsiteY1" fmla="*/ 0 h 188974"/>
                      <a:gd name="connsiteX2" fmla="*/ 169003 w 169003"/>
                      <a:gd name="connsiteY2" fmla="*/ 112669 h 188974"/>
                      <a:gd name="connsiteX3" fmla="*/ 108690 w 169003"/>
                      <a:gd name="connsiteY3" fmla="*/ 188969 h 188974"/>
                      <a:gd name="connsiteX4" fmla="*/ 0 w 169003"/>
                      <a:gd name="connsiteY4" fmla="*/ 112669 h 188974"/>
                      <a:gd name="connsiteX5" fmla="*/ 0 w 169003"/>
                      <a:gd name="connsiteY5" fmla="*/ 0 h 188974"/>
                      <a:gd name="connsiteX0" fmla="*/ 108690 w 260443"/>
                      <a:gd name="connsiteY0" fmla="*/ 188969 h 204109"/>
                      <a:gd name="connsiteX1" fmla="*/ 0 w 260443"/>
                      <a:gd name="connsiteY1" fmla="*/ 112669 h 204109"/>
                      <a:gd name="connsiteX2" fmla="*/ 0 w 260443"/>
                      <a:gd name="connsiteY2" fmla="*/ 0 h 204109"/>
                      <a:gd name="connsiteX3" fmla="*/ 169003 w 260443"/>
                      <a:gd name="connsiteY3" fmla="*/ 0 h 204109"/>
                      <a:gd name="connsiteX4" fmla="*/ 260443 w 260443"/>
                      <a:gd name="connsiteY4" fmla="*/ 204109 h 204109"/>
                      <a:gd name="connsiteX0" fmla="*/ 108690 w 169003"/>
                      <a:gd name="connsiteY0" fmla="*/ 188969 h 188969"/>
                      <a:gd name="connsiteX1" fmla="*/ 0 w 169003"/>
                      <a:gd name="connsiteY1" fmla="*/ 112669 h 188969"/>
                      <a:gd name="connsiteX2" fmla="*/ 0 w 169003"/>
                      <a:gd name="connsiteY2" fmla="*/ 0 h 188969"/>
                      <a:gd name="connsiteX3" fmla="*/ 169003 w 169003"/>
                      <a:gd name="connsiteY3" fmla="*/ 0 h 188969"/>
                      <a:gd name="connsiteX0" fmla="*/ 0 w 169003"/>
                      <a:gd name="connsiteY0" fmla="*/ 112669 h 112669"/>
                      <a:gd name="connsiteX1" fmla="*/ 0 w 169003"/>
                      <a:gd name="connsiteY1" fmla="*/ 0 h 112669"/>
                      <a:gd name="connsiteX2" fmla="*/ 169003 w 169003"/>
                      <a:gd name="connsiteY2" fmla="*/ 0 h 112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9003" h="112669">
                        <a:moveTo>
                          <a:pt x="0" y="112669"/>
                        </a:moveTo>
                        <a:lnTo>
                          <a:pt x="0" y="0"/>
                        </a:lnTo>
                        <a:lnTo>
                          <a:pt x="169003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17" name="Rectangle 221">
                    <a:extLst>
                      <a:ext uri="{FF2B5EF4-FFF2-40B4-BE49-F238E27FC236}">
                        <a16:creationId xmlns:a16="http://schemas.microsoft.com/office/drawing/2014/main" xmlns="" id="{A9810A64-075E-4E33-BB76-EB6D2795A99D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098350" y="1746989"/>
                    <a:ext cx="169003" cy="112669"/>
                  </a:xfrm>
                  <a:custGeom>
                    <a:avLst/>
                    <a:gdLst>
                      <a:gd name="connsiteX0" fmla="*/ 0 w 169003"/>
                      <a:gd name="connsiteY0" fmla="*/ 0 h 112669"/>
                      <a:gd name="connsiteX1" fmla="*/ 169003 w 169003"/>
                      <a:gd name="connsiteY1" fmla="*/ 0 h 112669"/>
                      <a:gd name="connsiteX2" fmla="*/ 169003 w 169003"/>
                      <a:gd name="connsiteY2" fmla="*/ 112669 h 112669"/>
                      <a:gd name="connsiteX3" fmla="*/ 0 w 169003"/>
                      <a:gd name="connsiteY3" fmla="*/ 112669 h 112669"/>
                      <a:gd name="connsiteX4" fmla="*/ 0 w 169003"/>
                      <a:gd name="connsiteY4" fmla="*/ 0 h 112669"/>
                      <a:gd name="connsiteX0" fmla="*/ 0 w 169003"/>
                      <a:gd name="connsiteY0" fmla="*/ 0 h 188974"/>
                      <a:gd name="connsiteX1" fmla="*/ 169003 w 169003"/>
                      <a:gd name="connsiteY1" fmla="*/ 0 h 188974"/>
                      <a:gd name="connsiteX2" fmla="*/ 169003 w 169003"/>
                      <a:gd name="connsiteY2" fmla="*/ 112669 h 188974"/>
                      <a:gd name="connsiteX3" fmla="*/ 108690 w 169003"/>
                      <a:gd name="connsiteY3" fmla="*/ 188969 h 188974"/>
                      <a:gd name="connsiteX4" fmla="*/ 0 w 169003"/>
                      <a:gd name="connsiteY4" fmla="*/ 112669 h 188974"/>
                      <a:gd name="connsiteX5" fmla="*/ 0 w 169003"/>
                      <a:gd name="connsiteY5" fmla="*/ 0 h 188974"/>
                      <a:gd name="connsiteX0" fmla="*/ 108690 w 260443"/>
                      <a:gd name="connsiteY0" fmla="*/ 188969 h 204109"/>
                      <a:gd name="connsiteX1" fmla="*/ 0 w 260443"/>
                      <a:gd name="connsiteY1" fmla="*/ 112669 h 204109"/>
                      <a:gd name="connsiteX2" fmla="*/ 0 w 260443"/>
                      <a:gd name="connsiteY2" fmla="*/ 0 h 204109"/>
                      <a:gd name="connsiteX3" fmla="*/ 169003 w 260443"/>
                      <a:gd name="connsiteY3" fmla="*/ 0 h 204109"/>
                      <a:gd name="connsiteX4" fmla="*/ 260443 w 260443"/>
                      <a:gd name="connsiteY4" fmla="*/ 204109 h 204109"/>
                      <a:gd name="connsiteX0" fmla="*/ 108690 w 169003"/>
                      <a:gd name="connsiteY0" fmla="*/ 188969 h 188969"/>
                      <a:gd name="connsiteX1" fmla="*/ 0 w 169003"/>
                      <a:gd name="connsiteY1" fmla="*/ 112669 h 188969"/>
                      <a:gd name="connsiteX2" fmla="*/ 0 w 169003"/>
                      <a:gd name="connsiteY2" fmla="*/ 0 h 188969"/>
                      <a:gd name="connsiteX3" fmla="*/ 169003 w 169003"/>
                      <a:gd name="connsiteY3" fmla="*/ 0 h 188969"/>
                      <a:gd name="connsiteX0" fmla="*/ 0 w 169003"/>
                      <a:gd name="connsiteY0" fmla="*/ 112669 h 112669"/>
                      <a:gd name="connsiteX1" fmla="*/ 0 w 169003"/>
                      <a:gd name="connsiteY1" fmla="*/ 0 h 112669"/>
                      <a:gd name="connsiteX2" fmla="*/ 169003 w 169003"/>
                      <a:gd name="connsiteY2" fmla="*/ 0 h 112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9003" h="112669">
                        <a:moveTo>
                          <a:pt x="0" y="112669"/>
                        </a:moveTo>
                        <a:lnTo>
                          <a:pt x="0" y="0"/>
                        </a:lnTo>
                        <a:lnTo>
                          <a:pt x="169003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18" name="Rectangle 221">
                    <a:extLst>
                      <a:ext uri="{FF2B5EF4-FFF2-40B4-BE49-F238E27FC236}">
                        <a16:creationId xmlns:a16="http://schemas.microsoft.com/office/drawing/2014/main" xmlns="" id="{6894E5B0-37AC-4494-A0DC-AC857ECA561D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098350" y="1930959"/>
                    <a:ext cx="169003" cy="112669"/>
                  </a:xfrm>
                  <a:custGeom>
                    <a:avLst/>
                    <a:gdLst>
                      <a:gd name="connsiteX0" fmla="*/ 0 w 169003"/>
                      <a:gd name="connsiteY0" fmla="*/ 0 h 112669"/>
                      <a:gd name="connsiteX1" fmla="*/ 169003 w 169003"/>
                      <a:gd name="connsiteY1" fmla="*/ 0 h 112669"/>
                      <a:gd name="connsiteX2" fmla="*/ 169003 w 169003"/>
                      <a:gd name="connsiteY2" fmla="*/ 112669 h 112669"/>
                      <a:gd name="connsiteX3" fmla="*/ 0 w 169003"/>
                      <a:gd name="connsiteY3" fmla="*/ 112669 h 112669"/>
                      <a:gd name="connsiteX4" fmla="*/ 0 w 169003"/>
                      <a:gd name="connsiteY4" fmla="*/ 0 h 112669"/>
                      <a:gd name="connsiteX0" fmla="*/ 0 w 169003"/>
                      <a:gd name="connsiteY0" fmla="*/ 0 h 188974"/>
                      <a:gd name="connsiteX1" fmla="*/ 169003 w 169003"/>
                      <a:gd name="connsiteY1" fmla="*/ 0 h 188974"/>
                      <a:gd name="connsiteX2" fmla="*/ 169003 w 169003"/>
                      <a:gd name="connsiteY2" fmla="*/ 112669 h 188974"/>
                      <a:gd name="connsiteX3" fmla="*/ 108690 w 169003"/>
                      <a:gd name="connsiteY3" fmla="*/ 188969 h 188974"/>
                      <a:gd name="connsiteX4" fmla="*/ 0 w 169003"/>
                      <a:gd name="connsiteY4" fmla="*/ 112669 h 188974"/>
                      <a:gd name="connsiteX5" fmla="*/ 0 w 169003"/>
                      <a:gd name="connsiteY5" fmla="*/ 0 h 188974"/>
                      <a:gd name="connsiteX0" fmla="*/ 108690 w 260443"/>
                      <a:gd name="connsiteY0" fmla="*/ 188969 h 204109"/>
                      <a:gd name="connsiteX1" fmla="*/ 0 w 260443"/>
                      <a:gd name="connsiteY1" fmla="*/ 112669 h 204109"/>
                      <a:gd name="connsiteX2" fmla="*/ 0 w 260443"/>
                      <a:gd name="connsiteY2" fmla="*/ 0 h 204109"/>
                      <a:gd name="connsiteX3" fmla="*/ 169003 w 260443"/>
                      <a:gd name="connsiteY3" fmla="*/ 0 h 204109"/>
                      <a:gd name="connsiteX4" fmla="*/ 260443 w 260443"/>
                      <a:gd name="connsiteY4" fmla="*/ 204109 h 204109"/>
                      <a:gd name="connsiteX0" fmla="*/ 108690 w 169003"/>
                      <a:gd name="connsiteY0" fmla="*/ 188969 h 188969"/>
                      <a:gd name="connsiteX1" fmla="*/ 0 w 169003"/>
                      <a:gd name="connsiteY1" fmla="*/ 112669 h 188969"/>
                      <a:gd name="connsiteX2" fmla="*/ 0 w 169003"/>
                      <a:gd name="connsiteY2" fmla="*/ 0 h 188969"/>
                      <a:gd name="connsiteX3" fmla="*/ 169003 w 169003"/>
                      <a:gd name="connsiteY3" fmla="*/ 0 h 188969"/>
                      <a:gd name="connsiteX0" fmla="*/ 0 w 169003"/>
                      <a:gd name="connsiteY0" fmla="*/ 112669 h 112669"/>
                      <a:gd name="connsiteX1" fmla="*/ 0 w 169003"/>
                      <a:gd name="connsiteY1" fmla="*/ 0 h 112669"/>
                      <a:gd name="connsiteX2" fmla="*/ 169003 w 169003"/>
                      <a:gd name="connsiteY2" fmla="*/ 0 h 112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9003" h="112669">
                        <a:moveTo>
                          <a:pt x="0" y="112669"/>
                        </a:moveTo>
                        <a:lnTo>
                          <a:pt x="0" y="0"/>
                        </a:lnTo>
                        <a:lnTo>
                          <a:pt x="169003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19" name="Rectangle 221">
                    <a:extLst>
                      <a:ext uri="{FF2B5EF4-FFF2-40B4-BE49-F238E27FC236}">
                        <a16:creationId xmlns:a16="http://schemas.microsoft.com/office/drawing/2014/main" xmlns="" id="{F375DE24-664C-491F-9CD5-0C1948989607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3865302" y="1930959"/>
                    <a:ext cx="169003" cy="112669"/>
                  </a:xfrm>
                  <a:custGeom>
                    <a:avLst/>
                    <a:gdLst>
                      <a:gd name="connsiteX0" fmla="*/ 0 w 169003"/>
                      <a:gd name="connsiteY0" fmla="*/ 0 h 112669"/>
                      <a:gd name="connsiteX1" fmla="*/ 169003 w 169003"/>
                      <a:gd name="connsiteY1" fmla="*/ 0 h 112669"/>
                      <a:gd name="connsiteX2" fmla="*/ 169003 w 169003"/>
                      <a:gd name="connsiteY2" fmla="*/ 112669 h 112669"/>
                      <a:gd name="connsiteX3" fmla="*/ 0 w 169003"/>
                      <a:gd name="connsiteY3" fmla="*/ 112669 h 112669"/>
                      <a:gd name="connsiteX4" fmla="*/ 0 w 169003"/>
                      <a:gd name="connsiteY4" fmla="*/ 0 h 112669"/>
                      <a:gd name="connsiteX0" fmla="*/ 0 w 169003"/>
                      <a:gd name="connsiteY0" fmla="*/ 0 h 188974"/>
                      <a:gd name="connsiteX1" fmla="*/ 169003 w 169003"/>
                      <a:gd name="connsiteY1" fmla="*/ 0 h 188974"/>
                      <a:gd name="connsiteX2" fmla="*/ 169003 w 169003"/>
                      <a:gd name="connsiteY2" fmla="*/ 112669 h 188974"/>
                      <a:gd name="connsiteX3" fmla="*/ 108690 w 169003"/>
                      <a:gd name="connsiteY3" fmla="*/ 188969 h 188974"/>
                      <a:gd name="connsiteX4" fmla="*/ 0 w 169003"/>
                      <a:gd name="connsiteY4" fmla="*/ 112669 h 188974"/>
                      <a:gd name="connsiteX5" fmla="*/ 0 w 169003"/>
                      <a:gd name="connsiteY5" fmla="*/ 0 h 188974"/>
                      <a:gd name="connsiteX0" fmla="*/ 108690 w 260443"/>
                      <a:gd name="connsiteY0" fmla="*/ 188969 h 204109"/>
                      <a:gd name="connsiteX1" fmla="*/ 0 w 260443"/>
                      <a:gd name="connsiteY1" fmla="*/ 112669 h 204109"/>
                      <a:gd name="connsiteX2" fmla="*/ 0 w 260443"/>
                      <a:gd name="connsiteY2" fmla="*/ 0 h 204109"/>
                      <a:gd name="connsiteX3" fmla="*/ 169003 w 260443"/>
                      <a:gd name="connsiteY3" fmla="*/ 0 h 204109"/>
                      <a:gd name="connsiteX4" fmla="*/ 260443 w 260443"/>
                      <a:gd name="connsiteY4" fmla="*/ 204109 h 204109"/>
                      <a:gd name="connsiteX0" fmla="*/ 108690 w 169003"/>
                      <a:gd name="connsiteY0" fmla="*/ 188969 h 188969"/>
                      <a:gd name="connsiteX1" fmla="*/ 0 w 169003"/>
                      <a:gd name="connsiteY1" fmla="*/ 112669 h 188969"/>
                      <a:gd name="connsiteX2" fmla="*/ 0 w 169003"/>
                      <a:gd name="connsiteY2" fmla="*/ 0 h 188969"/>
                      <a:gd name="connsiteX3" fmla="*/ 169003 w 169003"/>
                      <a:gd name="connsiteY3" fmla="*/ 0 h 188969"/>
                      <a:gd name="connsiteX0" fmla="*/ 0 w 169003"/>
                      <a:gd name="connsiteY0" fmla="*/ 112669 h 112669"/>
                      <a:gd name="connsiteX1" fmla="*/ 0 w 169003"/>
                      <a:gd name="connsiteY1" fmla="*/ 0 h 112669"/>
                      <a:gd name="connsiteX2" fmla="*/ 169003 w 169003"/>
                      <a:gd name="connsiteY2" fmla="*/ 0 h 112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9003" h="112669">
                        <a:moveTo>
                          <a:pt x="0" y="112669"/>
                        </a:moveTo>
                        <a:lnTo>
                          <a:pt x="0" y="0"/>
                        </a:lnTo>
                        <a:lnTo>
                          <a:pt x="169003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20" name="Rectangle 221">
                    <a:extLst>
                      <a:ext uri="{FF2B5EF4-FFF2-40B4-BE49-F238E27FC236}">
                        <a16:creationId xmlns:a16="http://schemas.microsoft.com/office/drawing/2014/main" xmlns="" id="{20CC974F-0D68-470C-B441-1BB6544D57FF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3632254" y="1930959"/>
                    <a:ext cx="169003" cy="112669"/>
                  </a:xfrm>
                  <a:custGeom>
                    <a:avLst/>
                    <a:gdLst>
                      <a:gd name="connsiteX0" fmla="*/ 0 w 169003"/>
                      <a:gd name="connsiteY0" fmla="*/ 0 h 112669"/>
                      <a:gd name="connsiteX1" fmla="*/ 169003 w 169003"/>
                      <a:gd name="connsiteY1" fmla="*/ 0 h 112669"/>
                      <a:gd name="connsiteX2" fmla="*/ 169003 w 169003"/>
                      <a:gd name="connsiteY2" fmla="*/ 112669 h 112669"/>
                      <a:gd name="connsiteX3" fmla="*/ 0 w 169003"/>
                      <a:gd name="connsiteY3" fmla="*/ 112669 h 112669"/>
                      <a:gd name="connsiteX4" fmla="*/ 0 w 169003"/>
                      <a:gd name="connsiteY4" fmla="*/ 0 h 112669"/>
                      <a:gd name="connsiteX0" fmla="*/ 0 w 169003"/>
                      <a:gd name="connsiteY0" fmla="*/ 0 h 188974"/>
                      <a:gd name="connsiteX1" fmla="*/ 169003 w 169003"/>
                      <a:gd name="connsiteY1" fmla="*/ 0 h 188974"/>
                      <a:gd name="connsiteX2" fmla="*/ 169003 w 169003"/>
                      <a:gd name="connsiteY2" fmla="*/ 112669 h 188974"/>
                      <a:gd name="connsiteX3" fmla="*/ 108690 w 169003"/>
                      <a:gd name="connsiteY3" fmla="*/ 188969 h 188974"/>
                      <a:gd name="connsiteX4" fmla="*/ 0 w 169003"/>
                      <a:gd name="connsiteY4" fmla="*/ 112669 h 188974"/>
                      <a:gd name="connsiteX5" fmla="*/ 0 w 169003"/>
                      <a:gd name="connsiteY5" fmla="*/ 0 h 188974"/>
                      <a:gd name="connsiteX0" fmla="*/ 108690 w 260443"/>
                      <a:gd name="connsiteY0" fmla="*/ 188969 h 204109"/>
                      <a:gd name="connsiteX1" fmla="*/ 0 w 260443"/>
                      <a:gd name="connsiteY1" fmla="*/ 112669 h 204109"/>
                      <a:gd name="connsiteX2" fmla="*/ 0 w 260443"/>
                      <a:gd name="connsiteY2" fmla="*/ 0 h 204109"/>
                      <a:gd name="connsiteX3" fmla="*/ 169003 w 260443"/>
                      <a:gd name="connsiteY3" fmla="*/ 0 h 204109"/>
                      <a:gd name="connsiteX4" fmla="*/ 260443 w 260443"/>
                      <a:gd name="connsiteY4" fmla="*/ 204109 h 204109"/>
                      <a:gd name="connsiteX0" fmla="*/ 108690 w 169003"/>
                      <a:gd name="connsiteY0" fmla="*/ 188969 h 188969"/>
                      <a:gd name="connsiteX1" fmla="*/ 0 w 169003"/>
                      <a:gd name="connsiteY1" fmla="*/ 112669 h 188969"/>
                      <a:gd name="connsiteX2" fmla="*/ 0 w 169003"/>
                      <a:gd name="connsiteY2" fmla="*/ 0 h 188969"/>
                      <a:gd name="connsiteX3" fmla="*/ 169003 w 169003"/>
                      <a:gd name="connsiteY3" fmla="*/ 0 h 188969"/>
                      <a:gd name="connsiteX0" fmla="*/ 0 w 169003"/>
                      <a:gd name="connsiteY0" fmla="*/ 112669 h 112669"/>
                      <a:gd name="connsiteX1" fmla="*/ 0 w 169003"/>
                      <a:gd name="connsiteY1" fmla="*/ 0 h 112669"/>
                      <a:gd name="connsiteX2" fmla="*/ 169003 w 169003"/>
                      <a:gd name="connsiteY2" fmla="*/ 0 h 112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9003" h="112669">
                        <a:moveTo>
                          <a:pt x="0" y="112669"/>
                        </a:moveTo>
                        <a:lnTo>
                          <a:pt x="0" y="0"/>
                        </a:lnTo>
                        <a:lnTo>
                          <a:pt x="169003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21" name="Rectangle 221">
                    <a:extLst>
                      <a:ext uri="{FF2B5EF4-FFF2-40B4-BE49-F238E27FC236}">
                        <a16:creationId xmlns:a16="http://schemas.microsoft.com/office/drawing/2014/main" xmlns="" id="{F9672215-86DC-4922-8C11-E4652F7DE59B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098350" y="2097587"/>
                    <a:ext cx="169003" cy="112669"/>
                  </a:xfrm>
                  <a:custGeom>
                    <a:avLst/>
                    <a:gdLst>
                      <a:gd name="connsiteX0" fmla="*/ 0 w 169003"/>
                      <a:gd name="connsiteY0" fmla="*/ 0 h 112669"/>
                      <a:gd name="connsiteX1" fmla="*/ 169003 w 169003"/>
                      <a:gd name="connsiteY1" fmla="*/ 0 h 112669"/>
                      <a:gd name="connsiteX2" fmla="*/ 169003 w 169003"/>
                      <a:gd name="connsiteY2" fmla="*/ 112669 h 112669"/>
                      <a:gd name="connsiteX3" fmla="*/ 0 w 169003"/>
                      <a:gd name="connsiteY3" fmla="*/ 112669 h 112669"/>
                      <a:gd name="connsiteX4" fmla="*/ 0 w 169003"/>
                      <a:gd name="connsiteY4" fmla="*/ 0 h 112669"/>
                      <a:gd name="connsiteX0" fmla="*/ 0 w 169003"/>
                      <a:gd name="connsiteY0" fmla="*/ 0 h 188974"/>
                      <a:gd name="connsiteX1" fmla="*/ 169003 w 169003"/>
                      <a:gd name="connsiteY1" fmla="*/ 0 h 188974"/>
                      <a:gd name="connsiteX2" fmla="*/ 169003 w 169003"/>
                      <a:gd name="connsiteY2" fmla="*/ 112669 h 188974"/>
                      <a:gd name="connsiteX3" fmla="*/ 108690 w 169003"/>
                      <a:gd name="connsiteY3" fmla="*/ 188969 h 188974"/>
                      <a:gd name="connsiteX4" fmla="*/ 0 w 169003"/>
                      <a:gd name="connsiteY4" fmla="*/ 112669 h 188974"/>
                      <a:gd name="connsiteX5" fmla="*/ 0 w 169003"/>
                      <a:gd name="connsiteY5" fmla="*/ 0 h 188974"/>
                      <a:gd name="connsiteX0" fmla="*/ 108690 w 260443"/>
                      <a:gd name="connsiteY0" fmla="*/ 188969 h 204109"/>
                      <a:gd name="connsiteX1" fmla="*/ 0 w 260443"/>
                      <a:gd name="connsiteY1" fmla="*/ 112669 h 204109"/>
                      <a:gd name="connsiteX2" fmla="*/ 0 w 260443"/>
                      <a:gd name="connsiteY2" fmla="*/ 0 h 204109"/>
                      <a:gd name="connsiteX3" fmla="*/ 169003 w 260443"/>
                      <a:gd name="connsiteY3" fmla="*/ 0 h 204109"/>
                      <a:gd name="connsiteX4" fmla="*/ 260443 w 260443"/>
                      <a:gd name="connsiteY4" fmla="*/ 204109 h 204109"/>
                      <a:gd name="connsiteX0" fmla="*/ 108690 w 169003"/>
                      <a:gd name="connsiteY0" fmla="*/ 188969 h 188969"/>
                      <a:gd name="connsiteX1" fmla="*/ 0 w 169003"/>
                      <a:gd name="connsiteY1" fmla="*/ 112669 h 188969"/>
                      <a:gd name="connsiteX2" fmla="*/ 0 w 169003"/>
                      <a:gd name="connsiteY2" fmla="*/ 0 h 188969"/>
                      <a:gd name="connsiteX3" fmla="*/ 169003 w 169003"/>
                      <a:gd name="connsiteY3" fmla="*/ 0 h 188969"/>
                      <a:gd name="connsiteX0" fmla="*/ 0 w 169003"/>
                      <a:gd name="connsiteY0" fmla="*/ 112669 h 112669"/>
                      <a:gd name="connsiteX1" fmla="*/ 0 w 169003"/>
                      <a:gd name="connsiteY1" fmla="*/ 0 h 112669"/>
                      <a:gd name="connsiteX2" fmla="*/ 169003 w 169003"/>
                      <a:gd name="connsiteY2" fmla="*/ 0 h 112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9003" h="112669">
                        <a:moveTo>
                          <a:pt x="0" y="112669"/>
                        </a:moveTo>
                        <a:lnTo>
                          <a:pt x="0" y="0"/>
                        </a:lnTo>
                        <a:lnTo>
                          <a:pt x="169003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22" name="Rectangle 221">
                    <a:extLst>
                      <a:ext uri="{FF2B5EF4-FFF2-40B4-BE49-F238E27FC236}">
                        <a16:creationId xmlns:a16="http://schemas.microsoft.com/office/drawing/2014/main" xmlns="" id="{6C65EC60-B7F8-45A9-B210-60238308842F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3865302" y="2097587"/>
                    <a:ext cx="169003" cy="112669"/>
                  </a:xfrm>
                  <a:custGeom>
                    <a:avLst/>
                    <a:gdLst>
                      <a:gd name="connsiteX0" fmla="*/ 0 w 169003"/>
                      <a:gd name="connsiteY0" fmla="*/ 0 h 112669"/>
                      <a:gd name="connsiteX1" fmla="*/ 169003 w 169003"/>
                      <a:gd name="connsiteY1" fmla="*/ 0 h 112669"/>
                      <a:gd name="connsiteX2" fmla="*/ 169003 w 169003"/>
                      <a:gd name="connsiteY2" fmla="*/ 112669 h 112669"/>
                      <a:gd name="connsiteX3" fmla="*/ 0 w 169003"/>
                      <a:gd name="connsiteY3" fmla="*/ 112669 h 112669"/>
                      <a:gd name="connsiteX4" fmla="*/ 0 w 169003"/>
                      <a:gd name="connsiteY4" fmla="*/ 0 h 112669"/>
                      <a:gd name="connsiteX0" fmla="*/ 0 w 169003"/>
                      <a:gd name="connsiteY0" fmla="*/ 0 h 188974"/>
                      <a:gd name="connsiteX1" fmla="*/ 169003 w 169003"/>
                      <a:gd name="connsiteY1" fmla="*/ 0 h 188974"/>
                      <a:gd name="connsiteX2" fmla="*/ 169003 w 169003"/>
                      <a:gd name="connsiteY2" fmla="*/ 112669 h 188974"/>
                      <a:gd name="connsiteX3" fmla="*/ 108690 w 169003"/>
                      <a:gd name="connsiteY3" fmla="*/ 188969 h 188974"/>
                      <a:gd name="connsiteX4" fmla="*/ 0 w 169003"/>
                      <a:gd name="connsiteY4" fmla="*/ 112669 h 188974"/>
                      <a:gd name="connsiteX5" fmla="*/ 0 w 169003"/>
                      <a:gd name="connsiteY5" fmla="*/ 0 h 188974"/>
                      <a:gd name="connsiteX0" fmla="*/ 108690 w 260443"/>
                      <a:gd name="connsiteY0" fmla="*/ 188969 h 204109"/>
                      <a:gd name="connsiteX1" fmla="*/ 0 w 260443"/>
                      <a:gd name="connsiteY1" fmla="*/ 112669 h 204109"/>
                      <a:gd name="connsiteX2" fmla="*/ 0 w 260443"/>
                      <a:gd name="connsiteY2" fmla="*/ 0 h 204109"/>
                      <a:gd name="connsiteX3" fmla="*/ 169003 w 260443"/>
                      <a:gd name="connsiteY3" fmla="*/ 0 h 204109"/>
                      <a:gd name="connsiteX4" fmla="*/ 260443 w 260443"/>
                      <a:gd name="connsiteY4" fmla="*/ 204109 h 204109"/>
                      <a:gd name="connsiteX0" fmla="*/ 108690 w 169003"/>
                      <a:gd name="connsiteY0" fmla="*/ 188969 h 188969"/>
                      <a:gd name="connsiteX1" fmla="*/ 0 w 169003"/>
                      <a:gd name="connsiteY1" fmla="*/ 112669 h 188969"/>
                      <a:gd name="connsiteX2" fmla="*/ 0 w 169003"/>
                      <a:gd name="connsiteY2" fmla="*/ 0 h 188969"/>
                      <a:gd name="connsiteX3" fmla="*/ 169003 w 169003"/>
                      <a:gd name="connsiteY3" fmla="*/ 0 h 188969"/>
                      <a:gd name="connsiteX0" fmla="*/ 0 w 169003"/>
                      <a:gd name="connsiteY0" fmla="*/ 112669 h 112669"/>
                      <a:gd name="connsiteX1" fmla="*/ 0 w 169003"/>
                      <a:gd name="connsiteY1" fmla="*/ 0 h 112669"/>
                      <a:gd name="connsiteX2" fmla="*/ 169003 w 169003"/>
                      <a:gd name="connsiteY2" fmla="*/ 0 h 112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9003" h="112669">
                        <a:moveTo>
                          <a:pt x="0" y="112669"/>
                        </a:moveTo>
                        <a:lnTo>
                          <a:pt x="0" y="0"/>
                        </a:lnTo>
                        <a:lnTo>
                          <a:pt x="169003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</p:grpSp>
            <p:grpSp>
              <p:nvGrpSpPr>
                <p:cNvPr id="551" name="Gruppieren 550">
                  <a:extLst>
                    <a:ext uri="{FF2B5EF4-FFF2-40B4-BE49-F238E27FC236}">
                      <a16:creationId xmlns:a16="http://schemas.microsoft.com/office/drawing/2014/main" xmlns="" id="{D0AF6F1E-D598-4D7A-A88C-3F52B90B0693}"/>
                    </a:ext>
                  </a:extLst>
                </p:cNvPr>
                <p:cNvGrpSpPr/>
                <p:nvPr/>
              </p:nvGrpSpPr>
              <p:grpSpPr>
                <a:xfrm>
                  <a:off x="224823" y="2807902"/>
                  <a:ext cx="222204" cy="491212"/>
                  <a:chOff x="351132" y="2523407"/>
                  <a:chExt cx="315712" cy="697927"/>
                </a:xfrm>
              </p:grpSpPr>
              <p:sp>
                <p:nvSpPr>
                  <p:cNvPr id="709" name="Rectangle 152">
                    <a:extLst>
                      <a:ext uri="{FF2B5EF4-FFF2-40B4-BE49-F238E27FC236}">
                        <a16:creationId xmlns:a16="http://schemas.microsoft.com/office/drawing/2014/main" xmlns="" id="{580BB679-490D-4027-9424-FD22D4DC3BB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51132" y="2617916"/>
                    <a:ext cx="315712" cy="603418"/>
                  </a:xfrm>
                  <a:custGeom>
                    <a:avLst/>
                    <a:gdLst>
                      <a:gd name="connsiteX0" fmla="*/ 0 w 222204"/>
                      <a:gd name="connsiteY0" fmla="*/ 0 h 424695"/>
                      <a:gd name="connsiteX1" fmla="*/ 222204 w 222204"/>
                      <a:gd name="connsiteY1" fmla="*/ 0 h 424695"/>
                      <a:gd name="connsiteX2" fmla="*/ 222204 w 222204"/>
                      <a:gd name="connsiteY2" fmla="*/ 424695 h 424695"/>
                      <a:gd name="connsiteX3" fmla="*/ 0 w 222204"/>
                      <a:gd name="connsiteY3" fmla="*/ 424695 h 424695"/>
                      <a:gd name="connsiteX4" fmla="*/ 0 w 222204"/>
                      <a:gd name="connsiteY4" fmla="*/ 0 h 424695"/>
                      <a:gd name="connsiteX0" fmla="*/ 0 w 222204"/>
                      <a:gd name="connsiteY0" fmla="*/ 0 h 490144"/>
                      <a:gd name="connsiteX1" fmla="*/ 222204 w 222204"/>
                      <a:gd name="connsiteY1" fmla="*/ 0 h 490144"/>
                      <a:gd name="connsiteX2" fmla="*/ 222204 w 222204"/>
                      <a:gd name="connsiteY2" fmla="*/ 424695 h 490144"/>
                      <a:gd name="connsiteX3" fmla="*/ 77596 w 222204"/>
                      <a:gd name="connsiteY3" fmla="*/ 490143 h 490144"/>
                      <a:gd name="connsiteX4" fmla="*/ 0 w 222204"/>
                      <a:gd name="connsiteY4" fmla="*/ 424695 h 490144"/>
                      <a:gd name="connsiteX5" fmla="*/ 0 w 222204"/>
                      <a:gd name="connsiteY5" fmla="*/ 0 h 490144"/>
                      <a:gd name="connsiteX0" fmla="*/ 0 w 222204"/>
                      <a:gd name="connsiteY0" fmla="*/ 0 h 498183"/>
                      <a:gd name="connsiteX1" fmla="*/ 222204 w 222204"/>
                      <a:gd name="connsiteY1" fmla="*/ 0 h 498183"/>
                      <a:gd name="connsiteX2" fmla="*/ 222204 w 222204"/>
                      <a:gd name="connsiteY2" fmla="*/ 424695 h 498183"/>
                      <a:gd name="connsiteX3" fmla="*/ 175227 w 222204"/>
                      <a:gd name="connsiteY3" fmla="*/ 492523 h 498183"/>
                      <a:gd name="connsiteX4" fmla="*/ 77596 w 222204"/>
                      <a:gd name="connsiteY4" fmla="*/ 490143 h 498183"/>
                      <a:gd name="connsiteX5" fmla="*/ 0 w 222204"/>
                      <a:gd name="connsiteY5" fmla="*/ 424695 h 498183"/>
                      <a:gd name="connsiteX6" fmla="*/ 0 w 222204"/>
                      <a:gd name="connsiteY6" fmla="*/ 0 h 498183"/>
                      <a:gd name="connsiteX0" fmla="*/ 77596 w 266667"/>
                      <a:gd name="connsiteY0" fmla="*/ 490143 h 583963"/>
                      <a:gd name="connsiteX1" fmla="*/ 0 w 266667"/>
                      <a:gd name="connsiteY1" fmla="*/ 424695 h 583963"/>
                      <a:gd name="connsiteX2" fmla="*/ 0 w 266667"/>
                      <a:gd name="connsiteY2" fmla="*/ 0 h 583963"/>
                      <a:gd name="connsiteX3" fmla="*/ 222204 w 266667"/>
                      <a:gd name="connsiteY3" fmla="*/ 0 h 583963"/>
                      <a:gd name="connsiteX4" fmla="*/ 222204 w 266667"/>
                      <a:gd name="connsiteY4" fmla="*/ 424695 h 583963"/>
                      <a:gd name="connsiteX5" fmla="*/ 266667 w 266667"/>
                      <a:gd name="connsiteY5" fmla="*/ 583963 h 583963"/>
                      <a:gd name="connsiteX0" fmla="*/ 77596 w 222204"/>
                      <a:gd name="connsiteY0" fmla="*/ 490143 h 490143"/>
                      <a:gd name="connsiteX1" fmla="*/ 0 w 222204"/>
                      <a:gd name="connsiteY1" fmla="*/ 424695 h 490143"/>
                      <a:gd name="connsiteX2" fmla="*/ 0 w 222204"/>
                      <a:gd name="connsiteY2" fmla="*/ 0 h 490143"/>
                      <a:gd name="connsiteX3" fmla="*/ 222204 w 222204"/>
                      <a:gd name="connsiteY3" fmla="*/ 0 h 490143"/>
                      <a:gd name="connsiteX4" fmla="*/ 222204 w 222204"/>
                      <a:gd name="connsiteY4" fmla="*/ 424695 h 490143"/>
                      <a:gd name="connsiteX0" fmla="*/ 0 w 222204"/>
                      <a:gd name="connsiteY0" fmla="*/ 424695 h 424695"/>
                      <a:gd name="connsiteX1" fmla="*/ 0 w 222204"/>
                      <a:gd name="connsiteY1" fmla="*/ 0 h 424695"/>
                      <a:gd name="connsiteX2" fmla="*/ 222204 w 222204"/>
                      <a:gd name="connsiteY2" fmla="*/ 0 h 424695"/>
                      <a:gd name="connsiteX3" fmla="*/ 222204 w 222204"/>
                      <a:gd name="connsiteY3" fmla="*/ 424695 h 424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22204" h="424695">
                        <a:moveTo>
                          <a:pt x="0" y="424695"/>
                        </a:moveTo>
                        <a:lnTo>
                          <a:pt x="0" y="0"/>
                        </a:lnTo>
                        <a:lnTo>
                          <a:pt x="222204" y="0"/>
                        </a:lnTo>
                        <a:lnTo>
                          <a:pt x="222204" y="424695"/>
                        </a:lnTo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9525">
                    <a:solidFill>
                      <a:srgbClr val="98A2AE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10" name="Freeform 154">
                    <a:extLst>
                      <a:ext uri="{FF2B5EF4-FFF2-40B4-BE49-F238E27FC236}">
                        <a16:creationId xmlns:a16="http://schemas.microsoft.com/office/drawing/2014/main" xmlns="" id="{79614ACD-A535-4D5D-90E5-7F0E05413ACD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357065" y="2523407"/>
                    <a:ext cx="305405" cy="89411"/>
                  </a:xfrm>
                  <a:custGeom>
                    <a:avLst/>
                    <a:gdLst>
                      <a:gd name="connsiteX0" fmla="*/ 10000 w 10000"/>
                      <a:gd name="connsiteY0" fmla="*/ 10000 h 10000"/>
                      <a:gd name="connsiteX1" fmla="*/ 2638 w 10000"/>
                      <a:gd name="connsiteY1" fmla="*/ 9917 h 10000"/>
                      <a:gd name="connsiteX2" fmla="*/ 0 w 10000"/>
                      <a:gd name="connsiteY2" fmla="*/ 10000 h 10000"/>
                      <a:gd name="connsiteX3" fmla="*/ 1127 w 10000"/>
                      <a:gd name="connsiteY3" fmla="*/ 0 h 10000"/>
                      <a:gd name="connsiteX4" fmla="*/ 8873 w 10000"/>
                      <a:gd name="connsiteY4" fmla="*/ 0 h 10000"/>
                      <a:gd name="connsiteX5" fmla="*/ 10000 w 10000"/>
                      <a:gd name="connsiteY5" fmla="*/ 10000 h 10000"/>
                      <a:gd name="connsiteX0" fmla="*/ 10000 w 10000"/>
                      <a:gd name="connsiteY0" fmla="*/ 10122 h 10122"/>
                      <a:gd name="connsiteX1" fmla="*/ 2638 w 10000"/>
                      <a:gd name="connsiteY1" fmla="*/ 10039 h 10122"/>
                      <a:gd name="connsiteX2" fmla="*/ 0 w 10000"/>
                      <a:gd name="connsiteY2" fmla="*/ 10122 h 10122"/>
                      <a:gd name="connsiteX3" fmla="*/ 1127 w 10000"/>
                      <a:gd name="connsiteY3" fmla="*/ 122 h 10122"/>
                      <a:gd name="connsiteX4" fmla="*/ 2584 w 10000"/>
                      <a:gd name="connsiteY4" fmla="*/ 0 h 10122"/>
                      <a:gd name="connsiteX5" fmla="*/ 8873 w 10000"/>
                      <a:gd name="connsiteY5" fmla="*/ 122 h 10122"/>
                      <a:gd name="connsiteX6" fmla="*/ 10000 w 10000"/>
                      <a:gd name="connsiteY6" fmla="*/ 10122 h 10122"/>
                      <a:gd name="connsiteX0" fmla="*/ 10000 w 10000"/>
                      <a:gd name="connsiteY0" fmla="*/ 10122 h 10122"/>
                      <a:gd name="connsiteX1" fmla="*/ 2638 w 10000"/>
                      <a:gd name="connsiteY1" fmla="*/ 10039 h 10122"/>
                      <a:gd name="connsiteX2" fmla="*/ 0 w 10000"/>
                      <a:gd name="connsiteY2" fmla="*/ 10122 h 10122"/>
                      <a:gd name="connsiteX3" fmla="*/ 1127 w 10000"/>
                      <a:gd name="connsiteY3" fmla="*/ 122 h 10122"/>
                      <a:gd name="connsiteX4" fmla="*/ 2584 w 10000"/>
                      <a:gd name="connsiteY4" fmla="*/ 0 h 10122"/>
                      <a:gd name="connsiteX5" fmla="*/ 10000 w 10000"/>
                      <a:gd name="connsiteY5" fmla="*/ 10122 h 10122"/>
                      <a:gd name="connsiteX0" fmla="*/ 2584 w 2638"/>
                      <a:gd name="connsiteY0" fmla="*/ 0 h 10122"/>
                      <a:gd name="connsiteX1" fmla="*/ 2638 w 2638"/>
                      <a:gd name="connsiteY1" fmla="*/ 10039 h 10122"/>
                      <a:gd name="connsiteX2" fmla="*/ 0 w 2638"/>
                      <a:gd name="connsiteY2" fmla="*/ 10122 h 10122"/>
                      <a:gd name="connsiteX3" fmla="*/ 1127 w 2638"/>
                      <a:gd name="connsiteY3" fmla="*/ 122 h 10122"/>
                      <a:gd name="connsiteX4" fmla="*/ 2584 w 2638"/>
                      <a:gd name="connsiteY4" fmla="*/ 0 h 10122"/>
                      <a:gd name="connsiteX0" fmla="*/ 13786 w 13786"/>
                      <a:gd name="connsiteY0" fmla="*/ 0 h 10000"/>
                      <a:gd name="connsiteX1" fmla="*/ 10000 w 13786"/>
                      <a:gd name="connsiteY1" fmla="*/ 9918 h 10000"/>
                      <a:gd name="connsiteX2" fmla="*/ 0 w 13786"/>
                      <a:gd name="connsiteY2" fmla="*/ 10000 h 10000"/>
                      <a:gd name="connsiteX3" fmla="*/ 4272 w 13786"/>
                      <a:gd name="connsiteY3" fmla="*/ 121 h 10000"/>
                      <a:gd name="connsiteX4" fmla="*/ 13786 w 13786"/>
                      <a:gd name="connsiteY4" fmla="*/ 0 h 10000"/>
                      <a:gd name="connsiteX0" fmla="*/ 13786 w 13799"/>
                      <a:gd name="connsiteY0" fmla="*/ 0 h 10296"/>
                      <a:gd name="connsiteX1" fmla="*/ 13695 w 13799"/>
                      <a:gd name="connsiteY1" fmla="*/ 10296 h 10296"/>
                      <a:gd name="connsiteX2" fmla="*/ 0 w 13799"/>
                      <a:gd name="connsiteY2" fmla="*/ 10000 h 10296"/>
                      <a:gd name="connsiteX3" fmla="*/ 4272 w 13799"/>
                      <a:gd name="connsiteY3" fmla="*/ 121 h 10296"/>
                      <a:gd name="connsiteX4" fmla="*/ 13786 w 13799"/>
                      <a:gd name="connsiteY4" fmla="*/ 0 h 10296"/>
                      <a:gd name="connsiteX0" fmla="*/ 13343 w 13695"/>
                      <a:gd name="connsiteY0" fmla="*/ 0 h 10296"/>
                      <a:gd name="connsiteX1" fmla="*/ 13695 w 13695"/>
                      <a:gd name="connsiteY1" fmla="*/ 10296 h 10296"/>
                      <a:gd name="connsiteX2" fmla="*/ 0 w 13695"/>
                      <a:gd name="connsiteY2" fmla="*/ 10000 h 10296"/>
                      <a:gd name="connsiteX3" fmla="*/ 4272 w 13695"/>
                      <a:gd name="connsiteY3" fmla="*/ 121 h 10296"/>
                      <a:gd name="connsiteX4" fmla="*/ 13343 w 13695"/>
                      <a:gd name="connsiteY4" fmla="*/ 0 h 10296"/>
                      <a:gd name="connsiteX0" fmla="*/ 13343 w 13695"/>
                      <a:gd name="connsiteY0" fmla="*/ 0 h 10000"/>
                      <a:gd name="connsiteX1" fmla="*/ 13695 w 13695"/>
                      <a:gd name="connsiteY1" fmla="*/ 9918 h 10000"/>
                      <a:gd name="connsiteX2" fmla="*/ 0 w 13695"/>
                      <a:gd name="connsiteY2" fmla="*/ 10000 h 10000"/>
                      <a:gd name="connsiteX3" fmla="*/ 4272 w 13695"/>
                      <a:gd name="connsiteY3" fmla="*/ 121 h 10000"/>
                      <a:gd name="connsiteX4" fmla="*/ 13343 w 13695"/>
                      <a:gd name="connsiteY4" fmla="*/ 0 h 10000"/>
                      <a:gd name="connsiteX0" fmla="*/ 13343 w 13351"/>
                      <a:gd name="connsiteY0" fmla="*/ 0 h 10000"/>
                      <a:gd name="connsiteX1" fmla="*/ 13104 w 13351"/>
                      <a:gd name="connsiteY1" fmla="*/ 9918 h 10000"/>
                      <a:gd name="connsiteX2" fmla="*/ 0 w 13351"/>
                      <a:gd name="connsiteY2" fmla="*/ 10000 h 10000"/>
                      <a:gd name="connsiteX3" fmla="*/ 4272 w 13351"/>
                      <a:gd name="connsiteY3" fmla="*/ 121 h 10000"/>
                      <a:gd name="connsiteX4" fmla="*/ 13343 w 13351"/>
                      <a:gd name="connsiteY4" fmla="*/ 0 h 10000"/>
                      <a:gd name="connsiteX0" fmla="*/ 13343 w 29095"/>
                      <a:gd name="connsiteY0" fmla="*/ 95 h 10095"/>
                      <a:gd name="connsiteX1" fmla="*/ 29095 w 29095"/>
                      <a:gd name="connsiteY1" fmla="*/ 787 h 10095"/>
                      <a:gd name="connsiteX2" fmla="*/ 13104 w 29095"/>
                      <a:gd name="connsiteY2" fmla="*/ 10013 h 10095"/>
                      <a:gd name="connsiteX3" fmla="*/ 0 w 29095"/>
                      <a:gd name="connsiteY3" fmla="*/ 10095 h 10095"/>
                      <a:gd name="connsiteX4" fmla="*/ 4272 w 29095"/>
                      <a:gd name="connsiteY4" fmla="*/ 216 h 10095"/>
                      <a:gd name="connsiteX5" fmla="*/ 13343 w 29095"/>
                      <a:gd name="connsiteY5" fmla="*/ 95 h 10095"/>
                      <a:gd name="connsiteX0" fmla="*/ 13343 w 29302"/>
                      <a:gd name="connsiteY0" fmla="*/ 95 h 12475"/>
                      <a:gd name="connsiteX1" fmla="*/ 29095 w 29302"/>
                      <a:gd name="connsiteY1" fmla="*/ 787 h 12475"/>
                      <a:gd name="connsiteX2" fmla="*/ 22443 w 29302"/>
                      <a:gd name="connsiteY2" fmla="*/ 12139 h 12475"/>
                      <a:gd name="connsiteX3" fmla="*/ 13104 w 29302"/>
                      <a:gd name="connsiteY3" fmla="*/ 10013 h 12475"/>
                      <a:gd name="connsiteX4" fmla="*/ 0 w 29302"/>
                      <a:gd name="connsiteY4" fmla="*/ 10095 h 12475"/>
                      <a:gd name="connsiteX5" fmla="*/ 4272 w 29302"/>
                      <a:gd name="connsiteY5" fmla="*/ 216 h 12475"/>
                      <a:gd name="connsiteX6" fmla="*/ 13343 w 29302"/>
                      <a:gd name="connsiteY6" fmla="*/ 95 h 12475"/>
                      <a:gd name="connsiteX0" fmla="*/ 22443 w 34771"/>
                      <a:gd name="connsiteY0" fmla="*/ 12044 h 15223"/>
                      <a:gd name="connsiteX1" fmla="*/ 13104 w 34771"/>
                      <a:gd name="connsiteY1" fmla="*/ 9918 h 15223"/>
                      <a:gd name="connsiteX2" fmla="*/ 0 w 34771"/>
                      <a:gd name="connsiteY2" fmla="*/ 10000 h 15223"/>
                      <a:gd name="connsiteX3" fmla="*/ 4272 w 34771"/>
                      <a:gd name="connsiteY3" fmla="*/ 121 h 15223"/>
                      <a:gd name="connsiteX4" fmla="*/ 13343 w 34771"/>
                      <a:gd name="connsiteY4" fmla="*/ 0 h 15223"/>
                      <a:gd name="connsiteX5" fmla="*/ 34771 w 34771"/>
                      <a:gd name="connsiteY5" fmla="*/ 15223 h 15223"/>
                      <a:gd name="connsiteX0" fmla="*/ 22443 w 22443"/>
                      <a:gd name="connsiteY0" fmla="*/ 12044 h 12380"/>
                      <a:gd name="connsiteX1" fmla="*/ 13104 w 22443"/>
                      <a:gd name="connsiteY1" fmla="*/ 9918 h 12380"/>
                      <a:gd name="connsiteX2" fmla="*/ 0 w 22443"/>
                      <a:gd name="connsiteY2" fmla="*/ 10000 h 12380"/>
                      <a:gd name="connsiteX3" fmla="*/ 4272 w 22443"/>
                      <a:gd name="connsiteY3" fmla="*/ 121 h 12380"/>
                      <a:gd name="connsiteX4" fmla="*/ 13343 w 22443"/>
                      <a:gd name="connsiteY4" fmla="*/ 0 h 12380"/>
                      <a:gd name="connsiteX0" fmla="*/ 13104 w 13343"/>
                      <a:gd name="connsiteY0" fmla="*/ 9918 h 10000"/>
                      <a:gd name="connsiteX1" fmla="*/ 0 w 13343"/>
                      <a:gd name="connsiteY1" fmla="*/ 10000 h 10000"/>
                      <a:gd name="connsiteX2" fmla="*/ 4272 w 13343"/>
                      <a:gd name="connsiteY2" fmla="*/ 121 h 10000"/>
                      <a:gd name="connsiteX3" fmla="*/ 13343 w 13343"/>
                      <a:gd name="connsiteY3" fmla="*/ 0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343" h="10000">
                        <a:moveTo>
                          <a:pt x="13104" y="9918"/>
                        </a:moveTo>
                        <a:lnTo>
                          <a:pt x="0" y="10000"/>
                        </a:lnTo>
                        <a:lnTo>
                          <a:pt x="4272" y="121"/>
                        </a:lnTo>
                        <a:lnTo>
                          <a:pt x="13343" y="0"/>
                        </a:lnTo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11" name="Rectangle 221">
                    <a:extLst>
                      <a:ext uri="{FF2B5EF4-FFF2-40B4-BE49-F238E27FC236}">
                        <a16:creationId xmlns:a16="http://schemas.microsoft.com/office/drawing/2014/main" xmlns="" id="{1BD710AB-4D0E-4D39-84DB-FF906643709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32473" y="2687240"/>
                    <a:ext cx="72000" cy="72000"/>
                  </a:xfrm>
                  <a:prstGeom prst="rect">
                    <a:avLst/>
                  </a:prstGeom>
                  <a:solidFill>
                    <a:srgbClr val="FFFFFF"/>
                  </a:solidFill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12" name="Rectangle 221">
                    <a:extLst>
                      <a:ext uri="{FF2B5EF4-FFF2-40B4-BE49-F238E27FC236}">
                        <a16:creationId xmlns:a16="http://schemas.microsoft.com/office/drawing/2014/main" xmlns="" id="{A94E9571-83B5-4AC7-87CE-A43963661D4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32473" y="2811109"/>
                    <a:ext cx="72000" cy="72000"/>
                  </a:xfrm>
                  <a:prstGeom prst="rect">
                    <a:avLst/>
                  </a:prstGeom>
                  <a:solidFill>
                    <a:srgbClr val="FFFFFF"/>
                  </a:solidFill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13" name="Rectangle 221">
                    <a:extLst>
                      <a:ext uri="{FF2B5EF4-FFF2-40B4-BE49-F238E27FC236}">
                        <a16:creationId xmlns:a16="http://schemas.microsoft.com/office/drawing/2014/main" xmlns="" id="{292A1746-AA29-452F-8047-E6916022BBA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32473" y="2934809"/>
                    <a:ext cx="72000" cy="72000"/>
                  </a:xfrm>
                  <a:prstGeom prst="rect">
                    <a:avLst/>
                  </a:prstGeom>
                  <a:solidFill>
                    <a:srgbClr val="FFFFFF"/>
                  </a:solidFill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</p:grpSp>
            <p:sp>
              <p:nvSpPr>
                <p:cNvPr id="552" name="Rectangle 159">
                  <a:extLst>
                    <a:ext uri="{FF2B5EF4-FFF2-40B4-BE49-F238E27FC236}">
                      <a16:creationId xmlns:a16="http://schemas.microsoft.com/office/drawing/2014/main" xmlns="" id="{1D5905A3-0985-49E0-804C-06AB529A6D4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7024" y="2779892"/>
                  <a:ext cx="271461" cy="224748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rnd">
                  <a:solidFill>
                    <a:srgbClr val="98A2A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53" name="Freeform 170">
                  <a:extLst>
                    <a:ext uri="{FF2B5EF4-FFF2-40B4-BE49-F238E27FC236}">
                      <a16:creationId xmlns:a16="http://schemas.microsoft.com/office/drawing/2014/main" xmlns="" id="{65EF2B28-D6F0-46C8-97D6-03673B487F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4282" y="2811254"/>
                  <a:ext cx="39832" cy="56014"/>
                </a:xfrm>
                <a:custGeom>
                  <a:avLst/>
                  <a:gdLst/>
                  <a:ahLst/>
                  <a:cxnLst>
                    <a:cxn ang="0">
                      <a:pos x="0" y="44"/>
                    </a:cxn>
                    <a:cxn ang="0">
                      <a:pos x="0" y="16"/>
                    </a:cxn>
                    <a:cxn ang="0">
                      <a:pos x="16" y="0"/>
                    </a:cxn>
                    <a:cxn ang="0">
                      <a:pos x="32" y="16"/>
                    </a:cxn>
                    <a:cxn ang="0">
                      <a:pos x="32" y="44"/>
                    </a:cxn>
                  </a:cxnLst>
                  <a:rect l="0" t="0" r="r" b="b"/>
                  <a:pathLst>
                    <a:path w="32" h="44">
                      <a:moveTo>
                        <a:pt x="0" y="44"/>
                      </a:move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8" y="0"/>
                        <a:pt x="16" y="0"/>
                      </a:cubicBezTo>
                      <a:cubicBezTo>
                        <a:pt x="25" y="0"/>
                        <a:pt x="32" y="7"/>
                        <a:pt x="32" y="16"/>
                      </a:cubicBezTo>
                      <a:cubicBezTo>
                        <a:pt x="32" y="44"/>
                        <a:pt x="32" y="44"/>
                        <a:pt x="32" y="44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98A2AE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54" name="Freeform 171">
                  <a:extLst>
                    <a:ext uri="{FF2B5EF4-FFF2-40B4-BE49-F238E27FC236}">
                      <a16:creationId xmlns:a16="http://schemas.microsoft.com/office/drawing/2014/main" xmlns="" id="{BA49DDBA-9B55-4F1C-904F-208D7F8EB2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772" y="2811254"/>
                  <a:ext cx="34852" cy="56014"/>
                </a:xfrm>
                <a:custGeom>
                  <a:avLst/>
                  <a:gdLst/>
                  <a:ahLst/>
                  <a:cxnLst>
                    <a:cxn ang="0">
                      <a:pos x="0" y="44"/>
                    </a:cxn>
                    <a:cxn ang="0">
                      <a:pos x="0" y="16"/>
                    </a:cxn>
                    <a:cxn ang="0">
                      <a:pos x="14" y="0"/>
                    </a:cxn>
                    <a:cxn ang="0">
                      <a:pos x="28" y="16"/>
                    </a:cxn>
                    <a:cxn ang="0">
                      <a:pos x="28" y="44"/>
                    </a:cxn>
                  </a:cxnLst>
                  <a:rect l="0" t="0" r="r" b="b"/>
                  <a:pathLst>
                    <a:path w="28" h="44">
                      <a:moveTo>
                        <a:pt x="0" y="44"/>
                      </a:move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6" y="0"/>
                        <a:pt x="14" y="0"/>
                      </a:cubicBezTo>
                      <a:cubicBezTo>
                        <a:pt x="23" y="0"/>
                        <a:pt x="28" y="7"/>
                        <a:pt x="28" y="16"/>
                      </a:cubicBezTo>
                      <a:cubicBezTo>
                        <a:pt x="28" y="44"/>
                        <a:pt x="28" y="44"/>
                        <a:pt x="28" y="44"/>
                      </a:cubicBezTo>
                    </a:path>
                  </a:pathLst>
                </a:custGeom>
                <a:noFill/>
                <a:ln w="9525" cap="rnd">
                  <a:solidFill>
                    <a:srgbClr val="98A2A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55" name="Freeform 172">
                  <a:extLst>
                    <a:ext uri="{FF2B5EF4-FFF2-40B4-BE49-F238E27FC236}">
                      <a16:creationId xmlns:a16="http://schemas.microsoft.com/office/drawing/2014/main" xmlns="" id="{0D903480-67D0-4605-9CF8-7BC963DAC5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030" y="2811254"/>
                  <a:ext cx="39832" cy="56014"/>
                </a:xfrm>
                <a:custGeom>
                  <a:avLst/>
                  <a:gdLst/>
                  <a:ahLst/>
                  <a:cxnLst>
                    <a:cxn ang="0">
                      <a:pos x="0" y="44"/>
                    </a:cxn>
                    <a:cxn ang="0">
                      <a:pos x="0" y="16"/>
                    </a:cxn>
                    <a:cxn ang="0">
                      <a:pos x="16" y="0"/>
                    </a:cxn>
                    <a:cxn ang="0">
                      <a:pos x="32" y="16"/>
                    </a:cxn>
                    <a:cxn ang="0">
                      <a:pos x="32" y="44"/>
                    </a:cxn>
                  </a:cxnLst>
                  <a:rect l="0" t="0" r="r" b="b"/>
                  <a:pathLst>
                    <a:path w="32" h="44">
                      <a:moveTo>
                        <a:pt x="0" y="44"/>
                      </a:move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8" y="0"/>
                        <a:pt x="16" y="0"/>
                      </a:cubicBezTo>
                      <a:cubicBezTo>
                        <a:pt x="25" y="0"/>
                        <a:pt x="32" y="7"/>
                        <a:pt x="32" y="16"/>
                      </a:cubicBezTo>
                      <a:cubicBezTo>
                        <a:pt x="32" y="44"/>
                        <a:pt x="32" y="44"/>
                        <a:pt x="32" y="44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98A2AE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56" name="Freeform 173">
                  <a:extLst>
                    <a:ext uri="{FF2B5EF4-FFF2-40B4-BE49-F238E27FC236}">
                      <a16:creationId xmlns:a16="http://schemas.microsoft.com/office/drawing/2014/main" xmlns="" id="{40C6153C-C19C-483C-9840-D493BD2BE8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519" y="2811254"/>
                  <a:ext cx="34852" cy="56014"/>
                </a:xfrm>
                <a:custGeom>
                  <a:avLst/>
                  <a:gdLst/>
                  <a:ahLst/>
                  <a:cxnLst>
                    <a:cxn ang="0">
                      <a:pos x="0" y="44"/>
                    </a:cxn>
                    <a:cxn ang="0">
                      <a:pos x="0" y="16"/>
                    </a:cxn>
                    <a:cxn ang="0">
                      <a:pos x="14" y="0"/>
                    </a:cxn>
                    <a:cxn ang="0">
                      <a:pos x="28" y="16"/>
                    </a:cxn>
                    <a:cxn ang="0">
                      <a:pos x="28" y="44"/>
                    </a:cxn>
                  </a:cxnLst>
                  <a:rect l="0" t="0" r="r" b="b"/>
                  <a:pathLst>
                    <a:path w="28" h="44">
                      <a:moveTo>
                        <a:pt x="0" y="44"/>
                      </a:move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6" y="0"/>
                        <a:pt x="14" y="0"/>
                      </a:cubicBezTo>
                      <a:cubicBezTo>
                        <a:pt x="23" y="0"/>
                        <a:pt x="28" y="7"/>
                        <a:pt x="28" y="16"/>
                      </a:cubicBezTo>
                      <a:cubicBezTo>
                        <a:pt x="28" y="44"/>
                        <a:pt x="28" y="44"/>
                        <a:pt x="28" y="44"/>
                      </a:cubicBezTo>
                    </a:path>
                  </a:pathLst>
                </a:custGeom>
                <a:noFill/>
                <a:ln w="9525" cap="rnd">
                  <a:solidFill>
                    <a:srgbClr val="98A2A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57" name="Freeform 174">
                  <a:extLst>
                    <a:ext uri="{FF2B5EF4-FFF2-40B4-BE49-F238E27FC236}">
                      <a16:creationId xmlns:a16="http://schemas.microsoft.com/office/drawing/2014/main" xmlns="" id="{6953FB28-D121-49BD-A051-4DAB567BE5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777" y="2811254"/>
                  <a:ext cx="39832" cy="56014"/>
                </a:xfrm>
                <a:custGeom>
                  <a:avLst/>
                  <a:gdLst/>
                  <a:ahLst/>
                  <a:cxnLst>
                    <a:cxn ang="0">
                      <a:pos x="0" y="44"/>
                    </a:cxn>
                    <a:cxn ang="0">
                      <a:pos x="0" y="16"/>
                    </a:cxn>
                    <a:cxn ang="0">
                      <a:pos x="16" y="0"/>
                    </a:cxn>
                    <a:cxn ang="0">
                      <a:pos x="32" y="16"/>
                    </a:cxn>
                    <a:cxn ang="0">
                      <a:pos x="32" y="44"/>
                    </a:cxn>
                  </a:cxnLst>
                  <a:rect l="0" t="0" r="r" b="b"/>
                  <a:pathLst>
                    <a:path w="32" h="44">
                      <a:moveTo>
                        <a:pt x="0" y="44"/>
                      </a:move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8" y="0"/>
                        <a:pt x="16" y="0"/>
                      </a:cubicBezTo>
                      <a:cubicBezTo>
                        <a:pt x="25" y="0"/>
                        <a:pt x="32" y="7"/>
                        <a:pt x="32" y="16"/>
                      </a:cubicBezTo>
                      <a:cubicBezTo>
                        <a:pt x="32" y="44"/>
                        <a:pt x="32" y="44"/>
                        <a:pt x="32" y="44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98A2AE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58" name="Freeform 175">
                  <a:extLst>
                    <a:ext uri="{FF2B5EF4-FFF2-40B4-BE49-F238E27FC236}">
                      <a16:creationId xmlns:a16="http://schemas.microsoft.com/office/drawing/2014/main" xmlns="" id="{B0236978-97D5-4E05-8B54-18F69EE561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6266" y="2811254"/>
                  <a:ext cx="34852" cy="56014"/>
                </a:xfrm>
                <a:custGeom>
                  <a:avLst/>
                  <a:gdLst/>
                  <a:ahLst/>
                  <a:cxnLst>
                    <a:cxn ang="0">
                      <a:pos x="0" y="44"/>
                    </a:cxn>
                    <a:cxn ang="0">
                      <a:pos x="0" y="16"/>
                    </a:cxn>
                    <a:cxn ang="0">
                      <a:pos x="14" y="0"/>
                    </a:cxn>
                    <a:cxn ang="0">
                      <a:pos x="28" y="16"/>
                    </a:cxn>
                    <a:cxn ang="0">
                      <a:pos x="28" y="44"/>
                    </a:cxn>
                  </a:cxnLst>
                  <a:rect l="0" t="0" r="r" b="b"/>
                  <a:pathLst>
                    <a:path w="28" h="44">
                      <a:moveTo>
                        <a:pt x="0" y="44"/>
                      </a:move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6" y="0"/>
                        <a:pt x="14" y="0"/>
                      </a:cubicBezTo>
                      <a:cubicBezTo>
                        <a:pt x="23" y="0"/>
                        <a:pt x="28" y="7"/>
                        <a:pt x="28" y="16"/>
                      </a:cubicBezTo>
                      <a:cubicBezTo>
                        <a:pt x="28" y="44"/>
                        <a:pt x="28" y="44"/>
                        <a:pt x="28" y="44"/>
                      </a:cubicBezTo>
                    </a:path>
                  </a:pathLst>
                </a:custGeom>
                <a:noFill/>
                <a:ln w="9525" cap="rnd">
                  <a:solidFill>
                    <a:srgbClr val="98A2A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grpSp>
              <p:nvGrpSpPr>
                <p:cNvPr id="559" name="Gruppieren 558">
                  <a:extLst>
                    <a:ext uri="{FF2B5EF4-FFF2-40B4-BE49-F238E27FC236}">
                      <a16:creationId xmlns:a16="http://schemas.microsoft.com/office/drawing/2014/main" xmlns="" id="{C2CB9E18-281B-4F91-AB3E-929410ABA018}"/>
                    </a:ext>
                  </a:extLst>
                </p:cNvPr>
                <p:cNvGrpSpPr/>
                <p:nvPr/>
              </p:nvGrpSpPr>
              <p:grpSpPr>
                <a:xfrm>
                  <a:off x="1133497" y="2569926"/>
                  <a:ext cx="168040" cy="608677"/>
                  <a:chOff x="1642201" y="2185283"/>
                  <a:chExt cx="238755" cy="864824"/>
                </a:xfrm>
              </p:grpSpPr>
              <p:sp>
                <p:nvSpPr>
                  <p:cNvPr id="703" name="Rectangle 193">
                    <a:extLst>
                      <a:ext uri="{FF2B5EF4-FFF2-40B4-BE49-F238E27FC236}">
                        <a16:creationId xmlns:a16="http://schemas.microsoft.com/office/drawing/2014/main" xmlns="" id="{85E9A7D0-FCDF-4D0E-B778-40D1F0139DC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642201" y="2185283"/>
                    <a:ext cx="238755" cy="864824"/>
                  </a:xfrm>
                  <a:custGeom>
                    <a:avLst/>
                    <a:gdLst>
                      <a:gd name="connsiteX0" fmla="*/ 0 w 168040"/>
                      <a:gd name="connsiteY0" fmla="*/ 0 h 608677"/>
                      <a:gd name="connsiteX1" fmla="*/ 168040 w 168040"/>
                      <a:gd name="connsiteY1" fmla="*/ 0 h 608677"/>
                      <a:gd name="connsiteX2" fmla="*/ 168040 w 168040"/>
                      <a:gd name="connsiteY2" fmla="*/ 608677 h 608677"/>
                      <a:gd name="connsiteX3" fmla="*/ 0 w 168040"/>
                      <a:gd name="connsiteY3" fmla="*/ 608677 h 608677"/>
                      <a:gd name="connsiteX4" fmla="*/ 0 w 168040"/>
                      <a:gd name="connsiteY4" fmla="*/ 0 h 608677"/>
                      <a:gd name="connsiteX0" fmla="*/ 0 w 338749"/>
                      <a:gd name="connsiteY0" fmla="*/ 0 h 792399"/>
                      <a:gd name="connsiteX1" fmla="*/ 168040 w 338749"/>
                      <a:gd name="connsiteY1" fmla="*/ 0 h 792399"/>
                      <a:gd name="connsiteX2" fmla="*/ 168040 w 338749"/>
                      <a:gd name="connsiteY2" fmla="*/ 608677 h 792399"/>
                      <a:gd name="connsiteX3" fmla="*/ 338116 w 338749"/>
                      <a:gd name="connsiteY3" fmla="*/ 792399 h 792399"/>
                      <a:gd name="connsiteX4" fmla="*/ 0 w 338749"/>
                      <a:gd name="connsiteY4" fmla="*/ 608677 h 792399"/>
                      <a:gd name="connsiteX5" fmla="*/ 0 w 338749"/>
                      <a:gd name="connsiteY5" fmla="*/ 0 h 792399"/>
                      <a:gd name="connsiteX0" fmla="*/ 0 w 338749"/>
                      <a:gd name="connsiteY0" fmla="*/ 0 h 792399"/>
                      <a:gd name="connsiteX1" fmla="*/ 168040 w 338749"/>
                      <a:gd name="connsiteY1" fmla="*/ 0 h 792399"/>
                      <a:gd name="connsiteX2" fmla="*/ 168040 w 338749"/>
                      <a:gd name="connsiteY2" fmla="*/ 608677 h 792399"/>
                      <a:gd name="connsiteX3" fmla="*/ 338116 w 338749"/>
                      <a:gd name="connsiteY3" fmla="*/ 792399 h 792399"/>
                      <a:gd name="connsiteX4" fmla="*/ 107134 w 338749"/>
                      <a:gd name="connsiteY4" fmla="*/ 773349 h 792399"/>
                      <a:gd name="connsiteX5" fmla="*/ 0 w 338749"/>
                      <a:gd name="connsiteY5" fmla="*/ 608677 h 792399"/>
                      <a:gd name="connsiteX6" fmla="*/ 0 w 338749"/>
                      <a:gd name="connsiteY6" fmla="*/ 0 h 792399"/>
                      <a:gd name="connsiteX0" fmla="*/ 107134 w 429556"/>
                      <a:gd name="connsiteY0" fmla="*/ 773349 h 883839"/>
                      <a:gd name="connsiteX1" fmla="*/ 0 w 429556"/>
                      <a:gd name="connsiteY1" fmla="*/ 608677 h 883839"/>
                      <a:gd name="connsiteX2" fmla="*/ 0 w 429556"/>
                      <a:gd name="connsiteY2" fmla="*/ 0 h 883839"/>
                      <a:gd name="connsiteX3" fmla="*/ 168040 w 429556"/>
                      <a:gd name="connsiteY3" fmla="*/ 0 h 883839"/>
                      <a:gd name="connsiteX4" fmla="*/ 168040 w 429556"/>
                      <a:gd name="connsiteY4" fmla="*/ 608677 h 883839"/>
                      <a:gd name="connsiteX5" fmla="*/ 429556 w 429556"/>
                      <a:gd name="connsiteY5" fmla="*/ 883839 h 883839"/>
                      <a:gd name="connsiteX0" fmla="*/ 107134 w 168040"/>
                      <a:gd name="connsiteY0" fmla="*/ 773349 h 773349"/>
                      <a:gd name="connsiteX1" fmla="*/ 0 w 168040"/>
                      <a:gd name="connsiteY1" fmla="*/ 608677 h 773349"/>
                      <a:gd name="connsiteX2" fmla="*/ 0 w 168040"/>
                      <a:gd name="connsiteY2" fmla="*/ 0 h 773349"/>
                      <a:gd name="connsiteX3" fmla="*/ 168040 w 168040"/>
                      <a:gd name="connsiteY3" fmla="*/ 0 h 773349"/>
                      <a:gd name="connsiteX4" fmla="*/ 168040 w 168040"/>
                      <a:gd name="connsiteY4" fmla="*/ 608677 h 773349"/>
                      <a:gd name="connsiteX0" fmla="*/ 0 w 168040"/>
                      <a:gd name="connsiteY0" fmla="*/ 608677 h 608677"/>
                      <a:gd name="connsiteX1" fmla="*/ 0 w 168040"/>
                      <a:gd name="connsiteY1" fmla="*/ 0 h 608677"/>
                      <a:gd name="connsiteX2" fmla="*/ 168040 w 168040"/>
                      <a:gd name="connsiteY2" fmla="*/ 0 h 608677"/>
                      <a:gd name="connsiteX3" fmla="*/ 168040 w 168040"/>
                      <a:gd name="connsiteY3" fmla="*/ 608677 h 6086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8040" h="608677">
                        <a:moveTo>
                          <a:pt x="0" y="608677"/>
                        </a:moveTo>
                        <a:lnTo>
                          <a:pt x="0" y="0"/>
                        </a:lnTo>
                        <a:lnTo>
                          <a:pt x="168040" y="0"/>
                        </a:lnTo>
                        <a:lnTo>
                          <a:pt x="168040" y="608677"/>
                        </a:lnTo>
                      </a:path>
                    </a:pathLst>
                  </a:custGeom>
                  <a:solidFill>
                    <a:schemeClr val="accent1">
                      <a:lumMod val="40000"/>
                      <a:lumOff val="60000"/>
                    </a:schemeClr>
                  </a:solidFill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04" name="Rectangle 220">
                    <a:extLst>
                      <a:ext uri="{FF2B5EF4-FFF2-40B4-BE49-F238E27FC236}">
                        <a16:creationId xmlns:a16="http://schemas.microsoft.com/office/drawing/2014/main" xmlns="" id="{9C752022-8C32-4295-8A6A-CE6E8588026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776609" y="2228155"/>
                    <a:ext cx="49519" cy="50400"/>
                  </a:xfrm>
                  <a:custGeom>
                    <a:avLst/>
                    <a:gdLst>
                      <a:gd name="connsiteX0" fmla="*/ 0 w 77490"/>
                      <a:gd name="connsiteY0" fmla="*/ 0 h 78868"/>
                      <a:gd name="connsiteX1" fmla="*/ 77490 w 77490"/>
                      <a:gd name="connsiteY1" fmla="*/ 0 h 78868"/>
                      <a:gd name="connsiteX2" fmla="*/ 77490 w 77490"/>
                      <a:gd name="connsiteY2" fmla="*/ 78868 h 78868"/>
                      <a:gd name="connsiteX3" fmla="*/ 0 w 77490"/>
                      <a:gd name="connsiteY3" fmla="*/ 78868 h 78868"/>
                      <a:gd name="connsiteX4" fmla="*/ 0 w 77490"/>
                      <a:gd name="connsiteY4" fmla="*/ 0 h 78868"/>
                      <a:gd name="connsiteX0" fmla="*/ 0 w 168506"/>
                      <a:gd name="connsiteY0" fmla="*/ 0 h 78868"/>
                      <a:gd name="connsiteX1" fmla="*/ 77490 w 168506"/>
                      <a:gd name="connsiteY1" fmla="*/ 0 h 78868"/>
                      <a:gd name="connsiteX2" fmla="*/ 168506 w 168506"/>
                      <a:gd name="connsiteY2" fmla="*/ 37187 h 78868"/>
                      <a:gd name="connsiteX3" fmla="*/ 77490 w 168506"/>
                      <a:gd name="connsiteY3" fmla="*/ 78868 h 78868"/>
                      <a:gd name="connsiteX4" fmla="*/ 0 w 168506"/>
                      <a:gd name="connsiteY4" fmla="*/ 78868 h 78868"/>
                      <a:gd name="connsiteX5" fmla="*/ 0 w 168506"/>
                      <a:gd name="connsiteY5" fmla="*/ 0 h 78868"/>
                      <a:gd name="connsiteX0" fmla="*/ 77490 w 259946"/>
                      <a:gd name="connsiteY0" fmla="*/ 78868 h 128627"/>
                      <a:gd name="connsiteX1" fmla="*/ 0 w 259946"/>
                      <a:gd name="connsiteY1" fmla="*/ 78868 h 128627"/>
                      <a:gd name="connsiteX2" fmla="*/ 0 w 259946"/>
                      <a:gd name="connsiteY2" fmla="*/ 0 h 128627"/>
                      <a:gd name="connsiteX3" fmla="*/ 77490 w 259946"/>
                      <a:gd name="connsiteY3" fmla="*/ 0 h 128627"/>
                      <a:gd name="connsiteX4" fmla="*/ 259946 w 259946"/>
                      <a:gd name="connsiteY4" fmla="*/ 128627 h 128627"/>
                      <a:gd name="connsiteX0" fmla="*/ 77490 w 77490"/>
                      <a:gd name="connsiteY0" fmla="*/ 78868 h 78868"/>
                      <a:gd name="connsiteX1" fmla="*/ 0 w 77490"/>
                      <a:gd name="connsiteY1" fmla="*/ 78868 h 78868"/>
                      <a:gd name="connsiteX2" fmla="*/ 0 w 77490"/>
                      <a:gd name="connsiteY2" fmla="*/ 0 h 78868"/>
                      <a:gd name="connsiteX3" fmla="*/ 77490 w 77490"/>
                      <a:gd name="connsiteY3" fmla="*/ 0 h 78868"/>
                      <a:gd name="connsiteX0" fmla="*/ 0 w 77490"/>
                      <a:gd name="connsiteY0" fmla="*/ 78868 h 78868"/>
                      <a:gd name="connsiteX1" fmla="*/ 0 w 77490"/>
                      <a:gd name="connsiteY1" fmla="*/ 0 h 78868"/>
                      <a:gd name="connsiteX2" fmla="*/ 77490 w 77490"/>
                      <a:gd name="connsiteY2" fmla="*/ 0 h 78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77490" h="78868">
                        <a:moveTo>
                          <a:pt x="0" y="78868"/>
                        </a:moveTo>
                        <a:lnTo>
                          <a:pt x="0" y="0"/>
                        </a:lnTo>
                        <a:lnTo>
                          <a:pt x="77490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05" name="Rectangle 220">
                    <a:extLst>
                      <a:ext uri="{FF2B5EF4-FFF2-40B4-BE49-F238E27FC236}">
                        <a16:creationId xmlns:a16="http://schemas.microsoft.com/office/drawing/2014/main" xmlns="" id="{0BD66B11-4663-4AA3-B7FE-1787E74BC33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677681" y="2228155"/>
                    <a:ext cx="36000" cy="612000"/>
                  </a:xfrm>
                  <a:prstGeom prst="rect">
                    <a:avLst/>
                  </a:prstGeom>
                  <a:solidFill>
                    <a:srgbClr val="FFFFFF"/>
                  </a:solidFill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06" name="Rectangle 220">
                    <a:extLst>
                      <a:ext uri="{FF2B5EF4-FFF2-40B4-BE49-F238E27FC236}">
                        <a16:creationId xmlns:a16="http://schemas.microsoft.com/office/drawing/2014/main" xmlns="" id="{6534856D-E01F-42D0-816E-5B2D175CD3E1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776609" y="2312758"/>
                    <a:ext cx="49519" cy="50400"/>
                  </a:xfrm>
                  <a:custGeom>
                    <a:avLst/>
                    <a:gdLst>
                      <a:gd name="connsiteX0" fmla="*/ 0 w 77490"/>
                      <a:gd name="connsiteY0" fmla="*/ 0 h 78868"/>
                      <a:gd name="connsiteX1" fmla="*/ 77490 w 77490"/>
                      <a:gd name="connsiteY1" fmla="*/ 0 h 78868"/>
                      <a:gd name="connsiteX2" fmla="*/ 77490 w 77490"/>
                      <a:gd name="connsiteY2" fmla="*/ 78868 h 78868"/>
                      <a:gd name="connsiteX3" fmla="*/ 0 w 77490"/>
                      <a:gd name="connsiteY3" fmla="*/ 78868 h 78868"/>
                      <a:gd name="connsiteX4" fmla="*/ 0 w 77490"/>
                      <a:gd name="connsiteY4" fmla="*/ 0 h 78868"/>
                      <a:gd name="connsiteX0" fmla="*/ 0 w 168506"/>
                      <a:gd name="connsiteY0" fmla="*/ 0 h 78868"/>
                      <a:gd name="connsiteX1" fmla="*/ 77490 w 168506"/>
                      <a:gd name="connsiteY1" fmla="*/ 0 h 78868"/>
                      <a:gd name="connsiteX2" fmla="*/ 168506 w 168506"/>
                      <a:gd name="connsiteY2" fmla="*/ 37187 h 78868"/>
                      <a:gd name="connsiteX3" fmla="*/ 77490 w 168506"/>
                      <a:gd name="connsiteY3" fmla="*/ 78868 h 78868"/>
                      <a:gd name="connsiteX4" fmla="*/ 0 w 168506"/>
                      <a:gd name="connsiteY4" fmla="*/ 78868 h 78868"/>
                      <a:gd name="connsiteX5" fmla="*/ 0 w 168506"/>
                      <a:gd name="connsiteY5" fmla="*/ 0 h 78868"/>
                      <a:gd name="connsiteX0" fmla="*/ 77490 w 259946"/>
                      <a:gd name="connsiteY0" fmla="*/ 78868 h 128627"/>
                      <a:gd name="connsiteX1" fmla="*/ 0 w 259946"/>
                      <a:gd name="connsiteY1" fmla="*/ 78868 h 128627"/>
                      <a:gd name="connsiteX2" fmla="*/ 0 w 259946"/>
                      <a:gd name="connsiteY2" fmla="*/ 0 h 128627"/>
                      <a:gd name="connsiteX3" fmla="*/ 77490 w 259946"/>
                      <a:gd name="connsiteY3" fmla="*/ 0 h 128627"/>
                      <a:gd name="connsiteX4" fmla="*/ 259946 w 259946"/>
                      <a:gd name="connsiteY4" fmla="*/ 128627 h 128627"/>
                      <a:gd name="connsiteX0" fmla="*/ 77490 w 77490"/>
                      <a:gd name="connsiteY0" fmla="*/ 78868 h 78868"/>
                      <a:gd name="connsiteX1" fmla="*/ 0 w 77490"/>
                      <a:gd name="connsiteY1" fmla="*/ 78868 h 78868"/>
                      <a:gd name="connsiteX2" fmla="*/ 0 w 77490"/>
                      <a:gd name="connsiteY2" fmla="*/ 0 h 78868"/>
                      <a:gd name="connsiteX3" fmla="*/ 77490 w 77490"/>
                      <a:gd name="connsiteY3" fmla="*/ 0 h 78868"/>
                      <a:gd name="connsiteX0" fmla="*/ 0 w 77490"/>
                      <a:gd name="connsiteY0" fmla="*/ 78868 h 78868"/>
                      <a:gd name="connsiteX1" fmla="*/ 0 w 77490"/>
                      <a:gd name="connsiteY1" fmla="*/ 0 h 78868"/>
                      <a:gd name="connsiteX2" fmla="*/ 77490 w 77490"/>
                      <a:gd name="connsiteY2" fmla="*/ 0 h 78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77490" h="78868">
                        <a:moveTo>
                          <a:pt x="0" y="78868"/>
                        </a:moveTo>
                        <a:lnTo>
                          <a:pt x="0" y="0"/>
                        </a:lnTo>
                        <a:lnTo>
                          <a:pt x="77490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07" name="Rectangle 220">
                    <a:extLst>
                      <a:ext uri="{FF2B5EF4-FFF2-40B4-BE49-F238E27FC236}">
                        <a16:creationId xmlns:a16="http://schemas.microsoft.com/office/drawing/2014/main" xmlns="" id="{39133E98-CFEC-4D97-A647-DBC1DF0FB8FB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776609" y="2397360"/>
                    <a:ext cx="49519" cy="50400"/>
                  </a:xfrm>
                  <a:custGeom>
                    <a:avLst/>
                    <a:gdLst>
                      <a:gd name="connsiteX0" fmla="*/ 0 w 77490"/>
                      <a:gd name="connsiteY0" fmla="*/ 0 h 78868"/>
                      <a:gd name="connsiteX1" fmla="*/ 77490 w 77490"/>
                      <a:gd name="connsiteY1" fmla="*/ 0 h 78868"/>
                      <a:gd name="connsiteX2" fmla="*/ 77490 w 77490"/>
                      <a:gd name="connsiteY2" fmla="*/ 78868 h 78868"/>
                      <a:gd name="connsiteX3" fmla="*/ 0 w 77490"/>
                      <a:gd name="connsiteY3" fmla="*/ 78868 h 78868"/>
                      <a:gd name="connsiteX4" fmla="*/ 0 w 77490"/>
                      <a:gd name="connsiteY4" fmla="*/ 0 h 78868"/>
                      <a:gd name="connsiteX0" fmla="*/ 0 w 168506"/>
                      <a:gd name="connsiteY0" fmla="*/ 0 h 78868"/>
                      <a:gd name="connsiteX1" fmla="*/ 77490 w 168506"/>
                      <a:gd name="connsiteY1" fmla="*/ 0 h 78868"/>
                      <a:gd name="connsiteX2" fmla="*/ 168506 w 168506"/>
                      <a:gd name="connsiteY2" fmla="*/ 37187 h 78868"/>
                      <a:gd name="connsiteX3" fmla="*/ 77490 w 168506"/>
                      <a:gd name="connsiteY3" fmla="*/ 78868 h 78868"/>
                      <a:gd name="connsiteX4" fmla="*/ 0 w 168506"/>
                      <a:gd name="connsiteY4" fmla="*/ 78868 h 78868"/>
                      <a:gd name="connsiteX5" fmla="*/ 0 w 168506"/>
                      <a:gd name="connsiteY5" fmla="*/ 0 h 78868"/>
                      <a:gd name="connsiteX0" fmla="*/ 77490 w 259946"/>
                      <a:gd name="connsiteY0" fmla="*/ 78868 h 128627"/>
                      <a:gd name="connsiteX1" fmla="*/ 0 w 259946"/>
                      <a:gd name="connsiteY1" fmla="*/ 78868 h 128627"/>
                      <a:gd name="connsiteX2" fmla="*/ 0 w 259946"/>
                      <a:gd name="connsiteY2" fmla="*/ 0 h 128627"/>
                      <a:gd name="connsiteX3" fmla="*/ 77490 w 259946"/>
                      <a:gd name="connsiteY3" fmla="*/ 0 h 128627"/>
                      <a:gd name="connsiteX4" fmla="*/ 259946 w 259946"/>
                      <a:gd name="connsiteY4" fmla="*/ 128627 h 128627"/>
                      <a:gd name="connsiteX0" fmla="*/ 77490 w 77490"/>
                      <a:gd name="connsiteY0" fmla="*/ 78868 h 78868"/>
                      <a:gd name="connsiteX1" fmla="*/ 0 w 77490"/>
                      <a:gd name="connsiteY1" fmla="*/ 78868 h 78868"/>
                      <a:gd name="connsiteX2" fmla="*/ 0 w 77490"/>
                      <a:gd name="connsiteY2" fmla="*/ 0 h 78868"/>
                      <a:gd name="connsiteX3" fmla="*/ 77490 w 77490"/>
                      <a:gd name="connsiteY3" fmla="*/ 0 h 78868"/>
                      <a:gd name="connsiteX0" fmla="*/ 0 w 77490"/>
                      <a:gd name="connsiteY0" fmla="*/ 78868 h 78868"/>
                      <a:gd name="connsiteX1" fmla="*/ 0 w 77490"/>
                      <a:gd name="connsiteY1" fmla="*/ 0 h 78868"/>
                      <a:gd name="connsiteX2" fmla="*/ 77490 w 77490"/>
                      <a:gd name="connsiteY2" fmla="*/ 0 h 78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77490" h="78868">
                        <a:moveTo>
                          <a:pt x="0" y="78868"/>
                        </a:moveTo>
                        <a:lnTo>
                          <a:pt x="0" y="0"/>
                        </a:lnTo>
                        <a:lnTo>
                          <a:pt x="77490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08" name="Rectangle 220">
                    <a:extLst>
                      <a:ext uri="{FF2B5EF4-FFF2-40B4-BE49-F238E27FC236}">
                        <a16:creationId xmlns:a16="http://schemas.microsoft.com/office/drawing/2014/main" xmlns="" id="{C06E353B-39B1-4839-832B-4B74D2938C34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776609" y="2481963"/>
                    <a:ext cx="49519" cy="50400"/>
                  </a:xfrm>
                  <a:custGeom>
                    <a:avLst/>
                    <a:gdLst>
                      <a:gd name="connsiteX0" fmla="*/ 0 w 77490"/>
                      <a:gd name="connsiteY0" fmla="*/ 0 h 78868"/>
                      <a:gd name="connsiteX1" fmla="*/ 77490 w 77490"/>
                      <a:gd name="connsiteY1" fmla="*/ 0 h 78868"/>
                      <a:gd name="connsiteX2" fmla="*/ 77490 w 77490"/>
                      <a:gd name="connsiteY2" fmla="*/ 78868 h 78868"/>
                      <a:gd name="connsiteX3" fmla="*/ 0 w 77490"/>
                      <a:gd name="connsiteY3" fmla="*/ 78868 h 78868"/>
                      <a:gd name="connsiteX4" fmla="*/ 0 w 77490"/>
                      <a:gd name="connsiteY4" fmla="*/ 0 h 78868"/>
                      <a:gd name="connsiteX0" fmla="*/ 0 w 168506"/>
                      <a:gd name="connsiteY0" fmla="*/ 0 h 78868"/>
                      <a:gd name="connsiteX1" fmla="*/ 77490 w 168506"/>
                      <a:gd name="connsiteY1" fmla="*/ 0 h 78868"/>
                      <a:gd name="connsiteX2" fmla="*/ 168506 w 168506"/>
                      <a:gd name="connsiteY2" fmla="*/ 37187 h 78868"/>
                      <a:gd name="connsiteX3" fmla="*/ 77490 w 168506"/>
                      <a:gd name="connsiteY3" fmla="*/ 78868 h 78868"/>
                      <a:gd name="connsiteX4" fmla="*/ 0 w 168506"/>
                      <a:gd name="connsiteY4" fmla="*/ 78868 h 78868"/>
                      <a:gd name="connsiteX5" fmla="*/ 0 w 168506"/>
                      <a:gd name="connsiteY5" fmla="*/ 0 h 78868"/>
                      <a:gd name="connsiteX0" fmla="*/ 77490 w 259946"/>
                      <a:gd name="connsiteY0" fmla="*/ 78868 h 128627"/>
                      <a:gd name="connsiteX1" fmla="*/ 0 w 259946"/>
                      <a:gd name="connsiteY1" fmla="*/ 78868 h 128627"/>
                      <a:gd name="connsiteX2" fmla="*/ 0 w 259946"/>
                      <a:gd name="connsiteY2" fmla="*/ 0 h 128627"/>
                      <a:gd name="connsiteX3" fmla="*/ 77490 w 259946"/>
                      <a:gd name="connsiteY3" fmla="*/ 0 h 128627"/>
                      <a:gd name="connsiteX4" fmla="*/ 259946 w 259946"/>
                      <a:gd name="connsiteY4" fmla="*/ 128627 h 128627"/>
                      <a:gd name="connsiteX0" fmla="*/ 77490 w 77490"/>
                      <a:gd name="connsiteY0" fmla="*/ 78868 h 78868"/>
                      <a:gd name="connsiteX1" fmla="*/ 0 w 77490"/>
                      <a:gd name="connsiteY1" fmla="*/ 78868 h 78868"/>
                      <a:gd name="connsiteX2" fmla="*/ 0 w 77490"/>
                      <a:gd name="connsiteY2" fmla="*/ 0 h 78868"/>
                      <a:gd name="connsiteX3" fmla="*/ 77490 w 77490"/>
                      <a:gd name="connsiteY3" fmla="*/ 0 h 78868"/>
                      <a:gd name="connsiteX0" fmla="*/ 0 w 77490"/>
                      <a:gd name="connsiteY0" fmla="*/ 78868 h 78868"/>
                      <a:gd name="connsiteX1" fmla="*/ 0 w 77490"/>
                      <a:gd name="connsiteY1" fmla="*/ 0 h 78868"/>
                      <a:gd name="connsiteX2" fmla="*/ 77490 w 77490"/>
                      <a:gd name="connsiteY2" fmla="*/ 0 h 78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77490" h="78868">
                        <a:moveTo>
                          <a:pt x="0" y="78868"/>
                        </a:moveTo>
                        <a:lnTo>
                          <a:pt x="0" y="0"/>
                        </a:lnTo>
                        <a:lnTo>
                          <a:pt x="77490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</p:grpSp>
            <p:grpSp>
              <p:nvGrpSpPr>
                <p:cNvPr id="560" name="Gruppieren 559">
                  <a:extLst>
                    <a:ext uri="{FF2B5EF4-FFF2-40B4-BE49-F238E27FC236}">
                      <a16:creationId xmlns:a16="http://schemas.microsoft.com/office/drawing/2014/main" xmlns="" id="{0B12F893-C699-4B7C-8C33-D8878310EFDC}"/>
                    </a:ext>
                  </a:extLst>
                </p:cNvPr>
                <p:cNvGrpSpPr/>
                <p:nvPr/>
              </p:nvGrpSpPr>
              <p:grpSpPr>
                <a:xfrm>
                  <a:off x="1248013" y="2823638"/>
                  <a:ext cx="187957" cy="359730"/>
                  <a:chOff x="1804906" y="2545762"/>
                  <a:chExt cx="267053" cy="511113"/>
                </a:xfrm>
              </p:grpSpPr>
              <p:sp>
                <p:nvSpPr>
                  <p:cNvPr id="690" name="Rectangle 194">
                    <a:extLst>
                      <a:ext uri="{FF2B5EF4-FFF2-40B4-BE49-F238E27FC236}">
                        <a16:creationId xmlns:a16="http://schemas.microsoft.com/office/drawing/2014/main" xmlns="" id="{CA3593D6-C539-42CD-A910-858F92DC601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804906" y="2545762"/>
                    <a:ext cx="267053" cy="511113"/>
                  </a:xfrm>
                  <a:custGeom>
                    <a:avLst/>
                    <a:gdLst>
                      <a:gd name="connsiteX0" fmla="*/ 0 w 187957"/>
                      <a:gd name="connsiteY0" fmla="*/ 0 h 359730"/>
                      <a:gd name="connsiteX1" fmla="*/ 187957 w 187957"/>
                      <a:gd name="connsiteY1" fmla="*/ 0 h 359730"/>
                      <a:gd name="connsiteX2" fmla="*/ 187957 w 187957"/>
                      <a:gd name="connsiteY2" fmla="*/ 359730 h 359730"/>
                      <a:gd name="connsiteX3" fmla="*/ 0 w 187957"/>
                      <a:gd name="connsiteY3" fmla="*/ 359730 h 359730"/>
                      <a:gd name="connsiteX4" fmla="*/ 0 w 187957"/>
                      <a:gd name="connsiteY4" fmla="*/ 0 h 359730"/>
                      <a:gd name="connsiteX0" fmla="*/ 0 w 187957"/>
                      <a:gd name="connsiteY0" fmla="*/ 0 h 441060"/>
                      <a:gd name="connsiteX1" fmla="*/ 187957 w 187957"/>
                      <a:gd name="connsiteY1" fmla="*/ 0 h 441060"/>
                      <a:gd name="connsiteX2" fmla="*/ 187957 w 187957"/>
                      <a:gd name="connsiteY2" fmla="*/ 359730 h 441060"/>
                      <a:gd name="connsiteX3" fmla="*/ 128350 w 187957"/>
                      <a:gd name="connsiteY3" fmla="*/ 441056 h 441060"/>
                      <a:gd name="connsiteX4" fmla="*/ 0 w 187957"/>
                      <a:gd name="connsiteY4" fmla="*/ 359730 h 441060"/>
                      <a:gd name="connsiteX5" fmla="*/ 0 w 187957"/>
                      <a:gd name="connsiteY5" fmla="*/ 0 h 441060"/>
                      <a:gd name="connsiteX0" fmla="*/ 0 w 187957"/>
                      <a:gd name="connsiteY0" fmla="*/ 0 h 460347"/>
                      <a:gd name="connsiteX1" fmla="*/ 187957 w 187957"/>
                      <a:gd name="connsiteY1" fmla="*/ 0 h 460347"/>
                      <a:gd name="connsiteX2" fmla="*/ 187957 w 187957"/>
                      <a:gd name="connsiteY2" fmla="*/ 359730 h 460347"/>
                      <a:gd name="connsiteX3" fmla="*/ 128350 w 187957"/>
                      <a:gd name="connsiteY3" fmla="*/ 441056 h 460347"/>
                      <a:gd name="connsiteX4" fmla="*/ 35481 w 187957"/>
                      <a:gd name="connsiteY4" fmla="*/ 457726 h 460347"/>
                      <a:gd name="connsiteX5" fmla="*/ 0 w 187957"/>
                      <a:gd name="connsiteY5" fmla="*/ 359730 h 460347"/>
                      <a:gd name="connsiteX6" fmla="*/ 0 w 187957"/>
                      <a:gd name="connsiteY6" fmla="*/ 0 h 460347"/>
                      <a:gd name="connsiteX0" fmla="*/ 35481 w 219790"/>
                      <a:gd name="connsiteY0" fmla="*/ 457726 h 532496"/>
                      <a:gd name="connsiteX1" fmla="*/ 0 w 219790"/>
                      <a:gd name="connsiteY1" fmla="*/ 359730 h 532496"/>
                      <a:gd name="connsiteX2" fmla="*/ 0 w 219790"/>
                      <a:gd name="connsiteY2" fmla="*/ 0 h 532496"/>
                      <a:gd name="connsiteX3" fmla="*/ 187957 w 219790"/>
                      <a:gd name="connsiteY3" fmla="*/ 0 h 532496"/>
                      <a:gd name="connsiteX4" fmla="*/ 187957 w 219790"/>
                      <a:gd name="connsiteY4" fmla="*/ 359730 h 532496"/>
                      <a:gd name="connsiteX5" fmla="*/ 219790 w 219790"/>
                      <a:gd name="connsiteY5" fmla="*/ 532496 h 532496"/>
                      <a:gd name="connsiteX0" fmla="*/ 35481 w 187957"/>
                      <a:gd name="connsiteY0" fmla="*/ 457726 h 457726"/>
                      <a:gd name="connsiteX1" fmla="*/ 0 w 187957"/>
                      <a:gd name="connsiteY1" fmla="*/ 359730 h 457726"/>
                      <a:gd name="connsiteX2" fmla="*/ 0 w 187957"/>
                      <a:gd name="connsiteY2" fmla="*/ 0 h 457726"/>
                      <a:gd name="connsiteX3" fmla="*/ 187957 w 187957"/>
                      <a:gd name="connsiteY3" fmla="*/ 0 h 457726"/>
                      <a:gd name="connsiteX4" fmla="*/ 187957 w 187957"/>
                      <a:gd name="connsiteY4" fmla="*/ 359730 h 457726"/>
                      <a:gd name="connsiteX0" fmla="*/ 0 w 187957"/>
                      <a:gd name="connsiteY0" fmla="*/ 359730 h 359730"/>
                      <a:gd name="connsiteX1" fmla="*/ 0 w 187957"/>
                      <a:gd name="connsiteY1" fmla="*/ 0 h 359730"/>
                      <a:gd name="connsiteX2" fmla="*/ 187957 w 187957"/>
                      <a:gd name="connsiteY2" fmla="*/ 0 h 359730"/>
                      <a:gd name="connsiteX3" fmla="*/ 187957 w 187957"/>
                      <a:gd name="connsiteY3" fmla="*/ 359730 h 3597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87957" h="359730">
                        <a:moveTo>
                          <a:pt x="0" y="359730"/>
                        </a:moveTo>
                        <a:lnTo>
                          <a:pt x="0" y="0"/>
                        </a:lnTo>
                        <a:lnTo>
                          <a:pt x="187957" y="0"/>
                        </a:lnTo>
                        <a:lnTo>
                          <a:pt x="187957" y="359730"/>
                        </a:lnTo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91" name="Freeform 223">
                    <a:extLst>
                      <a:ext uri="{FF2B5EF4-FFF2-40B4-BE49-F238E27FC236}">
                        <a16:creationId xmlns:a16="http://schemas.microsoft.com/office/drawing/2014/main" xmlns="" id="{FC1F1D93-285A-4757-B2E5-8DCE8BEB059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83532" y="2619006"/>
                    <a:ext cx="81354" cy="1768"/>
                  </a:xfrm>
                  <a:custGeom>
                    <a:avLst/>
                    <a:gdLst/>
                    <a:ahLst/>
                    <a:cxnLst>
                      <a:cxn ang="0">
                        <a:pos x="46" y="0"/>
                      </a:cxn>
                      <a:cxn ang="0">
                        <a:pos x="0" y="0"/>
                      </a:cxn>
                      <a:cxn ang="0">
                        <a:pos x="46" y="0"/>
                      </a:cxn>
                    </a:cxnLst>
                    <a:rect l="0" t="0" r="r" b="b"/>
                    <a:pathLst>
                      <a:path w="46">
                        <a:moveTo>
                          <a:pt x="46" y="0"/>
                        </a:moveTo>
                        <a:lnTo>
                          <a:pt x="0" y="0"/>
                        </a:ln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92" name="Line 224">
                    <a:extLst>
                      <a:ext uri="{FF2B5EF4-FFF2-40B4-BE49-F238E27FC236}">
                        <a16:creationId xmlns:a16="http://schemas.microsoft.com/office/drawing/2014/main" xmlns="" id="{76A3B10A-A226-469B-B7D0-4D7A5E72EF7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983532" y="2619006"/>
                    <a:ext cx="81354" cy="1768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93" name="Freeform 225">
                    <a:extLst>
                      <a:ext uri="{FF2B5EF4-FFF2-40B4-BE49-F238E27FC236}">
                        <a16:creationId xmlns:a16="http://schemas.microsoft.com/office/drawing/2014/main" xmlns="" id="{FB9D11D4-F7EC-4E34-95E4-7578F8E2FAD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83532" y="2668527"/>
                    <a:ext cx="81354" cy="1768"/>
                  </a:xfrm>
                  <a:custGeom>
                    <a:avLst/>
                    <a:gdLst/>
                    <a:ahLst/>
                    <a:cxnLst>
                      <a:cxn ang="0">
                        <a:pos x="46" y="0"/>
                      </a:cxn>
                      <a:cxn ang="0">
                        <a:pos x="0" y="0"/>
                      </a:cxn>
                      <a:cxn ang="0">
                        <a:pos x="46" y="0"/>
                      </a:cxn>
                    </a:cxnLst>
                    <a:rect l="0" t="0" r="r" b="b"/>
                    <a:pathLst>
                      <a:path w="46">
                        <a:moveTo>
                          <a:pt x="46" y="0"/>
                        </a:moveTo>
                        <a:lnTo>
                          <a:pt x="0" y="0"/>
                        </a:ln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94" name="Line 226">
                    <a:extLst>
                      <a:ext uri="{FF2B5EF4-FFF2-40B4-BE49-F238E27FC236}">
                        <a16:creationId xmlns:a16="http://schemas.microsoft.com/office/drawing/2014/main" xmlns="" id="{6B7D41FA-D361-4E13-8932-CA6A51F3D8B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983532" y="2668527"/>
                    <a:ext cx="81354" cy="1768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95" name="Freeform 227">
                    <a:extLst>
                      <a:ext uri="{FF2B5EF4-FFF2-40B4-BE49-F238E27FC236}">
                        <a16:creationId xmlns:a16="http://schemas.microsoft.com/office/drawing/2014/main" xmlns="" id="{BAA50607-BBB3-4242-9859-E8867F8AAD5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83532" y="2719813"/>
                    <a:ext cx="81354" cy="1768"/>
                  </a:xfrm>
                  <a:custGeom>
                    <a:avLst/>
                    <a:gdLst/>
                    <a:ahLst/>
                    <a:cxnLst>
                      <a:cxn ang="0">
                        <a:pos x="46" y="0"/>
                      </a:cxn>
                      <a:cxn ang="0">
                        <a:pos x="0" y="0"/>
                      </a:cxn>
                      <a:cxn ang="0">
                        <a:pos x="46" y="0"/>
                      </a:cxn>
                    </a:cxnLst>
                    <a:rect l="0" t="0" r="r" b="b"/>
                    <a:pathLst>
                      <a:path w="46">
                        <a:moveTo>
                          <a:pt x="46" y="0"/>
                        </a:moveTo>
                        <a:lnTo>
                          <a:pt x="0" y="0"/>
                        </a:ln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96" name="Line 228">
                    <a:extLst>
                      <a:ext uri="{FF2B5EF4-FFF2-40B4-BE49-F238E27FC236}">
                        <a16:creationId xmlns:a16="http://schemas.microsoft.com/office/drawing/2014/main" xmlns="" id="{C3E61764-A8EB-4FC5-B938-277913EA0BE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983532" y="2719813"/>
                    <a:ext cx="81354" cy="1768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97" name="Freeform 229">
                    <a:extLst>
                      <a:ext uri="{FF2B5EF4-FFF2-40B4-BE49-F238E27FC236}">
                        <a16:creationId xmlns:a16="http://schemas.microsoft.com/office/drawing/2014/main" xmlns="" id="{E20D3B16-C3E3-4D0B-BB62-764B6F83A29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83532" y="2771103"/>
                    <a:ext cx="81354" cy="1768"/>
                  </a:xfrm>
                  <a:custGeom>
                    <a:avLst/>
                    <a:gdLst/>
                    <a:ahLst/>
                    <a:cxnLst>
                      <a:cxn ang="0">
                        <a:pos x="46" y="0"/>
                      </a:cxn>
                      <a:cxn ang="0">
                        <a:pos x="0" y="0"/>
                      </a:cxn>
                      <a:cxn ang="0">
                        <a:pos x="46" y="0"/>
                      </a:cxn>
                    </a:cxnLst>
                    <a:rect l="0" t="0" r="r" b="b"/>
                    <a:pathLst>
                      <a:path w="46">
                        <a:moveTo>
                          <a:pt x="46" y="0"/>
                        </a:moveTo>
                        <a:lnTo>
                          <a:pt x="0" y="0"/>
                        </a:ln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98" name="Line 230">
                    <a:extLst>
                      <a:ext uri="{FF2B5EF4-FFF2-40B4-BE49-F238E27FC236}">
                        <a16:creationId xmlns:a16="http://schemas.microsoft.com/office/drawing/2014/main" xmlns="" id="{B9D4074F-AD4A-49FF-81CC-92EA6942DF6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983532" y="2771103"/>
                    <a:ext cx="81354" cy="1768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99" name="Freeform 231">
                    <a:extLst>
                      <a:ext uri="{FF2B5EF4-FFF2-40B4-BE49-F238E27FC236}">
                        <a16:creationId xmlns:a16="http://schemas.microsoft.com/office/drawing/2014/main" xmlns="" id="{8450076B-4555-41C2-9F74-BC6B0BF27D8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83532" y="2820622"/>
                    <a:ext cx="81354" cy="1768"/>
                  </a:xfrm>
                  <a:custGeom>
                    <a:avLst/>
                    <a:gdLst/>
                    <a:ahLst/>
                    <a:cxnLst>
                      <a:cxn ang="0">
                        <a:pos x="46" y="0"/>
                      </a:cxn>
                      <a:cxn ang="0">
                        <a:pos x="0" y="0"/>
                      </a:cxn>
                      <a:cxn ang="0">
                        <a:pos x="46" y="0"/>
                      </a:cxn>
                    </a:cxnLst>
                    <a:rect l="0" t="0" r="r" b="b"/>
                    <a:pathLst>
                      <a:path w="46">
                        <a:moveTo>
                          <a:pt x="46" y="0"/>
                        </a:moveTo>
                        <a:lnTo>
                          <a:pt x="0" y="0"/>
                        </a:ln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00" name="Line 232">
                    <a:extLst>
                      <a:ext uri="{FF2B5EF4-FFF2-40B4-BE49-F238E27FC236}">
                        <a16:creationId xmlns:a16="http://schemas.microsoft.com/office/drawing/2014/main" xmlns="" id="{54129988-0F77-4CBE-AB5F-302758D1F8D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983532" y="2820622"/>
                    <a:ext cx="81354" cy="1768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01" name="Freeform 233">
                    <a:extLst>
                      <a:ext uri="{FF2B5EF4-FFF2-40B4-BE49-F238E27FC236}">
                        <a16:creationId xmlns:a16="http://schemas.microsoft.com/office/drawing/2014/main" xmlns="" id="{A8FB231B-0CF8-4523-A856-B9E527BC7FC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83532" y="2871909"/>
                    <a:ext cx="81354" cy="1768"/>
                  </a:xfrm>
                  <a:custGeom>
                    <a:avLst/>
                    <a:gdLst/>
                    <a:ahLst/>
                    <a:cxnLst>
                      <a:cxn ang="0">
                        <a:pos x="46" y="0"/>
                      </a:cxn>
                      <a:cxn ang="0">
                        <a:pos x="0" y="0"/>
                      </a:cxn>
                      <a:cxn ang="0">
                        <a:pos x="46" y="0"/>
                      </a:cxn>
                    </a:cxnLst>
                    <a:rect l="0" t="0" r="r" b="b"/>
                    <a:pathLst>
                      <a:path w="46">
                        <a:moveTo>
                          <a:pt x="46" y="0"/>
                        </a:moveTo>
                        <a:lnTo>
                          <a:pt x="0" y="0"/>
                        </a:ln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702" name="Line 234">
                    <a:extLst>
                      <a:ext uri="{FF2B5EF4-FFF2-40B4-BE49-F238E27FC236}">
                        <a16:creationId xmlns:a16="http://schemas.microsoft.com/office/drawing/2014/main" xmlns="" id="{163E957D-401F-4286-8264-A45552FE28B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983532" y="2871909"/>
                    <a:ext cx="81354" cy="1768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</p:grpSp>
            <p:grpSp>
              <p:nvGrpSpPr>
                <p:cNvPr id="561" name="Gruppieren 560">
                  <a:extLst>
                    <a:ext uri="{FF2B5EF4-FFF2-40B4-BE49-F238E27FC236}">
                      <a16:creationId xmlns:a16="http://schemas.microsoft.com/office/drawing/2014/main" xmlns="" id="{F8AB8B13-626F-48A6-9162-0C0C5CA12155}"/>
                    </a:ext>
                  </a:extLst>
                </p:cNvPr>
                <p:cNvGrpSpPr/>
                <p:nvPr/>
              </p:nvGrpSpPr>
              <p:grpSpPr>
                <a:xfrm>
                  <a:off x="939940" y="2968635"/>
                  <a:ext cx="277578" cy="253402"/>
                  <a:chOff x="1367189" y="2751770"/>
                  <a:chExt cx="394389" cy="360039"/>
                </a:xfrm>
              </p:grpSpPr>
              <p:sp>
                <p:nvSpPr>
                  <p:cNvPr id="686" name="Rectangle 155">
                    <a:extLst>
                      <a:ext uri="{FF2B5EF4-FFF2-40B4-BE49-F238E27FC236}">
                        <a16:creationId xmlns:a16="http://schemas.microsoft.com/office/drawing/2014/main" xmlns="" id="{396E4766-CDC2-44A1-BCA3-839793F7055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409635" y="2910193"/>
                    <a:ext cx="309501" cy="201616"/>
                  </a:xfrm>
                  <a:custGeom>
                    <a:avLst/>
                    <a:gdLst>
                      <a:gd name="connsiteX0" fmla="*/ 0 w 217831"/>
                      <a:gd name="connsiteY0" fmla="*/ 0 h 141901"/>
                      <a:gd name="connsiteX1" fmla="*/ 217831 w 217831"/>
                      <a:gd name="connsiteY1" fmla="*/ 0 h 141901"/>
                      <a:gd name="connsiteX2" fmla="*/ 217831 w 217831"/>
                      <a:gd name="connsiteY2" fmla="*/ 141901 h 141901"/>
                      <a:gd name="connsiteX3" fmla="*/ 0 w 217831"/>
                      <a:gd name="connsiteY3" fmla="*/ 141901 h 141901"/>
                      <a:gd name="connsiteX4" fmla="*/ 0 w 217831"/>
                      <a:gd name="connsiteY4" fmla="*/ 0 h 141901"/>
                      <a:gd name="connsiteX0" fmla="*/ 0 w 217831"/>
                      <a:gd name="connsiteY0" fmla="*/ 0 h 232189"/>
                      <a:gd name="connsiteX1" fmla="*/ 217831 w 217831"/>
                      <a:gd name="connsiteY1" fmla="*/ 0 h 232189"/>
                      <a:gd name="connsiteX2" fmla="*/ 217831 w 217831"/>
                      <a:gd name="connsiteY2" fmla="*/ 141901 h 232189"/>
                      <a:gd name="connsiteX3" fmla="*/ 32692 w 217831"/>
                      <a:gd name="connsiteY3" fmla="*/ 232189 h 232189"/>
                      <a:gd name="connsiteX4" fmla="*/ 0 w 217831"/>
                      <a:gd name="connsiteY4" fmla="*/ 141901 h 232189"/>
                      <a:gd name="connsiteX5" fmla="*/ 0 w 217831"/>
                      <a:gd name="connsiteY5" fmla="*/ 0 h 232189"/>
                      <a:gd name="connsiteX0" fmla="*/ 0 w 256530"/>
                      <a:gd name="connsiteY0" fmla="*/ 0 h 280131"/>
                      <a:gd name="connsiteX1" fmla="*/ 217831 w 256530"/>
                      <a:gd name="connsiteY1" fmla="*/ 0 h 280131"/>
                      <a:gd name="connsiteX2" fmla="*/ 217831 w 256530"/>
                      <a:gd name="connsiteY2" fmla="*/ 141901 h 280131"/>
                      <a:gd name="connsiteX3" fmla="*/ 249386 w 256530"/>
                      <a:gd name="connsiteY3" fmla="*/ 277431 h 280131"/>
                      <a:gd name="connsiteX4" fmla="*/ 32692 w 256530"/>
                      <a:gd name="connsiteY4" fmla="*/ 232189 h 280131"/>
                      <a:gd name="connsiteX5" fmla="*/ 0 w 256530"/>
                      <a:gd name="connsiteY5" fmla="*/ 141901 h 280131"/>
                      <a:gd name="connsiteX6" fmla="*/ 0 w 256530"/>
                      <a:gd name="connsiteY6" fmla="*/ 0 h 280131"/>
                      <a:gd name="connsiteX0" fmla="*/ 32692 w 340826"/>
                      <a:gd name="connsiteY0" fmla="*/ 232189 h 368871"/>
                      <a:gd name="connsiteX1" fmla="*/ 0 w 340826"/>
                      <a:gd name="connsiteY1" fmla="*/ 141901 h 368871"/>
                      <a:gd name="connsiteX2" fmla="*/ 0 w 340826"/>
                      <a:gd name="connsiteY2" fmla="*/ 0 h 368871"/>
                      <a:gd name="connsiteX3" fmla="*/ 217831 w 340826"/>
                      <a:gd name="connsiteY3" fmla="*/ 0 h 368871"/>
                      <a:gd name="connsiteX4" fmla="*/ 217831 w 340826"/>
                      <a:gd name="connsiteY4" fmla="*/ 141901 h 368871"/>
                      <a:gd name="connsiteX5" fmla="*/ 340826 w 340826"/>
                      <a:gd name="connsiteY5" fmla="*/ 368871 h 368871"/>
                      <a:gd name="connsiteX0" fmla="*/ 32692 w 217831"/>
                      <a:gd name="connsiteY0" fmla="*/ 232189 h 232189"/>
                      <a:gd name="connsiteX1" fmla="*/ 0 w 217831"/>
                      <a:gd name="connsiteY1" fmla="*/ 141901 h 232189"/>
                      <a:gd name="connsiteX2" fmla="*/ 0 w 217831"/>
                      <a:gd name="connsiteY2" fmla="*/ 0 h 232189"/>
                      <a:gd name="connsiteX3" fmla="*/ 217831 w 217831"/>
                      <a:gd name="connsiteY3" fmla="*/ 0 h 232189"/>
                      <a:gd name="connsiteX4" fmla="*/ 217831 w 217831"/>
                      <a:gd name="connsiteY4" fmla="*/ 141901 h 232189"/>
                      <a:gd name="connsiteX0" fmla="*/ 0 w 217831"/>
                      <a:gd name="connsiteY0" fmla="*/ 141901 h 141901"/>
                      <a:gd name="connsiteX1" fmla="*/ 0 w 217831"/>
                      <a:gd name="connsiteY1" fmla="*/ 0 h 141901"/>
                      <a:gd name="connsiteX2" fmla="*/ 217831 w 217831"/>
                      <a:gd name="connsiteY2" fmla="*/ 0 h 141901"/>
                      <a:gd name="connsiteX3" fmla="*/ 217831 w 217831"/>
                      <a:gd name="connsiteY3" fmla="*/ 141901 h 1419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17831" h="141901">
                        <a:moveTo>
                          <a:pt x="0" y="141901"/>
                        </a:moveTo>
                        <a:lnTo>
                          <a:pt x="0" y="0"/>
                        </a:lnTo>
                        <a:lnTo>
                          <a:pt x="217831" y="0"/>
                        </a:lnTo>
                        <a:lnTo>
                          <a:pt x="217831" y="141901"/>
                        </a:lnTo>
                      </a:path>
                    </a:pathLst>
                  </a:custGeom>
                  <a:solidFill>
                    <a:schemeClr val="accent2">
                      <a:lumMod val="20000"/>
                      <a:lumOff val="80000"/>
                    </a:schemeClr>
                  </a:solidFill>
                  <a:ln w="9525">
                    <a:solidFill>
                      <a:srgbClr val="98A2AE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87" name="Freeform 156">
                    <a:extLst>
                      <a:ext uri="{FF2B5EF4-FFF2-40B4-BE49-F238E27FC236}">
                        <a16:creationId xmlns:a16="http://schemas.microsoft.com/office/drawing/2014/main" xmlns="" id="{3652580D-F02A-4221-8F96-4F71CAA150C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09635" y="2872274"/>
                    <a:ext cx="309499" cy="201616"/>
                  </a:xfrm>
                  <a:custGeom>
                    <a:avLst/>
                    <a:gdLst/>
                    <a:ahLst/>
                    <a:cxnLst>
                      <a:cxn ang="0">
                        <a:pos x="0" y="114"/>
                      </a:cxn>
                      <a:cxn ang="0">
                        <a:pos x="0" y="0"/>
                      </a:cxn>
                      <a:cxn ang="0">
                        <a:pos x="175" y="0"/>
                      </a:cxn>
                      <a:cxn ang="0">
                        <a:pos x="175" y="114"/>
                      </a:cxn>
                    </a:cxnLst>
                    <a:rect l="0" t="0" r="r" b="b"/>
                    <a:pathLst>
                      <a:path w="175" h="114">
                        <a:moveTo>
                          <a:pt x="0" y="114"/>
                        </a:moveTo>
                        <a:lnTo>
                          <a:pt x="0" y="0"/>
                        </a:lnTo>
                        <a:lnTo>
                          <a:pt x="175" y="0"/>
                        </a:lnTo>
                        <a:lnTo>
                          <a:pt x="175" y="114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88" name="Freeform 157">
                    <a:extLst>
                      <a:ext uri="{FF2B5EF4-FFF2-40B4-BE49-F238E27FC236}">
                        <a16:creationId xmlns:a16="http://schemas.microsoft.com/office/drawing/2014/main" xmlns="" id="{647B8347-4DBE-40AE-BC6E-A4E802EAAF52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1367189" y="2751770"/>
                    <a:ext cx="394389" cy="173319"/>
                  </a:xfrm>
                  <a:custGeom>
                    <a:avLst/>
                    <a:gdLst/>
                    <a:ahLst/>
                    <a:cxnLst>
                      <a:cxn ang="0">
                        <a:pos x="223" y="98"/>
                      </a:cxn>
                      <a:cxn ang="0">
                        <a:pos x="194" y="39"/>
                      </a:cxn>
                      <a:cxn ang="0">
                        <a:pos x="184" y="0"/>
                      </a:cxn>
                      <a:cxn ang="0">
                        <a:pos x="38" y="0"/>
                      </a:cxn>
                      <a:cxn ang="0">
                        <a:pos x="28" y="39"/>
                      </a:cxn>
                      <a:cxn ang="0">
                        <a:pos x="0" y="98"/>
                      </a:cxn>
                      <a:cxn ang="0">
                        <a:pos x="223" y="98"/>
                      </a:cxn>
                    </a:cxnLst>
                    <a:rect l="0" t="0" r="r" b="b"/>
                    <a:pathLst>
                      <a:path w="223" h="98">
                        <a:moveTo>
                          <a:pt x="223" y="98"/>
                        </a:moveTo>
                        <a:lnTo>
                          <a:pt x="194" y="39"/>
                        </a:lnTo>
                        <a:lnTo>
                          <a:pt x="184" y="0"/>
                        </a:lnTo>
                        <a:lnTo>
                          <a:pt x="38" y="0"/>
                        </a:lnTo>
                        <a:lnTo>
                          <a:pt x="28" y="39"/>
                        </a:lnTo>
                        <a:lnTo>
                          <a:pt x="0" y="98"/>
                        </a:lnTo>
                        <a:lnTo>
                          <a:pt x="223" y="9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89" name="Freeform 158">
                    <a:extLst>
                      <a:ext uri="{FF2B5EF4-FFF2-40B4-BE49-F238E27FC236}">
                        <a16:creationId xmlns:a16="http://schemas.microsoft.com/office/drawing/2014/main" xmlns="" id="{920D34D1-5F1C-4F79-9487-8550BC7752E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67189" y="2751770"/>
                    <a:ext cx="394389" cy="173319"/>
                  </a:xfrm>
                  <a:custGeom>
                    <a:avLst/>
                    <a:gdLst/>
                    <a:ahLst/>
                    <a:cxnLst>
                      <a:cxn ang="0">
                        <a:pos x="223" y="98"/>
                      </a:cxn>
                      <a:cxn ang="0">
                        <a:pos x="194" y="39"/>
                      </a:cxn>
                      <a:cxn ang="0">
                        <a:pos x="184" y="0"/>
                      </a:cxn>
                      <a:cxn ang="0">
                        <a:pos x="38" y="0"/>
                      </a:cxn>
                      <a:cxn ang="0">
                        <a:pos x="28" y="39"/>
                      </a:cxn>
                      <a:cxn ang="0">
                        <a:pos x="0" y="98"/>
                      </a:cxn>
                      <a:cxn ang="0">
                        <a:pos x="223" y="98"/>
                      </a:cxn>
                    </a:cxnLst>
                    <a:rect l="0" t="0" r="r" b="b"/>
                    <a:pathLst>
                      <a:path w="223" h="98">
                        <a:moveTo>
                          <a:pt x="223" y="98"/>
                        </a:moveTo>
                        <a:lnTo>
                          <a:pt x="194" y="39"/>
                        </a:lnTo>
                        <a:lnTo>
                          <a:pt x="184" y="0"/>
                        </a:lnTo>
                        <a:lnTo>
                          <a:pt x="38" y="0"/>
                        </a:lnTo>
                        <a:lnTo>
                          <a:pt x="28" y="39"/>
                        </a:lnTo>
                        <a:lnTo>
                          <a:pt x="0" y="98"/>
                        </a:lnTo>
                        <a:lnTo>
                          <a:pt x="223" y="98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20000"/>
                      <a:lumOff val="80000"/>
                    </a:schemeClr>
                  </a:solidFill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</p:grpSp>
            <p:sp>
              <p:nvSpPr>
                <p:cNvPr id="562" name="Ellipse 26">
                  <a:extLst>
                    <a:ext uri="{FF2B5EF4-FFF2-40B4-BE49-F238E27FC236}">
                      <a16:creationId xmlns:a16="http://schemas.microsoft.com/office/drawing/2014/main" xmlns="" id="{0BF4FB7C-B43A-47A7-B530-6B861226E3D2}"/>
                    </a:ext>
                  </a:extLst>
                </p:cNvPr>
                <p:cNvSpPr/>
                <p:nvPr/>
              </p:nvSpPr>
              <p:spPr>
                <a:xfrm>
                  <a:off x="821552" y="3079208"/>
                  <a:ext cx="327587" cy="5530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5442" h="785802">
                      <a:moveTo>
                        <a:pt x="178456" y="0"/>
                      </a:moveTo>
                      <a:cubicBezTo>
                        <a:pt x="209704" y="0"/>
                        <a:pt x="238118" y="12129"/>
                        <a:pt x="258781" y="32434"/>
                      </a:cubicBezTo>
                      <a:cubicBezTo>
                        <a:pt x="277069" y="16463"/>
                        <a:pt x="301143" y="8039"/>
                        <a:pt x="327183" y="8039"/>
                      </a:cubicBezTo>
                      <a:cubicBezTo>
                        <a:pt x="392441" y="8039"/>
                        <a:pt x="445344" y="60943"/>
                        <a:pt x="445344" y="126201"/>
                      </a:cubicBezTo>
                      <a:lnTo>
                        <a:pt x="436245" y="171266"/>
                      </a:lnTo>
                      <a:cubicBezTo>
                        <a:pt x="454875" y="190930"/>
                        <a:pt x="465442" y="217626"/>
                        <a:pt x="465442" y="246792"/>
                      </a:cubicBezTo>
                      <a:cubicBezTo>
                        <a:pt x="465442" y="285368"/>
                        <a:pt x="446956" y="319627"/>
                        <a:pt x="417139" y="339578"/>
                      </a:cubicBezTo>
                      <a:cubicBezTo>
                        <a:pt x="417027" y="404682"/>
                        <a:pt x="364191" y="457406"/>
                        <a:pt x="299045" y="457406"/>
                      </a:cubicBezTo>
                      <a:lnTo>
                        <a:pt x="232722" y="433341"/>
                      </a:lnTo>
                      <a:lnTo>
                        <a:pt x="232722" y="766812"/>
                      </a:lnTo>
                      <a:cubicBezTo>
                        <a:pt x="232722" y="777301"/>
                        <a:pt x="224221" y="785802"/>
                        <a:pt x="213732" y="785802"/>
                      </a:cubicBezTo>
                      <a:cubicBezTo>
                        <a:pt x="203243" y="785802"/>
                        <a:pt x="194741" y="777301"/>
                        <a:pt x="194741" y="766812"/>
                      </a:cubicBezTo>
                      <a:lnTo>
                        <a:pt x="194741" y="442047"/>
                      </a:lnTo>
                      <a:cubicBezTo>
                        <a:pt x="187660" y="448419"/>
                        <a:pt x="179150" y="449367"/>
                        <a:pt x="170416" y="449367"/>
                      </a:cubicBezTo>
                      <a:cubicBezTo>
                        <a:pt x="109546" y="449367"/>
                        <a:pt x="59423" y="403338"/>
                        <a:pt x="54836" y="343981"/>
                      </a:cubicBezTo>
                      <a:cubicBezTo>
                        <a:pt x="21347" y="324712"/>
                        <a:pt x="0" y="288244"/>
                        <a:pt x="0" y="246792"/>
                      </a:cubicBezTo>
                      <a:cubicBezTo>
                        <a:pt x="0" y="200803"/>
                        <a:pt x="26274" y="160948"/>
                        <a:pt x="65228" y="142594"/>
                      </a:cubicBezTo>
                      <a:cubicBezTo>
                        <a:pt x="61204" y="135053"/>
                        <a:pt x="60295" y="126714"/>
                        <a:pt x="60295" y="118162"/>
                      </a:cubicBezTo>
                      <a:cubicBezTo>
                        <a:pt x="60295" y="52904"/>
                        <a:pt x="113198" y="0"/>
                        <a:pt x="178456" y="0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tIns="90000" bIns="90000" rtlCol="0" anchor="t" anchorCtr="0"/>
                <a:lstStyle/>
                <a:p>
                  <a:pPr marL="0" marR="0" lvl="0" indent="0" algn="ctr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  <a:ea typeface="+mn-ea"/>
                    <a:cs typeface="+mn-cs"/>
                  </a:endParaRPr>
                </a:p>
              </p:txBody>
            </p:sp>
            <p:grpSp>
              <p:nvGrpSpPr>
                <p:cNvPr id="563" name="Group 956">
                  <a:extLst>
                    <a:ext uri="{FF2B5EF4-FFF2-40B4-BE49-F238E27FC236}">
                      <a16:creationId xmlns:a16="http://schemas.microsoft.com/office/drawing/2014/main" xmlns="" id="{19F2EDE3-137D-42D1-A289-9B70ACB43233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322878" y="3318582"/>
                  <a:ext cx="216761" cy="380061"/>
                  <a:chOff x="2657" y="1228"/>
                  <a:chExt cx="446" cy="782"/>
                </a:xfrm>
              </p:grpSpPr>
              <p:sp>
                <p:nvSpPr>
                  <p:cNvPr id="672" name="Oval 957">
                    <a:extLst>
                      <a:ext uri="{FF2B5EF4-FFF2-40B4-BE49-F238E27FC236}">
                        <a16:creationId xmlns:a16="http://schemas.microsoft.com/office/drawing/2014/main" xmlns="" id="{5957B603-948F-485E-A347-835F1CFBFF9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885" y="1233"/>
                    <a:ext cx="144" cy="143"/>
                  </a:xfrm>
                  <a:prstGeom prst="ellipse">
                    <a:avLst/>
                  </a:pr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73" name="Freeform 958">
                    <a:extLst>
                      <a:ext uri="{FF2B5EF4-FFF2-40B4-BE49-F238E27FC236}">
                        <a16:creationId xmlns:a16="http://schemas.microsoft.com/office/drawing/2014/main" xmlns="" id="{835ADEC8-F0A4-4848-9556-9D9BB440B44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18" y="1366"/>
                    <a:ext cx="44" cy="45"/>
                  </a:xfrm>
                  <a:custGeom>
                    <a:avLst/>
                    <a:gdLst>
                      <a:gd name="T0" fmla="*/ 1 w 18"/>
                      <a:gd name="T1" fmla="*/ 0 h 19"/>
                      <a:gd name="T2" fmla="*/ 0 w 18"/>
                      <a:gd name="T3" fmla="*/ 13 h 19"/>
                      <a:gd name="T4" fmla="*/ 11 w 18"/>
                      <a:gd name="T5" fmla="*/ 18 h 19"/>
                      <a:gd name="T6" fmla="*/ 18 w 18"/>
                      <a:gd name="T7" fmla="*/ 16 h 19"/>
                      <a:gd name="T8" fmla="*/ 18 w 18"/>
                      <a:gd name="T9" fmla="*/ 4 h 19"/>
                      <a:gd name="T10" fmla="*/ 1 w 18"/>
                      <a:gd name="T11" fmla="*/ 0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8" h="19">
                        <a:moveTo>
                          <a:pt x="1" y="0"/>
                        </a:move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0" y="13"/>
                          <a:pt x="4" y="17"/>
                          <a:pt x="11" y="18"/>
                        </a:cubicBezTo>
                        <a:cubicBezTo>
                          <a:pt x="17" y="19"/>
                          <a:pt x="18" y="16"/>
                          <a:pt x="18" y="16"/>
                        </a:cubicBezTo>
                        <a:cubicBezTo>
                          <a:pt x="18" y="4"/>
                          <a:pt x="18" y="4"/>
                          <a:pt x="18" y="4"/>
                        </a:cubicBez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74" name="Freeform 959">
                    <a:extLst>
                      <a:ext uri="{FF2B5EF4-FFF2-40B4-BE49-F238E27FC236}">
                        <a16:creationId xmlns:a16="http://schemas.microsoft.com/office/drawing/2014/main" xmlns="" id="{558D452D-9036-4CE3-98AA-43CFF601FD8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66" y="1492"/>
                    <a:ext cx="130" cy="79"/>
                  </a:xfrm>
                  <a:custGeom>
                    <a:avLst/>
                    <a:gdLst>
                      <a:gd name="T0" fmla="*/ 2 w 54"/>
                      <a:gd name="T1" fmla="*/ 30 h 33"/>
                      <a:gd name="T2" fmla="*/ 8 w 54"/>
                      <a:gd name="T3" fmla="*/ 19 h 33"/>
                      <a:gd name="T4" fmla="*/ 43 w 54"/>
                      <a:gd name="T5" fmla="*/ 2 h 33"/>
                      <a:gd name="T6" fmla="*/ 51 w 54"/>
                      <a:gd name="T7" fmla="*/ 1 h 33"/>
                      <a:gd name="T8" fmla="*/ 51 w 54"/>
                      <a:gd name="T9" fmla="*/ 10 h 33"/>
                      <a:gd name="T10" fmla="*/ 9 w 54"/>
                      <a:gd name="T11" fmla="*/ 32 h 33"/>
                      <a:gd name="T12" fmla="*/ 2 w 54"/>
                      <a:gd name="T13" fmla="*/ 30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4" h="33">
                        <a:moveTo>
                          <a:pt x="2" y="30"/>
                        </a:moveTo>
                        <a:cubicBezTo>
                          <a:pt x="0" y="28"/>
                          <a:pt x="6" y="21"/>
                          <a:pt x="8" y="19"/>
                        </a:cubicBezTo>
                        <a:cubicBezTo>
                          <a:pt x="43" y="2"/>
                          <a:pt x="43" y="2"/>
                          <a:pt x="43" y="2"/>
                        </a:cubicBezTo>
                        <a:cubicBezTo>
                          <a:pt x="46" y="0"/>
                          <a:pt x="49" y="0"/>
                          <a:pt x="51" y="1"/>
                        </a:cubicBezTo>
                        <a:cubicBezTo>
                          <a:pt x="53" y="3"/>
                          <a:pt x="54" y="8"/>
                          <a:pt x="51" y="10"/>
                        </a:cubicBezTo>
                        <a:cubicBezTo>
                          <a:pt x="9" y="32"/>
                          <a:pt x="9" y="32"/>
                          <a:pt x="9" y="32"/>
                        </a:cubicBezTo>
                        <a:cubicBezTo>
                          <a:pt x="7" y="33"/>
                          <a:pt x="2" y="30"/>
                          <a:pt x="2" y="30"/>
                        </a:cubicBezTo>
                      </a:path>
                    </a:pathLst>
                  </a:cu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75" name="Freeform 960">
                    <a:extLst>
                      <a:ext uri="{FF2B5EF4-FFF2-40B4-BE49-F238E27FC236}">
                        <a16:creationId xmlns:a16="http://schemas.microsoft.com/office/drawing/2014/main" xmlns="" id="{4DCF506E-A6B8-42F9-A5BF-3645124FE2F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791" y="1404"/>
                    <a:ext cx="139" cy="146"/>
                  </a:xfrm>
                  <a:custGeom>
                    <a:avLst/>
                    <a:gdLst>
                      <a:gd name="T0" fmla="*/ 34 w 58"/>
                      <a:gd name="T1" fmla="*/ 44 h 61"/>
                      <a:gd name="T2" fmla="*/ 16 w 58"/>
                      <a:gd name="T3" fmla="*/ 59 h 61"/>
                      <a:gd name="T4" fmla="*/ 27 w 58"/>
                      <a:gd name="T5" fmla="*/ 18 h 61"/>
                      <a:gd name="T6" fmla="*/ 50 w 58"/>
                      <a:gd name="T7" fmla="*/ 6 h 61"/>
                      <a:gd name="T8" fmla="*/ 34 w 58"/>
                      <a:gd name="T9" fmla="*/ 44 h 6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8" h="61">
                        <a:moveTo>
                          <a:pt x="34" y="44"/>
                        </a:moveTo>
                        <a:cubicBezTo>
                          <a:pt x="27" y="52"/>
                          <a:pt x="20" y="59"/>
                          <a:pt x="16" y="59"/>
                        </a:cubicBezTo>
                        <a:cubicBezTo>
                          <a:pt x="0" y="61"/>
                          <a:pt x="12" y="40"/>
                          <a:pt x="27" y="18"/>
                        </a:cubicBezTo>
                        <a:cubicBezTo>
                          <a:pt x="41" y="0"/>
                          <a:pt x="46" y="8"/>
                          <a:pt x="50" y="6"/>
                        </a:cubicBezTo>
                        <a:cubicBezTo>
                          <a:pt x="58" y="3"/>
                          <a:pt x="51" y="24"/>
                          <a:pt x="34" y="44"/>
                        </a:cubicBezTo>
                      </a:path>
                    </a:pathLst>
                  </a:cu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76" name="Freeform 961">
                    <a:extLst>
                      <a:ext uri="{FF2B5EF4-FFF2-40B4-BE49-F238E27FC236}">
                        <a16:creationId xmlns:a16="http://schemas.microsoft.com/office/drawing/2014/main" xmlns="" id="{85E2FB6F-A3D7-4F53-9E99-50B8CD63DEB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39" y="1388"/>
                    <a:ext cx="173" cy="283"/>
                  </a:xfrm>
                  <a:custGeom>
                    <a:avLst/>
                    <a:gdLst>
                      <a:gd name="T0" fmla="*/ 9 w 72"/>
                      <a:gd name="T1" fmla="*/ 98 h 119"/>
                      <a:gd name="T2" fmla="*/ 54 w 72"/>
                      <a:gd name="T3" fmla="*/ 114 h 119"/>
                      <a:gd name="T4" fmla="*/ 67 w 72"/>
                      <a:gd name="T5" fmla="*/ 29 h 119"/>
                      <a:gd name="T6" fmla="*/ 51 w 72"/>
                      <a:gd name="T7" fmla="*/ 7 h 119"/>
                      <a:gd name="T8" fmla="*/ 26 w 72"/>
                      <a:gd name="T9" fmla="*/ 7 h 119"/>
                      <a:gd name="T10" fmla="*/ 0 w 72"/>
                      <a:gd name="T11" fmla="*/ 37 h 119"/>
                      <a:gd name="T12" fmla="*/ 15 w 72"/>
                      <a:gd name="T13" fmla="*/ 55 h 119"/>
                      <a:gd name="T14" fmla="*/ 23 w 72"/>
                      <a:gd name="T15" fmla="*/ 52 h 119"/>
                      <a:gd name="T16" fmla="*/ 9 w 72"/>
                      <a:gd name="T17" fmla="*/ 98 h 1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72" h="119">
                        <a:moveTo>
                          <a:pt x="9" y="98"/>
                        </a:moveTo>
                        <a:cubicBezTo>
                          <a:pt x="9" y="98"/>
                          <a:pt x="43" y="119"/>
                          <a:pt x="54" y="114"/>
                        </a:cubicBezTo>
                        <a:cubicBezTo>
                          <a:pt x="54" y="114"/>
                          <a:pt x="72" y="46"/>
                          <a:pt x="67" y="29"/>
                        </a:cubicBezTo>
                        <a:cubicBezTo>
                          <a:pt x="63" y="12"/>
                          <a:pt x="51" y="7"/>
                          <a:pt x="51" y="7"/>
                        </a:cubicBezTo>
                        <a:cubicBezTo>
                          <a:pt x="51" y="7"/>
                          <a:pt x="36" y="0"/>
                          <a:pt x="26" y="7"/>
                        </a:cubicBezTo>
                        <a:cubicBezTo>
                          <a:pt x="15" y="14"/>
                          <a:pt x="0" y="37"/>
                          <a:pt x="0" y="37"/>
                        </a:cubicBezTo>
                        <a:cubicBezTo>
                          <a:pt x="15" y="55"/>
                          <a:pt x="15" y="55"/>
                          <a:pt x="15" y="55"/>
                        </a:cubicBezTo>
                        <a:cubicBezTo>
                          <a:pt x="23" y="52"/>
                          <a:pt x="23" y="52"/>
                          <a:pt x="23" y="52"/>
                        </a:cubicBezTo>
                        <a:cubicBezTo>
                          <a:pt x="23" y="52"/>
                          <a:pt x="5" y="96"/>
                          <a:pt x="9" y="98"/>
                        </a:cubicBezTo>
                      </a:path>
                    </a:pathLst>
                  </a:custGeom>
                  <a:solidFill>
                    <a:schemeClr val="bg2">
                      <a:lumMod val="5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77" name="Freeform 962">
                    <a:extLst>
                      <a:ext uri="{FF2B5EF4-FFF2-40B4-BE49-F238E27FC236}">
                        <a16:creationId xmlns:a16="http://schemas.microsoft.com/office/drawing/2014/main" xmlns="" id="{3B0DDF05-1C01-4CF4-A0A1-4238E96D24A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08" y="1521"/>
                    <a:ext cx="96" cy="98"/>
                  </a:xfrm>
                  <a:custGeom>
                    <a:avLst/>
                    <a:gdLst>
                      <a:gd name="T0" fmla="*/ 2 w 40"/>
                      <a:gd name="T1" fmla="*/ 3 h 41"/>
                      <a:gd name="T2" fmla="*/ 2 w 40"/>
                      <a:gd name="T3" fmla="*/ 3 h 41"/>
                      <a:gd name="T4" fmla="*/ 10 w 40"/>
                      <a:gd name="T5" fmla="*/ 1 h 41"/>
                      <a:gd name="T6" fmla="*/ 36 w 40"/>
                      <a:gd name="T7" fmla="*/ 30 h 41"/>
                      <a:gd name="T8" fmla="*/ 39 w 40"/>
                      <a:gd name="T9" fmla="*/ 37 h 41"/>
                      <a:gd name="T10" fmla="*/ 33 w 40"/>
                      <a:gd name="T11" fmla="*/ 40 h 41"/>
                      <a:gd name="T12" fmla="*/ 3 w 40"/>
                      <a:gd name="T13" fmla="*/ 10 h 41"/>
                      <a:gd name="T14" fmla="*/ 2 w 40"/>
                      <a:gd name="T15" fmla="*/ 3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40" h="41">
                        <a:moveTo>
                          <a:pt x="2" y="3"/>
                        </a:moveTo>
                        <a:cubicBezTo>
                          <a:pt x="2" y="3"/>
                          <a:pt x="2" y="3"/>
                          <a:pt x="2" y="3"/>
                        </a:cubicBezTo>
                        <a:cubicBezTo>
                          <a:pt x="4" y="0"/>
                          <a:pt x="7" y="0"/>
                          <a:pt x="10" y="1"/>
                        </a:cubicBezTo>
                        <a:cubicBezTo>
                          <a:pt x="36" y="30"/>
                          <a:pt x="36" y="30"/>
                          <a:pt x="36" y="30"/>
                        </a:cubicBezTo>
                        <a:cubicBezTo>
                          <a:pt x="39" y="32"/>
                          <a:pt x="40" y="35"/>
                          <a:pt x="39" y="37"/>
                        </a:cubicBezTo>
                        <a:cubicBezTo>
                          <a:pt x="38" y="40"/>
                          <a:pt x="36" y="41"/>
                          <a:pt x="33" y="40"/>
                        </a:cubicBezTo>
                        <a:cubicBezTo>
                          <a:pt x="3" y="10"/>
                          <a:pt x="3" y="10"/>
                          <a:pt x="3" y="10"/>
                        </a:cubicBezTo>
                        <a:cubicBezTo>
                          <a:pt x="1" y="9"/>
                          <a:pt x="0" y="5"/>
                          <a:pt x="2" y="3"/>
                        </a:cubicBezTo>
                      </a:path>
                    </a:pathLst>
                  </a:cu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78" name="Freeform 963">
                    <a:extLst>
                      <a:ext uri="{FF2B5EF4-FFF2-40B4-BE49-F238E27FC236}">
                        <a16:creationId xmlns:a16="http://schemas.microsoft.com/office/drawing/2014/main" xmlns="" id="{50E2E212-D9FD-49E1-95FD-52C8DC88CE7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64" y="1786"/>
                    <a:ext cx="209" cy="172"/>
                  </a:xfrm>
                  <a:custGeom>
                    <a:avLst/>
                    <a:gdLst>
                      <a:gd name="T0" fmla="*/ 161 w 209"/>
                      <a:gd name="T1" fmla="*/ 0 h 172"/>
                      <a:gd name="T2" fmla="*/ 134 w 209"/>
                      <a:gd name="T3" fmla="*/ 48 h 172"/>
                      <a:gd name="T4" fmla="*/ 0 w 209"/>
                      <a:gd name="T5" fmla="*/ 145 h 172"/>
                      <a:gd name="T6" fmla="*/ 15 w 209"/>
                      <a:gd name="T7" fmla="*/ 172 h 172"/>
                      <a:gd name="T8" fmla="*/ 163 w 209"/>
                      <a:gd name="T9" fmla="*/ 79 h 172"/>
                      <a:gd name="T10" fmla="*/ 209 w 209"/>
                      <a:gd name="T11" fmla="*/ 19 h 172"/>
                      <a:gd name="T12" fmla="*/ 161 w 209"/>
                      <a:gd name="T13" fmla="*/ 0 h 1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9" h="172">
                        <a:moveTo>
                          <a:pt x="161" y="0"/>
                        </a:moveTo>
                        <a:lnTo>
                          <a:pt x="134" y="48"/>
                        </a:lnTo>
                        <a:lnTo>
                          <a:pt x="0" y="145"/>
                        </a:lnTo>
                        <a:lnTo>
                          <a:pt x="15" y="172"/>
                        </a:lnTo>
                        <a:lnTo>
                          <a:pt x="163" y="79"/>
                        </a:lnTo>
                        <a:lnTo>
                          <a:pt x="209" y="19"/>
                        </a:lnTo>
                        <a:lnTo>
                          <a:pt x="161" y="0"/>
                        </a:lnTo>
                        <a:close/>
                      </a:path>
                    </a:pathLst>
                  </a:cu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79" name="Freeform 964">
                    <a:extLst>
                      <a:ext uri="{FF2B5EF4-FFF2-40B4-BE49-F238E27FC236}">
                        <a16:creationId xmlns:a16="http://schemas.microsoft.com/office/drawing/2014/main" xmlns="" id="{3382FFC2-02AC-4340-B034-A937E64A804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71" y="1762"/>
                    <a:ext cx="89" cy="241"/>
                  </a:xfrm>
                  <a:custGeom>
                    <a:avLst/>
                    <a:gdLst>
                      <a:gd name="T0" fmla="*/ 0 w 89"/>
                      <a:gd name="T1" fmla="*/ 33 h 241"/>
                      <a:gd name="T2" fmla="*/ 31 w 89"/>
                      <a:gd name="T3" fmla="*/ 79 h 241"/>
                      <a:gd name="T4" fmla="*/ 58 w 89"/>
                      <a:gd name="T5" fmla="*/ 241 h 241"/>
                      <a:gd name="T6" fmla="*/ 89 w 89"/>
                      <a:gd name="T7" fmla="*/ 241 h 241"/>
                      <a:gd name="T8" fmla="*/ 72 w 89"/>
                      <a:gd name="T9" fmla="*/ 67 h 241"/>
                      <a:gd name="T10" fmla="*/ 41 w 89"/>
                      <a:gd name="T11" fmla="*/ 0 h 241"/>
                      <a:gd name="T12" fmla="*/ 0 w 89"/>
                      <a:gd name="T13" fmla="*/ 33 h 2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9" h="241">
                        <a:moveTo>
                          <a:pt x="0" y="33"/>
                        </a:moveTo>
                        <a:lnTo>
                          <a:pt x="31" y="79"/>
                        </a:lnTo>
                        <a:lnTo>
                          <a:pt x="58" y="241"/>
                        </a:lnTo>
                        <a:lnTo>
                          <a:pt x="89" y="241"/>
                        </a:lnTo>
                        <a:lnTo>
                          <a:pt x="72" y="67"/>
                        </a:lnTo>
                        <a:lnTo>
                          <a:pt x="41" y="0"/>
                        </a:lnTo>
                        <a:lnTo>
                          <a:pt x="0" y="33"/>
                        </a:lnTo>
                        <a:close/>
                      </a:path>
                    </a:pathLst>
                  </a:cu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80" name="Freeform 965">
                    <a:extLst>
                      <a:ext uri="{FF2B5EF4-FFF2-40B4-BE49-F238E27FC236}">
                        <a16:creationId xmlns:a16="http://schemas.microsoft.com/office/drawing/2014/main" xmlns="" id="{C9120C63-4974-4AB1-8679-304C3137E1A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78" y="1228"/>
                    <a:ext cx="148" cy="126"/>
                  </a:xfrm>
                  <a:custGeom>
                    <a:avLst/>
                    <a:gdLst>
                      <a:gd name="T0" fmla="*/ 15 w 62"/>
                      <a:gd name="T1" fmla="*/ 53 h 53"/>
                      <a:gd name="T2" fmla="*/ 1 w 62"/>
                      <a:gd name="T3" fmla="*/ 31 h 53"/>
                      <a:gd name="T4" fmla="*/ 32 w 62"/>
                      <a:gd name="T5" fmla="*/ 0 h 53"/>
                      <a:gd name="T6" fmla="*/ 62 w 62"/>
                      <a:gd name="T7" fmla="*/ 31 h 53"/>
                      <a:gd name="T8" fmla="*/ 32 w 62"/>
                      <a:gd name="T9" fmla="*/ 31 h 53"/>
                      <a:gd name="T10" fmla="*/ 15 w 62"/>
                      <a:gd name="T11" fmla="*/ 53 h 5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62" h="53">
                        <a:moveTo>
                          <a:pt x="15" y="53"/>
                        </a:moveTo>
                        <a:cubicBezTo>
                          <a:pt x="7" y="53"/>
                          <a:pt x="2" y="34"/>
                          <a:pt x="1" y="31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49" y="0"/>
                          <a:pt x="62" y="14"/>
                          <a:pt x="62" y="31"/>
                        </a:cubicBezTo>
                        <a:cubicBezTo>
                          <a:pt x="32" y="31"/>
                          <a:pt x="32" y="31"/>
                          <a:pt x="32" y="31"/>
                        </a:cubicBezTo>
                        <a:lnTo>
                          <a:pt x="15" y="53"/>
                        </a:lnTo>
                        <a:close/>
                      </a:path>
                    </a:pathLst>
                  </a:custGeom>
                  <a:solidFill>
                    <a:srgbClr val="4D576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81" name="Freeform 968">
                    <a:extLst>
                      <a:ext uri="{FF2B5EF4-FFF2-40B4-BE49-F238E27FC236}">
                        <a16:creationId xmlns:a16="http://schemas.microsoft.com/office/drawing/2014/main" xmlns="" id="{4729C216-BE22-4623-8C54-A309B9E8AF7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25" y="1612"/>
                    <a:ext cx="199" cy="200"/>
                  </a:xfrm>
                  <a:custGeom>
                    <a:avLst/>
                    <a:gdLst>
                      <a:gd name="T0" fmla="*/ 16 w 83"/>
                      <a:gd name="T1" fmla="*/ 0 h 84"/>
                      <a:gd name="T2" fmla="*/ 2 w 83"/>
                      <a:gd name="T3" fmla="*/ 46 h 84"/>
                      <a:gd name="T4" fmla="*/ 0 w 83"/>
                      <a:gd name="T5" fmla="*/ 73 h 84"/>
                      <a:gd name="T6" fmla="*/ 27 w 83"/>
                      <a:gd name="T7" fmla="*/ 84 h 84"/>
                      <a:gd name="T8" fmla="*/ 46 w 83"/>
                      <a:gd name="T9" fmla="*/ 64 h 84"/>
                      <a:gd name="T10" fmla="*/ 62 w 83"/>
                      <a:gd name="T11" fmla="*/ 82 h 84"/>
                      <a:gd name="T12" fmla="*/ 83 w 83"/>
                      <a:gd name="T13" fmla="*/ 61 h 84"/>
                      <a:gd name="T14" fmla="*/ 60 w 83"/>
                      <a:gd name="T15" fmla="*/ 20 h 84"/>
                      <a:gd name="T16" fmla="*/ 16 w 83"/>
                      <a:gd name="T17" fmla="*/ 0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3" h="84">
                        <a:moveTo>
                          <a:pt x="16" y="0"/>
                        </a:moveTo>
                        <a:cubicBezTo>
                          <a:pt x="16" y="0"/>
                          <a:pt x="1" y="24"/>
                          <a:pt x="2" y="46"/>
                        </a:cubicBezTo>
                        <a:cubicBezTo>
                          <a:pt x="3" y="68"/>
                          <a:pt x="0" y="73"/>
                          <a:pt x="0" y="73"/>
                        </a:cubicBezTo>
                        <a:cubicBezTo>
                          <a:pt x="27" y="84"/>
                          <a:pt x="27" y="84"/>
                          <a:pt x="27" y="84"/>
                        </a:cubicBezTo>
                        <a:cubicBezTo>
                          <a:pt x="46" y="64"/>
                          <a:pt x="46" y="64"/>
                          <a:pt x="46" y="64"/>
                        </a:cubicBezTo>
                        <a:cubicBezTo>
                          <a:pt x="62" y="82"/>
                          <a:pt x="62" y="82"/>
                          <a:pt x="62" y="82"/>
                        </a:cubicBezTo>
                        <a:cubicBezTo>
                          <a:pt x="83" y="61"/>
                          <a:pt x="83" y="61"/>
                          <a:pt x="83" y="61"/>
                        </a:cubicBezTo>
                        <a:cubicBezTo>
                          <a:pt x="60" y="20"/>
                          <a:pt x="60" y="20"/>
                          <a:pt x="60" y="20"/>
                        </a:cubicBezTo>
                        <a:cubicBezTo>
                          <a:pt x="60" y="20"/>
                          <a:pt x="16" y="7"/>
                          <a:pt x="16" y="0"/>
                        </a:cubicBezTo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82" name="Freeform 969">
                    <a:extLst>
                      <a:ext uri="{FF2B5EF4-FFF2-40B4-BE49-F238E27FC236}">
                        <a16:creationId xmlns:a16="http://schemas.microsoft.com/office/drawing/2014/main" xmlns="" id="{51E7FA92-BE92-407B-948D-4F5D68E0749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029" y="1977"/>
                    <a:ext cx="67" cy="33"/>
                  </a:xfrm>
                  <a:custGeom>
                    <a:avLst/>
                    <a:gdLst>
                      <a:gd name="T0" fmla="*/ 0 w 28"/>
                      <a:gd name="T1" fmla="*/ 14 h 14"/>
                      <a:gd name="T2" fmla="*/ 14 w 28"/>
                      <a:gd name="T3" fmla="*/ 0 h 14"/>
                      <a:gd name="T4" fmla="*/ 28 w 28"/>
                      <a:gd name="T5" fmla="*/ 14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8" h="14">
                        <a:moveTo>
                          <a:pt x="0" y="14"/>
                        </a:moveTo>
                        <a:cubicBezTo>
                          <a:pt x="0" y="7"/>
                          <a:pt x="6" y="0"/>
                          <a:pt x="14" y="0"/>
                        </a:cubicBezTo>
                        <a:cubicBezTo>
                          <a:pt x="22" y="0"/>
                          <a:pt x="28" y="7"/>
                          <a:pt x="28" y="14"/>
                        </a:cubicBezTo>
                      </a:path>
                    </a:pathLst>
                  </a:custGeom>
                  <a:solidFill>
                    <a:schemeClr val="tx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83" name="Freeform 970">
                    <a:extLst>
                      <a:ext uri="{FF2B5EF4-FFF2-40B4-BE49-F238E27FC236}">
                        <a16:creationId xmlns:a16="http://schemas.microsoft.com/office/drawing/2014/main" xmlns="" id="{D62540C4-6763-4FB1-A008-3F255197432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57" y="1924"/>
                    <a:ext cx="55" cy="67"/>
                  </a:xfrm>
                  <a:custGeom>
                    <a:avLst/>
                    <a:gdLst>
                      <a:gd name="T0" fmla="*/ 0 w 23"/>
                      <a:gd name="T1" fmla="*/ 4 h 28"/>
                      <a:gd name="T2" fmla="*/ 19 w 23"/>
                      <a:gd name="T3" fmla="*/ 8 h 28"/>
                      <a:gd name="T4" fmla="*/ 15 w 23"/>
                      <a:gd name="T5" fmla="*/ 28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3" h="28">
                        <a:moveTo>
                          <a:pt x="0" y="4"/>
                        </a:moveTo>
                        <a:cubicBezTo>
                          <a:pt x="6" y="0"/>
                          <a:pt x="15" y="2"/>
                          <a:pt x="19" y="8"/>
                        </a:cubicBezTo>
                        <a:cubicBezTo>
                          <a:pt x="23" y="15"/>
                          <a:pt x="21" y="24"/>
                          <a:pt x="15" y="28"/>
                        </a:cubicBezTo>
                      </a:path>
                    </a:pathLst>
                  </a:custGeom>
                  <a:solidFill>
                    <a:schemeClr val="tx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84" name="Oval 972">
                    <a:extLst>
                      <a:ext uri="{FF2B5EF4-FFF2-40B4-BE49-F238E27FC236}">
                        <a16:creationId xmlns:a16="http://schemas.microsoft.com/office/drawing/2014/main" xmlns="" id="{D0BF1B86-CF3F-496C-8E8A-6A2FA3DE9E2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065" y="1492"/>
                    <a:ext cx="38" cy="41"/>
                  </a:xfrm>
                  <a:prstGeom prst="ellipse">
                    <a:avLst/>
                  </a:pr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685" name="Oval 973">
                    <a:extLst>
                      <a:ext uri="{FF2B5EF4-FFF2-40B4-BE49-F238E27FC236}">
                        <a16:creationId xmlns:a16="http://schemas.microsoft.com/office/drawing/2014/main" xmlns="" id="{07265960-56A4-4A61-A1F6-E4BB2A943FF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882" y="1583"/>
                    <a:ext cx="41" cy="41"/>
                  </a:xfrm>
                  <a:prstGeom prst="ellipse">
                    <a:avLst/>
                  </a:pr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</p:grpSp>
            <p:sp>
              <p:nvSpPr>
                <p:cNvPr id="564" name="Ellipse 563">
                  <a:extLst>
                    <a:ext uri="{FF2B5EF4-FFF2-40B4-BE49-F238E27FC236}">
                      <a16:creationId xmlns:a16="http://schemas.microsoft.com/office/drawing/2014/main" xmlns="" id="{9A56F179-E4D0-445A-8DDB-61859B37FC7C}"/>
                    </a:ext>
                  </a:extLst>
                </p:cNvPr>
                <p:cNvSpPr/>
                <p:nvPr/>
              </p:nvSpPr>
              <p:spPr>
                <a:xfrm>
                  <a:off x="1202560" y="2939866"/>
                  <a:ext cx="49640" cy="80585"/>
                </a:xfrm>
                <a:prstGeom prst="ellipse">
                  <a:avLst/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Headline Light"/>
                    <a:ea typeface="+mn-ea"/>
                    <a:cs typeface="+mn-cs"/>
                  </a:endParaRPr>
                </a:p>
              </p:txBody>
            </p:sp>
            <p:sp>
              <p:nvSpPr>
                <p:cNvPr id="565" name="Träne 763">
                  <a:extLst>
                    <a:ext uri="{FF2B5EF4-FFF2-40B4-BE49-F238E27FC236}">
                      <a16:creationId xmlns:a16="http://schemas.microsoft.com/office/drawing/2014/main" xmlns="" id="{1FE3E04E-FA16-484C-A405-0D94042C93F8}"/>
                    </a:ext>
                  </a:extLst>
                </p:cNvPr>
                <p:cNvSpPr/>
                <p:nvPr/>
              </p:nvSpPr>
              <p:spPr>
                <a:xfrm rot="10642868">
                  <a:off x="1520429" y="3165354"/>
                  <a:ext cx="291363" cy="308847"/>
                </a:xfrm>
                <a:custGeom>
                  <a:avLst/>
                  <a:gdLst>
                    <a:gd name="connsiteX0" fmla="*/ 0 w 551406"/>
                    <a:gd name="connsiteY0" fmla="*/ 275703 h 551406"/>
                    <a:gd name="connsiteX1" fmla="*/ 275703 w 551406"/>
                    <a:gd name="connsiteY1" fmla="*/ 0 h 551406"/>
                    <a:gd name="connsiteX2" fmla="*/ 551406 w 551406"/>
                    <a:gd name="connsiteY2" fmla="*/ 0 h 551406"/>
                    <a:gd name="connsiteX3" fmla="*/ 551406 w 551406"/>
                    <a:gd name="connsiteY3" fmla="*/ 275703 h 551406"/>
                    <a:gd name="connsiteX4" fmla="*/ 275703 w 551406"/>
                    <a:gd name="connsiteY4" fmla="*/ 551406 h 551406"/>
                    <a:gd name="connsiteX5" fmla="*/ 0 w 551406"/>
                    <a:gd name="connsiteY5" fmla="*/ 275703 h 551406"/>
                    <a:gd name="connsiteX0" fmla="*/ 0 w 599092"/>
                    <a:gd name="connsiteY0" fmla="*/ 359337 h 635040"/>
                    <a:gd name="connsiteX1" fmla="*/ 275703 w 599092"/>
                    <a:gd name="connsiteY1" fmla="*/ 83634 h 635040"/>
                    <a:gd name="connsiteX2" fmla="*/ 599092 w 599092"/>
                    <a:gd name="connsiteY2" fmla="*/ 0 h 635040"/>
                    <a:gd name="connsiteX3" fmla="*/ 551406 w 599092"/>
                    <a:gd name="connsiteY3" fmla="*/ 359337 h 635040"/>
                    <a:gd name="connsiteX4" fmla="*/ 275703 w 599092"/>
                    <a:gd name="connsiteY4" fmla="*/ 635040 h 635040"/>
                    <a:gd name="connsiteX5" fmla="*/ 0 w 599092"/>
                    <a:gd name="connsiteY5" fmla="*/ 359337 h 635040"/>
                    <a:gd name="connsiteX0" fmla="*/ 0 w 599092"/>
                    <a:gd name="connsiteY0" fmla="*/ 359337 h 635040"/>
                    <a:gd name="connsiteX1" fmla="*/ 275703 w 599092"/>
                    <a:gd name="connsiteY1" fmla="*/ 83634 h 635040"/>
                    <a:gd name="connsiteX2" fmla="*/ 599092 w 599092"/>
                    <a:gd name="connsiteY2" fmla="*/ 0 h 635040"/>
                    <a:gd name="connsiteX3" fmla="*/ 551406 w 599092"/>
                    <a:gd name="connsiteY3" fmla="*/ 359337 h 635040"/>
                    <a:gd name="connsiteX4" fmla="*/ 275703 w 599092"/>
                    <a:gd name="connsiteY4" fmla="*/ 635040 h 635040"/>
                    <a:gd name="connsiteX5" fmla="*/ 0 w 599092"/>
                    <a:gd name="connsiteY5" fmla="*/ 359337 h 635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99092" h="635040">
                      <a:moveTo>
                        <a:pt x="0" y="359337"/>
                      </a:moveTo>
                      <a:cubicBezTo>
                        <a:pt x="0" y="207070"/>
                        <a:pt x="123436" y="83634"/>
                        <a:pt x="275703" y="83634"/>
                      </a:cubicBezTo>
                      <a:lnTo>
                        <a:pt x="599092" y="0"/>
                      </a:lnTo>
                      <a:lnTo>
                        <a:pt x="551406" y="359337"/>
                      </a:lnTo>
                      <a:cubicBezTo>
                        <a:pt x="551406" y="511604"/>
                        <a:pt x="427970" y="635040"/>
                        <a:pt x="275703" y="635040"/>
                      </a:cubicBezTo>
                      <a:cubicBezTo>
                        <a:pt x="123436" y="635040"/>
                        <a:pt x="0" y="511604"/>
                        <a:pt x="0" y="35933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Headline Light"/>
                    <a:ea typeface="+mn-ea"/>
                    <a:cs typeface="+mn-cs"/>
                  </a:endParaRPr>
                </a:p>
              </p:txBody>
            </p:sp>
            <p:sp>
              <p:nvSpPr>
                <p:cNvPr id="566" name="Träne 763">
                  <a:extLst>
                    <a:ext uri="{FF2B5EF4-FFF2-40B4-BE49-F238E27FC236}">
                      <a16:creationId xmlns:a16="http://schemas.microsoft.com/office/drawing/2014/main" xmlns="" id="{608E199B-329E-4673-BC43-716F8A627A4C}"/>
                    </a:ext>
                  </a:extLst>
                </p:cNvPr>
                <p:cNvSpPr/>
                <p:nvPr/>
              </p:nvSpPr>
              <p:spPr>
                <a:xfrm rot="10642868">
                  <a:off x="1532871" y="3181434"/>
                  <a:ext cx="263879" cy="279714"/>
                </a:xfrm>
                <a:custGeom>
                  <a:avLst/>
                  <a:gdLst>
                    <a:gd name="connsiteX0" fmla="*/ 0 w 551406"/>
                    <a:gd name="connsiteY0" fmla="*/ 275703 h 551406"/>
                    <a:gd name="connsiteX1" fmla="*/ 275703 w 551406"/>
                    <a:gd name="connsiteY1" fmla="*/ 0 h 551406"/>
                    <a:gd name="connsiteX2" fmla="*/ 551406 w 551406"/>
                    <a:gd name="connsiteY2" fmla="*/ 0 h 551406"/>
                    <a:gd name="connsiteX3" fmla="*/ 551406 w 551406"/>
                    <a:gd name="connsiteY3" fmla="*/ 275703 h 551406"/>
                    <a:gd name="connsiteX4" fmla="*/ 275703 w 551406"/>
                    <a:gd name="connsiteY4" fmla="*/ 551406 h 551406"/>
                    <a:gd name="connsiteX5" fmla="*/ 0 w 551406"/>
                    <a:gd name="connsiteY5" fmla="*/ 275703 h 551406"/>
                    <a:gd name="connsiteX0" fmla="*/ 0 w 599092"/>
                    <a:gd name="connsiteY0" fmla="*/ 359337 h 635040"/>
                    <a:gd name="connsiteX1" fmla="*/ 275703 w 599092"/>
                    <a:gd name="connsiteY1" fmla="*/ 83634 h 635040"/>
                    <a:gd name="connsiteX2" fmla="*/ 599092 w 599092"/>
                    <a:gd name="connsiteY2" fmla="*/ 0 h 635040"/>
                    <a:gd name="connsiteX3" fmla="*/ 551406 w 599092"/>
                    <a:gd name="connsiteY3" fmla="*/ 359337 h 635040"/>
                    <a:gd name="connsiteX4" fmla="*/ 275703 w 599092"/>
                    <a:gd name="connsiteY4" fmla="*/ 635040 h 635040"/>
                    <a:gd name="connsiteX5" fmla="*/ 0 w 599092"/>
                    <a:gd name="connsiteY5" fmla="*/ 359337 h 635040"/>
                    <a:gd name="connsiteX0" fmla="*/ 0 w 599092"/>
                    <a:gd name="connsiteY0" fmla="*/ 359337 h 635040"/>
                    <a:gd name="connsiteX1" fmla="*/ 275703 w 599092"/>
                    <a:gd name="connsiteY1" fmla="*/ 83634 h 635040"/>
                    <a:gd name="connsiteX2" fmla="*/ 599092 w 599092"/>
                    <a:gd name="connsiteY2" fmla="*/ 0 h 635040"/>
                    <a:gd name="connsiteX3" fmla="*/ 551406 w 599092"/>
                    <a:gd name="connsiteY3" fmla="*/ 359337 h 635040"/>
                    <a:gd name="connsiteX4" fmla="*/ 275703 w 599092"/>
                    <a:gd name="connsiteY4" fmla="*/ 635040 h 635040"/>
                    <a:gd name="connsiteX5" fmla="*/ 0 w 599092"/>
                    <a:gd name="connsiteY5" fmla="*/ 359337 h 635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99092" h="635040">
                      <a:moveTo>
                        <a:pt x="0" y="359337"/>
                      </a:moveTo>
                      <a:cubicBezTo>
                        <a:pt x="0" y="207070"/>
                        <a:pt x="123436" y="83634"/>
                        <a:pt x="275703" y="83634"/>
                      </a:cubicBezTo>
                      <a:lnTo>
                        <a:pt x="599092" y="0"/>
                      </a:lnTo>
                      <a:lnTo>
                        <a:pt x="551406" y="359337"/>
                      </a:lnTo>
                      <a:cubicBezTo>
                        <a:pt x="551406" y="511604"/>
                        <a:pt x="427970" y="635040"/>
                        <a:pt x="275703" y="635040"/>
                      </a:cubicBezTo>
                      <a:cubicBezTo>
                        <a:pt x="123436" y="635040"/>
                        <a:pt x="0" y="511604"/>
                        <a:pt x="0" y="359337"/>
                      </a:cubicBez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  <a:alpha val="3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Headline Light"/>
                    <a:ea typeface="+mn-ea"/>
                    <a:cs typeface="+mn-cs"/>
                  </a:endParaRPr>
                </a:p>
              </p:txBody>
            </p:sp>
            <p:sp>
              <p:nvSpPr>
                <p:cNvPr id="567" name="Freeform 880">
                  <a:extLst>
                    <a:ext uri="{FF2B5EF4-FFF2-40B4-BE49-F238E27FC236}">
                      <a16:creationId xmlns:a16="http://schemas.microsoft.com/office/drawing/2014/main" xmlns="" id="{100037EA-3D23-41E2-B578-D2C92EF2A4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9043" y="3503209"/>
                  <a:ext cx="40996" cy="44184"/>
                </a:xfrm>
                <a:custGeom>
                  <a:avLst/>
                  <a:gdLst>
                    <a:gd name="T0" fmla="*/ 35 w 37"/>
                    <a:gd name="T1" fmla="*/ 38 h 41"/>
                    <a:gd name="T2" fmla="*/ 35 w 37"/>
                    <a:gd name="T3" fmla="*/ 38 h 41"/>
                    <a:gd name="T4" fmla="*/ 28 w 37"/>
                    <a:gd name="T5" fmla="*/ 39 h 41"/>
                    <a:gd name="T6" fmla="*/ 2 w 37"/>
                    <a:gd name="T7" fmla="*/ 10 h 41"/>
                    <a:gd name="T8" fmla="*/ 1 w 37"/>
                    <a:gd name="T9" fmla="*/ 3 h 41"/>
                    <a:gd name="T10" fmla="*/ 5 w 37"/>
                    <a:gd name="T11" fmla="*/ 2 h 41"/>
                    <a:gd name="T12" fmla="*/ 34 w 37"/>
                    <a:gd name="T13" fmla="*/ 31 h 41"/>
                    <a:gd name="T14" fmla="*/ 35 w 37"/>
                    <a:gd name="T15" fmla="*/ 38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7" h="41">
                      <a:moveTo>
                        <a:pt x="35" y="38"/>
                      </a:moveTo>
                      <a:cubicBezTo>
                        <a:pt x="35" y="38"/>
                        <a:pt x="35" y="38"/>
                        <a:pt x="35" y="38"/>
                      </a:cubicBezTo>
                      <a:cubicBezTo>
                        <a:pt x="33" y="40"/>
                        <a:pt x="30" y="41"/>
                        <a:pt x="28" y="39"/>
                      </a:cubicBezTo>
                      <a:cubicBezTo>
                        <a:pt x="2" y="10"/>
                        <a:pt x="2" y="10"/>
                        <a:pt x="2" y="10"/>
                      </a:cubicBezTo>
                      <a:cubicBezTo>
                        <a:pt x="0" y="7"/>
                        <a:pt x="0" y="4"/>
                        <a:pt x="1" y="3"/>
                      </a:cubicBezTo>
                      <a:cubicBezTo>
                        <a:pt x="1" y="0"/>
                        <a:pt x="3" y="0"/>
                        <a:pt x="5" y="2"/>
                      </a:cubicBezTo>
                      <a:cubicBezTo>
                        <a:pt x="34" y="31"/>
                        <a:pt x="34" y="31"/>
                        <a:pt x="34" y="31"/>
                      </a:cubicBezTo>
                      <a:cubicBezTo>
                        <a:pt x="36" y="33"/>
                        <a:pt x="37" y="36"/>
                        <a:pt x="35" y="38"/>
                      </a:cubicBezTo>
                    </a:path>
                  </a:pathLst>
                </a:cu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68" name="Rectangle 881">
                  <a:extLst>
                    <a:ext uri="{FF2B5EF4-FFF2-40B4-BE49-F238E27FC236}">
                      <a16:creationId xmlns:a16="http://schemas.microsoft.com/office/drawing/2014/main" xmlns="" id="{7B9555E9-1610-4FCF-9964-C37EADC063B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7369" y="3469501"/>
                  <a:ext cx="20043" cy="14120"/>
                </a:xfrm>
                <a:prstGeom prst="rect">
                  <a:avLst/>
                </a:pr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69" name="Freeform 882">
                  <a:extLst>
                    <a:ext uri="{FF2B5EF4-FFF2-40B4-BE49-F238E27FC236}">
                      <a16:creationId xmlns:a16="http://schemas.microsoft.com/office/drawing/2014/main" xmlns="" id="{0AEB8D5B-A94F-4BDF-A07B-0726CBDD94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9604" y="3602964"/>
                  <a:ext cx="60583" cy="205887"/>
                </a:xfrm>
                <a:custGeom>
                  <a:avLst/>
                  <a:gdLst>
                    <a:gd name="T0" fmla="*/ 0 w 55"/>
                    <a:gd name="T1" fmla="*/ 10 h 190"/>
                    <a:gd name="T2" fmla="*/ 11 w 55"/>
                    <a:gd name="T3" fmla="*/ 186 h 190"/>
                    <a:gd name="T4" fmla="*/ 24 w 55"/>
                    <a:gd name="T5" fmla="*/ 185 h 190"/>
                    <a:gd name="T6" fmla="*/ 24 w 55"/>
                    <a:gd name="T7" fmla="*/ 38 h 190"/>
                    <a:gd name="T8" fmla="*/ 34 w 55"/>
                    <a:gd name="T9" fmla="*/ 54 h 190"/>
                    <a:gd name="T10" fmla="*/ 30 w 55"/>
                    <a:gd name="T11" fmla="*/ 188 h 190"/>
                    <a:gd name="T12" fmla="*/ 43 w 55"/>
                    <a:gd name="T13" fmla="*/ 190 h 190"/>
                    <a:gd name="T14" fmla="*/ 55 w 55"/>
                    <a:gd name="T15" fmla="*/ 0 h 190"/>
                    <a:gd name="T16" fmla="*/ 0 w 55"/>
                    <a:gd name="T17" fmla="*/ 1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5" h="190">
                      <a:moveTo>
                        <a:pt x="0" y="10"/>
                      </a:moveTo>
                      <a:cubicBezTo>
                        <a:pt x="0" y="10"/>
                        <a:pt x="5" y="172"/>
                        <a:pt x="11" y="186"/>
                      </a:cubicBezTo>
                      <a:cubicBezTo>
                        <a:pt x="24" y="185"/>
                        <a:pt x="24" y="185"/>
                        <a:pt x="24" y="185"/>
                      </a:cubicBezTo>
                      <a:cubicBezTo>
                        <a:pt x="24" y="185"/>
                        <a:pt x="16" y="40"/>
                        <a:pt x="24" y="38"/>
                      </a:cubicBezTo>
                      <a:cubicBezTo>
                        <a:pt x="32" y="36"/>
                        <a:pt x="34" y="36"/>
                        <a:pt x="34" y="54"/>
                      </a:cubicBezTo>
                      <a:cubicBezTo>
                        <a:pt x="34" y="72"/>
                        <a:pt x="30" y="188"/>
                        <a:pt x="30" y="188"/>
                      </a:cubicBezTo>
                      <a:cubicBezTo>
                        <a:pt x="43" y="190"/>
                        <a:pt x="43" y="190"/>
                        <a:pt x="43" y="190"/>
                      </a:cubicBezTo>
                      <a:cubicBezTo>
                        <a:pt x="55" y="0"/>
                        <a:pt x="55" y="0"/>
                        <a:pt x="55" y="0"/>
                      </a:cubicBezTo>
                      <a:lnTo>
                        <a:pt x="0" y="10"/>
                      </a:lnTo>
                      <a:close/>
                    </a:path>
                  </a:pathLst>
                </a:custGeom>
                <a:solidFill>
                  <a:srgbClr val="BBBD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70" name="Freeform 883">
                  <a:extLst>
                    <a:ext uri="{FF2B5EF4-FFF2-40B4-BE49-F238E27FC236}">
                      <a16:creationId xmlns:a16="http://schemas.microsoft.com/office/drawing/2014/main" xmlns="" id="{C5BC9257-6220-4AFA-A858-9E1E8475BE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6416" y="3480433"/>
                  <a:ext cx="65138" cy="135285"/>
                </a:xfrm>
                <a:custGeom>
                  <a:avLst/>
                  <a:gdLst>
                    <a:gd name="T0" fmla="*/ 0 w 59"/>
                    <a:gd name="T1" fmla="*/ 125 h 125"/>
                    <a:gd name="T2" fmla="*/ 0 w 59"/>
                    <a:gd name="T3" fmla="*/ 40 h 125"/>
                    <a:gd name="T4" fmla="*/ 30 w 59"/>
                    <a:gd name="T5" fmla="*/ 0 h 125"/>
                    <a:gd name="T6" fmla="*/ 59 w 59"/>
                    <a:gd name="T7" fmla="*/ 29 h 125"/>
                    <a:gd name="T8" fmla="*/ 59 w 59"/>
                    <a:gd name="T9" fmla="*/ 125 h 125"/>
                    <a:gd name="T10" fmla="*/ 0 w 59"/>
                    <a:gd name="T11" fmla="*/ 125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9" h="125">
                      <a:moveTo>
                        <a:pt x="0" y="125"/>
                      </a:move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23"/>
                        <a:pt x="13" y="0"/>
                        <a:pt x="30" y="0"/>
                      </a:cubicBezTo>
                      <a:cubicBezTo>
                        <a:pt x="46" y="0"/>
                        <a:pt x="59" y="13"/>
                        <a:pt x="59" y="29"/>
                      </a:cubicBezTo>
                      <a:cubicBezTo>
                        <a:pt x="59" y="125"/>
                        <a:pt x="59" y="125"/>
                        <a:pt x="59" y="125"/>
                      </a:cubicBezTo>
                      <a:lnTo>
                        <a:pt x="0" y="12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71" name="Oval 884">
                  <a:extLst>
                    <a:ext uri="{FF2B5EF4-FFF2-40B4-BE49-F238E27FC236}">
                      <a16:creationId xmlns:a16="http://schemas.microsoft.com/office/drawing/2014/main" xmlns="" id="{7A0B7B19-750C-4129-8838-2DF9B9164B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8694" y="3413930"/>
                  <a:ext cx="65138" cy="63315"/>
                </a:xfrm>
                <a:prstGeom prst="ellipse">
                  <a:avLst/>
                </a:pr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72" name="Freeform 886">
                  <a:extLst>
                    <a:ext uri="{FF2B5EF4-FFF2-40B4-BE49-F238E27FC236}">
                      <a16:creationId xmlns:a16="http://schemas.microsoft.com/office/drawing/2014/main" xmlns="" id="{FD48473F-FA7C-449B-B575-00F98996F5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0289071">
                  <a:off x="699022" y="3528261"/>
                  <a:ext cx="36441" cy="47828"/>
                </a:xfrm>
                <a:custGeom>
                  <a:avLst/>
                  <a:gdLst>
                    <a:gd name="T0" fmla="*/ 31 w 33"/>
                    <a:gd name="T1" fmla="*/ 42 h 44"/>
                    <a:gd name="T2" fmla="*/ 31 w 33"/>
                    <a:gd name="T3" fmla="*/ 42 h 44"/>
                    <a:gd name="T4" fmla="*/ 24 w 33"/>
                    <a:gd name="T5" fmla="*/ 42 h 44"/>
                    <a:gd name="T6" fmla="*/ 2 w 33"/>
                    <a:gd name="T7" fmla="*/ 10 h 44"/>
                    <a:gd name="T8" fmla="*/ 2 w 33"/>
                    <a:gd name="T9" fmla="*/ 2 h 44"/>
                    <a:gd name="T10" fmla="*/ 6 w 33"/>
                    <a:gd name="T11" fmla="*/ 2 h 44"/>
                    <a:gd name="T12" fmla="*/ 31 w 33"/>
                    <a:gd name="T13" fmla="*/ 35 h 44"/>
                    <a:gd name="T14" fmla="*/ 31 w 33"/>
                    <a:gd name="T15" fmla="*/ 42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3" h="44">
                      <a:moveTo>
                        <a:pt x="31" y="42"/>
                      </a:moveTo>
                      <a:cubicBezTo>
                        <a:pt x="31" y="42"/>
                        <a:pt x="31" y="42"/>
                        <a:pt x="31" y="42"/>
                      </a:cubicBezTo>
                      <a:cubicBezTo>
                        <a:pt x="29" y="44"/>
                        <a:pt x="26" y="44"/>
                        <a:pt x="24" y="42"/>
                      </a:cubicBezTo>
                      <a:cubicBezTo>
                        <a:pt x="2" y="10"/>
                        <a:pt x="2" y="10"/>
                        <a:pt x="2" y="10"/>
                      </a:cubicBezTo>
                      <a:cubicBezTo>
                        <a:pt x="0" y="7"/>
                        <a:pt x="1" y="3"/>
                        <a:pt x="2" y="2"/>
                      </a:cubicBezTo>
                      <a:cubicBezTo>
                        <a:pt x="3" y="0"/>
                        <a:pt x="4" y="0"/>
                        <a:pt x="6" y="2"/>
                      </a:cubicBezTo>
                      <a:cubicBezTo>
                        <a:pt x="31" y="35"/>
                        <a:pt x="31" y="35"/>
                        <a:pt x="31" y="35"/>
                      </a:cubicBezTo>
                      <a:cubicBezTo>
                        <a:pt x="33" y="37"/>
                        <a:pt x="33" y="40"/>
                        <a:pt x="31" y="42"/>
                      </a:cubicBezTo>
                    </a:path>
                  </a:pathLst>
                </a:cu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73" name="Freeform 887">
                  <a:extLst>
                    <a:ext uri="{FF2B5EF4-FFF2-40B4-BE49-F238E27FC236}">
                      <a16:creationId xmlns:a16="http://schemas.microsoft.com/office/drawing/2014/main" xmlns="" id="{3F6EA22A-4B3C-47DB-88D7-FAD8708F2E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7782" y="3406642"/>
                  <a:ext cx="67871" cy="60582"/>
                </a:xfrm>
                <a:custGeom>
                  <a:avLst/>
                  <a:gdLst>
                    <a:gd name="T0" fmla="*/ 62 w 62"/>
                    <a:gd name="T1" fmla="*/ 56 h 56"/>
                    <a:gd name="T2" fmla="*/ 62 w 62"/>
                    <a:gd name="T3" fmla="*/ 29 h 56"/>
                    <a:gd name="T4" fmla="*/ 62 w 62"/>
                    <a:gd name="T5" fmla="*/ 29 h 56"/>
                    <a:gd name="T6" fmla="*/ 31 w 62"/>
                    <a:gd name="T7" fmla="*/ 0 h 56"/>
                    <a:gd name="T8" fmla="*/ 0 w 62"/>
                    <a:gd name="T9" fmla="*/ 30 h 56"/>
                    <a:gd name="T10" fmla="*/ 1 w 62"/>
                    <a:gd name="T11" fmla="*/ 35 h 56"/>
                    <a:gd name="T12" fmla="*/ 2 w 62"/>
                    <a:gd name="T13" fmla="*/ 35 h 56"/>
                    <a:gd name="T14" fmla="*/ 24 w 62"/>
                    <a:gd name="T15" fmla="*/ 55 h 56"/>
                    <a:gd name="T16" fmla="*/ 62 w 62"/>
                    <a:gd name="T17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2" h="56">
                      <a:moveTo>
                        <a:pt x="62" y="56"/>
                      </a:moveTo>
                      <a:cubicBezTo>
                        <a:pt x="62" y="29"/>
                        <a:pt x="62" y="29"/>
                        <a:pt x="62" y="29"/>
                      </a:cubicBezTo>
                      <a:cubicBezTo>
                        <a:pt x="62" y="29"/>
                        <a:pt x="62" y="29"/>
                        <a:pt x="62" y="29"/>
                      </a:cubicBezTo>
                      <a:cubicBezTo>
                        <a:pt x="61" y="13"/>
                        <a:pt x="47" y="0"/>
                        <a:pt x="31" y="0"/>
                      </a:cubicBezTo>
                      <a:cubicBezTo>
                        <a:pt x="14" y="0"/>
                        <a:pt x="0" y="13"/>
                        <a:pt x="0" y="30"/>
                      </a:cubicBezTo>
                      <a:cubicBezTo>
                        <a:pt x="0" y="32"/>
                        <a:pt x="0" y="34"/>
                        <a:pt x="1" y="35"/>
                      </a:cubicBezTo>
                      <a:cubicBezTo>
                        <a:pt x="1" y="35"/>
                        <a:pt x="1" y="35"/>
                        <a:pt x="2" y="35"/>
                      </a:cubicBezTo>
                      <a:cubicBezTo>
                        <a:pt x="11" y="35"/>
                        <a:pt x="24" y="45"/>
                        <a:pt x="24" y="55"/>
                      </a:cubicBezTo>
                      <a:lnTo>
                        <a:pt x="62" y="56"/>
                      </a:lnTo>
                      <a:close/>
                    </a:path>
                  </a:pathLst>
                </a:custGeom>
                <a:solidFill>
                  <a:srgbClr val="BBBD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74" name="Freeform 888">
                  <a:extLst>
                    <a:ext uri="{FF2B5EF4-FFF2-40B4-BE49-F238E27FC236}">
                      <a16:creationId xmlns:a16="http://schemas.microsoft.com/office/drawing/2014/main" xmlns="" id="{3316281E-9C19-4883-8617-F4E2C0E493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7719" y="3482255"/>
                  <a:ext cx="71515" cy="91101"/>
                </a:xfrm>
                <a:custGeom>
                  <a:avLst/>
                  <a:gdLst>
                    <a:gd name="T0" fmla="*/ 0 w 65"/>
                    <a:gd name="T1" fmla="*/ 72 h 84"/>
                    <a:gd name="T2" fmla="*/ 40 w 65"/>
                    <a:gd name="T3" fmla="*/ 7 h 84"/>
                    <a:gd name="T4" fmla="*/ 9 w 65"/>
                    <a:gd name="T5" fmla="*/ 80 h 84"/>
                    <a:gd name="T6" fmla="*/ 0 w 65"/>
                    <a:gd name="T7" fmla="*/ 72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5" h="84">
                      <a:moveTo>
                        <a:pt x="0" y="72"/>
                      </a:moveTo>
                      <a:cubicBezTo>
                        <a:pt x="0" y="72"/>
                        <a:pt x="27" y="10"/>
                        <a:pt x="40" y="7"/>
                      </a:cubicBezTo>
                      <a:cubicBezTo>
                        <a:pt x="65" y="0"/>
                        <a:pt x="16" y="77"/>
                        <a:pt x="9" y="80"/>
                      </a:cubicBezTo>
                      <a:cubicBezTo>
                        <a:pt x="3" y="84"/>
                        <a:pt x="0" y="72"/>
                        <a:pt x="0" y="72"/>
                      </a:cubicBezTo>
                    </a:path>
                  </a:pathLst>
                </a:cu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75" name="Freeform 889">
                  <a:extLst>
                    <a:ext uri="{FF2B5EF4-FFF2-40B4-BE49-F238E27FC236}">
                      <a16:creationId xmlns:a16="http://schemas.microsoft.com/office/drawing/2014/main" xmlns="" id="{2F684B1F-C307-4B91-9550-091B86BA55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9043" y="3507308"/>
                  <a:ext cx="10932" cy="7744"/>
                </a:xfrm>
                <a:custGeom>
                  <a:avLst/>
                  <a:gdLst>
                    <a:gd name="T0" fmla="*/ 6 w 10"/>
                    <a:gd name="T1" fmla="*/ 2 h 7"/>
                    <a:gd name="T2" fmla="*/ 9 w 10"/>
                    <a:gd name="T3" fmla="*/ 6 h 7"/>
                    <a:gd name="T4" fmla="*/ 4 w 10"/>
                    <a:gd name="T5" fmla="*/ 5 h 7"/>
                    <a:gd name="T6" fmla="*/ 1 w 10"/>
                    <a:gd name="T7" fmla="*/ 1 h 7"/>
                    <a:gd name="T8" fmla="*/ 6 w 10"/>
                    <a:gd name="T9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7">
                      <a:moveTo>
                        <a:pt x="6" y="2"/>
                      </a:moveTo>
                      <a:cubicBezTo>
                        <a:pt x="8" y="3"/>
                        <a:pt x="10" y="5"/>
                        <a:pt x="9" y="6"/>
                      </a:cubicBezTo>
                      <a:cubicBezTo>
                        <a:pt x="9" y="7"/>
                        <a:pt x="7" y="7"/>
                        <a:pt x="4" y="5"/>
                      </a:cubicBezTo>
                      <a:cubicBezTo>
                        <a:pt x="2" y="4"/>
                        <a:pt x="0" y="2"/>
                        <a:pt x="1" y="1"/>
                      </a:cubicBezTo>
                      <a:cubicBezTo>
                        <a:pt x="1" y="0"/>
                        <a:pt x="4" y="1"/>
                        <a:pt x="6" y="2"/>
                      </a:cubicBezTo>
                    </a:path>
                  </a:pathLst>
                </a:cu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76" name="Freeform 890">
                  <a:extLst>
                    <a:ext uri="{FF2B5EF4-FFF2-40B4-BE49-F238E27FC236}">
                      <a16:creationId xmlns:a16="http://schemas.microsoft.com/office/drawing/2014/main" xmlns="" id="{A0AA6C62-0B61-418A-A0DE-48C1B892D9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3206" y="3801564"/>
                  <a:ext cx="41907" cy="10476"/>
                </a:xfrm>
                <a:custGeom>
                  <a:avLst/>
                  <a:gdLst>
                    <a:gd name="T0" fmla="*/ 0 w 38"/>
                    <a:gd name="T1" fmla="*/ 10 h 10"/>
                    <a:gd name="T2" fmla="*/ 19 w 38"/>
                    <a:gd name="T3" fmla="*/ 0 h 10"/>
                    <a:gd name="T4" fmla="*/ 38 w 38"/>
                    <a:gd name="T5" fmla="*/ 10 h 10"/>
                    <a:gd name="T6" fmla="*/ 0 w 38"/>
                    <a:gd name="T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8" h="10">
                      <a:moveTo>
                        <a:pt x="0" y="10"/>
                      </a:moveTo>
                      <a:cubicBezTo>
                        <a:pt x="0" y="4"/>
                        <a:pt x="8" y="0"/>
                        <a:pt x="19" y="0"/>
                      </a:cubicBezTo>
                      <a:cubicBezTo>
                        <a:pt x="29" y="0"/>
                        <a:pt x="38" y="4"/>
                        <a:pt x="38" y="10"/>
                      </a:cubicBezTo>
                      <a:lnTo>
                        <a:pt x="0" y="1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77" name="Freeform 891">
                  <a:extLst>
                    <a:ext uri="{FF2B5EF4-FFF2-40B4-BE49-F238E27FC236}">
                      <a16:creationId xmlns:a16="http://schemas.microsoft.com/office/drawing/2014/main" xmlns="" id="{A621D1A3-E669-4972-B232-4E60EFD35C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0992" y="3802474"/>
                  <a:ext cx="37352" cy="9566"/>
                </a:xfrm>
                <a:custGeom>
                  <a:avLst/>
                  <a:gdLst>
                    <a:gd name="T0" fmla="*/ 0 w 34"/>
                    <a:gd name="T1" fmla="*/ 9 h 9"/>
                    <a:gd name="T2" fmla="*/ 17 w 34"/>
                    <a:gd name="T3" fmla="*/ 0 h 9"/>
                    <a:gd name="T4" fmla="*/ 34 w 34"/>
                    <a:gd name="T5" fmla="*/ 9 h 9"/>
                    <a:gd name="T6" fmla="*/ 0 w 34"/>
                    <a:gd name="T7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9">
                      <a:moveTo>
                        <a:pt x="0" y="9"/>
                      </a:moveTo>
                      <a:cubicBezTo>
                        <a:pt x="0" y="4"/>
                        <a:pt x="7" y="0"/>
                        <a:pt x="17" y="0"/>
                      </a:cubicBezTo>
                      <a:cubicBezTo>
                        <a:pt x="26" y="0"/>
                        <a:pt x="34" y="4"/>
                        <a:pt x="34" y="9"/>
                      </a:cubicBezTo>
                      <a:lnTo>
                        <a:pt x="0" y="9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78" name="Freeform 892">
                  <a:extLst>
                    <a:ext uri="{FF2B5EF4-FFF2-40B4-BE49-F238E27FC236}">
                      <a16:creationId xmlns:a16="http://schemas.microsoft.com/office/drawing/2014/main" xmlns="" id="{DE8A61E6-5F09-4522-85E0-F6A3125215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3206" y="3480433"/>
                  <a:ext cx="59672" cy="61493"/>
                </a:xfrm>
                <a:custGeom>
                  <a:avLst/>
                  <a:gdLst>
                    <a:gd name="T0" fmla="*/ 0 w 54"/>
                    <a:gd name="T1" fmla="*/ 34 h 57"/>
                    <a:gd name="T2" fmla="*/ 21 w 54"/>
                    <a:gd name="T3" fmla="*/ 57 h 57"/>
                    <a:gd name="T4" fmla="*/ 34 w 54"/>
                    <a:gd name="T5" fmla="*/ 2 h 57"/>
                    <a:gd name="T6" fmla="*/ 0 w 54"/>
                    <a:gd name="T7" fmla="*/ 34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7">
                      <a:moveTo>
                        <a:pt x="0" y="34"/>
                      </a:moveTo>
                      <a:cubicBezTo>
                        <a:pt x="21" y="57"/>
                        <a:pt x="21" y="57"/>
                        <a:pt x="21" y="57"/>
                      </a:cubicBezTo>
                      <a:cubicBezTo>
                        <a:pt x="21" y="57"/>
                        <a:pt x="54" y="7"/>
                        <a:pt x="34" y="2"/>
                      </a:cubicBezTo>
                      <a:cubicBezTo>
                        <a:pt x="24" y="0"/>
                        <a:pt x="0" y="34"/>
                        <a:pt x="0" y="34"/>
                      </a:cubicBezTo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79" name="Freeform 889">
                  <a:extLst>
                    <a:ext uri="{FF2B5EF4-FFF2-40B4-BE49-F238E27FC236}">
                      <a16:creationId xmlns:a16="http://schemas.microsoft.com/office/drawing/2014/main" xmlns="" id="{D2E1C84B-B908-40B8-AC58-CA9E7FEEC2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2189" y="3541015"/>
                  <a:ext cx="10932" cy="7744"/>
                </a:xfrm>
                <a:custGeom>
                  <a:avLst/>
                  <a:gdLst>
                    <a:gd name="T0" fmla="*/ 6 w 10"/>
                    <a:gd name="T1" fmla="*/ 2 h 7"/>
                    <a:gd name="T2" fmla="*/ 9 w 10"/>
                    <a:gd name="T3" fmla="*/ 6 h 7"/>
                    <a:gd name="T4" fmla="*/ 4 w 10"/>
                    <a:gd name="T5" fmla="*/ 5 h 7"/>
                    <a:gd name="T6" fmla="*/ 1 w 10"/>
                    <a:gd name="T7" fmla="*/ 1 h 7"/>
                    <a:gd name="T8" fmla="*/ 6 w 10"/>
                    <a:gd name="T9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7">
                      <a:moveTo>
                        <a:pt x="6" y="2"/>
                      </a:moveTo>
                      <a:cubicBezTo>
                        <a:pt x="8" y="3"/>
                        <a:pt x="10" y="5"/>
                        <a:pt x="9" y="6"/>
                      </a:cubicBezTo>
                      <a:cubicBezTo>
                        <a:pt x="9" y="7"/>
                        <a:pt x="7" y="7"/>
                        <a:pt x="4" y="5"/>
                      </a:cubicBezTo>
                      <a:cubicBezTo>
                        <a:pt x="2" y="4"/>
                        <a:pt x="0" y="2"/>
                        <a:pt x="1" y="1"/>
                      </a:cubicBezTo>
                      <a:cubicBezTo>
                        <a:pt x="1" y="0"/>
                        <a:pt x="4" y="1"/>
                        <a:pt x="6" y="2"/>
                      </a:cubicBezTo>
                    </a:path>
                  </a:pathLst>
                </a:cu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80" name="Freeform 889">
                  <a:extLst>
                    <a:ext uri="{FF2B5EF4-FFF2-40B4-BE49-F238E27FC236}">
                      <a16:creationId xmlns:a16="http://schemas.microsoft.com/office/drawing/2014/main" xmlns="" id="{A84C3B23-E3FC-4F7B-8A28-9B528779CE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556" y="3534639"/>
                  <a:ext cx="10932" cy="7744"/>
                </a:xfrm>
                <a:custGeom>
                  <a:avLst/>
                  <a:gdLst>
                    <a:gd name="T0" fmla="*/ 6 w 10"/>
                    <a:gd name="T1" fmla="*/ 2 h 7"/>
                    <a:gd name="T2" fmla="*/ 9 w 10"/>
                    <a:gd name="T3" fmla="*/ 6 h 7"/>
                    <a:gd name="T4" fmla="*/ 4 w 10"/>
                    <a:gd name="T5" fmla="*/ 5 h 7"/>
                    <a:gd name="T6" fmla="*/ 1 w 10"/>
                    <a:gd name="T7" fmla="*/ 1 h 7"/>
                    <a:gd name="T8" fmla="*/ 6 w 10"/>
                    <a:gd name="T9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7">
                      <a:moveTo>
                        <a:pt x="6" y="2"/>
                      </a:moveTo>
                      <a:cubicBezTo>
                        <a:pt x="8" y="3"/>
                        <a:pt x="10" y="5"/>
                        <a:pt x="9" y="6"/>
                      </a:cubicBezTo>
                      <a:cubicBezTo>
                        <a:pt x="9" y="7"/>
                        <a:pt x="7" y="7"/>
                        <a:pt x="4" y="5"/>
                      </a:cubicBezTo>
                      <a:cubicBezTo>
                        <a:pt x="2" y="4"/>
                        <a:pt x="0" y="2"/>
                        <a:pt x="1" y="1"/>
                      </a:cubicBezTo>
                      <a:cubicBezTo>
                        <a:pt x="1" y="0"/>
                        <a:pt x="4" y="1"/>
                        <a:pt x="6" y="2"/>
                      </a:cubicBezTo>
                    </a:path>
                  </a:pathLst>
                </a:cu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81" name="Freeform 889">
                  <a:extLst>
                    <a:ext uri="{FF2B5EF4-FFF2-40B4-BE49-F238E27FC236}">
                      <a16:creationId xmlns:a16="http://schemas.microsoft.com/office/drawing/2014/main" xmlns="" id="{605F7E95-2469-4BC0-B08F-3F5E34BDA1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1734" y="3533727"/>
                  <a:ext cx="10932" cy="7744"/>
                </a:xfrm>
                <a:custGeom>
                  <a:avLst/>
                  <a:gdLst>
                    <a:gd name="T0" fmla="*/ 6 w 10"/>
                    <a:gd name="T1" fmla="*/ 2 h 7"/>
                    <a:gd name="T2" fmla="*/ 9 w 10"/>
                    <a:gd name="T3" fmla="*/ 6 h 7"/>
                    <a:gd name="T4" fmla="*/ 4 w 10"/>
                    <a:gd name="T5" fmla="*/ 5 h 7"/>
                    <a:gd name="T6" fmla="*/ 1 w 10"/>
                    <a:gd name="T7" fmla="*/ 1 h 7"/>
                    <a:gd name="T8" fmla="*/ 6 w 10"/>
                    <a:gd name="T9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7">
                      <a:moveTo>
                        <a:pt x="6" y="2"/>
                      </a:moveTo>
                      <a:cubicBezTo>
                        <a:pt x="8" y="3"/>
                        <a:pt x="10" y="5"/>
                        <a:pt x="9" y="6"/>
                      </a:cubicBezTo>
                      <a:cubicBezTo>
                        <a:pt x="9" y="7"/>
                        <a:pt x="7" y="7"/>
                        <a:pt x="4" y="5"/>
                      </a:cubicBezTo>
                      <a:cubicBezTo>
                        <a:pt x="2" y="4"/>
                        <a:pt x="0" y="2"/>
                        <a:pt x="1" y="1"/>
                      </a:cubicBezTo>
                      <a:cubicBezTo>
                        <a:pt x="1" y="0"/>
                        <a:pt x="4" y="1"/>
                        <a:pt x="6" y="2"/>
                      </a:cubicBezTo>
                    </a:path>
                  </a:pathLst>
                </a:cu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582" name="Freeform 889">
                  <a:extLst>
                    <a:ext uri="{FF2B5EF4-FFF2-40B4-BE49-F238E27FC236}">
                      <a16:creationId xmlns:a16="http://schemas.microsoft.com/office/drawing/2014/main" xmlns="" id="{9099C1FE-8691-4CDA-9D2B-DE5FC1FAA7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1734" y="3534183"/>
                  <a:ext cx="10932" cy="7744"/>
                </a:xfrm>
                <a:custGeom>
                  <a:avLst/>
                  <a:gdLst>
                    <a:gd name="T0" fmla="*/ 6 w 10"/>
                    <a:gd name="T1" fmla="*/ 2 h 7"/>
                    <a:gd name="T2" fmla="*/ 9 w 10"/>
                    <a:gd name="T3" fmla="*/ 6 h 7"/>
                    <a:gd name="T4" fmla="*/ 4 w 10"/>
                    <a:gd name="T5" fmla="*/ 5 h 7"/>
                    <a:gd name="T6" fmla="*/ 1 w 10"/>
                    <a:gd name="T7" fmla="*/ 1 h 7"/>
                    <a:gd name="T8" fmla="*/ 6 w 10"/>
                    <a:gd name="T9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7">
                      <a:moveTo>
                        <a:pt x="6" y="2"/>
                      </a:moveTo>
                      <a:cubicBezTo>
                        <a:pt x="8" y="3"/>
                        <a:pt x="10" y="5"/>
                        <a:pt x="9" y="6"/>
                      </a:cubicBezTo>
                      <a:cubicBezTo>
                        <a:pt x="9" y="7"/>
                        <a:pt x="7" y="7"/>
                        <a:pt x="4" y="5"/>
                      </a:cubicBezTo>
                      <a:cubicBezTo>
                        <a:pt x="2" y="4"/>
                        <a:pt x="0" y="2"/>
                        <a:pt x="1" y="1"/>
                      </a:cubicBezTo>
                      <a:cubicBezTo>
                        <a:pt x="1" y="0"/>
                        <a:pt x="4" y="1"/>
                        <a:pt x="6" y="2"/>
                      </a:cubicBezTo>
                    </a:path>
                  </a:pathLst>
                </a:cu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grpSp>
              <p:nvGrpSpPr>
                <p:cNvPr id="583" name="Gruppieren 582">
                  <a:extLst>
                    <a:ext uri="{FF2B5EF4-FFF2-40B4-BE49-F238E27FC236}">
                      <a16:creationId xmlns:a16="http://schemas.microsoft.com/office/drawing/2014/main" xmlns="" id="{2223F6D6-A399-4472-BA7B-039AB524E716}"/>
                    </a:ext>
                  </a:extLst>
                </p:cNvPr>
                <p:cNvGrpSpPr/>
                <p:nvPr/>
              </p:nvGrpSpPr>
              <p:grpSpPr>
                <a:xfrm>
                  <a:off x="2260520" y="2569928"/>
                  <a:ext cx="296246" cy="946629"/>
                  <a:chOff x="4820148" y="752979"/>
                  <a:chExt cx="658665" cy="2104706"/>
                </a:xfrm>
              </p:grpSpPr>
              <p:sp>
                <p:nvSpPr>
                  <p:cNvPr id="639" name="Rectangle 193">
                    <a:extLst>
                      <a:ext uri="{FF2B5EF4-FFF2-40B4-BE49-F238E27FC236}">
                        <a16:creationId xmlns:a16="http://schemas.microsoft.com/office/drawing/2014/main" xmlns="" id="{4C031308-FF4A-429A-82C9-CC892C53AD6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820148" y="752979"/>
                    <a:ext cx="658665" cy="2104706"/>
                  </a:xfrm>
                  <a:custGeom>
                    <a:avLst/>
                    <a:gdLst>
                      <a:gd name="connsiteX0" fmla="*/ 0 w 296246"/>
                      <a:gd name="connsiteY0" fmla="*/ 0 h 946629"/>
                      <a:gd name="connsiteX1" fmla="*/ 296246 w 296246"/>
                      <a:gd name="connsiteY1" fmla="*/ 0 h 946629"/>
                      <a:gd name="connsiteX2" fmla="*/ 296246 w 296246"/>
                      <a:gd name="connsiteY2" fmla="*/ 946629 h 946629"/>
                      <a:gd name="connsiteX3" fmla="*/ 0 w 296246"/>
                      <a:gd name="connsiteY3" fmla="*/ 946629 h 946629"/>
                      <a:gd name="connsiteX4" fmla="*/ 0 w 296246"/>
                      <a:gd name="connsiteY4" fmla="*/ 0 h 946629"/>
                      <a:gd name="connsiteX0" fmla="*/ 0 w 296246"/>
                      <a:gd name="connsiteY0" fmla="*/ 0 h 1032903"/>
                      <a:gd name="connsiteX1" fmla="*/ 296246 w 296246"/>
                      <a:gd name="connsiteY1" fmla="*/ 0 h 1032903"/>
                      <a:gd name="connsiteX2" fmla="*/ 296246 w 296246"/>
                      <a:gd name="connsiteY2" fmla="*/ 946629 h 1032903"/>
                      <a:gd name="connsiteX3" fmla="*/ 54055 w 296246"/>
                      <a:gd name="connsiteY3" fmla="*/ 1032903 h 1032903"/>
                      <a:gd name="connsiteX4" fmla="*/ 0 w 296246"/>
                      <a:gd name="connsiteY4" fmla="*/ 946629 h 1032903"/>
                      <a:gd name="connsiteX5" fmla="*/ 0 w 296246"/>
                      <a:gd name="connsiteY5" fmla="*/ 0 h 1032903"/>
                      <a:gd name="connsiteX0" fmla="*/ 0 w 296246"/>
                      <a:gd name="connsiteY0" fmla="*/ 0 h 1115449"/>
                      <a:gd name="connsiteX1" fmla="*/ 296246 w 296246"/>
                      <a:gd name="connsiteY1" fmla="*/ 0 h 1115449"/>
                      <a:gd name="connsiteX2" fmla="*/ 296246 w 296246"/>
                      <a:gd name="connsiteY2" fmla="*/ 946629 h 1115449"/>
                      <a:gd name="connsiteX3" fmla="*/ 251699 w 296246"/>
                      <a:gd name="connsiteY3" fmla="*/ 1113866 h 1115449"/>
                      <a:gd name="connsiteX4" fmla="*/ 54055 w 296246"/>
                      <a:gd name="connsiteY4" fmla="*/ 1032903 h 1115449"/>
                      <a:gd name="connsiteX5" fmla="*/ 0 w 296246"/>
                      <a:gd name="connsiteY5" fmla="*/ 946629 h 1115449"/>
                      <a:gd name="connsiteX6" fmla="*/ 0 w 296246"/>
                      <a:gd name="connsiteY6" fmla="*/ 0 h 1115449"/>
                      <a:gd name="connsiteX0" fmla="*/ 54055 w 343139"/>
                      <a:gd name="connsiteY0" fmla="*/ 1032903 h 1205306"/>
                      <a:gd name="connsiteX1" fmla="*/ 0 w 343139"/>
                      <a:gd name="connsiteY1" fmla="*/ 946629 h 1205306"/>
                      <a:gd name="connsiteX2" fmla="*/ 0 w 343139"/>
                      <a:gd name="connsiteY2" fmla="*/ 0 h 1205306"/>
                      <a:gd name="connsiteX3" fmla="*/ 296246 w 343139"/>
                      <a:gd name="connsiteY3" fmla="*/ 0 h 1205306"/>
                      <a:gd name="connsiteX4" fmla="*/ 296246 w 343139"/>
                      <a:gd name="connsiteY4" fmla="*/ 946629 h 1205306"/>
                      <a:gd name="connsiteX5" fmla="*/ 343139 w 343139"/>
                      <a:gd name="connsiteY5" fmla="*/ 1205306 h 1205306"/>
                      <a:gd name="connsiteX0" fmla="*/ 54055 w 296246"/>
                      <a:gd name="connsiteY0" fmla="*/ 1032903 h 1032903"/>
                      <a:gd name="connsiteX1" fmla="*/ 0 w 296246"/>
                      <a:gd name="connsiteY1" fmla="*/ 946629 h 1032903"/>
                      <a:gd name="connsiteX2" fmla="*/ 0 w 296246"/>
                      <a:gd name="connsiteY2" fmla="*/ 0 h 1032903"/>
                      <a:gd name="connsiteX3" fmla="*/ 296246 w 296246"/>
                      <a:gd name="connsiteY3" fmla="*/ 0 h 1032903"/>
                      <a:gd name="connsiteX4" fmla="*/ 296246 w 296246"/>
                      <a:gd name="connsiteY4" fmla="*/ 946629 h 1032903"/>
                      <a:gd name="connsiteX0" fmla="*/ 0 w 296246"/>
                      <a:gd name="connsiteY0" fmla="*/ 946629 h 946629"/>
                      <a:gd name="connsiteX1" fmla="*/ 0 w 296246"/>
                      <a:gd name="connsiteY1" fmla="*/ 0 h 946629"/>
                      <a:gd name="connsiteX2" fmla="*/ 296246 w 296246"/>
                      <a:gd name="connsiteY2" fmla="*/ 0 h 946629"/>
                      <a:gd name="connsiteX3" fmla="*/ 296246 w 296246"/>
                      <a:gd name="connsiteY3" fmla="*/ 946629 h 9466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96246" h="946629">
                        <a:moveTo>
                          <a:pt x="0" y="946629"/>
                        </a:moveTo>
                        <a:lnTo>
                          <a:pt x="0" y="0"/>
                        </a:lnTo>
                        <a:lnTo>
                          <a:pt x="296246" y="0"/>
                        </a:lnTo>
                        <a:lnTo>
                          <a:pt x="296246" y="946629"/>
                        </a:lnTo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grpSp>
                <p:nvGrpSpPr>
                  <p:cNvPr id="640" name="Gruppieren 639">
                    <a:extLst>
                      <a:ext uri="{FF2B5EF4-FFF2-40B4-BE49-F238E27FC236}">
                        <a16:creationId xmlns:a16="http://schemas.microsoft.com/office/drawing/2014/main" xmlns="" id="{58B68FCD-209A-48A1-BE0A-6B7582BAA5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927119" y="820064"/>
                    <a:ext cx="483193" cy="114107"/>
                    <a:chOff x="4927119" y="820064"/>
                    <a:chExt cx="483193" cy="114107"/>
                  </a:xfrm>
                </p:grpSpPr>
                <p:sp>
                  <p:nvSpPr>
                    <p:cNvPr id="669" name="Rectangle 220">
                      <a:extLst>
                        <a:ext uri="{FF2B5EF4-FFF2-40B4-BE49-F238E27FC236}">
                          <a16:creationId xmlns:a16="http://schemas.microsoft.com/office/drawing/2014/main" xmlns="" id="{FE0D6231-F8B3-4360-A6E9-0B758A863CA0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927119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70" name="Rectangle 220">
                      <a:extLst>
                        <a:ext uri="{FF2B5EF4-FFF2-40B4-BE49-F238E27FC236}">
                          <a16:creationId xmlns:a16="http://schemas.microsoft.com/office/drawing/2014/main" xmlns="" id="{C581E2E3-E79D-4D06-B3BB-A55AFC141907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15929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71" name="Rectangle 220">
                      <a:extLst>
                        <a:ext uri="{FF2B5EF4-FFF2-40B4-BE49-F238E27FC236}">
                          <a16:creationId xmlns:a16="http://schemas.microsoft.com/office/drawing/2014/main" xmlns="" id="{D3ACB13A-CCC3-4E9A-A7FE-D3EFAE08285C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33282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641" name="Gruppieren 640">
                    <a:extLst>
                      <a:ext uri="{FF2B5EF4-FFF2-40B4-BE49-F238E27FC236}">
                        <a16:creationId xmlns:a16="http://schemas.microsoft.com/office/drawing/2014/main" xmlns="" id="{DFC53100-4CF9-48CA-A74B-D64460840CE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927119" y="1064598"/>
                    <a:ext cx="483193" cy="114107"/>
                    <a:chOff x="4927119" y="820064"/>
                    <a:chExt cx="483193" cy="114107"/>
                  </a:xfrm>
                </p:grpSpPr>
                <p:sp>
                  <p:nvSpPr>
                    <p:cNvPr id="666" name="Rectangle 220">
                      <a:extLst>
                        <a:ext uri="{FF2B5EF4-FFF2-40B4-BE49-F238E27FC236}">
                          <a16:creationId xmlns:a16="http://schemas.microsoft.com/office/drawing/2014/main" xmlns="" id="{040F53DD-13BF-4ACF-AE54-78A5171DE4F9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927119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67" name="Rectangle 220">
                      <a:extLst>
                        <a:ext uri="{FF2B5EF4-FFF2-40B4-BE49-F238E27FC236}">
                          <a16:creationId xmlns:a16="http://schemas.microsoft.com/office/drawing/2014/main" xmlns="" id="{57F9D7B7-E21C-4E34-BBBD-A3E6194F2465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15929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68" name="Rectangle 220">
                      <a:extLst>
                        <a:ext uri="{FF2B5EF4-FFF2-40B4-BE49-F238E27FC236}">
                          <a16:creationId xmlns:a16="http://schemas.microsoft.com/office/drawing/2014/main" xmlns="" id="{2AC119CE-1208-44B8-857E-23BE3D6D8EE7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33282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642" name="Gruppieren 641">
                    <a:extLst>
                      <a:ext uri="{FF2B5EF4-FFF2-40B4-BE49-F238E27FC236}">
                        <a16:creationId xmlns:a16="http://schemas.microsoft.com/office/drawing/2014/main" xmlns="" id="{342B86C5-A3EF-466C-86AB-A1F85D1167F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927119" y="1309132"/>
                    <a:ext cx="483193" cy="114107"/>
                    <a:chOff x="4927119" y="820064"/>
                    <a:chExt cx="483193" cy="114107"/>
                  </a:xfrm>
                </p:grpSpPr>
                <p:sp>
                  <p:nvSpPr>
                    <p:cNvPr id="663" name="Rectangle 220">
                      <a:extLst>
                        <a:ext uri="{FF2B5EF4-FFF2-40B4-BE49-F238E27FC236}">
                          <a16:creationId xmlns:a16="http://schemas.microsoft.com/office/drawing/2014/main" xmlns="" id="{C21D1280-AFE8-4D55-828D-D3EB368CD7F5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927119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64" name="Rectangle 220">
                      <a:extLst>
                        <a:ext uri="{FF2B5EF4-FFF2-40B4-BE49-F238E27FC236}">
                          <a16:creationId xmlns:a16="http://schemas.microsoft.com/office/drawing/2014/main" xmlns="" id="{5F411D46-5A70-4115-854D-A2A8D5D86337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15929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65" name="Rectangle 220">
                      <a:extLst>
                        <a:ext uri="{FF2B5EF4-FFF2-40B4-BE49-F238E27FC236}">
                          <a16:creationId xmlns:a16="http://schemas.microsoft.com/office/drawing/2014/main" xmlns="" id="{EF7BD2A6-C170-4B03-9BE5-12250073C321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33282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643" name="Gruppieren 642">
                    <a:extLst>
                      <a:ext uri="{FF2B5EF4-FFF2-40B4-BE49-F238E27FC236}">
                        <a16:creationId xmlns:a16="http://schemas.microsoft.com/office/drawing/2014/main" xmlns="" id="{6128F35D-EAF4-4E81-BF2A-D902357F6E4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927119" y="1553666"/>
                    <a:ext cx="483193" cy="114107"/>
                    <a:chOff x="4927119" y="820064"/>
                    <a:chExt cx="483193" cy="114107"/>
                  </a:xfrm>
                </p:grpSpPr>
                <p:sp>
                  <p:nvSpPr>
                    <p:cNvPr id="660" name="Rectangle 220">
                      <a:extLst>
                        <a:ext uri="{FF2B5EF4-FFF2-40B4-BE49-F238E27FC236}">
                          <a16:creationId xmlns:a16="http://schemas.microsoft.com/office/drawing/2014/main" xmlns="" id="{5FB03027-CFC7-413F-97CA-0866B21D1D9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927119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61" name="Rectangle 220">
                      <a:extLst>
                        <a:ext uri="{FF2B5EF4-FFF2-40B4-BE49-F238E27FC236}">
                          <a16:creationId xmlns:a16="http://schemas.microsoft.com/office/drawing/2014/main" xmlns="" id="{EBAC4A76-2541-47E4-B667-72C2CD49A895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15929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62" name="Rectangle 220">
                      <a:extLst>
                        <a:ext uri="{FF2B5EF4-FFF2-40B4-BE49-F238E27FC236}">
                          <a16:creationId xmlns:a16="http://schemas.microsoft.com/office/drawing/2014/main" xmlns="" id="{789EC290-F702-47B1-A679-E5F7EBD11CF5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33282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644" name="Gruppieren 643">
                    <a:extLst>
                      <a:ext uri="{FF2B5EF4-FFF2-40B4-BE49-F238E27FC236}">
                        <a16:creationId xmlns:a16="http://schemas.microsoft.com/office/drawing/2014/main" xmlns="" id="{DA1AF612-F7F3-4F0C-9680-B1044996EAC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927119" y="1798200"/>
                    <a:ext cx="483193" cy="114107"/>
                    <a:chOff x="4927119" y="820064"/>
                    <a:chExt cx="483193" cy="114107"/>
                  </a:xfrm>
                </p:grpSpPr>
                <p:sp>
                  <p:nvSpPr>
                    <p:cNvPr id="657" name="Rectangle 220">
                      <a:extLst>
                        <a:ext uri="{FF2B5EF4-FFF2-40B4-BE49-F238E27FC236}">
                          <a16:creationId xmlns:a16="http://schemas.microsoft.com/office/drawing/2014/main" xmlns="" id="{9D1C25CF-5399-4E7E-9C90-5BCD17FDA9ED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927119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58" name="Rectangle 220">
                      <a:extLst>
                        <a:ext uri="{FF2B5EF4-FFF2-40B4-BE49-F238E27FC236}">
                          <a16:creationId xmlns:a16="http://schemas.microsoft.com/office/drawing/2014/main" xmlns="" id="{E298B7F9-0730-4B90-9E00-C69A661E71AE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15929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59" name="Rectangle 220">
                      <a:extLst>
                        <a:ext uri="{FF2B5EF4-FFF2-40B4-BE49-F238E27FC236}">
                          <a16:creationId xmlns:a16="http://schemas.microsoft.com/office/drawing/2014/main" xmlns="" id="{B649ABDD-077C-4E3E-9816-0B0E8029F62F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33282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645" name="Gruppieren 644">
                    <a:extLst>
                      <a:ext uri="{FF2B5EF4-FFF2-40B4-BE49-F238E27FC236}">
                        <a16:creationId xmlns:a16="http://schemas.microsoft.com/office/drawing/2014/main" xmlns="" id="{8814387C-DE1F-4D24-9EDF-92A84E6850F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927119" y="2042734"/>
                    <a:ext cx="483193" cy="114107"/>
                    <a:chOff x="4927119" y="820064"/>
                    <a:chExt cx="483193" cy="114107"/>
                  </a:xfrm>
                </p:grpSpPr>
                <p:sp>
                  <p:nvSpPr>
                    <p:cNvPr id="654" name="Rectangle 220">
                      <a:extLst>
                        <a:ext uri="{FF2B5EF4-FFF2-40B4-BE49-F238E27FC236}">
                          <a16:creationId xmlns:a16="http://schemas.microsoft.com/office/drawing/2014/main" xmlns="" id="{0F08B9D6-79D8-41BA-9A70-3DC9E0010493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927119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55" name="Rectangle 220">
                      <a:extLst>
                        <a:ext uri="{FF2B5EF4-FFF2-40B4-BE49-F238E27FC236}">
                          <a16:creationId xmlns:a16="http://schemas.microsoft.com/office/drawing/2014/main" xmlns="" id="{912CC734-A49A-4555-9262-E62592F70FF8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15929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56" name="Rectangle 220">
                      <a:extLst>
                        <a:ext uri="{FF2B5EF4-FFF2-40B4-BE49-F238E27FC236}">
                          <a16:creationId xmlns:a16="http://schemas.microsoft.com/office/drawing/2014/main" xmlns="" id="{6E3C006D-0261-41B4-9E7E-BD6B2FC8B916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33282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646" name="Gruppieren 645">
                    <a:extLst>
                      <a:ext uri="{FF2B5EF4-FFF2-40B4-BE49-F238E27FC236}">
                        <a16:creationId xmlns:a16="http://schemas.microsoft.com/office/drawing/2014/main" xmlns="" id="{DB8487F7-A197-4084-A773-1634206B051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927119" y="2287268"/>
                    <a:ext cx="483193" cy="114107"/>
                    <a:chOff x="4927119" y="820064"/>
                    <a:chExt cx="483193" cy="114107"/>
                  </a:xfrm>
                </p:grpSpPr>
                <p:sp>
                  <p:nvSpPr>
                    <p:cNvPr id="651" name="Rectangle 220">
                      <a:extLst>
                        <a:ext uri="{FF2B5EF4-FFF2-40B4-BE49-F238E27FC236}">
                          <a16:creationId xmlns:a16="http://schemas.microsoft.com/office/drawing/2014/main" xmlns="" id="{0E1B8F60-FA7A-4A17-9952-6995D7F73EAB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927119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52" name="Rectangle 220">
                      <a:extLst>
                        <a:ext uri="{FF2B5EF4-FFF2-40B4-BE49-F238E27FC236}">
                          <a16:creationId xmlns:a16="http://schemas.microsoft.com/office/drawing/2014/main" xmlns="" id="{98B35A1F-6D5C-42F5-ADC9-C587FF54E3FA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15929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53" name="Rectangle 220">
                      <a:extLst>
                        <a:ext uri="{FF2B5EF4-FFF2-40B4-BE49-F238E27FC236}">
                          <a16:creationId xmlns:a16="http://schemas.microsoft.com/office/drawing/2014/main" xmlns="" id="{E3279B8F-459D-4AA8-884A-153415243958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33282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647" name="Gruppieren 646">
                    <a:extLst>
                      <a:ext uri="{FF2B5EF4-FFF2-40B4-BE49-F238E27FC236}">
                        <a16:creationId xmlns:a16="http://schemas.microsoft.com/office/drawing/2014/main" xmlns="" id="{11CAED84-BFCF-482B-9309-8EC9F6275E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927119" y="2531799"/>
                    <a:ext cx="483193" cy="114107"/>
                    <a:chOff x="4927119" y="820064"/>
                    <a:chExt cx="483193" cy="114107"/>
                  </a:xfrm>
                </p:grpSpPr>
                <p:sp>
                  <p:nvSpPr>
                    <p:cNvPr id="648" name="Rectangle 220">
                      <a:extLst>
                        <a:ext uri="{FF2B5EF4-FFF2-40B4-BE49-F238E27FC236}">
                          <a16:creationId xmlns:a16="http://schemas.microsoft.com/office/drawing/2014/main" xmlns="" id="{6B0A1A3E-6769-4B5C-AF78-139A308ECAC6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927119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49" name="Rectangle 220">
                      <a:extLst>
                        <a:ext uri="{FF2B5EF4-FFF2-40B4-BE49-F238E27FC236}">
                          <a16:creationId xmlns:a16="http://schemas.microsoft.com/office/drawing/2014/main" xmlns="" id="{B9FB5ECE-57B2-40B5-BB25-2548D0B07E25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15929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50" name="Rectangle 220">
                      <a:extLst>
                        <a:ext uri="{FF2B5EF4-FFF2-40B4-BE49-F238E27FC236}">
                          <a16:creationId xmlns:a16="http://schemas.microsoft.com/office/drawing/2014/main" xmlns="" id="{017E9A8B-3017-4E1A-B217-0C2EFCC24A57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33282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</p:grpSp>
            <p:grpSp>
              <p:nvGrpSpPr>
                <p:cNvPr id="584" name="Gruppieren 583">
                  <a:extLst>
                    <a:ext uri="{FF2B5EF4-FFF2-40B4-BE49-F238E27FC236}">
                      <a16:creationId xmlns:a16="http://schemas.microsoft.com/office/drawing/2014/main" xmlns="" id="{56ECD2F6-5166-47D3-BE65-4A3BC4229AF3}"/>
                    </a:ext>
                  </a:extLst>
                </p:cNvPr>
                <p:cNvGrpSpPr/>
                <p:nvPr/>
              </p:nvGrpSpPr>
              <p:grpSpPr>
                <a:xfrm>
                  <a:off x="2021531" y="2804237"/>
                  <a:ext cx="238988" cy="509181"/>
                  <a:chOff x="4288786" y="1273934"/>
                  <a:chExt cx="531360" cy="1132096"/>
                </a:xfrm>
              </p:grpSpPr>
              <p:sp>
                <p:nvSpPr>
                  <p:cNvPr id="622" name="Rectangle 195">
                    <a:extLst>
                      <a:ext uri="{FF2B5EF4-FFF2-40B4-BE49-F238E27FC236}">
                        <a16:creationId xmlns:a16="http://schemas.microsoft.com/office/drawing/2014/main" xmlns="" id="{9BEEF0D3-48D9-4221-87D1-1D077715921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88786" y="1273934"/>
                    <a:ext cx="531360" cy="1132096"/>
                  </a:xfrm>
                  <a:custGeom>
                    <a:avLst/>
                    <a:gdLst>
                      <a:gd name="connsiteX0" fmla="*/ 0 w 238988"/>
                      <a:gd name="connsiteY0" fmla="*/ 0 h 509181"/>
                      <a:gd name="connsiteX1" fmla="*/ 238988 w 238988"/>
                      <a:gd name="connsiteY1" fmla="*/ 0 h 509181"/>
                      <a:gd name="connsiteX2" fmla="*/ 238988 w 238988"/>
                      <a:gd name="connsiteY2" fmla="*/ 509181 h 509181"/>
                      <a:gd name="connsiteX3" fmla="*/ 0 w 238988"/>
                      <a:gd name="connsiteY3" fmla="*/ 509181 h 509181"/>
                      <a:gd name="connsiteX4" fmla="*/ 0 w 238988"/>
                      <a:gd name="connsiteY4" fmla="*/ 0 h 509181"/>
                      <a:gd name="connsiteX0" fmla="*/ 0 w 238988"/>
                      <a:gd name="connsiteY0" fmla="*/ 0 h 572391"/>
                      <a:gd name="connsiteX1" fmla="*/ 238988 w 238988"/>
                      <a:gd name="connsiteY1" fmla="*/ 0 h 572391"/>
                      <a:gd name="connsiteX2" fmla="*/ 238988 w 238988"/>
                      <a:gd name="connsiteY2" fmla="*/ 509181 h 572391"/>
                      <a:gd name="connsiteX3" fmla="*/ 76350 w 238988"/>
                      <a:gd name="connsiteY3" fmla="*/ 572376 h 572391"/>
                      <a:gd name="connsiteX4" fmla="*/ 0 w 238988"/>
                      <a:gd name="connsiteY4" fmla="*/ 509181 h 572391"/>
                      <a:gd name="connsiteX5" fmla="*/ 0 w 238988"/>
                      <a:gd name="connsiteY5" fmla="*/ 0 h 572391"/>
                      <a:gd name="connsiteX0" fmla="*/ 0 w 238988"/>
                      <a:gd name="connsiteY0" fmla="*/ 0 h 578614"/>
                      <a:gd name="connsiteX1" fmla="*/ 238988 w 238988"/>
                      <a:gd name="connsiteY1" fmla="*/ 0 h 578614"/>
                      <a:gd name="connsiteX2" fmla="*/ 238988 w 238988"/>
                      <a:gd name="connsiteY2" fmla="*/ 509181 h 578614"/>
                      <a:gd name="connsiteX3" fmla="*/ 181125 w 238988"/>
                      <a:gd name="connsiteY3" fmla="*/ 572376 h 578614"/>
                      <a:gd name="connsiteX4" fmla="*/ 76350 w 238988"/>
                      <a:gd name="connsiteY4" fmla="*/ 572376 h 578614"/>
                      <a:gd name="connsiteX5" fmla="*/ 0 w 238988"/>
                      <a:gd name="connsiteY5" fmla="*/ 509181 h 578614"/>
                      <a:gd name="connsiteX6" fmla="*/ 0 w 238988"/>
                      <a:gd name="connsiteY6" fmla="*/ 0 h 578614"/>
                      <a:gd name="connsiteX0" fmla="*/ 76350 w 272565"/>
                      <a:gd name="connsiteY0" fmla="*/ 572376 h 663816"/>
                      <a:gd name="connsiteX1" fmla="*/ 0 w 272565"/>
                      <a:gd name="connsiteY1" fmla="*/ 509181 h 663816"/>
                      <a:gd name="connsiteX2" fmla="*/ 0 w 272565"/>
                      <a:gd name="connsiteY2" fmla="*/ 0 h 663816"/>
                      <a:gd name="connsiteX3" fmla="*/ 238988 w 272565"/>
                      <a:gd name="connsiteY3" fmla="*/ 0 h 663816"/>
                      <a:gd name="connsiteX4" fmla="*/ 238988 w 272565"/>
                      <a:gd name="connsiteY4" fmla="*/ 509181 h 663816"/>
                      <a:gd name="connsiteX5" fmla="*/ 272565 w 272565"/>
                      <a:gd name="connsiteY5" fmla="*/ 663816 h 663816"/>
                      <a:gd name="connsiteX0" fmla="*/ 76350 w 238988"/>
                      <a:gd name="connsiteY0" fmla="*/ 572376 h 572376"/>
                      <a:gd name="connsiteX1" fmla="*/ 0 w 238988"/>
                      <a:gd name="connsiteY1" fmla="*/ 509181 h 572376"/>
                      <a:gd name="connsiteX2" fmla="*/ 0 w 238988"/>
                      <a:gd name="connsiteY2" fmla="*/ 0 h 572376"/>
                      <a:gd name="connsiteX3" fmla="*/ 238988 w 238988"/>
                      <a:gd name="connsiteY3" fmla="*/ 0 h 572376"/>
                      <a:gd name="connsiteX4" fmla="*/ 238988 w 238988"/>
                      <a:gd name="connsiteY4" fmla="*/ 509181 h 572376"/>
                      <a:gd name="connsiteX0" fmla="*/ 0 w 238988"/>
                      <a:gd name="connsiteY0" fmla="*/ 509181 h 509181"/>
                      <a:gd name="connsiteX1" fmla="*/ 0 w 238988"/>
                      <a:gd name="connsiteY1" fmla="*/ 0 h 509181"/>
                      <a:gd name="connsiteX2" fmla="*/ 238988 w 238988"/>
                      <a:gd name="connsiteY2" fmla="*/ 0 h 509181"/>
                      <a:gd name="connsiteX3" fmla="*/ 238988 w 238988"/>
                      <a:gd name="connsiteY3" fmla="*/ 509181 h 5091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8988" h="509181">
                        <a:moveTo>
                          <a:pt x="0" y="509181"/>
                        </a:moveTo>
                        <a:lnTo>
                          <a:pt x="0" y="0"/>
                        </a:lnTo>
                        <a:lnTo>
                          <a:pt x="238988" y="0"/>
                        </a:lnTo>
                        <a:lnTo>
                          <a:pt x="238988" y="509181"/>
                        </a:lnTo>
                      </a:path>
                    </a:pathLst>
                  </a:custGeom>
                  <a:solidFill>
                    <a:schemeClr val="accent1">
                      <a:lumMod val="40000"/>
                      <a:lumOff val="60000"/>
                    </a:schemeClr>
                  </a:solidFill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grpSp>
                <p:nvGrpSpPr>
                  <p:cNvPr id="623" name="Gruppieren 622">
                    <a:extLst>
                      <a:ext uri="{FF2B5EF4-FFF2-40B4-BE49-F238E27FC236}">
                        <a16:creationId xmlns:a16="http://schemas.microsoft.com/office/drawing/2014/main" xmlns="" id="{63E77E7D-E67F-4E1C-B5DB-CFB9FE0F596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366165" y="1361113"/>
                    <a:ext cx="395305" cy="142621"/>
                    <a:chOff x="4366165" y="1361113"/>
                    <a:chExt cx="395305" cy="142621"/>
                  </a:xfrm>
                </p:grpSpPr>
                <p:sp>
                  <p:nvSpPr>
                    <p:cNvPr id="636" name="Rectangle 221">
                      <a:extLst>
                        <a:ext uri="{FF2B5EF4-FFF2-40B4-BE49-F238E27FC236}">
                          <a16:creationId xmlns:a16="http://schemas.microsoft.com/office/drawing/2014/main" xmlns="" id="{AFC5B960-9358-402B-A6E2-7F66EF3E3574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66165" y="1361113"/>
                      <a:ext cx="56334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37" name="Rectangle 221">
                      <a:extLst>
                        <a:ext uri="{FF2B5EF4-FFF2-40B4-BE49-F238E27FC236}">
                          <a16:creationId xmlns:a16="http://schemas.microsoft.com/office/drawing/2014/main" xmlns="" id="{1D0A8B12-A3D3-45A7-AD45-E38E1C0BEF85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476394" y="1361113"/>
                      <a:ext cx="56334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38" name="Rectangle 221">
                      <a:extLst>
                        <a:ext uri="{FF2B5EF4-FFF2-40B4-BE49-F238E27FC236}">
                          <a16:creationId xmlns:a16="http://schemas.microsoft.com/office/drawing/2014/main" xmlns="" id="{8C0ED5EF-AE12-496F-95EE-802C49ADD86E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648801" y="1361113"/>
                      <a:ext cx="112669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624" name="Gruppieren 623">
                    <a:extLst>
                      <a:ext uri="{FF2B5EF4-FFF2-40B4-BE49-F238E27FC236}">
                        <a16:creationId xmlns:a16="http://schemas.microsoft.com/office/drawing/2014/main" xmlns="" id="{DA7ABB80-009F-497F-8334-8E3C32B7796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366165" y="1600685"/>
                    <a:ext cx="395305" cy="142621"/>
                    <a:chOff x="4366165" y="1361113"/>
                    <a:chExt cx="395305" cy="142621"/>
                  </a:xfrm>
                </p:grpSpPr>
                <p:sp>
                  <p:nvSpPr>
                    <p:cNvPr id="633" name="Rectangle 221">
                      <a:extLst>
                        <a:ext uri="{FF2B5EF4-FFF2-40B4-BE49-F238E27FC236}">
                          <a16:creationId xmlns:a16="http://schemas.microsoft.com/office/drawing/2014/main" xmlns="" id="{D28C3BC9-5046-4B41-AA47-776A6097EF2E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66165" y="1361113"/>
                      <a:ext cx="56334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34" name="Rectangle 221">
                      <a:extLst>
                        <a:ext uri="{FF2B5EF4-FFF2-40B4-BE49-F238E27FC236}">
                          <a16:creationId xmlns:a16="http://schemas.microsoft.com/office/drawing/2014/main" xmlns="" id="{B1677DD4-F676-49E7-B4B8-7117BDC64CF6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476394" y="1361113"/>
                      <a:ext cx="56334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35" name="Rectangle 221">
                      <a:extLst>
                        <a:ext uri="{FF2B5EF4-FFF2-40B4-BE49-F238E27FC236}">
                          <a16:creationId xmlns:a16="http://schemas.microsoft.com/office/drawing/2014/main" xmlns="" id="{BBC1A619-3E99-474F-A285-E014C7244AD0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648801" y="1361113"/>
                      <a:ext cx="112669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625" name="Gruppieren 624">
                    <a:extLst>
                      <a:ext uri="{FF2B5EF4-FFF2-40B4-BE49-F238E27FC236}">
                        <a16:creationId xmlns:a16="http://schemas.microsoft.com/office/drawing/2014/main" xmlns="" id="{5D5C1C3A-065E-4B2C-B44B-5E7EA61A41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366165" y="1840257"/>
                    <a:ext cx="395305" cy="142621"/>
                    <a:chOff x="4366165" y="1361113"/>
                    <a:chExt cx="395305" cy="142621"/>
                  </a:xfrm>
                </p:grpSpPr>
                <p:sp>
                  <p:nvSpPr>
                    <p:cNvPr id="630" name="Rectangle 221">
                      <a:extLst>
                        <a:ext uri="{FF2B5EF4-FFF2-40B4-BE49-F238E27FC236}">
                          <a16:creationId xmlns:a16="http://schemas.microsoft.com/office/drawing/2014/main" xmlns="" id="{94656827-7B8F-4D1E-869B-F02459506CA3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66165" y="1361113"/>
                      <a:ext cx="56334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31" name="Rectangle 221">
                      <a:extLst>
                        <a:ext uri="{FF2B5EF4-FFF2-40B4-BE49-F238E27FC236}">
                          <a16:creationId xmlns:a16="http://schemas.microsoft.com/office/drawing/2014/main" xmlns="" id="{2773FB32-87F7-47D9-AFCC-240B0B272A6B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476394" y="1361113"/>
                      <a:ext cx="56334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32" name="Rectangle 221">
                      <a:extLst>
                        <a:ext uri="{FF2B5EF4-FFF2-40B4-BE49-F238E27FC236}">
                          <a16:creationId xmlns:a16="http://schemas.microsoft.com/office/drawing/2014/main" xmlns="" id="{BDC8E453-0C0C-43FD-897F-EB3E51868BE6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648801" y="1361113"/>
                      <a:ext cx="112669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626" name="Gruppieren 625">
                    <a:extLst>
                      <a:ext uri="{FF2B5EF4-FFF2-40B4-BE49-F238E27FC236}">
                        <a16:creationId xmlns:a16="http://schemas.microsoft.com/office/drawing/2014/main" xmlns="" id="{5EA164F0-B8D1-4F15-BFF9-48723E42416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366165" y="2079829"/>
                    <a:ext cx="395305" cy="142621"/>
                    <a:chOff x="4366165" y="1361113"/>
                    <a:chExt cx="395305" cy="142621"/>
                  </a:xfrm>
                </p:grpSpPr>
                <p:sp>
                  <p:nvSpPr>
                    <p:cNvPr id="627" name="Rectangle 221">
                      <a:extLst>
                        <a:ext uri="{FF2B5EF4-FFF2-40B4-BE49-F238E27FC236}">
                          <a16:creationId xmlns:a16="http://schemas.microsoft.com/office/drawing/2014/main" xmlns="" id="{C3C5CE4D-E210-40C9-93EE-E89F99D6B5AA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66165" y="1361113"/>
                      <a:ext cx="56334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28" name="Rectangle 221">
                      <a:extLst>
                        <a:ext uri="{FF2B5EF4-FFF2-40B4-BE49-F238E27FC236}">
                          <a16:creationId xmlns:a16="http://schemas.microsoft.com/office/drawing/2014/main" xmlns="" id="{04FFB83B-F2F9-4772-8409-759AAB477708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476394" y="1361113"/>
                      <a:ext cx="56334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629" name="Rectangle 221">
                      <a:extLst>
                        <a:ext uri="{FF2B5EF4-FFF2-40B4-BE49-F238E27FC236}">
                          <a16:creationId xmlns:a16="http://schemas.microsoft.com/office/drawing/2014/main" xmlns="" id="{EA9856D9-5C6F-47EE-93B1-062A29459714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648801" y="1361113"/>
                      <a:ext cx="112669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36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</p:grpSp>
            <p:sp>
              <p:nvSpPr>
                <p:cNvPr id="585" name="Ellipse 584">
                  <a:extLst>
                    <a:ext uri="{FF2B5EF4-FFF2-40B4-BE49-F238E27FC236}">
                      <a16:creationId xmlns:a16="http://schemas.microsoft.com/office/drawing/2014/main" xmlns="" id="{C8395672-5E93-4A75-B084-A65AB8CD5091}"/>
                    </a:ext>
                  </a:extLst>
                </p:cNvPr>
                <p:cNvSpPr/>
                <p:nvPr/>
              </p:nvSpPr>
              <p:spPr>
                <a:xfrm>
                  <a:off x="2173362" y="3035560"/>
                  <a:ext cx="49640" cy="80585"/>
                </a:xfrm>
                <a:prstGeom prst="ellipse">
                  <a:avLst/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Headline Light"/>
                    <a:ea typeface="+mn-ea"/>
                    <a:cs typeface="+mn-cs"/>
                  </a:endParaRPr>
                </a:p>
              </p:txBody>
            </p:sp>
            <p:grpSp>
              <p:nvGrpSpPr>
                <p:cNvPr id="586" name="Gruppieren 585">
                  <a:extLst>
                    <a:ext uri="{FF2B5EF4-FFF2-40B4-BE49-F238E27FC236}">
                      <a16:creationId xmlns:a16="http://schemas.microsoft.com/office/drawing/2014/main" xmlns="" id="{111D8C6C-984E-4F07-917B-5B69078427AA}"/>
                    </a:ext>
                  </a:extLst>
                </p:cNvPr>
                <p:cNvGrpSpPr/>
                <p:nvPr/>
              </p:nvGrpSpPr>
              <p:grpSpPr>
                <a:xfrm>
                  <a:off x="322459" y="2404047"/>
                  <a:ext cx="2301986" cy="965433"/>
                  <a:chOff x="511121" y="384165"/>
                  <a:chExt cx="5118159" cy="2146512"/>
                </a:xfrm>
              </p:grpSpPr>
              <p:sp>
                <p:nvSpPr>
                  <p:cNvPr id="590" name="Ellipse 589">
                    <a:extLst>
                      <a:ext uri="{FF2B5EF4-FFF2-40B4-BE49-F238E27FC236}">
                        <a16:creationId xmlns:a16="http://schemas.microsoft.com/office/drawing/2014/main" xmlns="" id="{85302818-0478-4FE1-B07F-A164AE32F6A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4544767" y="2045915"/>
                    <a:ext cx="275426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1" name="Ellipse 590">
                    <a:extLst>
                      <a:ext uri="{FF2B5EF4-FFF2-40B4-BE49-F238E27FC236}">
                        <a16:creationId xmlns:a16="http://schemas.microsoft.com/office/drawing/2014/main" xmlns="" id="{5B6EE582-3E6F-4277-BCF5-CE1D538D042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2391267" y="1840720"/>
                    <a:ext cx="275426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2" name="Rectangle 160">
                    <a:extLst>
                      <a:ext uri="{FF2B5EF4-FFF2-40B4-BE49-F238E27FC236}">
                        <a16:creationId xmlns:a16="http://schemas.microsoft.com/office/drawing/2014/main" xmlns="" id="{CB231396-D44D-40A6-8701-F022A5062166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655235" y="1480834"/>
                    <a:ext cx="929885" cy="1049707"/>
                  </a:xfrm>
                  <a:custGeom>
                    <a:avLst/>
                    <a:gdLst>
                      <a:gd name="connsiteX0" fmla="*/ 0 w 418233"/>
                      <a:gd name="connsiteY0" fmla="*/ 0 h 472125"/>
                      <a:gd name="connsiteX1" fmla="*/ 418233 w 418233"/>
                      <a:gd name="connsiteY1" fmla="*/ 0 h 472125"/>
                      <a:gd name="connsiteX2" fmla="*/ 418233 w 418233"/>
                      <a:gd name="connsiteY2" fmla="*/ 472125 h 472125"/>
                      <a:gd name="connsiteX3" fmla="*/ 0 w 418233"/>
                      <a:gd name="connsiteY3" fmla="*/ 472125 h 472125"/>
                      <a:gd name="connsiteX4" fmla="*/ 0 w 418233"/>
                      <a:gd name="connsiteY4" fmla="*/ 0 h 472125"/>
                      <a:gd name="connsiteX0" fmla="*/ 0 w 418233"/>
                      <a:gd name="connsiteY0" fmla="*/ 0 h 519800"/>
                      <a:gd name="connsiteX1" fmla="*/ 418233 w 418233"/>
                      <a:gd name="connsiteY1" fmla="*/ 0 h 519800"/>
                      <a:gd name="connsiteX2" fmla="*/ 418233 w 418233"/>
                      <a:gd name="connsiteY2" fmla="*/ 472125 h 519800"/>
                      <a:gd name="connsiteX3" fmla="*/ 122311 w 418233"/>
                      <a:gd name="connsiteY3" fmla="*/ 519800 h 519800"/>
                      <a:gd name="connsiteX4" fmla="*/ 0 w 418233"/>
                      <a:gd name="connsiteY4" fmla="*/ 472125 h 519800"/>
                      <a:gd name="connsiteX5" fmla="*/ 0 w 418233"/>
                      <a:gd name="connsiteY5" fmla="*/ 0 h 519800"/>
                      <a:gd name="connsiteX0" fmla="*/ 0 w 418233"/>
                      <a:gd name="connsiteY0" fmla="*/ 0 h 540526"/>
                      <a:gd name="connsiteX1" fmla="*/ 418233 w 418233"/>
                      <a:gd name="connsiteY1" fmla="*/ 0 h 540526"/>
                      <a:gd name="connsiteX2" fmla="*/ 418233 w 418233"/>
                      <a:gd name="connsiteY2" fmla="*/ 472125 h 540526"/>
                      <a:gd name="connsiteX3" fmla="*/ 308048 w 418233"/>
                      <a:gd name="connsiteY3" fmla="*/ 538849 h 540526"/>
                      <a:gd name="connsiteX4" fmla="*/ 122311 w 418233"/>
                      <a:gd name="connsiteY4" fmla="*/ 519800 h 540526"/>
                      <a:gd name="connsiteX5" fmla="*/ 0 w 418233"/>
                      <a:gd name="connsiteY5" fmla="*/ 472125 h 540526"/>
                      <a:gd name="connsiteX6" fmla="*/ 0 w 418233"/>
                      <a:gd name="connsiteY6" fmla="*/ 0 h 540526"/>
                      <a:gd name="connsiteX0" fmla="*/ 122311 w 418233"/>
                      <a:gd name="connsiteY0" fmla="*/ 519800 h 630289"/>
                      <a:gd name="connsiteX1" fmla="*/ 0 w 418233"/>
                      <a:gd name="connsiteY1" fmla="*/ 472125 h 630289"/>
                      <a:gd name="connsiteX2" fmla="*/ 0 w 418233"/>
                      <a:gd name="connsiteY2" fmla="*/ 0 h 630289"/>
                      <a:gd name="connsiteX3" fmla="*/ 418233 w 418233"/>
                      <a:gd name="connsiteY3" fmla="*/ 0 h 630289"/>
                      <a:gd name="connsiteX4" fmla="*/ 418233 w 418233"/>
                      <a:gd name="connsiteY4" fmla="*/ 472125 h 630289"/>
                      <a:gd name="connsiteX5" fmla="*/ 399488 w 418233"/>
                      <a:gd name="connsiteY5" fmla="*/ 630289 h 630289"/>
                      <a:gd name="connsiteX0" fmla="*/ 0 w 418233"/>
                      <a:gd name="connsiteY0" fmla="*/ 472125 h 630289"/>
                      <a:gd name="connsiteX1" fmla="*/ 0 w 418233"/>
                      <a:gd name="connsiteY1" fmla="*/ 0 h 630289"/>
                      <a:gd name="connsiteX2" fmla="*/ 418233 w 418233"/>
                      <a:gd name="connsiteY2" fmla="*/ 0 h 630289"/>
                      <a:gd name="connsiteX3" fmla="*/ 418233 w 418233"/>
                      <a:gd name="connsiteY3" fmla="*/ 472125 h 630289"/>
                      <a:gd name="connsiteX4" fmla="*/ 399488 w 418233"/>
                      <a:gd name="connsiteY4" fmla="*/ 630289 h 630289"/>
                      <a:gd name="connsiteX0" fmla="*/ 0 w 418233"/>
                      <a:gd name="connsiteY0" fmla="*/ 472125 h 472125"/>
                      <a:gd name="connsiteX1" fmla="*/ 0 w 418233"/>
                      <a:gd name="connsiteY1" fmla="*/ 0 h 472125"/>
                      <a:gd name="connsiteX2" fmla="*/ 418233 w 418233"/>
                      <a:gd name="connsiteY2" fmla="*/ 0 h 472125"/>
                      <a:gd name="connsiteX3" fmla="*/ 418233 w 418233"/>
                      <a:gd name="connsiteY3" fmla="*/ 472125 h 4721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8233" h="472125">
                        <a:moveTo>
                          <a:pt x="0" y="472125"/>
                        </a:moveTo>
                        <a:lnTo>
                          <a:pt x="0" y="0"/>
                        </a:lnTo>
                        <a:lnTo>
                          <a:pt x="418233" y="0"/>
                        </a:lnTo>
                        <a:lnTo>
                          <a:pt x="418233" y="472125"/>
                        </a:lnTo>
                      </a:path>
                    </a:pathLst>
                  </a:custGeom>
                  <a:solidFill>
                    <a:schemeClr val="accent2">
                      <a:lumMod val="20000"/>
                      <a:lumOff val="80000"/>
                    </a:schemeClr>
                  </a:solidFill>
                  <a:ln w="9525">
                    <a:solidFill>
                      <a:srgbClr val="98A2AE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93" name="Freeform 165">
                    <a:extLst>
                      <a:ext uri="{FF2B5EF4-FFF2-40B4-BE49-F238E27FC236}">
                        <a16:creationId xmlns:a16="http://schemas.microsoft.com/office/drawing/2014/main" xmlns="" id="{146A94D6-06DE-447C-9179-85EC34A45B6A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732723" y="1603270"/>
                    <a:ext cx="77490" cy="121770"/>
                  </a:xfrm>
                  <a:custGeom>
                    <a:avLst/>
                    <a:gdLst/>
                    <a:ahLst/>
                    <a:cxnLst>
                      <a:cxn ang="0">
                        <a:pos x="0" y="44"/>
                      </a:cxn>
                      <a:cxn ang="0">
                        <a:pos x="0" y="16"/>
                      </a:cxn>
                      <a:cxn ang="0">
                        <a:pos x="14" y="0"/>
                      </a:cxn>
                      <a:cxn ang="0">
                        <a:pos x="28" y="16"/>
                      </a:cxn>
                      <a:cxn ang="0">
                        <a:pos x="28" y="44"/>
                      </a:cxn>
                    </a:cxnLst>
                    <a:rect l="0" t="0" r="r" b="b"/>
                    <a:pathLst>
                      <a:path w="28" h="44">
                        <a:moveTo>
                          <a:pt x="0" y="44"/>
                        </a:move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7"/>
                          <a:pt x="6" y="0"/>
                          <a:pt x="14" y="0"/>
                        </a:cubicBezTo>
                        <a:cubicBezTo>
                          <a:pt x="23" y="0"/>
                          <a:pt x="28" y="7"/>
                          <a:pt x="28" y="16"/>
                        </a:cubicBezTo>
                        <a:cubicBezTo>
                          <a:pt x="28" y="44"/>
                          <a:pt x="28" y="44"/>
                          <a:pt x="28" y="44"/>
                        </a:cubicBez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94" name="Freeform 166">
                    <a:extLst>
                      <a:ext uri="{FF2B5EF4-FFF2-40B4-BE49-F238E27FC236}">
                        <a16:creationId xmlns:a16="http://schemas.microsoft.com/office/drawing/2014/main" xmlns="" id="{D75AED29-05DD-4132-90F9-FC5494A94CE3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860031" y="1603270"/>
                    <a:ext cx="88561" cy="121770"/>
                  </a:xfrm>
                  <a:custGeom>
                    <a:avLst/>
                    <a:gdLst/>
                    <a:ahLst/>
                    <a:cxnLst>
                      <a:cxn ang="0">
                        <a:pos x="0" y="44"/>
                      </a:cxn>
                      <a:cxn ang="0">
                        <a:pos x="0" y="16"/>
                      </a:cxn>
                      <a:cxn ang="0">
                        <a:pos x="16" y="0"/>
                      </a:cxn>
                      <a:cxn ang="0">
                        <a:pos x="32" y="16"/>
                      </a:cxn>
                      <a:cxn ang="0">
                        <a:pos x="32" y="44"/>
                      </a:cxn>
                    </a:cxnLst>
                    <a:rect l="0" t="0" r="r" b="b"/>
                    <a:pathLst>
                      <a:path w="32" h="44">
                        <a:moveTo>
                          <a:pt x="0" y="44"/>
                        </a:move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7"/>
                          <a:pt x="8" y="0"/>
                          <a:pt x="16" y="0"/>
                        </a:cubicBezTo>
                        <a:cubicBezTo>
                          <a:pt x="25" y="0"/>
                          <a:pt x="32" y="7"/>
                          <a:pt x="32" y="16"/>
                        </a:cubicBezTo>
                        <a:cubicBezTo>
                          <a:pt x="32" y="44"/>
                          <a:pt x="32" y="44"/>
                          <a:pt x="32" y="44"/>
                        </a:cubicBezTo>
                      </a:path>
                    </a:pathLst>
                  </a:custGeom>
                  <a:noFill/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95" name="Freeform 168">
                    <a:extLst>
                      <a:ext uri="{FF2B5EF4-FFF2-40B4-BE49-F238E27FC236}">
                        <a16:creationId xmlns:a16="http://schemas.microsoft.com/office/drawing/2014/main" xmlns="" id="{A1FC463D-A53E-4EB7-9212-3C9113C291B8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992871" y="1603270"/>
                    <a:ext cx="88561" cy="121770"/>
                  </a:xfrm>
                  <a:custGeom>
                    <a:avLst/>
                    <a:gdLst/>
                    <a:ahLst/>
                    <a:cxnLst>
                      <a:cxn ang="0">
                        <a:pos x="0" y="44"/>
                      </a:cxn>
                      <a:cxn ang="0">
                        <a:pos x="0" y="16"/>
                      </a:cxn>
                      <a:cxn ang="0">
                        <a:pos x="16" y="0"/>
                      </a:cxn>
                      <a:cxn ang="0">
                        <a:pos x="32" y="16"/>
                      </a:cxn>
                      <a:cxn ang="0">
                        <a:pos x="32" y="44"/>
                      </a:cxn>
                    </a:cxnLst>
                    <a:rect l="0" t="0" r="r" b="b"/>
                    <a:pathLst>
                      <a:path w="32" h="44">
                        <a:moveTo>
                          <a:pt x="0" y="44"/>
                        </a:move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7"/>
                          <a:pt x="8" y="0"/>
                          <a:pt x="16" y="0"/>
                        </a:cubicBezTo>
                        <a:cubicBezTo>
                          <a:pt x="25" y="0"/>
                          <a:pt x="32" y="7"/>
                          <a:pt x="32" y="16"/>
                        </a:cubicBezTo>
                        <a:cubicBezTo>
                          <a:pt x="32" y="44"/>
                          <a:pt x="32" y="44"/>
                          <a:pt x="32" y="44"/>
                        </a:cubicBezTo>
                      </a:path>
                    </a:pathLst>
                  </a:custGeom>
                  <a:noFill/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96" name="Freeform 164">
                    <a:extLst>
                      <a:ext uri="{FF2B5EF4-FFF2-40B4-BE49-F238E27FC236}">
                        <a16:creationId xmlns:a16="http://schemas.microsoft.com/office/drawing/2014/main" xmlns="" id="{178FAD53-1E58-47BD-AB61-53F78B92809B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1149085" y="1603270"/>
                    <a:ext cx="88561" cy="121770"/>
                  </a:xfrm>
                  <a:custGeom>
                    <a:avLst/>
                    <a:gdLst/>
                    <a:ahLst/>
                    <a:cxnLst>
                      <a:cxn ang="0">
                        <a:pos x="0" y="44"/>
                      </a:cxn>
                      <a:cxn ang="0">
                        <a:pos x="0" y="16"/>
                      </a:cxn>
                      <a:cxn ang="0">
                        <a:pos x="16" y="0"/>
                      </a:cxn>
                      <a:cxn ang="0">
                        <a:pos x="32" y="16"/>
                      </a:cxn>
                      <a:cxn ang="0">
                        <a:pos x="32" y="44"/>
                      </a:cxn>
                    </a:cxnLst>
                    <a:rect l="0" t="0" r="r" b="b"/>
                    <a:pathLst>
                      <a:path w="32" h="44">
                        <a:moveTo>
                          <a:pt x="0" y="44"/>
                        </a:move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7"/>
                          <a:pt x="8" y="0"/>
                          <a:pt x="16" y="0"/>
                        </a:cubicBezTo>
                        <a:cubicBezTo>
                          <a:pt x="25" y="0"/>
                          <a:pt x="32" y="7"/>
                          <a:pt x="32" y="16"/>
                        </a:cubicBezTo>
                        <a:cubicBezTo>
                          <a:pt x="32" y="44"/>
                          <a:pt x="32" y="44"/>
                          <a:pt x="32" y="44"/>
                        </a:cubicBezTo>
                      </a:path>
                    </a:pathLst>
                  </a:custGeom>
                  <a:noFill/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97" name="Freeform 166">
                    <a:extLst>
                      <a:ext uri="{FF2B5EF4-FFF2-40B4-BE49-F238E27FC236}">
                        <a16:creationId xmlns:a16="http://schemas.microsoft.com/office/drawing/2014/main" xmlns="" id="{66740DB6-14B4-4376-9592-C1DA8A9068BC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1281926" y="1603270"/>
                    <a:ext cx="88561" cy="121770"/>
                  </a:xfrm>
                  <a:custGeom>
                    <a:avLst/>
                    <a:gdLst/>
                    <a:ahLst/>
                    <a:cxnLst>
                      <a:cxn ang="0">
                        <a:pos x="0" y="44"/>
                      </a:cxn>
                      <a:cxn ang="0">
                        <a:pos x="0" y="16"/>
                      </a:cxn>
                      <a:cxn ang="0">
                        <a:pos x="16" y="0"/>
                      </a:cxn>
                      <a:cxn ang="0">
                        <a:pos x="32" y="16"/>
                      </a:cxn>
                      <a:cxn ang="0">
                        <a:pos x="32" y="44"/>
                      </a:cxn>
                    </a:cxnLst>
                    <a:rect l="0" t="0" r="r" b="b"/>
                    <a:pathLst>
                      <a:path w="32" h="44">
                        <a:moveTo>
                          <a:pt x="0" y="44"/>
                        </a:move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7"/>
                          <a:pt x="8" y="0"/>
                          <a:pt x="16" y="0"/>
                        </a:cubicBezTo>
                        <a:cubicBezTo>
                          <a:pt x="25" y="0"/>
                          <a:pt x="32" y="7"/>
                          <a:pt x="32" y="16"/>
                        </a:cubicBezTo>
                        <a:cubicBezTo>
                          <a:pt x="32" y="44"/>
                          <a:pt x="32" y="44"/>
                          <a:pt x="32" y="44"/>
                        </a:cubicBezTo>
                      </a:path>
                    </a:pathLst>
                  </a:custGeom>
                  <a:noFill/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98" name="Freeform 168">
                    <a:extLst>
                      <a:ext uri="{FF2B5EF4-FFF2-40B4-BE49-F238E27FC236}">
                        <a16:creationId xmlns:a16="http://schemas.microsoft.com/office/drawing/2014/main" xmlns="" id="{91D10461-05DE-4F4B-BE40-9724ED53A52B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1414766" y="1603270"/>
                    <a:ext cx="88561" cy="121770"/>
                  </a:xfrm>
                  <a:custGeom>
                    <a:avLst/>
                    <a:gdLst/>
                    <a:ahLst/>
                    <a:cxnLst>
                      <a:cxn ang="0">
                        <a:pos x="0" y="44"/>
                      </a:cxn>
                      <a:cxn ang="0">
                        <a:pos x="0" y="16"/>
                      </a:cxn>
                      <a:cxn ang="0">
                        <a:pos x="16" y="0"/>
                      </a:cxn>
                      <a:cxn ang="0">
                        <a:pos x="32" y="16"/>
                      </a:cxn>
                      <a:cxn ang="0">
                        <a:pos x="32" y="44"/>
                      </a:cxn>
                    </a:cxnLst>
                    <a:rect l="0" t="0" r="r" b="b"/>
                    <a:pathLst>
                      <a:path w="32" h="44">
                        <a:moveTo>
                          <a:pt x="0" y="44"/>
                        </a:move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7"/>
                          <a:pt x="8" y="0"/>
                          <a:pt x="16" y="0"/>
                        </a:cubicBezTo>
                        <a:cubicBezTo>
                          <a:pt x="25" y="0"/>
                          <a:pt x="32" y="7"/>
                          <a:pt x="32" y="16"/>
                        </a:cubicBezTo>
                        <a:cubicBezTo>
                          <a:pt x="32" y="44"/>
                          <a:pt x="32" y="44"/>
                          <a:pt x="32" y="44"/>
                        </a:cubicBezTo>
                      </a:path>
                    </a:pathLst>
                  </a:custGeom>
                  <a:noFill/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grpSp>
                <p:nvGrpSpPr>
                  <p:cNvPr id="599" name="Gruppieren 598">
                    <a:extLst>
                      <a:ext uri="{FF2B5EF4-FFF2-40B4-BE49-F238E27FC236}">
                        <a16:creationId xmlns:a16="http://schemas.microsoft.com/office/drawing/2014/main" xmlns="" id="{2761724F-2DBE-4145-B046-CADDC20D1ED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734461" y="1776316"/>
                    <a:ext cx="767947" cy="701279"/>
                    <a:chOff x="1587718" y="627641"/>
                    <a:chExt cx="462428" cy="588167"/>
                  </a:xfrm>
                </p:grpSpPr>
                <p:grpSp>
                  <p:nvGrpSpPr>
                    <p:cNvPr id="607" name="Gruppieren 606">
                      <a:extLst>
                        <a:ext uri="{FF2B5EF4-FFF2-40B4-BE49-F238E27FC236}">
                          <a16:creationId xmlns:a16="http://schemas.microsoft.com/office/drawing/2014/main" xmlns="" id="{4A41FE77-8B13-4298-AB1B-DBE45086518D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587718" y="627641"/>
                      <a:ext cx="116404" cy="588167"/>
                      <a:chOff x="1587718" y="627641"/>
                      <a:chExt cx="77489" cy="588167"/>
                    </a:xfrm>
                  </p:grpSpPr>
                  <p:sp>
                    <p:nvSpPr>
                      <p:cNvPr id="618" name="Rectangle 220">
                        <a:extLst>
                          <a:ext uri="{FF2B5EF4-FFF2-40B4-BE49-F238E27FC236}">
                            <a16:creationId xmlns:a16="http://schemas.microsoft.com/office/drawing/2014/main" xmlns="" id="{A97B6819-DD51-4E6A-A49C-0828960889B5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627641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619" name="Rectangle 220">
                        <a:extLst>
                          <a:ext uri="{FF2B5EF4-FFF2-40B4-BE49-F238E27FC236}">
                            <a16:creationId xmlns:a16="http://schemas.microsoft.com/office/drawing/2014/main" xmlns="" id="{33088520-D5A1-4A21-904B-FCB02E5EFEC6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79369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620" name="Rectangle 220">
                        <a:extLst>
                          <a:ext uri="{FF2B5EF4-FFF2-40B4-BE49-F238E27FC236}">
                            <a16:creationId xmlns:a16="http://schemas.microsoft.com/office/drawing/2014/main" xmlns="" id="{583B179C-EEE8-40C4-9A48-175F7447556E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95975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621" name="Rectangle 220">
                        <a:extLst>
                          <a:ext uri="{FF2B5EF4-FFF2-40B4-BE49-F238E27FC236}">
                            <a16:creationId xmlns:a16="http://schemas.microsoft.com/office/drawing/2014/main" xmlns="" id="{E0BBD0A0-0DE9-4B89-9614-5609C4440832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12580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</p:grpSp>
                <p:grpSp>
                  <p:nvGrpSpPr>
                    <p:cNvPr id="608" name="Gruppieren 607">
                      <a:extLst>
                        <a:ext uri="{FF2B5EF4-FFF2-40B4-BE49-F238E27FC236}">
                          <a16:creationId xmlns:a16="http://schemas.microsoft.com/office/drawing/2014/main" xmlns="" id="{E23E6EDB-1B13-4F44-BEAD-BD4D809C1D6A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760730" y="627641"/>
                      <a:ext cx="116404" cy="588167"/>
                      <a:chOff x="1587718" y="627641"/>
                      <a:chExt cx="77489" cy="588167"/>
                    </a:xfrm>
                  </p:grpSpPr>
                  <p:sp>
                    <p:nvSpPr>
                      <p:cNvPr id="614" name="Rectangle 220">
                        <a:extLst>
                          <a:ext uri="{FF2B5EF4-FFF2-40B4-BE49-F238E27FC236}">
                            <a16:creationId xmlns:a16="http://schemas.microsoft.com/office/drawing/2014/main" xmlns="" id="{C7FC986B-F3DA-476E-B6F5-69BBCC1D67B9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627641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615" name="Rectangle 220">
                        <a:extLst>
                          <a:ext uri="{FF2B5EF4-FFF2-40B4-BE49-F238E27FC236}">
                            <a16:creationId xmlns:a16="http://schemas.microsoft.com/office/drawing/2014/main" xmlns="" id="{7B92A59B-68F2-4BAB-B951-95F171FB179C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79369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616" name="Rectangle 220">
                        <a:extLst>
                          <a:ext uri="{FF2B5EF4-FFF2-40B4-BE49-F238E27FC236}">
                            <a16:creationId xmlns:a16="http://schemas.microsoft.com/office/drawing/2014/main" xmlns="" id="{1BCA38E2-6679-4819-B198-C837159FD676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95975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617" name="Rectangle 220">
                        <a:extLst>
                          <a:ext uri="{FF2B5EF4-FFF2-40B4-BE49-F238E27FC236}">
                            <a16:creationId xmlns:a16="http://schemas.microsoft.com/office/drawing/2014/main" xmlns="" id="{44AEF92D-7B64-486B-9766-E89462BC6876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12580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</p:grpSp>
                <p:grpSp>
                  <p:nvGrpSpPr>
                    <p:cNvPr id="609" name="Gruppieren 608">
                      <a:extLst>
                        <a:ext uri="{FF2B5EF4-FFF2-40B4-BE49-F238E27FC236}">
                          <a16:creationId xmlns:a16="http://schemas.microsoft.com/office/drawing/2014/main" xmlns="" id="{81499367-5B32-43F0-A5AC-57477B07026A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933742" y="627641"/>
                      <a:ext cx="116404" cy="588167"/>
                      <a:chOff x="1587718" y="627641"/>
                      <a:chExt cx="77489" cy="588167"/>
                    </a:xfrm>
                  </p:grpSpPr>
                  <p:sp>
                    <p:nvSpPr>
                      <p:cNvPr id="610" name="Rectangle 220">
                        <a:extLst>
                          <a:ext uri="{FF2B5EF4-FFF2-40B4-BE49-F238E27FC236}">
                            <a16:creationId xmlns:a16="http://schemas.microsoft.com/office/drawing/2014/main" xmlns="" id="{D57D506A-2CA4-4DB2-838F-90511CBF68FF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627641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611" name="Rectangle 220">
                        <a:extLst>
                          <a:ext uri="{FF2B5EF4-FFF2-40B4-BE49-F238E27FC236}">
                            <a16:creationId xmlns:a16="http://schemas.microsoft.com/office/drawing/2014/main" xmlns="" id="{85A1D42A-D8F9-4C6C-9135-4BC66E9FC7DF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79369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612" name="Rectangle 220">
                        <a:extLst>
                          <a:ext uri="{FF2B5EF4-FFF2-40B4-BE49-F238E27FC236}">
                            <a16:creationId xmlns:a16="http://schemas.microsoft.com/office/drawing/2014/main" xmlns="" id="{D218CB26-1224-4CCE-B198-C2EB854E6B33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95975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613" name="Rectangle 220">
                        <a:extLst>
                          <a:ext uri="{FF2B5EF4-FFF2-40B4-BE49-F238E27FC236}">
                            <a16:creationId xmlns:a16="http://schemas.microsoft.com/office/drawing/2014/main" xmlns="" id="{4240508A-3D25-4BDB-95CA-BFA3D6307828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12580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14365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</p:grpSp>
              </p:grpSp>
              <p:sp>
                <p:nvSpPr>
                  <p:cNvPr id="600" name="Ellipse 599">
                    <a:extLst>
                      <a:ext uri="{FF2B5EF4-FFF2-40B4-BE49-F238E27FC236}">
                        <a16:creationId xmlns:a16="http://schemas.microsoft.com/office/drawing/2014/main" xmlns="" id="{F6480ED3-689A-4319-803A-1113878BFCCF}"/>
                      </a:ext>
                    </a:extLst>
                  </p:cNvPr>
                  <p:cNvSpPr>
                    <a:spLocks noChangeAspect="1"/>
                  </p:cNvSpPr>
                  <p:nvPr userDrawn="1"/>
                </p:nvSpPr>
                <p:spPr>
                  <a:xfrm>
                    <a:off x="886853" y="2152796"/>
                    <a:ext cx="275427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1" name="Ellipse 600">
                    <a:extLst>
                      <a:ext uri="{FF2B5EF4-FFF2-40B4-BE49-F238E27FC236}">
                        <a16:creationId xmlns:a16="http://schemas.microsoft.com/office/drawing/2014/main" xmlns="" id="{375E5502-8366-4945-B87E-73105E1388F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2834649" y="1587153"/>
                    <a:ext cx="275426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2" name="Ellipse 601">
                    <a:extLst>
                      <a:ext uri="{FF2B5EF4-FFF2-40B4-BE49-F238E27FC236}">
                        <a16:creationId xmlns:a16="http://schemas.microsoft.com/office/drawing/2014/main" xmlns="" id="{9E053CD6-4D8B-4D9D-AF61-05EBE995093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511121" y="2003610"/>
                    <a:ext cx="275426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3" name="Ellipse 602">
                    <a:extLst>
                      <a:ext uri="{FF2B5EF4-FFF2-40B4-BE49-F238E27FC236}">
                        <a16:creationId xmlns:a16="http://schemas.microsoft.com/office/drawing/2014/main" xmlns="" id="{2894B3CC-A2A8-4CEF-8070-953E10D903A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4159433" y="1769988"/>
                    <a:ext cx="275426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4" name="Ellipse 603">
                    <a:extLst>
                      <a:ext uri="{FF2B5EF4-FFF2-40B4-BE49-F238E27FC236}">
                        <a16:creationId xmlns:a16="http://schemas.microsoft.com/office/drawing/2014/main" xmlns="" id="{38C59E7E-DEE2-4CEA-9F03-C24202F821A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5353854" y="2255251"/>
                    <a:ext cx="275426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5" name="Ellipse 604">
                    <a:extLst>
                      <a:ext uri="{FF2B5EF4-FFF2-40B4-BE49-F238E27FC236}">
                        <a16:creationId xmlns:a16="http://schemas.microsoft.com/office/drawing/2014/main" xmlns="" id="{287F7837-C4E2-44DE-A7FA-52CF1A134012}"/>
                      </a:ext>
                    </a:extLst>
                  </p:cNvPr>
                  <p:cNvSpPr>
                    <a:spLocks noChangeAspect="1"/>
                  </p:cNvSpPr>
                  <p:nvPr userDrawn="1"/>
                </p:nvSpPr>
                <p:spPr>
                  <a:xfrm>
                    <a:off x="3321381" y="527654"/>
                    <a:ext cx="275426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6" name="Ellipse 605">
                    <a:extLst>
                      <a:ext uri="{FF2B5EF4-FFF2-40B4-BE49-F238E27FC236}">
                        <a16:creationId xmlns:a16="http://schemas.microsoft.com/office/drawing/2014/main" xmlns="" id="{ECD2D9FE-320E-4C4B-813A-347F9EC717A7}"/>
                      </a:ext>
                    </a:extLst>
                  </p:cNvPr>
                  <p:cNvSpPr>
                    <a:spLocks noChangeAspect="1"/>
                  </p:cNvSpPr>
                  <p:nvPr userDrawn="1"/>
                </p:nvSpPr>
                <p:spPr>
                  <a:xfrm>
                    <a:off x="2539356" y="384165"/>
                    <a:ext cx="275426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587" name="Gruppieren 586">
                  <a:extLst>
                    <a:ext uri="{FF2B5EF4-FFF2-40B4-BE49-F238E27FC236}">
                      <a16:creationId xmlns:a16="http://schemas.microsoft.com/office/drawing/2014/main" xmlns="" id="{8A2014AC-CB49-4F91-B6F8-59ED464D67C9}"/>
                    </a:ext>
                  </a:extLst>
                </p:cNvPr>
                <p:cNvGrpSpPr/>
                <p:nvPr/>
              </p:nvGrpSpPr>
              <p:grpSpPr>
                <a:xfrm>
                  <a:off x="520494" y="3072728"/>
                  <a:ext cx="71462" cy="477807"/>
                  <a:chOff x="805680" y="2827844"/>
                  <a:chExt cx="101535" cy="678881"/>
                </a:xfrm>
              </p:grpSpPr>
              <p:sp>
                <p:nvSpPr>
                  <p:cNvPr id="588" name="Ellipse 587">
                    <a:extLst>
                      <a:ext uri="{FF2B5EF4-FFF2-40B4-BE49-F238E27FC236}">
                        <a16:creationId xmlns:a16="http://schemas.microsoft.com/office/drawing/2014/main" xmlns="" id="{F3B63644-359E-4524-83B7-6D16D839290F}"/>
                      </a:ext>
                    </a:extLst>
                  </p:cNvPr>
                  <p:cNvSpPr/>
                  <p:nvPr/>
                </p:nvSpPr>
                <p:spPr>
                  <a:xfrm>
                    <a:off x="819151" y="2842260"/>
                    <a:ext cx="70530" cy="114498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9" name="Abgerundetes Rechteck 71">
                    <a:extLst>
                      <a:ext uri="{FF2B5EF4-FFF2-40B4-BE49-F238E27FC236}">
                        <a16:creationId xmlns:a16="http://schemas.microsoft.com/office/drawing/2014/main" xmlns="" id="{7ED7ABF0-C4D1-4A03-803A-5D1E2D14F320}"/>
                      </a:ext>
                    </a:extLst>
                  </p:cNvPr>
                  <p:cNvSpPr/>
                  <p:nvPr/>
                </p:nvSpPr>
                <p:spPr>
                  <a:xfrm>
                    <a:off x="805680" y="2827844"/>
                    <a:ext cx="101535" cy="6788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11366" h="3419086">
                        <a:moveTo>
                          <a:pt x="94199" y="3360696"/>
                        </a:moveTo>
                        <a:lnTo>
                          <a:pt x="417168" y="3360696"/>
                        </a:lnTo>
                        <a:cubicBezTo>
                          <a:pt x="433292" y="3360696"/>
                          <a:pt x="446363" y="3373767"/>
                          <a:pt x="446363" y="3389891"/>
                        </a:cubicBezTo>
                        <a:cubicBezTo>
                          <a:pt x="446363" y="3406015"/>
                          <a:pt x="433292" y="3419086"/>
                          <a:pt x="417168" y="3419086"/>
                        </a:cubicBezTo>
                        <a:cubicBezTo>
                          <a:pt x="309512" y="3419086"/>
                          <a:pt x="201854" y="3419085"/>
                          <a:pt x="94198" y="3419085"/>
                        </a:cubicBezTo>
                        <a:cubicBezTo>
                          <a:pt x="78074" y="3419085"/>
                          <a:pt x="65003" y="3406014"/>
                          <a:pt x="65003" y="3389890"/>
                        </a:cubicBezTo>
                        <a:lnTo>
                          <a:pt x="65004" y="3389891"/>
                        </a:lnTo>
                        <a:cubicBezTo>
                          <a:pt x="65004" y="3373767"/>
                          <a:pt x="78075" y="3360696"/>
                          <a:pt x="94199" y="3360696"/>
                        </a:cubicBezTo>
                        <a:close/>
                        <a:moveTo>
                          <a:pt x="94199" y="3301324"/>
                        </a:moveTo>
                        <a:lnTo>
                          <a:pt x="417168" y="3301324"/>
                        </a:lnTo>
                        <a:cubicBezTo>
                          <a:pt x="433292" y="3301324"/>
                          <a:pt x="446363" y="3314395"/>
                          <a:pt x="446363" y="3330519"/>
                        </a:cubicBezTo>
                        <a:cubicBezTo>
                          <a:pt x="446363" y="3346643"/>
                          <a:pt x="433292" y="3359714"/>
                          <a:pt x="417168" y="3359714"/>
                        </a:cubicBezTo>
                        <a:cubicBezTo>
                          <a:pt x="309512" y="3359714"/>
                          <a:pt x="201854" y="3359713"/>
                          <a:pt x="94198" y="3359713"/>
                        </a:cubicBezTo>
                        <a:cubicBezTo>
                          <a:pt x="78074" y="3359713"/>
                          <a:pt x="65003" y="3346642"/>
                          <a:pt x="65003" y="3330518"/>
                        </a:cubicBezTo>
                        <a:lnTo>
                          <a:pt x="65004" y="3330519"/>
                        </a:lnTo>
                        <a:cubicBezTo>
                          <a:pt x="65004" y="3314395"/>
                          <a:pt x="78075" y="3301324"/>
                          <a:pt x="94199" y="3301324"/>
                        </a:cubicBezTo>
                        <a:close/>
                        <a:moveTo>
                          <a:pt x="87362" y="269553"/>
                        </a:moveTo>
                        <a:lnTo>
                          <a:pt x="79360" y="333499"/>
                        </a:lnTo>
                        <a:cubicBezTo>
                          <a:pt x="79360" y="470262"/>
                          <a:pt x="139184" y="584483"/>
                          <a:pt x="218978" y="611594"/>
                        </a:cubicBezTo>
                        <a:lnTo>
                          <a:pt x="292388" y="611594"/>
                        </a:lnTo>
                        <a:cubicBezTo>
                          <a:pt x="372182" y="584483"/>
                          <a:pt x="432006" y="470262"/>
                          <a:pt x="432006" y="333499"/>
                        </a:cubicBezTo>
                        <a:lnTo>
                          <a:pt x="424004" y="269553"/>
                        </a:lnTo>
                        <a:close/>
                        <a:moveTo>
                          <a:pt x="255684" y="0"/>
                        </a:moveTo>
                        <a:cubicBezTo>
                          <a:pt x="268309" y="0"/>
                          <a:pt x="278544" y="10235"/>
                          <a:pt x="278544" y="22860"/>
                        </a:cubicBezTo>
                        <a:cubicBezTo>
                          <a:pt x="278544" y="34799"/>
                          <a:pt x="269391" y="44601"/>
                          <a:pt x="257655" y="44904"/>
                        </a:cubicBezTo>
                        <a:cubicBezTo>
                          <a:pt x="327103" y="45319"/>
                          <a:pt x="388286" y="80432"/>
                          <a:pt x="421913" y="135842"/>
                        </a:cubicBezTo>
                        <a:lnTo>
                          <a:pt x="426301" y="135842"/>
                        </a:lnTo>
                        <a:lnTo>
                          <a:pt x="453218" y="214309"/>
                        </a:lnTo>
                        <a:lnTo>
                          <a:pt x="483744" y="214309"/>
                        </a:lnTo>
                        <a:cubicBezTo>
                          <a:pt x="498999" y="214309"/>
                          <a:pt x="511366" y="226676"/>
                          <a:pt x="511366" y="241931"/>
                        </a:cubicBezTo>
                        <a:cubicBezTo>
                          <a:pt x="511366" y="257186"/>
                          <a:pt x="498999" y="269553"/>
                          <a:pt x="483744" y="269553"/>
                        </a:cubicBezTo>
                        <a:lnTo>
                          <a:pt x="461167" y="269553"/>
                        </a:lnTo>
                        <a:cubicBezTo>
                          <a:pt x="466580" y="289933"/>
                          <a:pt x="468054" y="311456"/>
                          <a:pt x="468054" y="333499"/>
                        </a:cubicBezTo>
                        <a:cubicBezTo>
                          <a:pt x="468054" y="453165"/>
                          <a:pt x="424600" y="557513"/>
                          <a:pt x="359376" y="611594"/>
                        </a:cubicBezTo>
                        <a:lnTo>
                          <a:pt x="360287" y="611594"/>
                        </a:lnTo>
                        <a:lnTo>
                          <a:pt x="341000" y="667819"/>
                        </a:lnTo>
                        <a:lnTo>
                          <a:pt x="341000" y="758186"/>
                        </a:lnTo>
                        <a:lnTo>
                          <a:pt x="340785" y="758186"/>
                        </a:lnTo>
                        <a:lnTo>
                          <a:pt x="314331" y="835306"/>
                        </a:lnTo>
                        <a:cubicBezTo>
                          <a:pt x="322560" y="837558"/>
                          <a:pt x="327684" y="845295"/>
                          <a:pt x="327684" y="854228"/>
                        </a:cubicBezTo>
                        <a:cubicBezTo>
                          <a:pt x="327684" y="866853"/>
                          <a:pt x="317449" y="877088"/>
                          <a:pt x="304824" y="877088"/>
                        </a:cubicBezTo>
                        <a:lnTo>
                          <a:pt x="291683" y="877087"/>
                        </a:lnTo>
                        <a:lnTo>
                          <a:pt x="291683" y="2677287"/>
                        </a:lnTo>
                        <a:lnTo>
                          <a:pt x="309683" y="2677287"/>
                        </a:lnTo>
                        <a:cubicBezTo>
                          <a:pt x="319624" y="2677287"/>
                          <a:pt x="327683" y="2685346"/>
                          <a:pt x="327683" y="2695287"/>
                        </a:cubicBezTo>
                        <a:cubicBezTo>
                          <a:pt x="327683" y="2704864"/>
                          <a:pt x="320204" y="2712694"/>
                          <a:pt x="310744" y="2712848"/>
                        </a:cubicBezTo>
                        <a:cubicBezTo>
                          <a:pt x="320204" y="2713001"/>
                          <a:pt x="327683" y="2720832"/>
                          <a:pt x="327683" y="2730408"/>
                        </a:cubicBezTo>
                        <a:cubicBezTo>
                          <a:pt x="327683" y="2740349"/>
                          <a:pt x="319624" y="2748408"/>
                          <a:pt x="309683" y="2748408"/>
                        </a:cubicBezTo>
                        <a:lnTo>
                          <a:pt x="291683" y="2748408"/>
                        </a:lnTo>
                        <a:lnTo>
                          <a:pt x="291683" y="2749071"/>
                        </a:lnTo>
                        <a:lnTo>
                          <a:pt x="291567" y="2749351"/>
                        </a:lnTo>
                        <a:cubicBezTo>
                          <a:pt x="313374" y="2759321"/>
                          <a:pt x="327683" y="2779569"/>
                          <a:pt x="327683" y="2802740"/>
                        </a:cubicBezTo>
                        <a:cubicBezTo>
                          <a:pt x="327683" y="2821144"/>
                          <a:pt x="318656" y="2837704"/>
                          <a:pt x="303951" y="2848827"/>
                        </a:cubicBezTo>
                        <a:lnTo>
                          <a:pt x="391139" y="3301323"/>
                        </a:lnTo>
                        <a:lnTo>
                          <a:pt x="120228" y="3301323"/>
                        </a:lnTo>
                        <a:lnTo>
                          <a:pt x="207416" y="2848827"/>
                        </a:lnTo>
                        <a:cubicBezTo>
                          <a:pt x="192710" y="2837705"/>
                          <a:pt x="183683" y="2821144"/>
                          <a:pt x="183683" y="2802740"/>
                        </a:cubicBezTo>
                        <a:cubicBezTo>
                          <a:pt x="183683" y="2779569"/>
                          <a:pt x="197992" y="2759321"/>
                          <a:pt x="219799" y="2749351"/>
                        </a:cubicBezTo>
                        <a:cubicBezTo>
                          <a:pt x="219684" y="2749259"/>
                          <a:pt x="219683" y="2749165"/>
                          <a:pt x="219683" y="2749071"/>
                        </a:cubicBezTo>
                        <a:lnTo>
                          <a:pt x="219683" y="2748408"/>
                        </a:lnTo>
                        <a:lnTo>
                          <a:pt x="201683" y="2748408"/>
                        </a:lnTo>
                        <a:cubicBezTo>
                          <a:pt x="191742" y="2748408"/>
                          <a:pt x="183683" y="2740349"/>
                          <a:pt x="183683" y="2730408"/>
                        </a:cubicBezTo>
                        <a:cubicBezTo>
                          <a:pt x="183683" y="2720832"/>
                          <a:pt x="191162" y="2713001"/>
                          <a:pt x="200622" y="2712848"/>
                        </a:cubicBezTo>
                        <a:cubicBezTo>
                          <a:pt x="191162" y="2712694"/>
                          <a:pt x="183683" y="2704864"/>
                          <a:pt x="183683" y="2695287"/>
                        </a:cubicBezTo>
                        <a:cubicBezTo>
                          <a:pt x="183683" y="2685346"/>
                          <a:pt x="191742" y="2677287"/>
                          <a:pt x="201683" y="2677287"/>
                        </a:cubicBezTo>
                        <a:lnTo>
                          <a:pt x="219683" y="2677287"/>
                        </a:lnTo>
                        <a:lnTo>
                          <a:pt x="219683" y="877087"/>
                        </a:lnTo>
                        <a:cubicBezTo>
                          <a:pt x="215303" y="877087"/>
                          <a:pt x="210922" y="877087"/>
                          <a:pt x="206542" y="877087"/>
                        </a:cubicBezTo>
                        <a:cubicBezTo>
                          <a:pt x="193917" y="877087"/>
                          <a:pt x="183682" y="866852"/>
                          <a:pt x="183682" y="854227"/>
                        </a:cubicBezTo>
                        <a:lnTo>
                          <a:pt x="183683" y="854228"/>
                        </a:lnTo>
                        <a:cubicBezTo>
                          <a:pt x="183683" y="845295"/>
                          <a:pt x="188807" y="837558"/>
                          <a:pt x="197036" y="835306"/>
                        </a:cubicBezTo>
                        <a:lnTo>
                          <a:pt x="170582" y="758186"/>
                        </a:lnTo>
                        <a:lnTo>
                          <a:pt x="170367" y="758186"/>
                        </a:lnTo>
                        <a:lnTo>
                          <a:pt x="170367" y="667822"/>
                        </a:lnTo>
                        <a:lnTo>
                          <a:pt x="151079" y="611594"/>
                        </a:lnTo>
                        <a:lnTo>
                          <a:pt x="151990" y="611594"/>
                        </a:lnTo>
                        <a:cubicBezTo>
                          <a:pt x="86766" y="557513"/>
                          <a:pt x="43312" y="453165"/>
                          <a:pt x="43312" y="333499"/>
                        </a:cubicBezTo>
                        <a:lnTo>
                          <a:pt x="50200" y="269553"/>
                        </a:lnTo>
                        <a:cubicBezTo>
                          <a:pt x="42674" y="269552"/>
                          <a:pt x="35148" y="269552"/>
                          <a:pt x="27622" y="269552"/>
                        </a:cubicBezTo>
                        <a:cubicBezTo>
                          <a:pt x="12367" y="269552"/>
                          <a:pt x="0" y="257185"/>
                          <a:pt x="0" y="241930"/>
                        </a:cubicBezTo>
                        <a:lnTo>
                          <a:pt x="1" y="241931"/>
                        </a:lnTo>
                        <a:cubicBezTo>
                          <a:pt x="1" y="226676"/>
                          <a:pt x="12368" y="214309"/>
                          <a:pt x="27623" y="214309"/>
                        </a:cubicBezTo>
                        <a:lnTo>
                          <a:pt x="58148" y="214309"/>
                        </a:lnTo>
                        <a:lnTo>
                          <a:pt x="85065" y="135842"/>
                        </a:lnTo>
                        <a:lnTo>
                          <a:pt x="89453" y="135842"/>
                        </a:lnTo>
                        <a:cubicBezTo>
                          <a:pt x="123081" y="80432"/>
                          <a:pt x="184264" y="45318"/>
                          <a:pt x="253713" y="44903"/>
                        </a:cubicBezTo>
                        <a:cubicBezTo>
                          <a:pt x="241977" y="44601"/>
                          <a:pt x="232824" y="34799"/>
                          <a:pt x="232824" y="22860"/>
                        </a:cubicBezTo>
                        <a:cubicBezTo>
                          <a:pt x="232824" y="10235"/>
                          <a:pt x="243059" y="0"/>
                          <a:pt x="255684" y="0"/>
                        </a:cubicBezTo>
                        <a:close/>
                      </a:path>
                    </a:pathLst>
                  </a:custGeom>
                  <a:solidFill>
                    <a:schemeClr val="bg2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tIns="90000" bIns="90000" rtlCol="0" anchor="t" anchorCtr="0"/>
                  <a:lstStyle/>
                  <a:p>
                    <a:pPr marL="0" marR="0" lvl="0" indent="0" algn="ctr" defTabSz="914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546" name="Abgerundetes Rechteck 71">
                <a:extLst>
                  <a:ext uri="{FF2B5EF4-FFF2-40B4-BE49-F238E27FC236}">
                    <a16:creationId xmlns:a16="http://schemas.microsoft.com/office/drawing/2014/main" xmlns="" id="{EA87562A-3F15-4248-861E-884D1FF27B12}"/>
                  </a:ext>
                </a:extLst>
              </p:cNvPr>
              <p:cNvSpPr/>
              <p:nvPr/>
            </p:nvSpPr>
            <p:spPr>
              <a:xfrm>
                <a:off x="2163883" y="3025426"/>
                <a:ext cx="71462" cy="477807"/>
              </a:xfrm>
              <a:custGeom>
                <a:avLst/>
                <a:gdLst/>
                <a:ahLst/>
                <a:cxnLst/>
                <a:rect l="l" t="t" r="r" b="b"/>
                <a:pathLst>
                  <a:path w="511366" h="3419086">
                    <a:moveTo>
                      <a:pt x="94199" y="3360696"/>
                    </a:moveTo>
                    <a:lnTo>
                      <a:pt x="417168" y="3360696"/>
                    </a:lnTo>
                    <a:cubicBezTo>
                      <a:pt x="433292" y="3360696"/>
                      <a:pt x="446363" y="3373767"/>
                      <a:pt x="446363" y="3389891"/>
                    </a:cubicBezTo>
                    <a:cubicBezTo>
                      <a:pt x="446363" y="3406015"/>
                      <a:pt x="433292" y="3419086"/>
                      <a:pt x="417168" y="3419086"/>
                    </a:cubicBezTo>
                    <a:cubicBezTo>
                      <a:pt x="309512" y="3419086"/>
                      <a:pt x="201854" y="3419085"/>
                      <a:pt x="94198" y="3419085"/>
                    </a:cubicBezTo>
                    <a:cubicBezTo>
                      <a:pt x="78074" y="3419085"/>
                      <a:pt x="65003" y="3406014"/>
                      <a:pt x="65003" y="3389890"/>
                    </a:cubicBezTo>
                    <a:lnTo>
                      <a:pt x="65004" y="3389891"/>
                    </a:lnTo>
                    <a:cubicBezTo>
                      <a:pt x="65004" y="3373767"/>
                      <a:pt x="78075" y="3360696"/>
                      <a:pt x="94199" y="3360696"/>
                    </a:cubicBezTo>
                    <a:close/>
                    <a:moveTo>
                      <a:pt x="94199" y="3301324"/>
                    </a:moveTo>
                    <a:lnTo>
                      <a:pt x="417168" y="3301324"/>
                    </a:lnTo>
                    <a:cubicBezTo>
                      <a:pt x="433292" y="3301324"/>
                      <a:pt x="446363" y="3314395"/>
                      <a:pt x="446363" y="3330519"/>
                    </a:cubicBezTo>
                    <a:cubicBezTo>
                      <a:pt x="446363" y="3346643"/>
                      <a:pt x="433292" y="3359714"/>
                      <a:pt x="417168" y="3359714"/>
                    </a:cubicBezTo>
                    <a:cubicBezTo>
                      <a:pt x="309512" y="3359714"/>
                      <a:pt x="201854" y="3359713"/>
                      <a:pt x="94198" y="3359713"/>
                    </a:cubicBezTo>
                    <a:cubicBezTo>
                      <a:pt x="78074" y="3359713"/>
                      <a:pt x="65003" y="3346642"/>
                      <a:pt x="65003" y="3330518"/>
                    </a:cubicBezTo>
                    <a:lnTo>
                      <a:pt x="65004" y="3330519"/>
                    </a:lnTo>
                    <a:cubicBezTo>
                      <a:pt x="65004" y="3314395"/>
                      <a:pt x="78075" y="3301324"/>
                      <a:pt x="94199" y="3301324"/>
                    </a:cubicBezTo>
                    <a:close/>
                    <a:moveTo>
                      <a:pt x="87362" y="269553"/>
                    </a:moveTo>
                    <a:lnTo>
                      <a:pt x="79360" y="333499"/>
                    </a:lnTo>
                    <a:cubicBezTo>
                      <a:pt x="79360" y="470262"/>
                      <a:pt x="139184" y="584483"/>
                      <a:pt x="218978" y="611594"/>
                    </a:cubicBezTo>
                    <a:lnTo>
                      <a:pt x="292388" y="611594"/>
                    </a:lnTo>
                    <a:cubicBezTo>
                      <a:pt x="372182" y="584483"/>
                      <a:pt x="432006" y="470262"/>
                      <a:pt x="432006" y="333499"/>
                    </a:cubicBezTo>
                    <a:lnTo>
                      <a:pt x="424004" y="269553"/>
                    </a:lnTo>
                    <a:close/>
                    <a:moveTo>
                      <a:pt x="255684" y="0"/>
                    </a:moveTo>
                    <a:cubicBezTo>
                      <a:pt x="268309" y="0"/>
                      <a:pt x="278544" y="10235"/>
                      <a:pt x="278544" y="22860"/>
                    </a:cubicBezTo>
                    <a:cubicBezTo>
                      <a:pt x="278544" y="34799"/>
                      <a:pt x="269391" y="44601"/>
                      <a:pt x="257655" y="44904"/>
                    </a:cubicBezTo>
                    <a:cubicBezTo>
                      <a:pt x="327103" y="45319"/>
                      <a:pt x="388286" y="80432"/>
                      <a:pt x="421913" y="135842"/>
                    </a:cubicBezTo>
                    <a:lnTo>
                      <a:pt x="426301" y="135842"/>
                    </a:lnTo>
                    <a:lnTo>
                      <a:pt x="453218" y="214309"/>
                    </a:lnTo>
                    <a:lnTo>
                      <a:pt x="483744" y="214309"/>
                    </a:lnTo>
                    <a:cubicBezTo>
                      <a:pt x="498999" y="214309"/>
                      <a:pt x="511366" y="226676"/>
                      <a:pt x="511366" y="241931"/>
                    </a:cubicBezTo>
                    <a:cubicBezTo>
                      <a:pt x="511366" y="257186"/>
                      <a:pt x="498999" y="269553"/>
                      <a:pt x="483744" y="269553"/>
                    </a:cubicBezTo>
                    <a:lnTo>
                      <a:pt x="461167" y="269553"/>
                    </a:lnTo>
                    <a:cubicBezTo>
                      <a:pt x="466580" y="289933"/>
                      <a:pt x="468054" y="311456"/>
                      <a:pt x="468054" y="333499"/>
                    </a:cubicBezTo>
                    <a:cubicBezTo>
                      <a:pt x="468054" y="453165"/>
                      <a:pt x="424600" y="557513"/>
                      <a:pt x="359376" y="611594"/>
                    </a:cubicBezTo>
                    <a:lnTo>
                      <a:pt x="360287" y="611594"/>
                    </a:lnTo>
                    <a:lnTo>
                      <a:pt x="341000" y="667819"/>
                    </a:lnTo>
                    <a:lnTo>
                      <a:pt x="341000" y="758186"/>
                    </a:lnTo>
                    <a:lnTo>
                      <a:pt x="340785" y="758186"/>
                    </a:lnTo>
                    <a:lnTo>
                      <a:pt x="314331" y="835306"/>
                    </a:lnTo>
                    <a:cubicBezTo>
                      <a:pt x="322560" y="837558"/>
                      <a:pt x="327684" y="845295"/>
                      <a:pt x="327684" y="854228"/>
                    </a:cubicBezTo>
                    <a:cubicBezTo>
                      <a:pt x="327684" y="866853"/>
                      <a:pt x="317449" y="877088"/>
                      <a:pt x="304824" y="877088"/>
                    </a:cubicBezTo>
                    <a:lnTo>
                      <a:pt x="291683" y="877087"/>
                    </a:lnTo>
                    <a:lnTo>
                      <a:pt x="291683" y="2677287"/>
                    </a:lnTo>
                    <a:lnTo>
                      <a:pt x="309683" y="2677287"/>
                    </a:lnTo>
                    <a:cubicBezTo>
                      <a:pt x="319624" y="2677287"/>
                      <a:pt x="327683" y="2685346"/>
                      <a:pt x="327683" y="2695287"/>
                    </a:cubicBezTo>
                    <a:cubicBezTo>
                      <a:pt x="327683" y="2704864"/>
                      <a:pt x="320204" y="2712694"/>
                      <a:pt x="310744" y="2712848"/>
                    </a:cubicBezTo>
                    <a:cubicBezTo>
                      <a:pt x="320204" y="2713001"/>
                      <a:pt x="327683" y="2720832"/>
                      <a:pt x="327683" y="2730408"/>
                    </a:cubicBezTo>
                    <a:cubicBezTo>
                      <a:pt x="327683" y="2740349"/>
                      <a:pt x="319624" y="2748408"/>
                      <a:pt x="309683" y="2748408"/>
                    </a:cubicBezTo>
                    <a:lnTo>
                      <a:pt x="291683" y="2748408"/>
                    </a:lnTo>
                    <a:lnTo>
                      <a:pt x="291683" y="2749071"/>
                    </a:lnTo>
                    <a:lnTo>
                      <a:pt x="291567" y="2749351"/>
                    </a:lnTo>
                    <a:cubicBezTo>
                      <a:pt x="313374" y="2759321"/>
                      <a:pt x="327683" y="2779569"/>
                      <a:pt x="327683" y="2802740"/>
                    </a:cubicBezTo>
                    <a:cubicBezTo>
                      <a:pt x="327683" y="2821144"/>
                      <a:pt x="318656" y="2837704"/>
                      <a:pt x="303951" y="2848827"/>
                    </a:cubicBezTo>
                    <a:lnTo>
                      <a:pt x="391139" y="3301323"/>
                    </a:lnTo>
                    <a:lnTo>
                      <a:pt x="120228" y="3301323"/>
                    </a:lnTo>
                    <a:lnTo>
                      <a:pt x="207416" y="2848827"/>
                    </a:lnTo>
                    <a:cubicBezTo>
                      <a:pt x="192710" y="2837705"/>
                      <a:pt x="183683" y="2821144"/>
                      <a:pt x="183683" y="2802740"/>
                    </a:cubicBezTo>
                    <a:cubicBezTo>
                      <a:pt x="183683" y="2779569"/>
                      <a:pt x="197992" y="2759321"/>
                      <a:pt x="219799" y="2749351"/>
                    </a:cubicBezTo>
                    <a:cubicBezTo>
                      <a:pt x="219684" y="2749259"/>
                      <a:pt x="219683" y="2749165"/>
                      <a:pt x="219683" y="2749071"/>
                    </a:cubicBezTo>
                    <a:lnTo>
                      <a:pt x="219683" y="2748408"/>
                    </a:lnTo>
                    <a:lnTo>
                      <a:pt x="201683" y="2748408"/>
                    </a:lnTo>
                    <a:cubicBezTo>
                      <a:pt x="191742" y="2748408"/>
                      <a:pt x="183683" y="2740349"/>
                      <a:pt x="183683" y="2730408"/>
                    </a:cubicBezTo>
                    <a:cubicBezTo>
                      <a:pt x="183683" y="2720832"/>
                      <a:pt x="191162" y="2713001"/>
                      <a:pt x="200622" y="2712848"/>
                    </a:cubicBezTo>
                    <a:cubicBezTo>
                      <a:pt x="191162" y="2712694"/>
                      <a:pt x="183683" y="2704864"/>
                      <a:pt x="183683" y="2695287"/>
                    </a:cubicBezTo>
                    <a:cubicBezTo>
                      <a:pt x="183683" y="2685346"/>
                      <a:pt x="191742" y="2677287"/>
                      <a:pt x="201683" y="2677287"/>
                    </a:cubicBezTo>
                    <a:lnTo>
                      <a:pt x="219683" y="2677287"/>
                    </a:lnTo>
                    <a:lnTo>
                      <a:pt x="219683" y="877087"/>
                    </a:lnTo>
                    <a:cubicBezTo>
                      <a:pt x="215303" y="877087"/>
                      <a:pt x="210922" y="877087"/>
                      <a:pt x="206542" y="877087"/>
                    </a:cubicBezTo>
                    <a:cubicBezTo>
                      <a:pt x="193917" y="877087"/>
                      <a:pt x="183682" y="866852"/>
                      <a:pt x="183682" y="854227"/>
                    </a:cubicBezTo>
                    <a:lnTo>
                      <a:pt x="183683" y="854228"/>
                    </a:lnTo>
                    <a:cubicBezTo>
                      <a:pt x="183683" y="845295"/>
                      <a:pt x="188807" y="837558"/>
                      <a:pt x="197036" y="835306"/>
                    </a:cubicBezTo>
                    <a:lnTo>
                      <a:pt x="170582" y="758186"/>
                    </a:lnTo>
                    <a:lnTo>
                      <a:pt x="170367" y="758186"/>
                    </a:lnTo>
                    <a:lnTo>
                      <a:pt x="170367" y="667822"/>
                    </a:lnTo>
                    <a:lnTo>
                      <a:pt x="151079" y="611594"/>
                    </a:lnTo>
                    <a:lnTo>
                      <a:pt x="151990" y="611594"/>
                    </a:lnTo>
                    <a:cubicBezTo>
                      <a:pt x="86766" y="557513"/>
                      <a:pt x="43312" y="453165"/>
                      <a:pt x="43312" y="333499"/>
                    </a:cubicBezTo>
                    <a:lnTo>
                      <a:pt x="50200" y="269553"/>
                    </a:lnTo>
                    <a:cubicBezTo>
                      <a:pt x="42674" y="269552"/>
                      <a:pt x="35148" y="269552"/>
                      <a:pt x="27622" y="269552"/>
                    </a:cubicBezTo>
                    <a:cubicBezTo>
                      <a:pt x="12367" y="269552"/>
                      <a:pt x="0" y="257185"/>
                      <a:pt x="0" y="241930"/>
                    </a:cubicBezTo>
                    <a:lnTo>
                      <a:pt x="1" y="241931"/>
                    </a:lnTo>
                    <a:cubicBezTo>
                      <a:pt x="1" y="226676"/>
                      <a:pt x="12368" y="214309"/>
                      <a:pt x="27623" y="214309"/>
                    </a:cubicBezTo>
                    <a:lnTo>
                      <a:pt x="58148" y="214309"/>
                    </a:lnTo>
                    <a:lnTo>
                      <a:pt x="85065" y="135842"/>
                    </a:lnTo>
                    <a:lnTo>
                      <a:pt x="89453" y="135842"/>
                    </a:lnTo>
                    <a:cubicBezTo>
                      <a:pt x="123081" y="80432"/>
                      <a:pt x="184264" y="45318"/>
                      <a:pt x="253713" y="44903"/>
                    </a:cubicBezTo>
                    <a:cubicBezTo>
                      <a:pt x="241977" y="44601"/>
                      <a:pt x="232824" y="34799"/>
                      <a:pt x="232824" y="22860"/>
                    </a:cubicBezTo>
                    <a:cubicBezTo>
                      <a:pt x="232824" y="10235"/>
                      <a:pt x="243059" y="0"/>
                      <a:pt x="255684" y="0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90000" bIns="90000" rtlCol="0" anchor="t" anchorCtr="0"/>
              <a:lstStyle/>
              <a:p>
                <a:pPr marL="0" marR="0" lvl="0" indent="0" algn="ctr" defTabSz="91436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  <p:sp>
            <p:nvSpPr>
              <p:cNvPr id="547" name="Abgerundetes Rechteck 71">
                <a:extLst>
                  <a:ext uri="{FF2B5EF4-FFF2-40B4-BE49-F238E27FC236}">
                    <a16:creationId xmlns:a16="http://schemas.microsoft.com/office/drawing/2014/main" xmlns="" id="{4ACD1A7B-E4E9-46BC-8EC4-EE6242AFAEE3}"/>
                  </a:ext>
                </a:extLst>
              </p:cNvPr>
              <p:cNvSpPr/>
              <p:nvPr/>
            </p:nvSpPr>
            <p:spPr>
              <a:xfrm>
                <a:off x="1193081" y="2929732"/>
                <a:ext cx="71462" cy="477807"/>
              </a:xfrm>
              <a:custGeom>
                <a:avLst/>
                <a:gdLst/>
                <a:ahLst/>
                <a:cxnLst/>
                <a:rect l="l" t="t" r="r" b="b"/>
                <a:pathLst>
                  <a:path w="511366" h="3419086">
                    <a:moveTo>
                      <a:pt x="94199" y="3360696"/>
                    </a:moveTo>
                    <a:lnTo>
                      <a:pt x="417168" y="3360696"/>
                    </a:lnTo>
                    <a:cubicBezTo>
                      <a:pt x="433292" y="3360696"/>
                      <a:pt x="446363" y="3373767"/>
                      <a:pt x="446363" y="3389891"/>
                    </a:cubicBezTo>
                    <a:cubicBezTo>
                      <a:pt x="446363" y="3406015"/>
                      <a:pt x="433292" y="3419086"/>
                      <a:pt x="417168" y="3419086"/>
                    </a:cubicBezTo>
                    <a:cubicBezTo>
                      <a:pt x="309512" y="3419086"/>
                      <a:pt x="201854" y="3419085"/>
                      <a:pt x="94198" y="3419085"/>
                    </a:cubicBezTo>
                    <a:cubicBezTo>
                      <a:pt x="78074" y="3419085"/>
                      <a:pt x="65003" y="3406014"/>
                      <a:pt x="65003" y="3389890"/>
                    </a:cubicBezTo>
                    <a:lnTo>
                      <a:pt x="65004" y="3389891"/>
                    </a:lnTo>
                    <a:cubicBezTo>
                      <a:pt x="65004" y="3373767"/>
                      <a:pt x="78075" y="3360696"/>
                      <a:pt x="94199" y="3360696"/>
                    </a:cubicBezTo>
                    <a:close/>
                    <a:moveTo>
                      <a:pt x="94199" y="3301324"/>
                    </a:moveTo>
                    <a:lnTo>
                      <a:pt x="417168" y="3301324"/>
                    </a:lnTo>
                    <a:cubicBezTo>
                      <a:pt x="433292" y="3301324"/>
                      <a:pt x="446363" y="3314395"/>
                      <a:pt x="446363" y="3330519"/>
                    </a:cubicBezTo>
                    <a:cubicBezTo>
                      <a:pt x="446363" y="3346643"/>
                      <a:pt x="433292" y="3359714"/>
                      <a:pt x="417168" y="3359714"/>
                    </a:cubicBezTo>
                    <a:cubicBezTo>
                      <a:pt x="309512" y="3359714"/>
                      <a:pt x="201854" y="3359713"/>
                      <a:pt x="94198" y="3359713"/>
                    </a:cubicBezTo>
                    <a:cubicBezTo>
                      <a:pt x="78074" y="3359713"/>
                      <a:pt x="65003" y="3346642"/>
                      <a:pt x="65003" y="3330518"/>
                    </a:cubicBezTo>
                    <a:lnTo>
                      <a:pt x="65004" y="3330519"/>
                    </a:lnTo>
                    <a:cubicBezTo>
                      <a:pt x="65004" y="3314395"/>
                      <a:pt x="78075" y="3301324"/>
                      <a:pt x="94199" y="3301324"/>
                    </a:cubicBezTo>
                    <a:close/>
                    <a:moveTo>
                      <a:pt x="87362" y="269553"/>
                    </a:moveTo>
                    <a:lnTo>
                      <a:pt x="79360" y="333499"/>
                    </a:lnTo>
                    <a:cubicBezTo>
                      <a:pt x="79360" y="470262"/>
                      <a:pt x="139184" y="584483"/>
                      <a:pt x="218978" y="611594"/>
                    </a:cubicBezTo>
                    <a:lnTo>
                      <a:pt x="292388" y="611594"/>
                    </a:lnTo>
                    <a:cubicBezTo>
                      <a:pt x="372182" y="584483"/>
                      <a:pt x="432006" y="470262"/>
                      <a:pt x="432006" y="333499"/>
                    </a:cubicBezTo>
                    <a:lnTo>
                      <a:pt x="424004" y="269553"/>
                    </a:lnTo>
                    <a:close/>
                    <a:moveTo>
                      <a:pt x="255684" y="0"/>
                    </a:moveTo>
                    <a:cubicBezTo>
                      <a:pt x="268309" y="0"/>
                      <a:pt x="278544" y="10235"/>
                      <a:pt x="278544" y="22860"/>
                    </a:cubicBezTo>
                    <a:cubicBezTo>
                      <a:pt x="278544" y="34799"/>
                      <a:pt x="269391" y="44601"/>
                      <a:pt x="257655" y="44904"/>
                    </a:cubicBezTo>
                    <a:cubicBezTo>
                      <a:pt x="327103" y="45319"/>
                      <a:pt x="388286" y="80432"/>
                      <a:pt x="421913" y="135842"/>
                    </a:cubicBezTo>
                    <a:lnTo>
                      <a:pt x="426301" y="135842"/>
                    </a:lnTo>
                    <a:lnTo>
                      <a:pt x="453218" y="214309"/>
                    </a:lnTo>
                    <a:lnTo>
                      <a:pt x="483744" y="214309"/>
                    </a:lnTo>
                    <a:cubicBezTo>
                      <a:pt x="498999" y="214309"/>
                      <a:pt x="511366" y="226676"/>
                      <a:pt x="511366" y="241931"/>
                    </a:cubicBezTo>
                    <a:cubicBezTo>
                      <a:pt x="511366" y="257186"/>
                      <a:pt x="498999" y="269553"/>
                      <a:pt x="483744" y="269553"/>
                    </a:cubicBezTo>
                    <a:lnTo>
                      <a:pt x="461167" y="269553"/>
                    </a:lnTo>
                    <a:cubicBezTo>
                      <a:pt x="466580" y="289933"/>
                      <a:pt x="468054" y="311456"/>
                      <a:pt x="468054" y="333499"/>
                    </a:cubicBezTo>
                    <a:cubicBezTo>
                      <a:pt x="468054" y="453165"/>
                      <a:pt x="424600" y="557513"/>
                      <a:pt x="359376" y="611594"/>
                    </a:cubicBezTo>
                    <a:lnTo>
                      <a:pt x="360287" y="611594"/>
                    </a:lnTo>
                    <a:lnTo>
                      <a:pt x="341000" y="667819"/>
                    </a:lnTo>
                    <a:lnTo>
                      <a:pt x="341000" y="758186"/>
                    </a:lnTo>
                    <a:lnTo>
                      <a:pt x="340785" y="758186"/>
                    </a:lnTo>
                    <a:lnTo>
                      <a:pt x="314331" y="835306"/>
                    </a:lnTo>
                    <a:cubicBezTo>
                      <a:pt x="322560" y="837558"/>
                      <a:pt x="327684" y="845295"/>
                      <a:pt x="327684" y="854228"/>
                    </a:cubicBezTo>
                    <a:cubicBezTo>
                      <a:pt x="327684" y="866853"/>
                      <a:pt x="317449" y="877088"/>
                      <a:pt x="304824" y="877088"/>
                    </a:cubicBezTo>
                    <a:lnTo>
                      <a:pt x="291683" y="877087"/>
                    </a:lnTo>
                    <a:lnTo>
                      <a:pt x="291683" y="2677287"/>
                    </a:lnTo>
                    <a:lnTo>
                      <a:pt x="309683" y="2677287"/>
                    </a:lnTo>
                    <a:cubicBezTo>
                      <a:pt x="319624" y="2677287"/>
                      <a:pt x="327683" y="2685346"/>
                      <a:pt x="327683" y="2695287"/>
                    </a:cubicBezTo>
                    <a:cubicBezTo>
                      <a:pt x="327683" y="2704864"/>
                      <a:pt x="320204" y="2712694"/>
                      <a:pt x="310744" y="2712848"/>
                    </a:cubicBezTo>
                    <a:cubicBezTo>
                      <a:pt x="320204" y="2713001"/>
                      <a:pt x="327683" y="2720832"/>
                      <a:pt x="327683" y="2730408"/>
                    </a:cubicBezTo>
                    <a:cubicBezTo>
                      <a:pt x="327683" y="2740349"/>
                      <a:pt x="319624" y="2748408"/>
                      <a:pt x="309683" y="2748408"/>
                    </a:cubicBezTo>
                    <a:lnTo>
                      <a:pt x="291683" y="2748408"/>
                    </a:lnTo>
                    <a:lnTo>
                      <a:pt x="291683" y="2749071"/>
                    </a:lnTo>
                    <a:lnTo>
                      <a:pt x="291567" y="2749351"/>
                    </a:lnTo>
                    <a:cubicBezTo>
                      <a:pt x="313374" y="2759321"/>
                      <a:pt x="327683" y="2779569"/>
                      <a:pt x="327683" y="2802740"/>
                    </a:cubicBezTo>
                    <a:cubicBezTo>
                      <a:pt x="327683" y="2821144"/>
                      <a:pt x="318656" y="2837704"/>
                      <a:pt x="303951" y="2848827"/>
                    </a:cubicBezTo>
                    <a:lnTo>
                      <a:pt x="391139" y="3301323"/>
                    </a:lnTo>
                    <a:lnTo>
                      <a:pt x="120228" y="3301323"/>
                    </a:lnTo>
                    <a:lnTo>
                      <a:pt x="207416" y="2848827"/>
                    </a:lnTo>
                    <a:cubicBezTo>
                      <a:pt x="192710" y="2837705"/>
                      <a:pt x="183683" y="2821144"/>
                      <a:pt x="183683" y="2802740"/>
                    </a:cubicBezTo>
                    <a:cubicBezTo>
                      <a:pt x="183683" y="2779569"/>
                      <a:pt x="197992" y="2759321"/>
                      <a:pt x="219799" y="2749351"/>
                    </a:cubicBezTo>
                    <a:cubicBezTo>
                      <a:pt x="219684" y="2749259"/>
                      <a:pt x="219683" y="2749165"/>
                      <a:pt x="219683" y="2749071"/>
                    </a:cubicBezTo>
                    <a:lnTo>
                      <a:pt x="219683" y="2748408"/>
                    </a:lnTo>
                    <a:lnTo>
                      <a:pt x="201683" y="2748408"/>
                    </a:lnTo>
                    <a:cubicBezTo>
                      <a:pt x="191742" y="2748408"/>
                      <a:pt x="183683" y="2740349"/>
                      <a:pt x="183683" y="2730408"/>
                    </a:cubicBezTo>
                    <a:cubicBezTo>
                      <a:pt x="183683" y="2720832"/>
                      <a:pt x="191162" y="2713001"/>
                      <a:pt x="200622" y="2712848"/>
                    </a:cubicBezTo>
                    <a:cubicBezTo>
                      <a:pt x="191162" y="2712694"/>
                      <a:pt x="183683" y="2704864"/>
                      <a:pt x="183683" y="2695287"/>
                    </a:cubicBezTo>
                    <a:cubicBezTo>
                      <a:pt x="183683" y="2685346"/>
                      <a:pt x="191742" y="2677287"/>
                      <a:pt x="201683" y="2677287"/>
                    </a:cubicBezTo>
                    <a:lnTo>
                      <a:pt x="219683" y="2677287"/>
                    </a:lnTo>
                    <a:lnTo>
                      <a:pt x="219683" y="877087"/>
                    </a:lnTo>
                    <a:cubicBezTo>
                      <a:pt x="215303" y="877087"/>
                      <a:pt x="210922" y="877087"/>
                      <a:pt x="206542" y="877087"/>
                    </a:cubicBezTo>
                    <a:cubicBezTo>
                      <a:pt x="193917" y="877087"/>
                      <a:pt x="183682" y="866852"/>
                      <a:pt x="183682" y="854227"/>
                    </a:cubicBezTo>
                    <a:lnTo>
                      <a:pt x="183683" y="854228"/>
                    </a:lnTo>
                    <a:cubicBezTo>
                      <a:pt x="183683" y="845295"/>
                      <a:pt x="188807" y="837558"/>
                      <a:pt x="197036" y="835306"/>
                    </a:cubicBezTo>
                    <a:lnTo>
                      <a:pt x="170582" y="758186"/>
                    </a:lnTo>
                    <a:lnTo>
                      <a:pt x="170367" y="758186"/>
                    </a:lnTo>
                    <a:lnTo>
                      <a:pt x="170367" y="667822"/>
                    </a:lnTo>
                    <a:lnTo>
                      <a:pt x="151079" y="611594"/>
                    </a:lnTo>
                    <a:lnTo>
                      <a:pt x="151990" y="611594"/>
                    </a:lnTo>
                    <a:cubicBezTo>
                      <a:pt x="86766" y="557513"/>
                      <a:pt x="43312" y="453165"/>
                      <a:pt x="43312" y="333499"/>
                    </a:cubicBezTo>
                    <a:lnTo>
                      <a:pt x="50200" y="269553"/>
                    </a:lnTo>
                    <a:cubicBezTo>
                      <a:pt x="42674" y="269552"/>
                      <a:pt x="35148" y="269552"/>
                      <a:pt x="27622" y="269552"/>
                    </a:cubicBezTo>
                    <a:cubicBezTo>
                      <a:pt x="12367" y="269552"/>
                      <a:pt x="0" y="257185"/>
                      <a:pt x="0" y="241930"/>
                    </a:cubicBezTo>
                    <a:lnTo>
                      <a:pt x="1" y="241931"/>
                    </a:lnTo>
                    <a:cubicBezTo>
                      <a:pt x="1" y="226676"/>
                      <a:pt x="12368" y="214309"/>
                      <a:pt x="27623" y="214309"/>
                    </a:cubicBezTo>
                    <a:lnTo>
                      <a:pt x="58148" y="214309"/>
                    </a:lnTo>
                    <a:lnTo>
                      <a:pt x="85065" y="135842"/>
                    </a:lnTo>
                    <a:lnTo>
                      <a:pt x="89453" y="135842"/>
                    </a:lnTo>
                    <a:cubicBezTo>
                      <a:pt x="123081" y="80432"/>
                      <a:pt x="184264" y="45318"/>
                      <a:pt x="253713" y="44903"/>
                    </a:cubicBezTo>
                    <a:cubicBezTo>
                      <a:pt x="241977" y="44601"/>
                      <a:pt x="232824" y="34799"/>
                      <a:pt x="232824" y="22860"/>
                    </a:cubicBezTo>
                    <a:cubicBezTo>
                      <a:pt x="232824" y="10235"/>
                      <a:pt x="243059" y="0"/>
                      <a:pt x="255684" y="0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90000" bIns="90000" rtlCol="0" anchor="t" anchorCtr="0"/>
              <a:lstStyle/>
              <a:p>
                <a:pPr marL="0" marR="0" lvl="0" indent="0" algn="ctr" defTabSz="91436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93" name="Gruppieren 332">
            <a:extLst>
              <a:ext uri="{FF2B5EF4-FFF2-40B4-BE49-F238E27FC236}">
                <a16:creationId xmlns:a16="http://schemas.microsoft.com/office/drawing/2014/main" xmlns="" id="{E835CD92-BC7E-4B80-93FA-AF0FD590F59C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1830348" y="2687826"/>
            <a:ext cx="181132" cy="80913"/>
            <a:chOff x="5713966" y="1777233"/>
            <a:chExt cx="366858" cy="163390"/>
          </a:xfrm>
          <a:solidFill>
            <a:schemeClr val="bg1"/>
          </a:solidFill>
        </p:grpSpPr>
        <p:sp>
          <p:nvSpPr>
            <p:cNvPr id="794" name="Freeform 146">
              <a:extLst>
                <a:ext uri="{FF2B5EF4-FFF2-40B4-BE49-F238E27FC236}">
                  <a16:creationId xmlns:a16="http://schemas.microsoft.com/office/drawing/2014/main" xmlns="" id="{63854B9E-0A65-40D5-A1E9-C0D60DD2B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0999" y="1808061"/>
              <a:ext cx="252793" cy="132562"/>
            </a:xfrm>
            <a:custGeom>
              <a:avLst/>
              <a:gdLst>
                <a:gd name="T0" fmla="*/ 0 w 328"/>
                <a:gd name="T1" fmla="*/ 0 h 172"/>
                <a:gd name="T2" fmla="*/ 0 w 328"/>
                <a:gd name="T3" fmla="*/ 83 h 172"/>
                <a:gd name="T4" fmla="*/ 34 w 328"/>
                <a:gd name="T5" fmla="*/ 83 h 172"/>
                <a:gd name="T6" fmla="*/ 34 w 328"/>
                <a:gd name="T7" fmla="*/ 54 h 172"/>
                <a:gd name="T8" fmla="*/ 127 w 328"/>
                <a:gd name="T9" fmla="*/ 54 h 172"/>
                <a:gd name="T10" fmla="*/ 157 w 328"/>
                <a:gd name="T11" fmla="*/ 172 h 172"/>
                <a:gd name="T12" fmla="*/ 176 w 328"/>
                <a:gd name="T13" fmla="*/ 172 h 172"/>
                <a:gd name="T14" fmla="*/ 201 w 328"/>
                <a:gd name="T15" fmla="*/ 54 h 172"/>
                <a:gd name="T16" fmla="*/ 294 w 328"/>
                <a:gd name="T17" fmla="*/ 54 h 172"/>
                <a:gd name="T18" fmla="*/ 294 w 328"/>
                <a:gd name="T19" fmla="*/ 83 h 172"/>
                <a:gd name="T20" fmla="*/ 328 w 328"/>
                <a:gd name="T21" fmla="*/ 83 h 172"/>
                <a:gd name="T22" fmla="*/ 328 w 328"/>
                <a:gd name="T23" fmla="*/ 0 h 172"/>
                <a:gd name="T24" fmla="*/ 294 w 328"/>
                <a:gd name="T25" fmla="*/ 0 h 172"/>
                <a:gd name="T26" fmla="*/ 294 w 328"/>
                <a:gd name="T27" fmla="*/ 29 h 172"/>
                <a:gd name="T28" fmla="*/ 162 w 328"/>
                <a:gd name="T29" fmla="*/ 0 h 172"/>
                <a:gd name="T30" fmla="*/ 34 w 328"/>
                <a:gd name="T31" fmla="*/ 29 h 172"/>
                <a:gd name="T32" fmla="*/ 34 w 328"/>
                <a:gd name="T33" fmla="*/ 0 h 172"/>
                <a:gd name="T34" fmla="*/ 0 w 328"/>
                <a:gd name="T35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8" h="172">
                  <a:moveTo>
                    <a:pt x="0" y="0"/>
                  </a:moveTo>
                  <a:lnTo>
                    <a:pt x="0" y="83"/>
                  </a:lnTo>
                  <a:lnTo>
                    <a:pt x="34" y="83"/>
                  </a:lnTo>
                  <a:lnTo>
                    <a:pt x="34" y="54"/>
                  </a:lnTo>
                  <a:lnTo>
                    <a:pt x="127" y="54"/>
                  </a:lnTo>
                  <a:lnTo>
                    <a:pt x="157" y="172"/>
                  </a:lnTo>
                  <a:lnTo>
                    <a:pt x="176" y="172"/>
                  </a:lnTo>
                  <a:lnTo>
                    <a:pt x="201" y="54"/>
                  </a:lnTo>
                  <a:lnTo>
                    <a:pt x="294" y="54"/>
                  </a:lnTo>
                  <a:lnTo>
                    <a:pt x="294" y="83"/>
                  </a:lnTo>
                  <a:lnTo>
                    <a:pt x="328" y="83"/>
                  </a:lnTo>
                  <a:lnTo>
                    <a:pt x="328" y="0"/>
                  </a:lnTo>
                  <a:lnTo>
                    <a:pt x="294" y="0"/>
                  </a:lnTo>
                  <a:lnTo>
                    <a:pt x="294" y="29"/>
                  </a:lnTo>
                  <a:lnTo>
                    <a:pt x="162" y="0"/>
                  </a:lnTo>
                  <a:lnTo>
                    <a:pt x="34" y="29"/>
                  </a:lnTo>
                  <a:lnTo>
                    <a:pt x="3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5080" cap="flat">
              <a:solidFill>
                <a:schemeClr val="accent2">
                  <a:lumMod val="75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7731" tIns="33866" rIns="67731" bIns="33866" numCol="1" anchor="t" anchorCtr="0" compatLnSpc="1">
              <a:prstTxWarp prst="textNoShape">
                <a:avLst/>
              </a:prstTxWarp>
            </a:bodyPr>
            <a:lstStyle/>
            <a:p>
              <a:pPr defTabSz="681442">
                <a:defRPr/>
              </a:pPr>
              <a:endParaRPr lang="en-US" sz="1789">
                <a:solidFill>
                  <a:srgbClr val="124191"/>
                </a:solidFill>
                <a:latin typeface="Nokia Pure Text Light"/>
              </a:endParaRPr>
            </a:p>
          </p:txBody>
        </p:sp>
        <p:sp>
          <p:nvSpPr>
            <p:cNvPr id="795" name="Line 147">
              <a:extLst>
                <a:ext uri="{FF2B5EF4-FFF2-40B4-BE49-F238E27FC236}">
                  <a16:creationId xmlns:a16="http://schemas.microsoft.com/office/drawing/2014/main" xmlns="" id="{CC143E7B-38FE-4D6F-B0F1-3DEC578714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13966" y="1792647"/>
              <a:ext cx="140269" cy="0"/>
            </a:xfrm>
            <a:prstGeom prst="line">
              <a:avLst/>
            </a:prstGeom>
            <a:grpFill/>
            <a:ln w="5080" cap="flat">
              <a:solidFill>
                <a:schemeClr val="accent2">
                  <a:lumMod val="75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7731" tIns="33866" rIns="67731" bIns="33866" numCol="1" anchor="t" anchorCtr="0" compatLnSpc="1">
              <a:prstTxWarp prst="textNoShape">
                <a:avLst/>
              </a:prstTxWarp>
            </a:bodyPr>
            <a:lstStyle/>
            <a:p>
              <a:pPr defTabSz="681442">
                <a:defRPr/>
              </a:pPr>
              <a:endParaRPr lang="en-US" sz="1789">
                <a:solidFill>
                  <a:srgbClr val="124191"/>
                </a:solidFill>
                <a:latin typeface="Nokia Pure Text Light"/>
              </a:endParaRPr>
            </a:p>
          </p:txBody>
        </p:sp>
        <p:sp>
          <p:nvSpPr>
            <p:cNvPr id="796" name="Line 148">
              <a:extLst>
                <a:ext uri="{FF2B5EF4-FFF2-40B4-BE49-F238E27FC236}">
                  <a16:creationId xmlns:a16="http://schemas.microsoft.com/office/drawing/2014/main" xmlns="" id="{2FAE5A45-6F9C-40EB-B425-06AADDB149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67145" y="1777233"/>
              <a:ext cx="33911" cy="0"/>
            </a:xfrm>
            <a:prstGeom prst="line">
              <a:avLst/>
            </a:prstGeom>
            <a:grpFill/>
            <a:ln w="5080" cap="flat">
              <a:solidFill>
                <a:schemeClr val="accent2">
                  <a:lumMod val="75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7731" tIns="33866" rIns="67731" bIns="33866" numCol="1" anchor="t" anchorCtr="0" compatLnSpc="1">
              <a:prstTxWarp prst="textNoShape">
                <a:avLst/>
              </a:prstTxWarp>
            </a:bodyPr>
            <a:lstStyle/>
            <a:p>
              <a:pPr defTabSz="681442">
                <a:defRPr/>
              </a:pPr>
              <a:endParaRPr lang="en-US" sz="1789">
                <a:solidFill>
                  <a:srgbClr val="124191"/>
                </a:solidFill>
                <a:latin typeface="Nokia Pure Text Light"/>
              </a:endParaRPr>
            </a:p>
          </p:txBody>
        </p:sp>
        <p:sp>
          <p:nvSpPr>
            <p:cNvPr id="797" name="Line 149">
              <a:extLst>
                <a:ext uri="{FF2B5EF4-FFF2-40B4-BE49-F238E27FC236}">
                  <a16:creationId xmlns:a16="http://schemas.microsoft.com/office/drawing/2014/main" xmlns="" id="{ADB8190B-F36C-46DB-8C65-540C623F7D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40555" y="1792647"/>
              <a:ext cx="140269" cy="0"/>
            </a:xfrm>
            <a:prstGeom prst="line">
              <a:avLst/>
            </a:prstGeom>
            <a:grpFill/>
            <a:ln w="5080" cap="flat">
              <a:solidFill>
                <a:schemeClr val="accent2">
                  <a:lumMod val="75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7731" tIns="33866" rIns="67731" bIns="33866" numCol="1" anchor="t" anchorCtr="0" compatLnSpc="1">
              <a:prstTxWarp prst="textNoShape">
                <a:avLst/>
              </a:prstTxWarp>
            </a:bodyPr>
            <a:lstStyle/>
            <a:p>
              <a:pPr defTabSz="681442">
                <a:defRPr/>
              </a:pPr>
              <a:endParaRPr lang="en-US" sz="1789">
                <a:solidFill>
                  <a:srgbClr val="124191"/>
                </a:solidFill>
                <a:latin typeface="Nokia Pure Text Light"/>
              </a:endParaRPr>
            </a:p>
          </p:txBody>
        </p:sp>
        <p:sp>
          <p:nvSpPr>
            <p:cNvPr id="798" name="Line 150">
              <a:extLst>
                <a:ext uri="{FF2B5EF4-FFF2-40B4-BE49-F238E27FC236}">
                  <a16:creationId xmlns:a16="http://schemas.microsoft.com/office/drawing/2014/main" xmlns="" id="{2704C5DC-9D05-4864-B593-5E95630DFD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3734" y="1777233"/>
              <a:ext cx="30058" cy="0"/>
            </a:xfrm>
            <a:prstGeom prst="line">
              <a:avLst/>
            </a:prstGeom>
            <a:grpFill/>
            <a:ln w="5080" cap="flat">
              <a:solidFill>
                <a:schemeClr val="accent2">
                  <a:lumMod val="75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7731" tIns="33866" rIns="67731" bIns="33866" numCol="1" anchor="t" anchorCtr="0" compatLnSpc="1">
              <a:prstTxWarp prst="textNoShape">
                <a:avLst/>
              </a:prstTxWarp>
            </a:bodyPr>
            <a:lstStyle/>
            <a:p>
              <a:pPr defTabSz="681442">
                <a:defRPr/>
              </a:pPr>
              <a:endParaRPr lang="en-US" sz="1789">
                <a:solidFill>
                  <a:srgbClr val="124191"/>
                </a:solidFill>
                <a:latin typeface="Nokia Pure Text Light"/>
              </a:endParaRPr>
            </a:p>
          </p:txBody>
        </p:sp>
      </p:grpSp>
      <p:sp>
        <p:nvSpPr>
          <p:cNvPr id="799" name="Rechteck 111">
            <a:hlinkClick r:id="" action="ppaction://noaction"/>
            <a:extLst>
              <a:ext uri="{FF2B5EF4-FFF2-40B4-BE49-F238E27FC236}">
                <a16:creationId xmlns:a16="http://schemas.microsoft.com/office/drawing/2014/main" xmlns="" id="{87183AB1-9EE9-4542-A2FB-05AF42324E9B}"/>
              </a:ext>
            </a:extLst>
          </p:cNvPr>
          <p:cNvSpPr>
            <a:spLocks noChangeAspect="1"/>
          </p:cNvSpPr>
          <p:nvPr userDrawn="1"/>
        </p:nvSpPr>
        <p:spPr>
          <a:xfrm>
            <a:off x="780243" y="2219535"/>
            <a:ext cx="169196" cy="245546"/>
          </a:xfrm>
          <a:custGeom>
            <a:avLst/>
            <a:gdLst/>
            <a:ahLst/>
            <a:cxnLst/>
            <a:rect l="l" t="t" r="r" b="b"/>
            <a:pathLst>
              <a:path w="791942" h="1149396">
                <a:moveTo>
                  <a:pt x="469657" y="907034"/>
                </a:moveTo>
                <a:lnTo>
                  <a:pt x="419295" y="965578"/>
                </a:lnTo>
                <a:lnTo>
                  <a:pt x="514383" y="1076700"/>
                </a:lnTo>
                <a:cubicBezTo>
                  <a:pt x="510641" y="1062018"/>
                  <a:pt x="505942" y="1043582"/>
                  <a:pt x="500041" y="1020432"/>
                </a:cubicBezTo>
                <a:close/>
                <a:moveTo>
                  <a:pt x="321644" y="907034"/>
                </a:moveTo>
                <a:lnTo>
                  <a:pt x="304383" y="971452"/>
                </a:lnTo>
                <a:cubicBezTo>
                  <a:pt x="296271" y="1003277"/>
                  <a:pt x="287441" y="1037922"/>
                  <a:pt x="277830" y="1075634"/>
                </a:cubicBezTo>
                <a:lnTo>
                  <a:pt x="372006" y="965578"/>
                </a:lnTo>
                <a:close/>
                <a:moveTo>
                  <a:pt x="395581" y="822406"/>
                </a:moveTo>
                <a:lnTo>
                  <a:pt x="337897" y="880090"/>
                </a:lnTo>
                <a:lnTo>
                  <a:pt x="396542" y="938736"/>
                </a:lnTo>
                <a:lnTo>
                  <a:pt x="454227" y="881052"/>
                </a:lnTo>
                <a:close/>
                <a:moveTo>
                  <a:pt x="437632" y="777676"/>
                </a:moveTo>
                <a:lnTo>
                  <a:pt x="418588" y="796116"/>
                </a:lnTo>
                <a:lnTo>
                  <a:pt x="451850" y="831354"/>
                </a:lnTo>
                <a:cubicBezTo>
                  <a:pt x="450789" y="827191"/>
                  <a:pt x="449713" y="822971"/>
                  <a:pt x="448623" y="818693"/>
                </a:cubicBezTo>
                <a:close/>
                <a:moveTo>
                  <a:pt x="353869" y="777676"/>
                </a:moveTo>
                <a:lnTo>
                  <a:pt x="351895" y="785041"/>
                </a:lnTo>
                <a:cubicBezTo>
                  <a:pt x="348313" y="799093"/>
                  <a:pt x="344441" y="814287"/>
                  <a:pt x="340254" y="830716"/>
                </a:cubicBezTo>
                <a:lnTo>
                  <a:pt x="372913" y="796116"/>
                </a:lnTo>
                <a:close/>
                <a:moveTo>
                  <a:pt x="396291" y="613374"/>
                </a:moveTo>
                <a:lnTo>
                  <a:pt x="377521" y="684497"/>
                </a:lnTo>
                <a:cubicBezTo>
                  <a:pt x="373809" y="699064"/>
                  <a:pt x="369349" y="716563"/>
                  <a:pt x="363991" y="737583"/>
                </a:cubicBezTo>
                <a:lnTo>
                  <a:pt x="396542" y="771736"/>
                </a:lnTo>
                <a:lnTo>
                  <a:pt x="428191" y="738530"/>
                </a:lnTo>
                <a:cubicBezTo>
                  <a:pt x="418516" y="700571"/>
                  <a:pt x="407912" y="658968"/>
                  <a:pt x="396291" y="613374"/>
                </a:cubicBezTo>
                <a:close/>
                <a:moveTo>
                  <a:pt x="395971" y="526935"/>
                </a:moveTo>
                <a:cubicBezTo>
                  <a:pt x="399309" y="526935"/>
                  <a:pt x="402443" y="527807"/>
                  <a:pt x="405017" y="529587"/>
                </a:cubicBezTo>
                <a:cubicBezTo>
                  <a:pt x="406431" y="529657"/>
                  <a:pt x="407473" y="530387"/>
                  <a:pt x="408058" y="531637"/>
                </a:cubicBezTo>
                <a:cubicBezTo>
                  <a:pt x="411603" y="534402"/>
                  <a:pt x="413942" y="538535"/>
                  <a:pt x="414230" y="543253"/>
                </a:cubicBezTo>
                <a:cubicBezTo>
                  <a:pt x="416930" y="553950"/>
                  <a:pt x="428618" y="600250"/>
                  <a:pt x="479211" y="800665"/>
                </a:cubicBezTo>
                <a:lnTo>
                  <a:pt x="561228" y="1121552"/>
                </a:lnTo>
                <a:cubicBezTo>
                  <a:pt x="563029" y="1124134"/>
                  <a:pt x="563912" y="1127287"/>
                  <a:pt x="563912" y="1130646"/>
                </a:cubicBezTo>
                <a:cubicBezTo>
                  <a:pt x="563912" y="1141001"/>
                  <a:pt x="555517" y="1149396"/>
                  <a:pt x="545162" y="1149396"/>
                </a:cubicBezTo>
                <a:cubicBezTo>
                  <a:pt x="541021" y="1149396"/>
                  <a:pt x="537194" y="1148054"/>
                  <a:pt x="534288" y="1145512"/>
                </a:cubicBezTo>
                <a:lnTo>
                  <a:pt x="532381" y="1146688"/>
                </a:lnTo>
                <a:lnTo>
                  <a:pt x="395273" y="991298"/>
                </a:lnTo>
                <a:lnTo>
                  <a:pt x="261719" y="1145165"/>
                </a:lnTo>
                <a:lnTo>
                  <a:pt x="261189" y="1144840"/>
                </a:lnTo>
                <a:cubicBezTo>
                  <a:pt x="258091" y="1147755"/>
                  <a:pt x="253896" y="1149396"/>
                  <a:pt x="249318" y="1149396"/>
                </a:cubicBezTo>
                <a:cubicBezTo>
                  <a:pt x="243254" y="1149396"/>
                  <a:pt x="237863" y="1146518"/>
                  <a:pt x="234683" y="1141863"/>
                </a:cubicBezTo>
                <a:cubicBezTo>
                  <a:pt x="230797" y="1138219"/>
                  <a:pt x="228879" y="1132887"/>
                  <a:pt x="230210" y="1127556"/>
                </a:cubicBezTo>
                <a:lnTo>
                  <a:pt x="230235" y="1125868"/>
                </a:lnTo>
                <a:lnTo>
                  <a:pt x="370720" y="575395"/>
                </a:lnTo>
                <a:lnTo>
                  <a:pt x="370898" y="575911"/>
                </a:lnTo>
                <a:lnTo>
                  <a:pt x="381023" y="537044"/>
                </a:lnTo>
                <a:lnTo>
                  <a:pt x="384225" y="531407"/>
                </a:lnTo>
                <a:cubicBezTo>
                  <a:pt x="387298" y="528537"/>
                  <a:pt x="391447" y="526935"/>
                  <a:pt x="395971" y="526935"/>
                </a:cubicBezTo>
                <a:close/>
                <a:moveTo>
                  <a:pt x="394903" y="343591"/>
                </a:moveTo>
                <a:cubicBezTo>
                  <a:pt x="365123" y="343591"/>
                  <a:pt x="340981" y="367733"/>
                  <a:pt x="340981" y="397514"/>
                </a:cubicBezTo>
                <a:cubicBezTo>
                  <a:pt x="340981" y="427294"/>
                  <a:pt x="365123" y="451436"/>
                  <a:pt x="394903" y="451436"/>
                </a:cubicBezTo>
                <a:cubicBezTo>
                  <a:pt x="424684" y="451436"/>
                  <a:pt x="448826" y="427294"/>
                  <a:pt x="448826" y="397514"/>
                </a:cubicBezTo>
                <a:cubicBezTo>
                  <a:pt x="448826" y="367733"/>
                  <a:pt x="424684" y="343591"/>
                  <a:pt x="394903" y="343591"/>
                </a:cubicBezTo>
                <a:close/>
                <a:moveTo>
                  <a:pt x="394903" y="311232"/>
                </a:moveTo>
                <a:cubicBezTo>
                  <a:pt x="442556" y="311232"/>
                  <a:pt x="481185" y="349862"/>
                  <a:pt x="481185" y="397514"/>
                </a:cubicBezTo>
                <a:cubicBezTo>
                  <a:pt x="481185" y="445166"/>
                  <a:pt x="442556" y="483796"/>
                  <a:pt x="394903" y="483796"/>
                </a:cubicBezTo>
                <a:cubicBezTo>
                  <a:pt x="347251" y="483796"/>
                  <a:pt x="308621" y="445166"/>
                  <a:pt x="308621" y="397514"/>
                </a:cubicBezTo>
                <a:cubicBezTo>
                  <a:pt x="308621" y="349862"/>
                  <a:pt x="347251" y="311232"/>
                  <a:pt x="394903" y="311232"/>
                </a:cubicBezTo>
                <a:close/>
                <a:moveTo>
                  <a:pt x="395970" y="160238"/>
                </a:moveTo>
                <a:cubicBezTo>
                  <a:pt x="530113" y="160238"/>
                  <a:pt x="637868" y="269406"/>
                  <a:pt x="637868" y="400409"/>
                </a:cubicBezTo>
                <a:cubicBezTo>
                  <a:pt x="637868" y="474643"/>
                  <a:pt x="604882" y="542328"/>
                  <a:pt x="547706" y="588179"/>
                </a:cubicBezTo>
                <a:cubicBezTo>
                  <a:pt x="538910" y="594729"/>
                  <a:pt x="527914" y="592546"/>
                  <a:pt x="523516" y="585996"/>
                </a:cubicBezTo>
                <a:cubicBezTo>
                  <a:pt x="516919" y="577262"/>
                  <a:pt x="519118" y="568529"/>
                  <a:pt x="525715" y="561978"/>
                </a:cubicBezTo>
                <a:cubicBezTo>
                  <a:pt x="574095" y="522678"/>
                  <a:pt x="602683" y="463726"/>
                  <a:pt x="602683" y="400409"/>
                </a:cubicBezTo>
                <a:cubicBezTo>
                  <a:pt x="602683" y="286873"/>
                  <a:pt x="510322" y="195172"/>
                  <a:pt x="395970" y="195172"/>
                </a:cubicBezTo>
                <a:cubicBezTo>
                  <a:pt x="281619" y="195172"/>
                  <a:pt x="189258" y="286873"/>
                  <a:pt x="189258" y="400409"/>
                </a:cubicBezTo>
                <a:cubicBezTo>
                  <a:pt x="189258" y="463726"/>
                  <a:pt x="217846" y="522678"/>
                  <a:pt x="266226" y="561978"/>
                </a:cubicBezTo>
                <a:cubicBezTo>
                  <a:pt x="272823" y="568529"/>
                  <a:pt x="275022" y="577262"/>
                  <a:pt x="268425" y="585996"/>
                </a:cubicBezTo>
                <a:cubicBezTo>
                  <a:pt x="266226" y="590362"/>
                  <a:pt x="261828" y="592546"/>
                  <a:pt x="255230" y="592546"/>
                </a:cubicBezTo>
                <a:lnTo>
                  <a:pt x="246434" y="588179"/>
                </a:lnTo>
                <a:cubicBezTo>
                  <a:pt x="187059" y="542328"/>
                  <a:pt x="154073" y="474643"/>
                  <a:pt x="154073" y="400409"/>
                </a:cubicBezTo>
                <a:cubicBezTo>
                  <a:pt x="154073" y="269406"/>
                  <a:pt x="261828" y="160238"/>
                  <a:pt x="395970" y="160238"/>
                </a:cubicBezTo>
                <a:close/>
                <a:moveTo>
                  <a:pt x="395971" y="0"/>
                </a:moveTo>
                <a:cubicBezTo>
                  <a:pt x="614740" y="0"/>
                  <a:pt x="791942" y="177527"/>
                  <a:pt x="791942" y="396697"/>
                </a:cubicBezTo>
                <a:cubicBezTo>
                  <a:pt x="791942" y="521624"/>
                  <a:pt x="732875" y="642167"/>
                  <a:pt x="632241" y="716685"/>
                </a:cubicBezTo>
                <a:cubicBezTo>
                  <a:pt x="630054" y="718876"/>
                  <a:pt x="625678" y="718876"/>
                  <a:pt x="621303" y="718876"/>
                </a:cubicBezTo>
                <a:cubicBezTo>
                  <a:pt x="616927" y="718876"/>
                  <a:pt x="612552" y="716685"/>
                  <a:pt x="608177" y="712301"/>
                </a:cubicBezTo>
                <a:cubicBezTo>
                  <a:pt x="603801" y="705726"/>
                  <a:pt x="603801" y="694768"/>
                  <a:pt x="612552" y="688193"/>
                </a:cubicBezTo>
                <a:cubicBezTo>
                  <a:pt x="704435" y="620250"/>
                  <a:pt x="759127" y="512857"/>
                  <a:pt x="759127" y="396697"/>
                </a:cubicBezTo>
                <a:cubicBezTo>
                  <a:pt x="759127" y="197253"/>
                  <a:pt x="595050" y="35067"/>
                  <a:pt x="395971" y="35067"/>
                </a:cubicBezTo>
                <a:cubicBezTo>
                  <a:pt x="196892" y="35067"/>
                  <a:pt x="32815" y="197253"/>
                  <a:pt x="32815" y="396697"/>
                </a:cubicBezTo>
                <a:cubicBezTo>
                  <a:pt x="32815" y="512857"/>
                  <a:pt x="87507" y="620250"/>
                  <a:pt x="179390" y="688193"/>
                </a:cubicBezTo>
                <a:cubicBezTo>
                  <a:pt x="188141" y="694768"/>
                  <a:pt x="188141" y="705726"/>
                  <a:pt x="183766" y="712301"/>
                </a:cubicBezTo>
                <a:cubicBezTo>
                  <a:pt x="177203" y="718876"/>
                  <a:pt x="168452" y="721068"/>
                  <a:pt x="159701" y="716685"/>
                </a:cubicBezTo>
                <a:cubicBezTo>
                  <a:pt x="59067" y="642167"/>
                  <a:pt x="0" y="521624"/>
                  <a:pt x="0" y="396697"/>
                </a:cubicBezTo>
                <a:cubicBezTo>
                  <a:pt x="0" y="177527"/>
                  <a:pt x="177203" y="0"/>
                  <a:pt x="395971" y="0"/>
                </a:cubicBezTo>
                <a:close/>
              </a:path>
            </a:pathLst>
          </a:custGeom>
          <a:solidFill>
            <a:srgbClr val="12419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00" name="Rechteck 111">
            <a:hlinkClick r:id="" action="ppaction://noaction"/>
            <a:extLst>
              <a:ext uri="{FF2B5EF4-FFF2-40B4-BE49-F238E27FC236}">
                <a16:creationId xmlns:a16="http://schemas.microsoft.com/office/drawing/2014/main" xmlns="" id="{6385D19E-5C3B-4D32-B975-CF6478C281E2}"/>
              </a:ext>
            </a:extLst>
          </p:cNvPr>
          <p:cNvSpPr>
            <a:spLocks noChangeAspect="1"/>
          </p:cNvSpPr>
          <p:nvPr userDrawn="1"/>
        </p:nvSpPr>
        <p:spPr>
          <a:xfrm>
            <a:off x="2234930" y="2317493"/>
            <a:ext cx="169196" cy="245546"/>
          </a:xfrm>
          <a:custGeom>
            <a:avLst/>
            <a:gdLst/>
            <a:ahLst/>
            <a:cxnLst/>
            <a:rect l="l" t="t" r="r" b="b"/>
            <a:pathLst>
              <a:path w="791942" h="1149396">
                <a:moveTo>
                  <a:pt x="469657" y="907034"/>
                </a:moveTo>
                <a:lnTo>
                  <a:pt x="419295" y="965578"/>
                </a:lnTo>
                <a:lnTo>
                  <a:pt x="514383" y="1076700"/>
                </a:lnTo>
                <a:cubicBezTo>
                  <a:pt x="510641" y="1062018"/>
                  <a:pt x="505942" y="1043582"/>
                  <a:pt x="500041" y="1020432"/>
                </a:cubicBezTo>
                <a:close/>
                <a:moveTo>
                  <a:pt x="321644" y="907034"/>
                </a:moveTo>
                <a:lnTo>
                  <a:pt x="304383" y="971452"/>
                </a:lnTo>
                <a:cubicBezTo>
                  <a:pt x="296271" y="1003277"/>
                  <a:pt x="287441" y="1037922"/>
                  <a:pt x="277830" y="1075634"/>
                </a:cubicBezTo>
                <a:lnTo>
                  <a:pt x="372006" y="965578"/>
                </a:lnTo>
                <a:close/>
                <a:moveTo>
                  <a:pt x="395581" y="822406"/>
                </a:moveTo>
                <a:lnTo>
                  <a:pt x="337897" y="880090"/>
                </a:lnTo>
                <a:lnTo>
                  <a:pt x="396542" y="938736"/>
                </a:lnTo>
                <a:lnTo>
                  <a:pt x="454227" y="881052"/>
                </a:lnTo>
                <a:close/>
                <a:moveTo>
                  <a:pt x="437632" y="777676"/>
                </a:moveTo>
                <a:lnTo>
                  <a:pt x="418588" y="796116"/>
                </a:lnTo>
                <a:lnTo>
                  <a:pt x="451850" y="831354"/>
                </a:lnTo>
                <a:cubicBezTo>
                  <a:pt x="450789" y="827191"/>
                  <a:pt x="449713" y="822971"/>
                  <a:pt x="448623" y="818693"/>
                </a:cubicBezTo>
                <a:close/>
                <a:moveTo>
                  <a:pt x="353869" y="777676"/>
                </a:moveTo>
                <a:lnTo>
                  <a:pt x="351895" y="785041"/>
                </a:lnTo>
                <a:cubicBezTo>
                  <a:pt x="348313" y="799093"/>
                  <a:pt x="344441" y="814287"/>
                  <a:pt x="340254" y="830716"/>
                </a:cubicBezTo>
                <a:lnTo>
                  <a:pt x="372913" y="796116"/>
                </a:lnTo>
                <a:close/>
                <a:moveTo>
                  <a:pt x="396291" y="613374"/>
                </a:moveTo>
                <a:lnTo>
                  <a:pt x="377521" y="684497"/>
                </a:lnTo>
                <a:cubicBezTo>
                  <a:pt x="373809" y="699064"/>
                  <a:pt x="369349" y="716563"/>
                  <a:pt x="363991" y="737583"/>
                </a:cubicBezTo>
                <a:lnTo>
                  <a:pt x="396542" y="771736"/>
                </a:lnTo>
                <a:lnTo>
                  <a:pt x="428191" y="738530"/>
                </a:lnTo>
                <a:cubicBezTo>
                  <a:pt x="418516" y="700571"/>
                  <a:pt x="407912" y="658968"/>
                  <a:pt x="396291" y="613374"/>
                </a:cubicBezTo>
                <a:close/>
                <a:moveTo>
                  <a:pt x="395971" y="526935"/>
                </a:moveTo>
                <a:cubicBezTo>
                  <a:pt x="399309" y="526935"/>
                  <a:pt x="402443" y="527807"/>
                  <a:pt x="405017" y="529587"/>
                </a:cubicBezTo>
                <a:cubicBezTo>
                  <a:pt x="406431" y="529657"/>
                  <a:pt x="407473" y="530387"/>
                  <a:pt x="408058" y="531637"/>
                </a:cubicBezTo>
                <a:cubicBezTo>
                  <a:pt x="411603" y="534402"/>
                  <a:pt x="413942" y="538535"/>
                  <a:pt x="414230" y="543253"/>
                </a:cubicBezTo>
                <a:cubicBezTo>
                  <a:pt x="416930" y="553950"/>
                  <a:pt x="428618" y="600250"/>
                  <a:pt x="479211" y="800665"/>
                </a:cubicBezTo>
                <a:lnTo>
                  <a:pt x="561228" y="1121552"/>
                </a:lnTo>
                <a:cubicBezTo>
                  <a:pt x="563029" y="1124134"/>
                  <a:pt x="563912" y="1127287"/>
                  <a:pt x="563912" y="1130646"/>
                </a:cubicBezTo>
                <a:cubicBezTo>
                  <a:pt x="563912" y="1141001"/>
                  <a:pt x="555517" y="1149396"/>
                  <a:pt x="545162" y="1149396"/>
                </a:cubicBezTo>
                <a:cubicBezTo>
                  <a:pt x="541021" y="1149396"/>
                  <a:pt x="537194" y="1148054"/>
                  <a:pt x="534288" y="1145512"/>
                </a:cubicBezTo>
                <a:lnTo>
                  <a:pt x="532381" y="1146688"/>
                </a:lnTo>
                <a:lnTo>
                  <a:pt x="395273" y="991298"/>
                </a:lnTo>
                <a:lnTo>
                  <a:pt x="261719" y="1145165"/>
                </a:lnTo>
                <a:lnTo>
                  <a:pt x="261189" y="1144840"/>
                </a:lnTo>
                <a:cubicBezTo>
                  <a:pt x="258091" y="1147755"/>
                  <a:pt x="253896" y="1149396"/>
                  <a:pt x="249318" y="1149396"/>
                </a:cubicBezTo>
                <a:cubicBezTo>
                  <a:pt x="243254" y="1149396"/>
                  <a:pt x="237863" y="1146518"/>
                  <a:pt x="234683" y="1141863"/>
                </a:cubicBezTo>
                <a:cubicBezTo>
                  <a:pt x="230797" y="1138219"/>
                  <a:pt x="228879" y="1132887"/>
                  <a:pt x="230210" y="1127556"/>
                </a:cubicBezTo>
                <a:lnTo>
                  <a:pt x="230235" y="1125868"/>
                </a:lnTo>
                <a:lnTo>
                  <a:pt x="370720" y="575395"/>
                </a:lnTo>
                <a:lnTo>
                  <a:pt x="370898" y="575911"/>
                </a:lnTo>
                <a:lnTo>
                  <a:pt x="381023" y="537044"/>
                </a:lnTo>
                <a:lnTo>
                  <a:pt x="384225" y="531407"/>
                </a:lnTo>
                <a:cubicBezTo>
                  <a:pt x="387298" y="528537"/>
                  <a:pt x="391447" y="526935"/>
                  <a:pt x="395971" y="526935"/>
                </a:cubicBezTo>
                <a:close/>
                <a:moveTo>
                  <a:pt x="394903" y="343591"/>
                </a:moveTo>
                <a:cubicBezTo>
                  <a:pt x="365123" y="343591"/>
                  <a:pt x="340981" y="367733"/>
                  <a:pt x="340981" y="397514"/>
                </a:cubicBezTo>
                <a:cubicBezTo>
                  <a:pt x="340981" y="427294"/>
                  <a:pt x="365123" y="451436"/>
                  <a:pt x="394903" y="451436"/>
                </a:cubicBezTo>
                <a:cubicBezTo>
                  <a:pt x="424684" y="451436"/>
                  <a:pt x="448826" y="427294"/>
                  <a:pt x="448826" y="397514"/>
                </a:cubicBezTo>
                <a:cubicBezTo>
                  <a:pt x="448826" y="367733"/>
                  <a:pt x="424684" y="343591"/>
                  <a:pt x="394903" y="343591"/>
                </a:cubicBezTo>
                <a:close/>
                <a:moveTo>
                  <a:pt x="394903" y="311232"/>
                </a:moveTo>
                <a:cubicBezTo>
                  <a:pt x="442556" y="311232"/>
                  <a:pt x="481185" y="349862"/>
                  <a:pt x="481185" y="397514"/>
                </a:cubicBezTo>
                <a:cubicBezTo>
                  <a:pt x="481185" y="445166"/>
                  <a:pt x="442556" y="483796"/>
                  <a:pt x="394903" y="483796"/>
                </a:cubicBezTo>
                <a:cubicBezTo>
                  <a:pt x="347251" y="483796"/>
                  <a:pt x="308621" y="445166"/>
                  <a:pt x="308621" y="397514"/>
                </a:cubicBezTo>
                <a:cubicBezTo>
                  <a:pt x="308621" y="349862"/>
                  <a:pt x="347251" y="311232"/>
                  <a:pt x="394903" y="311232"/>
                </a:cubicBezTo>
                <a:close/>
                <a:moveTo>
                  <a:pt x="395970" y="160238"/>
                </a:moveTo>
                <a:cubicBezTo>
                  <a:pt x="530113" y="160238"/>
                  <a:pt x="637868" y="269406"/>
                  <a:pt x="637868" y="400409"/>
                </a:cubicBezTo>
                <a:cubicBezTo>
                  <a:pt x="637868" y="474643"/>
                  <a:pt x="604882" y="542328"/>
                  <a:pt x="547706" y="588179"/>
                </a:cubicBezTo>
                <a:cubicBezTo>
                  <a:pt x="538910" y="594729"/>
                  <a:pt x="527914" y="592546"/>
                  <a:pt x="523516" y="585996"/>
                </a:cubicBezTo>
                <a:cubicBezTo>
                  <a:pt x="516919" y="577262"/>
                  <a:pt x="519118" y="568529"/>
                  <a:pt x="525715" y="561978"/>
                </a:cubicBezTo>
                <a:cubicBezTo>
                  <a:pt x="574095" y="522678"/>
                  <a:pt x="602683" y="463726"/>
                  <a:pt x="602683" y="400409"/>
                </a:cubicBezTo>
                <a:cubicBezTo>
                  <a:pt x="602683" y="286873"/>
                  <a:pt x="510322" y="195172"/>
                  <a:pt x="395970" y="195172"/>
                </a:cubicBezTo>
                <a:cubicBezTo>
                  <a:pt x="281619" y="195172"/>
                  <a:pt x="189258" y="286873"/>
                  <a:pt x="189258" y="400409"/>
                </a:cubicBezTo>
                <a:cubicBezTo>
                  <a:pt x="189258" y="463726"/>
                  <a:pt x="217846" y="522678"/>
                  <a:pt x="266226" y="561978"/>
                </a:cubicBezTo>
                <a:cubicBezTo>
                  <a:pt x="272823" y="568529"/>
                  <a:pt x="275022" y="577262"/>
                  <a:pt x="268425" y="585996"/>
                </a:cubicBezTo>
                <a:cubicBezTo>
                  <a:pt x="266226" y="590362"/>
                  <a:pt x="261828" y="592546"/>
                  <a:pt x="255230" y="592546"/>
                </a:cubicBezTo>
                <a:lnTo>
                  <a:pt x="246434" y="588179"/>
                </a:lnTo>
                <a:cubicBezTo>
                  <a:pt x="187059" y="542328"/>
                  <a:pt x="154073" y="474643"/>
                  <a:pt x="154073" y="400409"/>
                </a:cubicBezTo>
                <a:cubicBezTo>
                  <a:pt x="154073" y="269406"/>
                  <a:pt x="261828" y="160238"/>
                  <a:pt x="395970" y="160238"/>
                </a:cubicBezTo>
                <a:close/>
                <a:moveTo>
                  <a:pt x="395971" y="0"/>
                </a:moveTo>
                <a:cubicBezTo>
                  <a:pt x="614740" y="0"/>
                  <a:pt x="791942" y="177527"/>
                  <a:pt x="791942" y="396697"/>
                </a:cubicBezTo>
                <a:cubicBezTo>
                  <a:pt x="791942" y="521624"/>
                  <a:pt x="732875" y="642167"/>
                  <a:pt x="632241" y="716685"/>
                </a:cubicBezTo>
                <a:cubicBezTo>
                  <a:pt x="630054" y="718876"/>
                  <a:pt x="625678" y="718876"/>
                  <a:pt x="621303" y="718876"/>
                </a:cubicBezTo>
                <a:cubicBezTo>
                  <a:pt x="616927" y="718876"/>
                  <a:pt x="612552" y="716685"/>
                  <a:pt x="608177" y="712301"/>
                </a:cubicBezTo>
                <a:cubicBezTo>
                  <a:pt x="603801" y="705726"/>
                  <a:pt x="603801" y="694768"/>
                  <a:pt x="612552" y="688193"/>
                </a:cubicBezTo>
                <a:cubicBezTo>
                  <a:pt x="704435" y="620250"/>
                  <a:pt x="759127" y="512857"/>
                  <a:pt x="759127" y="396697"/>
                </a:cubicBezTo>
                <a:cubicBezTo>
                  <a:pt x="759127" y="197253"/>
                  <a:pt x="595050" y="35067"/>
                  <a:pt x="395971" y="35067"/>
                </a:cubicBezTo>
                <a:cubicBezTo>
                  <a:pt x="196892" y="35067"/>
                  <a:pt x="32815" y="197253"/>
                  <a:pt x="32815" y="396697"/>
                </a:cubicBezTo>
                <a:cubicBezTo>
                  <a:pt x="32815" y="512857"/>
                  <a:pt x="87507" y="620250"/>
                  <a:pt x="179390" y="688193"/>
                </a:cubicBezTo>
                <a:cubicBezTo>
                  <a:pt x="188141" y="694768"/>
                  <a:pt x="188141" y="705726"/>
                  <a:pt x="183766" y="712301"/>
                </a:cubicBezTo>
                <a:cubicBezTo>
                  <a:pt x="177203" y="718876"/>
                  <a:pt x="168452" y="721068"/>
                  <a:pt x="159701" y="716685"/>
                </a:cubicBezTo>
                <a:cubicBezTo>
                  <a:pt x="59067" y="642167"/>
                  <a:pt x="0" y="521624"/>
                  <a:pt x="0" y="396697"/>
                </a:cubicBezTo>
                <a:cubicBezTo>
                  <a:pt x="0" y="177527"/>
                  <a:pt x="177203" y="0"/>
                  <a:pt x="395971" y="0"/>
                </a:cubicBezTo>
                <a:close/>
              </a:path>
            </a:pathLst>
          </a:custGeom>
          <a:gradFill flip="none" rotWithShape="1">
            <a:gsLst>
              <a:gs pos="0">
                <a:srgbClr val="124191"/>
              </a:gs>
              <a:gs pos="100000">
                <a:srgbClr val="00C9FF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01" name="Abgerundetes Rechteck 18">
            <a:extLst>
              <a:ext uri="{FF2B5EF4-FFF2-40B4-BE49-F238E27FC236}">
                <a16:creationId xmlns:a16="http://schemas.microsoft.com/office/drawing/2014/main" xmlns="" id="{513A26E3-7C1A-41D1-AE9E-C57E59CE3CFE}"/>
              </a:ext>
            </a:extLst>
          </p:cNvPr>
          <p:cNvSpPr/>
          <p:nvPr userDrawn="1"/>
        </p:nvSpPr>
        <p:spPr>
          <a:xfrm>
            <a:off x="1585398" y="3251176"/>
            <a:ext cx="112924" cy="84808"/>
          </a:xfrm>
          <a:prstGeom prst="round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02" name="Abgerundetes Rechteck 4">
            <a:extLst>
              <a:ext uri="{FF2B5EF4-FFF2-40B4-BE49-F238E27FC236}">
                <a16:creationId xmlns:a16="http://schemas.microsoft.com/office/drawing/2014/main" xmlns="" id="{E84ABF02-AE3F-4DFC-8870-FDB2F8D9050E}"/>
              </a:ext>
            </a:extLst>
          </p:cNvPr>
          <p:cNvSpPr>
            <a:spLocks noChangeAspect="1"/>
          </p:cNvSpPr>
          <p:nvPr userDrawn="1"/>
        </p:nvSpPr>
        <p:spPr>
          <a:xfrm>
            <a:off x="1559567" y="3251178"/>
            <a:ext cx="142057" cy="122964"/>
          </a:xfrm>
          <a:custGeom>
            <a:avLst/>
            <a:gdLst/>
            <a:ahLst/>
            <a:cxnLst/>
            <a:rect l="l" t="t" r="r" b="b"/>
            <a:pathLst>
              <a:path w="3514472" h="3042338">
                <a:moveTo>
                  <a:pt x="1944216" y="2232248"/>
                </a:moveTo>
                <a:lnTo>
                  <a:pt x="1944216" y="2520280"/>
                </a:lnTo>
                <a:lnTo>
                  <a:pt x="2071692" y="2520280"/>
                </a:lnTo>
                <a:lnTo>
                  <a:pt x="2071692" y="2232248"/>
                </a:lnTo>
                <a:close/>
                <a:moveTo>
                  <a:pt x="1242138" y="1362522"/>
                </a:moveTo>
                <a:cubicBezTo>
                  <a:pt x="1372942" y="1362522"/>
                  <a:pt x="1478979" y="1468559"/>
                  <a:pt x="1478979" y="1599363"/>
                </a:cubicBezTo>
                <a:cubicBezTo>
                  <a:pt x="1478979" y="1730167"/>
                  <a:pt x="1372942" y="1836204"/>
                  <a:pt x="1242138" y="1836204"/>
                </a:cubicBezTo>
                <a:cubicBezTo>
                  <a:pt x="1111334" y="1836204"/>
                  <a:pt x="1005297" y="1730167"/>
                  <a:pt x="1005297" y="1599363"/>
                </a:cubicBezTo>
                <a:cubicBezTo>
                  <a:pt x="1005297" y="1468559"/>
                  <a:pt x="1111334" y="1362522"/>
                  <a:pt x="1242138" y="1362522"/>
                </a:cubicBezTo>
                <a:close/>
                <a:moveTo>
                  <a:pt x="2619992" y="813247"/>
                </a:moveTo>
                <a:cubicBezTo>
                  <a:pt x="2659761" y="813247"/>
                  <a:pt x="2692000" y="845486"/>
                  <a:pt x="2692000" y="885255"/>
                </a:cubicBezTo>
                <a:cubicBezTo>
                  <a:pt x="2692000" y="925024"/>
                  <a:pt x="2659761" y="957263"/>
                  <a:pt x="2619992" y="957263"/>
                </a:cubicBezTo>
                <a:cubicBezTo>
                  <a:pt x="2580223" y="957263"/>
                  <a:pt x="2547984" y="925024"/>
                  <a:pt x="2547984" y="885255"/>
                </a:cubicBezTo>
                <a:cubicBezTo>
                  <a:pt x="2547984" y="845486"/>
                  <a:pt x="2580223" y="813247"/>
                  <a:pt x="2619992" y="813247"/>
                </a:cubicBezTo>
                <a:close/>
                <a:moveTo>
                  <a:pt x="2619992" y="479889"/>
                </a:moveTo>
                <a:cubicBezTo>
                  <a:pt x="2396114" y="479889"/>
                  <a:pt x="2214625" y="661378"/>
                  <a:pt x="2214625" y="885256"/>
                </a:cubicBezTo>
                <a:cubicBezTo>
                  <a:pt x="2214625" y="1109134"/>
                  <a:pt x="2396114" y="1290623"/>
                  <a:pt x="2619992" y="1290623"/>
                </a:cubicBezTo>
                <a:cubicBezTo>
                  <a:pt x="2843870" y="1290623"/>
                  <a:pt x="3025359" y="1109134"/>
                  <a:pt x="3025359" y="885256"/>
                </a:cubicBezTo>
                <a:cubicBezTo>
                  <a:pt x="3025359" y="661378"/>
                  <a:pt x="2843870" y="479889"/>
                  <a:pt x="2619992" y="479889"/>
                </a:cubicBezTo>
                <a:close/>
                <a:moveTo>
                  <a:pt x="2619993" y="426965"/>
                </a:moveTo>
                <a:cubicBezTo>
                  <a:pt x="2873100" y="426965"/>
                  <a:pt x="3078284" y="632149"/>
                  <a:pt x="3078284" y="885256"/>
                </a:cubicBezTo>
                <a:cubicBezTo>
                  <a:pt x="3078284" y="1138363"/>
                  <a:pt x="2873100" y="1343547"/>
                  <a:pt x="2619993" y="1343547"/>
                </a:cubicBezTo>
                <a:cubicBezTo>
                  <a:pt x="2366886" y="1343547"/>
                  <a:pt x="2161702" y="1138363"/>
                  <a:pt x="2161702" y="885256"/>
                </a:cubicBezTo>
                <a:cubicBezTo>
                  <a:pt x="2161702" y="632149"/>
                  <a:pt x="2366886" y="426965"/>
                  <a:pt x="2619993" y="426965"/>
                </a:cubicBezTo>
                <a:close/>
                <a:moveTo>
                  <a:pt x="909776" y="258011"/>
                </a:moveTo>
                <a:lnTo>
                  <a:pt x="1574500" y="258011"/>
                </a:lnTo>
                <a:cubicBezTo>
                  <a:pt x="1639497" y="258011"/>
                  <a:pt x="1692188" y="310702"/>
                  <a:pt x="1692188" y="375699"/>
                </a:cubicBezTo>
                <a:lnTo>
                  <a:pt x="1692188" y="1069874"/>
                </a:lnTo>
                <a:cubicBezTo>
                  <a:pt x="1692188" y="1134871"/>
                  <a:pt x="1639497" y="1187562"/>
                  <a:pt x="1574500" y="1187562"/>
                </a:cubicBezTo>
                <a:lnTo>
                  <a:pt x="909776" y="1187562"/>
                </a:lnTo>
                <a:cubicBezTo>
                  <a:pt x="844779" y="1187562"/>
                  <a:pt x="792088" y="1134871"/>
                  <a:pt x="792088" y="1069874"/>
                </a:cubicBezTo>
                <a:lnTo>
                  <a:pt x="792088" y="375699"/>
                </a:lnTo>
                <a:cubicBezTo>
                  <a:pt x="792088" y="310702"/>
                  <a:pt x="844779" y="258011"/>
                  <a:pt x="909776" y="258011"/>
                </a:cubicBezTo>
                <a:close/>
                <a:moveTo>
                  <a:pt x="2154737" y="255255"/>
                </a:moveTo>
                <a:cubicBezTo>
                  <a:pt x="2063751" y="255255"/>
                  <a:pt x="1989992" y="329014"/>
                  <a:pt x="1989992" y="420000"/>
                </a:cubicBezTo>
                <a:lnTo>
                  <a:pt x="1989992" y="1350510"/>
                </a:lnTo>
                <a:cubicBezTo>
                  <a:pt x="1989992" y="1441496"/>
                  <a:pt x="2063751" y="1515255"/>
                  <a:pt x="2154737" y="1515255"/>
                </a:cubicBezTo>
                <a:lnTo>
                  <a:pt x="3085247" y="1515255"/>
                </a:lnTo>
                <a:cubicBezTo>
                  <a:pt x="3176233" y="1515255"/>
                  <a:pt x="3249992" y="1441496"/>
                  <a:pt x="3249992" y="1350510"/>
                </a:cubicBezTo>
                <a:lnTo>
                  <a:pt x="3249992" y="420000"/>
                </a:lnTo>
                <a:cubicBezTo>
                  <a:pt x="3249992" y="329014"/>
                  <a:pt x="3176233" y="255255"/>
                  <a:pt x="3085247" y="255255"/>
                </a:cubicBezTo>
                <a:close/>
                <a:moveTo>
                  <a:pt x="2139997" y="165255"/>
                </a:moveTo>
                <a:lnTo>
                  <a:pt x="3099987" y="165255"/>
                </a:lnTo>
                <a:cubicBezTo>
                  <a:pt x="3232538" y="165255"/>
                  <a:pt x="3339992" y="272709"/>
                  <a:pt x="3339992" y="405260"/>
                </a:cubicBezTo>
                <a:lnTo>
                  <a:pt x="3339992" y="1365250"/>
                </a:lnTo>
                <a:cubicBezTo>
                  <a:pt x="3339992" y="1497801"/>
                  <a:pt x="3232538" y="1605255"/>
                  <a:pt x="3099987" y="1605255"/>
                </a:cubicBezTo>
                <a:lnTo>
                  <a:pt x="2139997" y="1605255"/>
                </a:lnTo>
                <a:cubicBezTo>
                  <a:pt x="2007446" y="1605255"/>
                  <a:pt x="1899992" y="1497801"/>
                  <a:pt x="1899992" y="1365250"/>
                </a:cubicBezTo>
                <a:lnTo>
                  <a:pt x="1899992" y="405260"/>
                </a:lnTo>
                <a:cubicBezTo>
                  <a:pt x="1899992" y="272709"/>
                  <a:pt x="2007446" y="165255"/>
                  <a:pt x="2139997" y="165255"/>
                </a:cubicBezTo>
                <a:close/>
                <a:moveTo>
                  <a:pt x="801100" y="108124"/>
                </a:moveTo>
                <a:cubicBezTo>
                  <a:pt x="689192" y="108124"/>
                  <a:pt x="598472" y="198844"/>
                  <a:pt x="598472" y="310752"/>
                </a:cubicBezTo>
                <a:lnTo>
                  <a:pt x="598472" y="1921496"/>
                </a:lnTo>
                <a:cubicBezTo>
                  <a:pt x="598472" y="2033404"/>
                  <a:pt x="689192" y="2124124"/>
                  <a:pt x="801100" y="2124124"/>
                </a:cubicBezTo>
                <a:lnTo>
                  <a:pt x="3203844" y="2124124"/>
                </a:lnTo>
                <a:cubicBezTo>
                  <a:pt x="3315752" y="2124124"/>
                  <a:pt x="3406472" y="2033404"/>
                  <a:pt x="3406472" y="1921496"/>
                </a:cubicBezTo>
                <a:lnTo>
                  <a:pt x="3406472" y="310752"/>
                </a:lnTo>
                <a:cubicBezTo>
                  <a:pt x="3406472" y="198844"/>
                  <a:pt x="3315752" y="108124"/>
                  <a:pt x="3203844" y="108124"/>
                </a:cubicBezTo>
                <a:close/>
                <a:moveTo>
                  <a:pt x="734501" y="0"/>
                </a:moveTo>
                <a:lnTo>
                  <a:pt x="3270443" y="0"/>
                </a:lnTo>
                <a:cubicBezTo>
                  <a:pt x="3405216" y="0"/>
                  <a:pt x="3514472" y="109256"/>
                  <a:pt x="3514472" y="244029"/>
                </a:cubicBezTo>
                <a:lnTo>
                  <a:pt x="3514472" y="1988219"/>
                </a:lnTo>
                <a:cubicBezTo>
                  <a:pt x="3514472" y="2122992"/>
                  <a:pt x="3405216" y="2232248"/>
                  <a:pt x="3270443" y="2232248"/>
                </a:cubicBezTo>
                <a:lnTo>
                  <a:pt x="2251712" y="2232248"/>
                </a:lnTo>
                <a:lnTo>
                  <a:pt x="2251712" y="2520280"/>
                </a:lnTo>
                <a:lnTo>
                  <a:pt x="2692000" y="2520280"/>
                </a:lnTo>
                <a:lnTo>
                  <a:pt x="2692000" y="2880320"/>
                </a:lnTo>
                <a:lnTo>
                  <a:pt x="2251712" y="2880320"/>
                </a:lnTo>
                <a:lnTo>
                  <a:pt x="2071692" y="2880320"/>
                </a:lnTo>
                <a:lnTo>
                  <a:pt x="1944216" y="2880320"/>
                </a:lnTo>
                <a:lnTo>
                  <a:pt x="1764196" y="2880320"/>
                </a:lnTo>
                <a:lnTo>
                  <a:pt x="332658" y="2880320"/>
                </a:lnTo>
                <a:lnTo>
                  <a:pt x="0" y="3042338"/>
                </a:lnTo>
                <a:lnTo>
                  <a:pt x="0" y="2358262"/>
                </a:lnTo>
                <a:lnTo>
                  <a:pt x="332658" y="2520280"/>
                </a:lnTo>
                <a:lnTo>
                  <a:pt x="1764196" y="2520280"/>
                </a:lnTo>
                <a:lnTo>
                  <a:pt x="1764196" y="2232248"/>
                </a:lnTo>
                <a:lnTo>
                  <a:pt x="734501" y="2232248"/>
                </a:lnTo>
                <a:cubicBezTo>
                  <a:pt x="599728" y="2232248"/>
                  <a:pt x="490472" y="2122992"/>
                  <a:pt x="490472" y="1988219"/>
                </a:cubicBezTo>
                <a:lnTo>
                  <a:pt x="490472" y="244029"/>
                </a:lnTo>
                <a:cubicBezTo>
                  <a:pt x="490472" y="109256"/>
                  <a:pt x="599728" y="0"/>
                  <a:pt x="734501" y="0"/>
                </a:cubicBezTo>
                <a:close/>
              </a:path>
            </a:pathLst>
          </a:custGeom>
          <a:solidFill>
            <a:srgbClr val="12419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Headline Light"/>
            </a:endParaRPr>
          </a:p>
        </p:txBody>
      </p:sp>
      <p:sp>
        <p:nvSpPr>
          <p:cNvPr id="803" name="Freeform 885">
            <a:extLst>
              <a:ext uri="{FF2B5EF4-FFF2-40B4-BE49-F238E27FC236}">
                <a16:creationId xmlns:a16="http://schemas.microsoft.com/office/drawing/2014/main" xmlns="" id="{26795AFD-8350-481E-9BEC-FC3574A357F5}"/>
              </a:ext>
            </a:extLst>
          </p:cNvPr>
          <p:cNvSpPr>
            <a:spLocks/>
          </p:cNvSpPr>
          <p:nvPr userDrawn="1"/>
        </p:nvSpPr>
        <p:spPr bwMode="auto">
          <a:xfrm rot="13810369">
            <a:off x="651695" y="3497974"/>
            <a:ext cx="25666" cy="37587"/>
          </a:xfrm>
          <a:prstGeom prst="roundRect">
            <a:avLst>
              <a:gd name="adj" fmla="val 11002"/>
            </a:avLst>
          </a:prstGeom>
          <a:solidFill>
            <a:srgbClr val="1D458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3" tIns="45716" rIns="91433" bIns="4571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Headline Light"/>
            </a:endParaRPr>
          </a:p>
        </p:txBody>
      </p:sp>
      <p:sp>
        <p:nvSpPr>
          <p:cNvPr id="804" name="Freihandform: Form 803">
            <a:hlinkClick r:id="" action="ppaction://noaction"/>
            <a:extLst>
              <a:ext uri="{FF2B5EF4-FFF2-40B4-BE49-F238E27FC236}">
                <a16:creationId xmlns:a16="http://schemas.microsoft.com/office/drawing/2014/main" xmlns="" id="{E0A67D09-6BDE-48DC-9572-950B549A0EA0}"/>
              </a:ext>
            </a:extLst>
          </p:cNvPr>
          <p:cNvSpPr>
            <a:spLocks noChangeAspect="1"/>
          </p:cNvSpPr>
          <p:nvPr userDrawn="1"/>
        </p:nvSpPr>
        <p:spPr>
          <a:xfrm>
            <a:off x="468909" y="3212121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rgbClr val="12419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05" name="Freihandform: Form 804">
            <a:hlinkClick r:id="" action="ppaction://noaction"/>
            <a:extLst>
              <a:ext uri="{FF2B5EF4-FFF2-40B4-BE49-F238E27FC236}">
                <a16:creationId xmlns:a16="http://schemas.microsoft.com/office/drawing/2014/main" xmlns="" id="{DC82325E-80A8-4630-965F-6EC4E7F71408}"/>
              </a:ext>
            </a:extLst>
          </p:cNvPr>
          <p:cNvSpPr>
            <a:spLocks noChangeAspect="1"/>
          </p:cNvSpPr>
          <p:nvPr userDrawn="1"/>
        </p:nvSpPr>
        <p:spPr>
          <a:xfrm>
            <a:off x="291589" y="3145032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06" name="Freihandform: Form 805">
            <a:hlinkClick r:id="" action="ppaction://noaction"/>
            <a:extLst>
              <a:ext uri="{FF2B5EF4-FFF2-40B4-BE49-F238E27FC236}">
                <a16:creationId xmlns:a16="http://schemas.microsoft.com/office/drawing/2014/main" xmlns="" id="{6A830392-8844-4E43-8F68-4E539AAFF136}"/>
              </a:ext>
            </a:extLst>
          </p:cNvPr>
          <p:cNvSpPr>
            <a:spLocks noChangeAspect="1"/>
          </p:cNvSpPr>
          <p:nvPr userDrawn="1"/>
        </p:nvSpPr>
        <p:spPr>
          <a:xfrm>
            <a:off x="1144644" y="3073151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rgbClr val="12419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07" name="Freihandform: Form 806">
            <a:hlinkClick r:id="" action="ppaction://noaction"/>
            <a:extLst>
              <a:ext uri="{FF2B5EF4-FFF2-40B4-BE49-F238E27FC236}">
                <a16:creationId xmlns:a16="http://schemas.microsoft.com/office/drawing/2014/main" xmlns="" id="{1A6E3CDA-FB4A-436A-B82C-A2011CD172D3}"/>
              </a:ext>
            </a:extLst>
          </p:cNvPr>
          <p:cNvSpPr>
            <a:spLocks noChangeAspect="1"/>
          </p:cNvSpPr>
          <p:nvPr userDrawn="1"/>
        </p:nvSpPr>
        <p:spPr>
          <a:xfrm>
            <a:off x="1348324" y="2955743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08" name="Freihandform: Form 807">
            <a:hlinkClick r:id="" action="ppaction://noaction"/>
            <a:extLst>
              <a:ext uri="{FF2B5EF4-FFF2-40B4-BE49-F238E27FC236}">
                <a16:creationId xmlns:a16="http://schemas.microsoft.com/office/drawing/2014/main" xmlns="" id="{63540DD8-F91F-467B-BFBD-3EE1C6253647}"/>
              </a:ext>
            </a:extLst>
          </p:cNvPr>
          <p:cNvSpPr>
            <a:spLocks noChangeAspect="1"/>
          </p:cNvSpPr>
          <p:nvPr userDrawn="1"/>
        </p:nvSpPr>
        <p:spPr>
          <a:xfrm>
            <a:off x="2487222" y="3258249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09" name="Freihandform: Form 808">
            <a:hlinkClick r:id="" action="ppaction://noaction"/>
            <a:extLst>
              <a:ext uri="{FF2B5EF4-FFF2-40B4-BE49-F238E27FC236}">
                <a16:creationId xmlns:a16="http://schemas.microsoft.com/office/drawing/2014/main" xmlns="" id="{49FCE184-7BBF-4FDD-B731-F447B36C4E06}"/>
              </a:ext>
            </a:extLst>
          </p:cNvPr>
          <p:cNvSpPr>
            <a:spLocks noChangeAspect="1"/>
          </p:cNvSpPr>
          <p:nvPr userDrawn="1"/>
        </p:nvSpPr>
        <p:spPr>
          <a:xfrm>
            <a:off x="2119462" y="3164343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rgbClr val="12419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10" name="Freihandform: Form 809">
            <a:hlinkClick r:id="" action="ppaction://noaction"/>
            <a:extLst>
              <a:ext uri="{FF2B5EF4-FFF2-40B4-BE49-F238E27FC236}">
                <a16:creationId xmlns:a16="http://schemas.microsoft.com/office/drawing/2014/main" xmlns="" id="{38BD60B1-4E93-4502-8B55-239BA307B977}"/>
              </a:ext>
            </a:extLst>
          </p:cNvPr>
          <p:cNvSpPr>
            <a:spLocks noChangeAspect="1"/>
          </p:cNvSpPr>
          <p:nvPr userDrawn="1"/>
        </p:nvSpPr>
        <p:spPr>
          <a:xfrm>
            <a:off x="1944987" y="3037421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11" name="Rechteck 111">
            <a:hlinkClick r:id="" action="ppaction://noaction"/>
            <a:extLst>
              <a:ext uri="{FF2B5EF4-FFF2-40B4-BE49-F238E27FC236}">
                <a16:creationId xmlns:a16="http://schemas.microsoft.com/office/drawing/2014/main" xmlns="" id="{A0EFF234-78C7-41C5-8C68-196E26C55F38}"/>
              </a:ext>
            </a:extLst>
          </p:cNvPr>
          <p:cNvSpPr>
            <a:spLocks/>
          </p:cNvSpPr>
          <p:nvPr userDrawn="1"/>
        </p:nvSpPr>
        <p:spPr>
          <a:xfrm>
            <a:off x="1469154" y="3428414"/>
            <a:ext cx="36226" cy="36224"/>
          </a:xfrm>
          <a:prstGeom prst="ellipse">
            <a:avLst/>
          </a:prstGeom>
          <a:solidFill>
            <a:srgbClr val="12419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12" name="Abgerundetes Rechteck 18">
            <a:extLst>
              <a:ext uri="{FF2B5EF4-FFF2-40B4-BE49-F238E27FC236}">
                <a16:creationId xmlns:a16="http://schemas.microsoft.com/office/drawing/2014/main" xmlns="" id="{8BD4CEB7-F0E4-40C9-8809-8D1220F11B5F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1942307" y="3435356"/>
            <a:ext cx="631049" cy="227182"/>
          </a:xfrm>
          <a:custGeom>
            <a:avLst/>
            <a:gdLst/>
            <a:ahLst/>
            <a:cxnLst/>
            <a:rect l="l" t="t" r="r" b="b"/>
            <a:pathLst>
              <a:path w="10458296" h="3765356">
                <a:moveTo>
                  <a:pt x="4212674" y="730"/>
                </a:moveTo>
                <a:cubicBezTo>
                  <a:pt x="4575894" y="-2572"/>
                  <a:pt x="4933780" y="4794"/>
                  <a:pt x="5302334" y="33496"/>
                </a:cubicBezTo>
                <a:cubicBezTo>
                  <a:pt x="5559890" y="30448"/>
                  <a:pt x="5786966" y="94456"/>
                  <a:pt x="5965274" y="170656"/>
                </a:cubicBezTo>
                <a:lnTo>
                  <a:pt x="7649294" y="1001236"/>
                </a:lnTo>
                <a:cubicBezTo>
                  <a:pt x="8417898" y="1005808"/>
                  <a:pt x="9655894" y="1168876"/>
                  <a:pt x="10430594" y="1892776"/>
                </a:cubicBezTo>
                <a:cubicBezTo>
                  <a:pt x="10482918" y="2047716"/>
                  <a:pt x="10449898" y="2190464"/>
                  <a:pt x="10422974" y="2357596"/>
                </a:cubicBezTo>
                <a:lnTo>
                  <a:pt x="10364266" y="2674623"/>
                </a:lnTo>
                <a:cubicBezTo>
                  <a:pt x="10368528" y="2682213"/>
                  <a:pt x="10369154" y="2690452"/>
                  <a:pt x="10369154" y="2698836"/>
                </a:cubicBezTo>
                <a:lnTo>
                  <a:pt x="10369152" y="2698836"/>
                </a:lnTo>
                <a:cubicBezTo>
                  <a:pt x="10369152" y="2790017"/>
                  <a:pt x="10295234" y="2863934"/>
                  <a:pt x="10204054" y="2863934"/>
                </a:cubicBezTo>
                <a:cubicBezTo>
                  <a:pt x="10025566" y="2897508"/>
                  <a:pt x="9613402" y="2971722"/>
                  <a:pt x="9445074" y="2969736"/>
                </a:cubicBezTo>
                <a:lnTo>
                  <a:pt x="9379034" y="2863057"/>
                </a:lnTo>
                <a:lnTo>
                  <a:pt x="9355416" y="2863059"/>
                </a:lnTo>
                <a:cubicBezTo>
                  <a:pt x="9302658" y="3370097"/>
                  <a:pt x="8873952" y="3765356"/>
                  <a:pt x="8352928" y="3765356"/>
                </a:cubicBezTo>
                <a:cubicBezTo>
                  <a:pt x="7851554" y="3765356"/>
                  <a:pt x="7435664" y="3399347"/>
                  <a:pt x="7359062" y="2919760"/>
                </a:cubicBezTo>
                <a:lnTo>
                  <a:pt x="3082078" y="2919760"/>
                </a:lnTo>
                <a:cubicBezTo>
                  <a:pt x="3005494" y="3399349"/>
                  <a:pt x="2589606" y="3765356"/>
                  <a:pt x="2088232" y="3765356"/>
                </a:cubicBezTo>
                <a:cubicBezTo>
                  <a:pt x="1567488" y="3765356"/>
                  <a:pt x="1138963" y="3370521"/>
                  <a:pt x="1085867" y="2863871"/>
                </a:cubicBezTo>
                <a:lnTo>
                  <a:pt x="453130" y="2863933"/>
                </a:lnTo>
                <a:cubicBezTo>
                  <a:pt x="403354" y="2863933"/>
                  <a:pt x="358723" y="2841905"/>
                  <a:pt x="329838" y="2805862"/>
                </a:cubicBezTo>
                <a:cubicBezTo>
                  <a:pt x="245705" y="2800416"/>
                  <a:pt x="180020" y="2729803"/>
                  <a:pt x="180020" y="2643850"/>
                </a:cubicBezTo>
                <a:lnTo>
                  <a:pt x="180020" y="2643849"/>
                </a:lnTo>
                <a:lnTo>
                  <a:pt x="180020" y="2599814"/>
                </a:lnTo>
                <a:cubicBezTo>
                  <a:pt x="151577" y="2583520"/>
                  <a:pt x="130688" y="2557038"/>
                  <a:pt x="119838" y="2525703"/>
                </a:cubicBezTo>
                <a:cubicBezTo>
                  <a:pt x="48412" y="2492247"/>
                  <a:pt x="0" y="2419145"/>
                  <a:pt x="0" y="2334736"/>
                </a:cubicBezTo>
                <a:lnTo>
                  <a:pt x="0" y="2334735"/>
                </a:lnTo>
                <a:lnTo>
                  <a:pt x="0" y="951662"/>
                </a:lnTo>
                <a:lnTo>
                  <a:pt x="0" y="951660"/>
                </a:lnTo>
                <a:cubicBezTo>
                  <a:pt x="1" y="860480"/>
                  <a:pt x="73918" y="786564"/>
                  <a:pt x="165098" y="786564"/>
                </a:cubicBezTo>
                <a:lnTo>
                  <a:pt x="1367837" y="786564"/>
                </a:lnTo>
                <a:lnTo>
                  <a:pt x="3091010" y="31972"/>
                </a:lnTo>
                <a:cubicBezTo>
                  <a:pt x="3480900" y="18002"/>
                  <a:pt x="3849454" y="4032"/>
                  <a:pt x="4212674" y="73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rot="0" spcFirstLastPara="0" vertOverflow="overflow" horzOverflow="overflow" vert="horz" wrap="square" lIns="91433" tIns="45716" rIns="91433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13" name="Freihandform: Form 812">
            <a:extLst>
              <a:ext uri="{FF2B5EF4-FFF2-40B4-BE49-F238E27FC236}">
                <a16:creationId xmlns:a16="http://schemas.microsoft.com/office/drawing/2014/main" xmlns="" id="{A5B05370-3451-4A57-9A76-28EE4938D21F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1942426" y="3435358"/>
            <a:ext cx="633325" cy="228002"/>
          </a:xfrm>
          <a:custGeom>
            <a:avLst/>
            <a:gdLst>
              <a:gd name="connsiteX0" fmla="*/ 1639255 w 2028824"/>
              <a:gd name="connsiteY0" fmla="*/ 729497 h 730447"/>
              <a:gd name="connsiteX1" fmla="*/ 1637926 w 2028824"/>
              <a:gd name="connsiteY1" fmla="*/ 729674 h 730447"/>
              <a:gd name="connsiteX2" fmla="*/ 1620431 w 2028824"/>
              <a:gd name="connsiteY2" fmla="*/ 730447 h 730447"/>
              <a:gd name="connsiteX3" fmla="*/ 1601545 w 2028824"/>
              <a:gd name="connsiteY3" fmla="*/ 729497 h 730447"/>
              <a:gd name="connsiteX4" fmla="*/ 1620369 w 2028824"/>
              <a:gd name="connsiteY4" fmla="*/ 730447 h 730447"/>
              <a:gd name="connsiteX5" fmla="*/ 1602874 w 2028824"/>
              <a:gd name="connsiteY5" fmla="*/ 729674 h 730447"/>
              <a:gd name="connsiteX6" fmla="*/ 423955 w 2028824"/>
              <a:gd name="connsiteY6" fmla="*/ 729497 h 730447"/>
              <a:gd name="connsiteX7" fmla="*/ 422626 w 2028824"/>
              <a:gd name="connsiteY7" fmla="*/ 729674 h 730447"/>
              <a:gd name="connsiteX8" fmla="*/ 405131 w 2028824"/>
              <a:gd name="connsiteY8" fmla="*/ 730447 h 730447"/>
              <a:gd name="connsiteX9" fmla="*/ 386245 w 2028824"/>
              <a:gd name="connsiteY9" fmla="*/ 729497 h 730447"/>
              <a:gd name="connsiteX10" fmla="*/ 405069 w 2028824"/>
              <a:gd name="connsiteY10" fmla="*/ 730447 h 730447"/>
              <a:gd name="connsiteX11" fmla="*/ 387574 w 2028824"/>
              <a:gd name="connsiteY11" fmla="*/ 729674 h 730447"/>
              <a:gd name="connsiteX12" fmla="*/ 1656607 w 2028824"/>
              <a:gd name="connsiteY12" fmla="*/ 726965 h 730447"/>
              <a:gd name="connsiteX13" fmla="*/ 1655018 w 2028824"/>
              <a:gd name="connsiteY13" fmla="*/ 727394 h 730447"/>
              <a:gd name="connsiteX14" fmla="*/ 1645312 w 2028824"/>
              <a:gd name="connsiteY14" fmla="*/ 728689 h 730447"/>
              <a:gd name="connsiteX15" fmla="*/ 1584193 w 2028824"/>
              <a:gd name="connsiteY15" fmla="*/ 726965 h 730447"/>
              <a:gd name="connsiteX16" fmla="*/ 1595488 w 2028824"/>
              <a:gd name="connsiteY16" fmla="*/ 728689 h 730447"/>
              <a:gd name="connsiteX17" fmla="*/ 1585782 w 2028824"/>
              <a:gd name="connsiteY17" fmla="*/ 727394 h 730447"/>
              <a:gd name="connsiteX18" fmla="*/ 441307 w 2028824"/>
              <a:gd name="connsiteY18" fmla="*/ 726965 h 730447"/>
              <a:gd name="connsiteX19" fmla="*/ 439718 w 2028824"/>
              <a:gd name="connsiteY19" fmla="*/ 727394 h 730447"/>
              <a:gd name="connsiteX20" fmla="*/ 430012 w 2028824"/>
              <a:gd name="connsiteY20" fmla="*/ 728689 h 730447"/>
              <a:gd name="connsiteX21" fmla="*/ 368893 w 2028824"/>
              <a:gd name="connsiteY21" fmla="*/ 726965 h 730447"/>
              <a:gd name="connsiteX22" fmla="*/ 380188 w 2028824"/>
              <a:gd name="connsiteY22" fmla="*/ 728689 h 730447"/>
              <a:gd name="connsiteX23" fmla="*/ 370482 w 2028824"/>
              <a:gd name="connsiteY23" fmla="*/ 727394 h 730447"/>
              <a:gd name="connsiteX24" fmla="*/ 1690139 w 2028824"/>
              <a:gd name="connsiteY24" fmla="*/ 717417 h 730447"/>
              <a:gd name="connsiteX25" fmla="*/ 1687642 w 2028824"/>
              <a:gd name="connsiteY25" fmla="*/ 718582 h 730447"/>
              <a:gd name="connsiteX26" fmla="*/ 1685024 w 2028824"/>
              <a:gd name="connsiteY26" fmla="*/ 719289 h 730447"/>
              <a:gd name="connsiteX27" fmla="*/ 1550661 w 2028824"/>
              <a:gd name="connsiteY27" fmla="*/ 717417 h 730447"/>
              <a:gd name="connsiteX28" fmla="*/ 1555776 w 2028824"/>
              <a:gd name="connsiteY28" fmla="*/ 719289 h 730447"/>
              <a:gd name="connsiteX29" fmla="*/ 1553158 w 2028824"/>
              <a:gd name="connsiteY29" fmla="*/ 718582 h 730447"/>
              <a:gd name="connsiteX30" fmla="*/ 474839 w 2028824"/>
              <a:gd name="connsiteY30" fmla="*/ 717417 h 730447"/>
              <a:gd name="connsiteX31" fmla="*/ 472342 w 2028824"/>
              <a:gd name="connsiteY31" fmla="*/ 718582 h 730447"/>
              <a:gd name="connsiteX32" fmla="*/ 469724 w 2028824"/>
              <a:gd name="connsiteY32" fmla="*/ 719289 h 730447"/>
              <a:gd name="connsiteX33" fmla="*/ 335361 w 2028824"/>
              <a:gd name="connsiteY33" fmla="*/ 717417 h 730447"/>
              <a:gd name="connsiteX34" fmla="*/ 340476 w 2028824"/>
              <a:gd name="connsiteY34" fmla="*/ 719289 h 730447"/>
              <a:gd name="connsiteX35" fmla="*/ 337858 w 2028824"/>
              <a:gd name="connsiteY35" fmla="*/ 718582 h 730447"/>
              <a:gd name="connsiteX36" fmla="*/ 1720083 w 2028824"/>
              <a:gd name="connsiteY36" fmla="*/ 702917 h 730447"/>
              <a:gd name="connsiteX37" fmla="*/ 1717744 w 2028824"/>
              <a:gd name="connsiteY37" fmla="*/ 704538 h 730447"/>
              <a:gd name="connsiteX38" fmla="*/ 1716326 w 2028824"/>
              <a:gd name="connsiteY38" fmla="*/ 705200 h 730447"/>
              <a:gd name="connsiteX39" fmla="*/ 1520716 w 2028824"/>
              <a:gd name="connsiteY39" fmla="*/ 702917 h 730447"/>
              <a:gd name="connsiteX40" fmla="*/ 1524474 w 2028824"/>
              <a:gd name="connsiteY40" fmla="*/ 705200 h 730447"/>
              <a:gd name="connsiteX41" fmla="*/ 1523056 w 2028824"/>
              <a:gd name="connsiteY41" fmla="*/ 704538 h 730447"/>
              <a:gd name="connsiteX42" fmla="*/ 305417 w 2028824"/>
              <a:gd name="connsiteY42" fmla="*/ 702917 h 730447"/>
              <a:gd name="connsiteX43" fmla="*/ 309174 w 2028824"/>
              <a:gd name="connsiteY43" fmla="*/ 705200 h 730447"/>
              <a:gd name="connsiteX44" fmla="*/ 307756 w 2028824"/>
              <a:gd name="connsiteY44" fmla="*/ 704538 h 730447"/>
              <a:gd name="connsiteX45" fmla="*/ 504784 w 2028824"/>
              <a:gd name="connsiteY45" fmla="*/ 702917 h 730447"/>
              <a:gd name="connsiteX46" fmla="*/ 502444 w 2028824"/>
              <a:gd name="connsiteY46" fmla="*/ 704538 h 730447"/>
              <a:gd name="connsiteX47" fmla="*/ 501026 w 2028824"/>
              <a:gd name="connsiteY47" fmla="*/ 705200 h 730447"/>
              <a:gd name="connsiteX48" fmla="*/ 248941 w 2028824"/>
              <a:gd name="connsiteY48" fmla="*/ 651507 h 730447"/>
              <a:gd name="connsiteX49" fmla="*/ 262831 w 2028824"/>
              <a:gd name="connsiteY49" fmla="*/ 668342 h 730447"/>
              <a:gd name="connsiteX50" fmla="*/ 257224 w 2028824"/>
              <a:gd name="connsiteY50" fmla="*/ 662866 h 730447"/>
              <a:gd name="connsiteX51" fmla="*/ 1776559 w 2028824"/>
              <a:gd name="connsiteY51" fmla="*/ 651506 h 730447"/>
              <a:gd name="connsiteX52" fmla="*/ 1768276 w 2028824"/>
              <a:gd name="connsiteY52" fmla="*/ 662866 h 730447"/>
              <a:gd name="connsiteX53" fmla="*/ 1762669 w 2028824"/>
              <a:gd name="connsiteY53" fmla="*/ 668342 h 730447"/>
              <a:gd name="connsiteX54" fmla="*/ 1464241 w 2028824"/>
              <a:gd name="connsiteY54" fmla="*/ 651506 h 730447"/>
              <a:gd name="connsiteX55" fmla="*/ 1478132 w 2028824"/>
              <a:gd name="connsiteY55" fmla="*/ 668342 h 730447"/>
              <a:gd name="connsiteX56" fmla="*/ 1472524 w 2028824"/>
              <a:gd name="connsiteY56" fmla="*/ 662866 h 730447"/>
              <a:gd name="connsiteX57" fmla="*/ 561260 w 2028824"/>
              <a:gd name="connsiteY57" fmla="*/ 651505 h 730447"/>
              <a:gd name="connsiteX58" fmla="*/ 552977 w 2028824"/>
              <a:gd name="connsiteY58" fmla="*/ 662866 h 730447"/>
              <a:gd name="connsiteX59" fmla="*/ 547368 w 2028824"/>
              <a:gd name="connsiteY59" fmla="*/ 668342 h 730447"/>
              <a:gd name="connsiteX60" fmla="*/ 229467 w 2028824"/>
              <a:gd name="connsiteY60" fmla="*/ 619415 h 730447"/>
              <a:gd name="connsiteX61" fmla="*/ 240899 w 2028824"/>
              <a:gd name="connsiteY61" fmla="*/ 640477 h 730447"/>
              <a:gd name="connsiteX62" fmla="*/ 237847 w 2028824"/>
              <a:gd name="connsiteY62" fmla="*/ 636291 h 730447"/>
              <a:gd name="connsiteX63" fmla="*/ 1796034 w 2028824"/>
              <a:gd name="connsiteY63" fmla="*/ 619413 h 730447"/>
              <a:gd name="connsiteX64" fmla="*/ 1787653 w 2028824"/>
              <a:gd name="connsiteY64" fmla="*/ 636291 h 730447"/>
              <a:gd name="connsiteX65" fmla="*/ 1784601 w 2028824"/>
              <a:gd name="connsiteY65" fmla="*/ 640477 h 730447"/>
              <a:gd name="connsiteX66" fmla="*/ 1444766 w 2028824"/>
              <a:gd name="connsiteY66" fmla="*/ 619413 h 730447"/>
              <a:gd name="connsiteX67" fmla="*/ 1456199 w 2028824"/>
              <a:gd name="connsiteY67" fmla="*/ 640477 h 730447"/>
              <a:gd name="connsiteX68" fmla="*/ 1453147 w 2028824"/>
              <a:gd name="connsiteY68" fmla="*/ 636291 h 730447"/>
              <a:gd name="connsiteX69" fmla="*/ 580735 w 2028824"/>
              <a:gd name="connsiteY69" fmla="*/ 619411 h 730447"/>
              <a:gd name="connsiteX70" fmla="*/ 572353 w 2028824"/>
              <a:gd name="connsiteY70" fmla="*/ 636291 h 730447"/>
              <a:gd name="connsiteX71" fmla="*/ 569301 w 2028824"/>
              <a:gd name="connsiteY71" fmla="*/ 640477 h 730447"/>
              <a:gd name="connsiteX72" fmla="*/ 213512 w 2028824"/>
              <a:gd name="connsiteY72" fmla="*/ 574311 h 730447"/>
              <a:gd name="connsiteX73" fmla="*/ 224255 w 2028824"/>
              <a:gd name="connsiteY73" fmla="*/ 608919 h 730447"/>
              <a:gd name="connsiteX74" fmla="*/ 223100 w 2028824"/>
              <a:gd name="connsiteY74" fmla="*/ 606592 h 730447"/>
              <a:gd name="connsiteX75" fmla="*/ 1811992 w 2028824"/>
              <a:gd name="connsiteY75" fmla="*/ 574298 h 730447"/>
              <a:gd name="connsiteX76" fmla="*/ 1802400 w 2028824"/>
              <a:gd name="connsiteY76" fmla="*/ 606592 h 730447"/>
              <a:gd name="connsiteX77" fmla="*/ 1801245 w 2028824"/>
              <a:gd name="connsiteY77" fmla="*/ 608919 h 730447"/>
              <a:gd name="connsiteX78" fmla="*/ 1428808 w 2028824"/>
              <a:gd name="connsiteY78" fmla="*/ 574298 h 730447"/>
              <a:gd name="connsiteX79" fmla="*/ 1439555 w 2028824"/>
              <a:gd name="connsiteY79" fmla="*/ 608919 h 730447"/>
              <a:gd name="connsiteX80" fmla="*/ 1438399 w 2028824"/>
              <a:gd name="connsiteY80" fmla="*/ 606592 h 730447"/>
              <a:gd name="connsiteX81" fmla="*/ 596692 w 2028824"/>
              <a:gd name="connsiteY81" fmla="*/ 574297 h 730447"/>
              <a:gd name="connsiteX82" fmla="*/ 587100 w 2028824"/>
              <a:gd name="connsiteY82" fmla="*/ 606592 h 730447"/>
              <a:gd name="connsiteX83" fmla="*/ 585945 w 2028824"/>
              <a:gd name="connsiteY83" fmla="*/ 608920 h 730447"/>
              <a:gd name="connsiteX84" fmla="*/ 596798 w 2028824"/>
              <a:gd name="connsiteY84" fmla="*/ 573253 h 730447"/>
              <a:gd name="connsiteX85" fmla="*/ 596692 w 2028824"/>
              <a:gd name="connsiteY85" fmla="*/ 574297 h 730447"/>
              <a:gd name="connsiteX86" fmla="*/ 596692 w 2028824"/>
              <a:gd name="connsiteY86" fmla="*/ 574296 h 730447"/>
              <a:gd name="connsiteX87" fmla="*/ 725426 w 2028824"/>
              <a:gd name="connsiteY87" fmla="*/ 402768 h 730447"/>
              <a:gd name="connsiteX88" fmla="*/ 729179 w 2028824"/>
              <a:gd name="connsiteY88" fmla="*/ 424843 h 730447"/>
              <a:gd name="connsiteX89" fmla="*/ 729214 w 2028824"/>
              <a:gd name="connsiteY89" fmla="*/ 424843 h 730447"/>
              <a:gd name="connsiteX90" fmla="*/ 732068 w 2028824"/>
              <a:gd name="connsiteY90" fmla="*/ 427697 h 730447"/>
              <a:gd name="connsiteX91" fmla="*/ 773153 w 2028824"/>
              <a:gd name="connsiteY91" fmla="*/ 427697 h 730447"/>
              <a:gd name="connsiteX92" fmla="*/ 776006 w 2028824"/>
              <a:gd name="connsiteY92" fmla="*/ 424843 h 730447"/>
              <a:gd name="connsiteX93" fmla="*/ 776042 w 2028824"/>
              <a:gd name="connsiteY93" fmla="*/ 424843 h 730447"/>
              <a:gd name="connsiteX94" fmla="*/ 779794 w 2028824"/>
              <a:gd name="connsiteY94" fmla="*/ 402768 h 730447"/>
              <a:gd name="connsiteX95" fmla="*/ 707975 w 2028824"/>
              <a:gd name="connsiteY95" fmla="*/ 358248 h 730447"/>
              <a:gd name="connsiteX96" fmla="*/ 714136 w 2028824"/>
              <a:gd name="connsiteY96" fmla="*/ 394496 h 730447"/>
              <a:gd name="connsiteX97" fmla="*/ 714195 w 2028824"/>
              <a:gd name="connsiteY97" fmla="*/ 394496 h 730447"/>
              <a:gd name="connsiteX98" fmla="*/ 718880 w 2028824"/>
              <a:gd name="connsiteY98" fmla="*/ 399182 h 730447"/>
              <a:gd name="connsiteX99" fmla="*/ 786340 w 2028824"/>
              <a:gd name="connsiteY99" fmla="*/ 399182 h 730447"/>
              <a:gd name="connsiteX100" fmla="*/ 791026 w 2028824"/>
              <a:gd name="connsiteY100" fmla="*/ 394496 h 730447"/>
              <a:gd name="connsiteX101" fmla="*/ 791084 w 2028824"/>
              <a:gd name="connsiteY101" fmla="*/ 394496 h 730447"/>
              <a:gd name="connsiteX102" fmla="*/ 797246 w 2028824"/>
              <a:gd name="connsiteY102" fmla="*/ 358248 h 730447"/>
              <a:gd name="connsiteX103" fmla="*/ 1620400 w 2028824"/>
              <a:gd name="connsiteY103" fmla="*/ 349843 h 730447"/>
              <a:gd name="connsiteX104" fmla="*/ 1805440 w 2028824"/>
              <a:gd name="connsiteY104" fmla="*/ 534883 h 730447"/>
              <a:gd name="connsiteX105" fmla="*/ 1620400 w 2028824"/>
              <a:gd name="connsiteY105" fmla="*/ 719923 h 730447"/>
              <a:gd name="connsiteX106" fmla="*/ 1435360 w 2028824"/>
              <a:gd name="connsiteY106" fmla="*/ 534883 h 730447"/>
              <a:gd name="connsiteX107" fmla="*/ 1620400 w 2028824"/>
              <a:gd name="connsiteY107" fmla="*/ 349843 h 730447"/>
              <a:gd name="connsiteX108" fmla="*/ 405100 w 2028824"/>
              <a:gd name="connsiteY108" fmla="*/ 349843 h 730447"/>
              <a:gd name="connsiteX109" fmla="*/ 590140 w 2028824"/>
              <a:gd name="connsiteY109" fmla="*/ 534883 h 730447"/>
              <a:gd name="connsiteX110" fmla="*/ 405100 w 2028824"/>
              <a:gd name="connsiteY110" fmla="*/ 719923 h 730447"/>
              <a:gd name="connsiteX111" fmla="*/ 220060 w 2028824"/>
              <a:gd name="connsiteY111" fmla="*/ 534883 h 730447"/>
              <a:gd name="connsiteX112" fmla="*/ 405100 w 2028824"/>
              <a:gd name="connsiteY112" fmla="*/ 349843 h 730447"/>
              <a:gd name="connsiteX113" fmla="*/ 703264 w 2028824"/>
              <a:gd name="connsiteY113" fmla="*/ 345291 h 730447"/>
              <a:gd name="connsiteX114" fmla="*/ 698578 w 2028824"/>
              <a:gd name="connsiteY114" fmla="*/ 349977 h 730447"/>
              <a:gd name="connsiteX115" fmla="*/ 703264 w 2028824"/>
              <a:gd name="connsiteY115" fmla="*/ 354662 h 730447"/>
              <a:gd name="connsiteX116" fmla="*/ 801957 w 2028824"/>
              <a:gd name="connsiteY116" fmla="*/ 354662 h 730447"/>
              <a:gd name="connsiteX117" fmla="*/ 806643 w 2028824"/>
              <a:gd name="connsiteY117" fmla="*/ 349977 h 730447"/>
              <a:gd name="connsiteX118" fmla="*/ 801957 w 2028824"/>
              <a:gd name="connsiteY118" fmla="*/ 345291 h 730447"/>
              <a:gd name="connsiteX119" fmla="*/ 776103 w 2028824"/>
              <a:gd name="connsiteY119" fmla="*/ 316113 h 730447"/>
              <a:gd name="connsiteX120" fmla="*/ 771417 w 2028824"/>
              <a:gd name="connsiteY120" fmla="*/ 320799 h 730447"/>
              <a:gd name="connsiteX121" fmla="*/ 771417 w 2028824"/>
              <a:gd name="connsiteY121" fmla="*/ 341715 h 730447"/>
              <a:gd name="connsiteX122" fmla="*/ 780788 w 2028824"/>
              <a:gd name="connsiteY122" fmla="*/ 341715 h 730447"/>
              <a:gd name="connsiteX123" fmla="*/ 780788 w 2028824"/>
              <a:gd name="connsiteY123" fmla="*/ 320799 h 730447"/>
              <a:gd name="connsiteX124" fmla="*/ 776103 w 2028824"/>
              <a:gd name="connsiteY124" fmla="*/ 316113 h 730447"/>
              <a:gd name="connsiteX125" fmla="*/ 728855 w 2028824"/>
              <a:gd name="connsiteY125" fmla="*/ 316113 h 730447"/>
              <a:gd name="connsiteX126" fmla="*/ 724170 w 2028824"/>
              <a:gd name="connsiteY126" fmla="*/ 320799 h 730447"/>
              <a:gd name="connsiteX127" fmla="*/ 724170 w 2028824"/>
              <a:gd name="connsiteY127" fmla="*/ 341715 h 730447"/>
              <a:gd name="connsiteX128" fmla="*/ 733541 w 2028824"/>
              <a:gd name="connsiteY128" fmla="*/ 341715 h 730447"/>
              <a:gd name="connsiteX129" fmla="*/ 733541 w 2028824"/>
              <a:gd name="connsiteY129" fmla="*/ 320799 h 730447"/>
              <a:gd name="connsiteX130" fmla="*/ 728855 w 2028824"/>
              <a:gd name="connsiteY130" fmla="*/ 316113 h 730447"/>
              <a:gd name="connsiteX131" fmla="*/ 751884 w 2028824"/>
              <a:gd name="connsiteY131" fmla="*/ 274259 h 730447"/>
              <a:gd name="connsiteX132" fmla="*/ 646924 w 2028824"/>
              <a:gd name="connsiteY132" fmla="*/ 379219 h 730447"/>
              <a:gd name="connsiteX133" fmla="*/ 709572 w 2028824"/>
              <a:gd name="connsiteY133" fmla="*/ 475229 h 730447"/>
              <a:gd name="connsiteX134" fmla="*/ 709597 w 2028824"/>
              <a:gd name="connsiteY134" fmla="*/ 475176 h 730447"/>
              <a:gd name="connsiteX135" fmla="*/ 712089 w 2028824"/>
              <a:gd name="connsiteY135" fmla="*/ 475939 h 730447"/>
              <a:gd name="connsiteX136" fmla="*/ 717082 w 2028824"/>
              <a:gd name="connsiteY136" fmla="*/ 470946 h 730447"/>
              <a:gd name="connsiteX137" fmla="*/ 713349 w 2028824"/>
              <a:gd name="connsiteY137" fmla="*/ 466208 h 730447"/>
              <a:gd name="connsiteX138" fmla="*/ 656700 w 2028824"/>
              <a:gd name="connsiteY138" fmla="*/ 379219 h 730447"/>
              <a:gd name="connsiteX139" fmla="*/ 751884 w 2028824"/>
              <a:gd name="connsiteY139" fmla="*/ 284035 h 730447"/>
              <a:gd name="connsiteX140" fmla="*/ 847068 w 2028824"/>
              <a:gd name="connsiteY140" fmla="*/ 379219 h 730447"/>
              <a:gd name="connsiteX141" fmla="*/ 781650 w 2028824"/>
              <a:gd name="connsiteY141" fmla="*/ 469487 h 730447"/>
              <a:gd name="connsiteX142" fmla="*/ 781650 w 2028824"/>
              <a:gd name="connsiteY142" fmla="*/ 469482 h 730447"/>
              <a:gd name="connsiteX143" fmla="*/ 775242 w 2028824"/>
              <a:gd name="connsiteY143" fmla="*/ 470598 h 730447"/>
              <a:gd name="connsiteX144" fmla="*/ 754644 w 2028824"/>
              <a:gd name="connsiteY144" fmla="*/ 450630 h 730447"/>
              <a:gd name="connsiteX145" fmla="*/ 754660 w 2028824"/>
              <a:gd name="connsiteY145" fmla="*/ 450630 h 730447"/>
              <a:gd name="connsiteX146" fmla="*/ 754660 w 2028824"/>
              <a:gd name="connsiteY146" fmla="*/ 433454 h 730447"/>
              <a:gd name="connsiteX147" fmla="*/ 750345 w 2028824"/>
              <a:gd name="connsiteY147" fmla="*/ 429095 h 730447"/>
              <a:gd name="connsiteX148" fmla="*/ 746031 w 2028824"/>
              <a:gd name="connsiteY148" fmla="*/ 433454 h 730447"/>
              <a:gd name="connsiteX149" fmla="*/ 746031 w 2028824"/>
              <a:gd name="connsiteY149" fmla="*/ 450630 h 730447"/>
              <a:gd name="connsiteX150" fmla="*/ 746080 w 2028824"/>
              <a:gd name="connsiteY150" fmla="*/ 450630 h 730447"/>
              <a:gd name="connsiteX151" fmla="*/ 761385 w 2028824"/>
              <a:gd name="connsiteY151" fmla="*/ 475494 h 730447"/>
              <a:gd name="connsiteX152" fmla="*/ 762543 w 2028824"/>
              <a:gd name="connsiteY152" fmla="*/ 476123 h 730447"/>
              <a:gd name="connsiteX153" fmla="*/ 772678 w 2028824"/>
              <a:gd name="connsiteY153" fmla="*/ 479011 h 730447"/>
              <a:gd name="connsiteX154" fmla="*/ 790117 w 2028824"/>
              <a:gd name="connsiteY154" fmla="*/ 476891 h 730447"/>
              <a:gd name="connsiteX155" fmla="*/ 856844 w 2028824"/>
              <a:gd name="connsiteY155" fmla="*/ 379219 h 730447"/>
              <a:gd name="connsiteX156" fmla="*/ 751884 w 2028824"/>
              <a:gd name="connsiteY156" fmla="*/ 274259 h 730447"/>
              <a:gd name="connsiteX157" fmla="*/ 889893 w 2028824"/>
              <a:gd name="connsiteY157" fmla="*/ 15513 h 730447"/>
              <a:gd name="connsiteX158" fmla="*/ 889893 w 2028824"/>
              <a:gd name="connsiteY158" fmla="*/ 195222 h 730447"/>
              <a:gd name="connsiteX159" fmla="*/ 1435391 w 2028824"/>
              <a:gd name="connsiteY159" fmla="*/ 195222 h 730447"/>
              <a:gd name="connsiteX160" fmla="*/ 1136331 w 2028824"/>
              <a:gd name="connsiteY160" fmla="*/ 47722 h 730447"/>
              <a:gd name="connsiteX161" fmla="*/ 1007726 w 2028824"/>
              <a:gd name="connsiteY161" fmla="*/ 21114 h 730447"/>
              <a:gd name="connsiteX162" fmla="*/ 901645 w 2028824"/>
              <a:gd name="connsiteY162" fmla="*/ 15608 h 730447"/>
              <a:gd name="connsiteX163" fmla="*/ 827876 w 2028824"/>
              <a:gd name="connsiteY163" fmla="*/ 14758 h 730447"/>
              <a:gd name="connsiteX164" fmla="*/ 610282 w 2028824"/>
              <a:gd name="connsiteY164" fmla="*/ 20819 h 730447"/>
              <a:gd name="connsiteX165" fmla="*/ 454169 w 2028824"/>
              <a:gd name="connsiteY165" fmla="*/ 89182 h 730447"/>
              <a:gd name="connsiteX166" fmla="*/ 454169 w 2028824"/>
              <a:gd name="connsiteY166" fmla="*/ 195222 h 730447"/>
              <a:gd name="connsiteX167" fmla="*/ 870279 w 2028824"/>
              <a:gd name="connsiteY167" fmla="*/ 195222 h 730447"/>
              <a:gd name="connsiteX168" fmla="*/ 870279 w 2028824"/>
              <a:gd name="connsiteY168" fmla="*/ 15100 h 730447"/>
              <a:gd name="connsiteX169" fmla="*/ 817224 w 2028824"/>
              <a:gd name="connsiteY169" fmla="*/ 142 h 730447"/>
              <a:gd name="connsiteX170" fmla="*/ 1028609 w 2028824"/>
              <a:gd name="connsiteY170" fmla="*/ 6498 h 730447"/>
              <a:gd name="connsiteX171" fmla="*/ 1157214 w 2028824"/>
              <a:gd name="connsiteY171" fmla="*/ 33106 h 730447"/>
              <a:gd name="connsiteX172" fmla="*/ 1483901 w 2028824"/>
              <a:gd name="connsiteY172" fmla="*/ 194232 h 730447"/>
              <a:gd name="connsiteX173" fmla="*/ 2023450 w 2028824"/>
              <a:gd name="connsiteY173" fmla="*/ 367183 h 730447"/>
              <a:gd name="connsiteX174" fmla="*/ 2021972 w 2028824"/>
              <a:gd name="connsiteY174" fmla="*/ 457355 h 730447"/>
              <a:gd name="connsiteX175" fmla="*/ 2010583 w 2028824"/>
              <a:gd name="connsiteY175" fmla="*/ 518856 h 730447"/>
              <a:gd name="connsiteX176" fmla="*/ 2011531 w 2028824"/>
              <a:gd name="connsiteY176" fmla="*/ 523552 h 730447"/>
              <a:gd name="connsiteX177" fmla="*/ 1979503 w 2028824"/>
              <a:gd name="connsiteY177" fmla="*/ 555580 h 730447"/>
              <a:gd name="connsiteX178" fmla="*/ 1832267 w 2028824"/>
              <a:gd name="connsiteY178" fmla="*/ 576105 h 730447"/>
              <a:gd name="connsiteX179" fmla="*/ 1819456 w 2028824"/>
              <a:gd name="connsiteY179" fmla="*/ 555410 h 730447"/>
              <a:gd name="connsiteX180" fmla="*/ 1813896 w 2028824"/>
              <a:gd name="connsiteY180" fmla="*/ 555410 h 730447"/>
              <a:gd name="connsiteX181" fmla="*/ 1815965 w 2028824"/>
              <a:gd name="connsiteY181" fmla="*/ 534883 h 730447"/>
              <a:gd name="connsiteX182" fmla="*/ 1620400 w 2028824"/>
              <a:gd name="connsiteY182" fmla="*/ 339318 h 730447"/>
              <a:gd name="connsiteX183" fmla="*/ 1424834 w 2028824"/>
              <a:gd name="connsiteY183" fmla="*/ 534883 h 730447"/>
              <a:gd name="connsiteX184" fmla="*/ 1428013 w 2028824"/>
              <a:gd name="connsiteY184" fmla="*/ 566410 h 730447"/>
              <a:gd name="connsiteX185" fmla="*/ 597488 w 2028824"/>
              <a:gd name="connsiteY185" fmla="*/ 566410 h 730447"/>
              <a:gd name="connsiteX186" fmla="*/ 596798 w 2028824"/>
              <a:gd name="connsiteY186" fmla="*/ 573253 h 730447"/>
              <a:gd name="connsiteX187" fmla="*/ 600666 w 2028824"/>
              <a:gd name="connsiteY187" fmla="*/ 534883 h 730447"/>
              <a:gd name="connsiteX188" fmla="*/ 405100 w 2028824"/>
              <a:gd name="connsiteY188" fmla="*/ 339318 h 730447"/>
              <a:gd name="connsiteX189" fmla="*/ 209534 w 2028824"/>
              <a:gd name="connsiteY189" fmla="*/ 534883 h 730447"/>
              <a:gd name="connsiteX190" fmla="*/ 211619 w 2028824"/>
              <a:gd name="connsiteY190" fmla="*/ 555568 h 730447"/>
              <a:gd name="connsiteX191" fmla="*/ 87904 w 2028824"/>
              <a:gd name="connsiteY191" fmla="*/ 555580 h 730447"/>
              <a:gd name="connsiteX192" fmla="*/ 69997 w 2028824"/>
              <a:gd name="connsiteY192" fmla="*/ 550110 h 730447"/>
              <a:gd name="connsiteX193" fmla="*/ 63514 w 2028824"/>
              <a:gd name="connsiteY193" fmla="*/ 544219 h 730447"/>
              <a:gd name="connsiteX194" fmla="*/ 54484 w 2028824"/>
              <a:gd name="connsiteY194" fmla="*/ 542396 h 730447"/>
              <a:gd name="connsiteX195" fmla="*/ 37440 w 2028824"/>
              <a:gd name="connsiteY195" fmla="*/ 525352 h 730447"/>
              <a:gd name="connsiteX196" fmla="*/ 34923 w 2028824"/>
              <a:gd name="connsiteY196" fmla="*/ 512885 h 730447"/>
              <a:gd name="connsiteX197" fmla="*/ 34923 w 2028824"/>
              <a:gd name="connsiteY197" fmla="*/ 505022 h 730447"/>
              <a:gd name="connsiteX198" fmla="*/ 28267 w 2028824"/>
              <a:gd name="connsiteY198" fmla="*/ 498975 h 730447"/>
              <a:gd name="connsiteX199" fmla="*/ 23470 w 2028824"/>
              <a:gd name="connsiteY199" fmla="*/ 491069 h 730447"/>
              <a:gd name="connsiteX200" fmla="*/ 23244 w 2028824"/>
              <a:gd name="connsiteY200" fmla="*/ 489949 h 730447"/>
              <a:gd name="connsiteX201" fmla="*/ 12274 w 2028824"/>
              <a:gd name="connsiteY201" fmla="*/ 482553 h 730447"/>
              <a:gd name="connsiteX202" fmla="*/ 0 w 2028824"/>
              <a:gd name="connsiteY202" fmla="*/ 452920 h 730447"/>
              <a:gd name="connsiteX203" fmla="*/ 0 w 2028824"/>
              <a:gd name="connsiteY203" fmla="*/ 452920 h 730447"/>
              <a:gd name="connsiteX204" fmla="*/ 0 w 2028824"/>
              <a:gd name="connsiteY204" fmla="*/ 452920 h 730447"/>
              <a:gd name="connsiteX205" fmla="*/ 0 w 2028824"/>
              <a:gd name="connsiteY205" fmla="*/ 184614 h 730447"/>
              <a:gd name="connsiteX206" fmla="*/ 2517 w 2028824"/>
              <a:gd name="connsiteY206" fmla="*/ 172148 h 730447"/>
              <a:gd name="connsiteX207" fmla="*/ 32028 w 2028824"/>
              <a:gd name="connsiteY207" fmla="*/ 152587 h 730447"/>
              <a:gd name="connsiteX208" fmla="*/ 265349 w 2028824"/>
              <a:gd name="connsiteY208" fmla="*/ 152587 h 730447"/>
              <a:gd name="connsiteX209" fmla="*/ 599631 w 2028824"/>
              <a:gd name="connsiteY209" fmla="*/ 6202 h 730447"/>
              <a:gd name="connsiteX210" fmla="*/ 817224 w 2028824"/>
              <a:gd name="connsiteY210" fmla="*/ 142 h 730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</a:cxnLst>
            <a:rect l="l" t="t" r="r" b="b"/>
            <a:pathLst>
              <a:path w="2028824" h="730447">
                <a:moveTo>
                  <a:pt x="1639255" y="729497"/>
                </a:moveTo>
                <a:lnTo>
                  <a:pt x="1637926" y="729674"/>
                </a:lnTo>
                <a:lnTo>
                  <a:pt x="1620431" y="730447"/>
                </a:lnTo>
                <a:close/>
                <a:moveTo>
                  <a:pt x="1601545" y="729497"/>
                </a:moveTo>
                <a:lnTo>
                  <a:pt x="1620369" y="730447"/>
                </a:lnTo>
                <a:lnTo>
                  <a:pt x="1602874" y="729674"/>
                </a:lnTo>
                <a:close/>
                <a:moveTo>
                  <a:pt x="423955" y="729497"/>
                </a:moveTo>
                <a:lnTo>
                  <a:pt x="422626" y="729674"/>
                </a:lnTo>
                <a:lnTo>
                  <a:pt x="405131" y="730447"/>
                </a:lnTo>
                <a:close/>
                <a:moveTo>
                  <a:pt x="386245" y="729497"/>
                </a:moveTo>
                <a:lnTo>
                  <a:pt x="405069" y="730447"/>
                </a:lnTo>
                <a:lnTo>
                  <a:pt x="387574" y="729674"/>
                </a:lnTo>
                <a:close/>
                <a:moveTo>
                  <a:pt x="1656607" y="726965"/>
                </a:moveTo>
                <a:lnTo>
                  <a:pt x="1655018" y="727394"/>
                </a:lnTo>
                <a:lnTo>
                  <a:pt x="1645312" y="728689"/>
                </a:lnTo>
                <a:close/>
                <a:moveTo>
                  <a:pt x="1584193" y="726965"/>
                </a:moveTo>
                <a:lnTo>
                  <a:pt x="1595488" y="728689"/>
                </a:lnTo>
                <a:lnTo>
                  <a:pt x="1585782" y="727394"/>
                </a:lnTo>
                <a:close/>
                <a:moveTo>
                  <a:pt x="441307" y="726965"/>
                </a:moveTo>
                <a:lnTo>
                  <a:pt x="439718" y="727394"/>
                </a:lnTo>
                <a:lnTo>
                  <a:pt x="430012" y="728689"/>
                </a:lnTo>
                <a:close/>
                <a:moveTo>
                  <a:pt x="368893" y="726965"/>
                </a:moveTo>
                <a:lnTo>
                  <a:pt x="380188" y="728689"/>
                </a:lnTo>
                <a:lnTo>
                  <a:pt x="370482" y="727394"/>
                </a:lnTo>
                <a:close/>
                <a:moveTo>
                  <a:pt x="1690139" y="717417"/>
                </a:moveTo>
                <a:lnTo>
                  <a:pt x="1687642" y="718582"/>
                </a:lnTo>
                <a:lnTo>
                  <a:pt x="1685024" y="719289"/>
                </a:lnTo>
                <a:close/>
                <a:moveTo>
                  <a:pt x="1550661" y="717417"/>
                </a:moveTo>
                <a:lnTo>
                  <a:pt x="1555776" y="719289"/>
                </a:lnTo>
                <a:lnTo>
                  <a:pt x="1553158" y="718582"/>
                </a:lnTo>
                <a:close/>
                <a:moveTo>
                  <a:pt x="474839" y="717417"/>
                </a:moveTo>
                <a:lnTo>
                  <a:pt x="472342" y="718582"/>
                </a:lnTo>
                <a:lnTo>
                  <a:pt x="469724" y="719289"/>
                </a:lnTo>
                <a:close/>
                <a:moveTo>
                  <a:pt x="335361" y="717417"/>
                </a:moveTo>
                <a:lnTo>
                  <a:pt x="340476" y="719289"/>
                </a:lnTo>
                <a:lnTo>
                  <a:pt x="337858" y="718582"/>
                </a:lnTo>
                <a:close/>
                <a:moveTo>
                  <a:pt x="1720083" y="702917"/>
                </a:moveTo>
                <a:lnTo>
                  <a:pt x="1717744" y="704538"/>
                </a:lnTo>
                <a:lnTo>
                  <a:pt x="1716326" y="705200"/>
                </a:lnTo>
                <a:close/>
                <a:moveTo>
                  <a:pt x="1520716" y="702917"/>
                </a:moveTo>
                <a:lnTo>
                  <a:pt x="1524474" y="705200"/>
                </a:lnTo>
                <a:lnTo>
                  <a:pt x="1523056" y="704538"/>
                </a:lnTo>
                <a:close/>
                <a:moveTo>
                  <a:pt x="305417" y="702917"/>
                </a:moveTo>
                <a:lnTo>
                  <a:pt x="309174" y="705200"/>
                </a:lnTo>
                <a:lnTo>
                  <a:pt x="307756" y="704538"/>
                </a:lnTo>
                <a:close/>
                <a:moveTo>
                  <a:pt x="504784" y="702917"/>
                </a:moveTo>
                <a:lnTo>
                  <a:pt x="502444" y="704538"/>
                </a:lnTo>
                <a:lnTo>
                  <a:pt x="501026" y="705200"/>
                </a:lnTo>
                <a:close/>
                <a:moveTo>
                  <a:pt x="248941" y="651507"/>
                </a:moveTo>
                <a:lnTo>
                  <a:pt x="262831" y="668342"/>
                </a:lnTo>
                <a:lnTo>
                  <a:pt x="257224" y="662866"/>
                </a:lnTo>
                <a:close/>
                <a:moveTo>
                  <a:pt x="1776559" y="651506"/>
                </a:moveTo>
                <a:lnTo>
                  <a:pt x="1768276" y="662866"/>
                </a:lnTo>
                <a:lnTo>
                  <a:pt x="1762669" y="668342"/>
                </a:lnTo>
                <a:close/>
                <a:moveTo>
                  <a:pt x="1464241" y="651506"/>
                </a:moveTo>
                <a:lnTo>
                  <a:pt x="1478132" y="668342"/>
                </a:lnTo>
                <a:lnTo>
                  <a:pt x="1472524" y="662866"/>
                </a:lnTo>
                <a:close/>
                <a:moveTo>
                  <a:pt x="561260" y="651505"/>
                </a:moveTo>
                <a:lnTo>
                  <a:pt x="552977" y="662866"/>
                </a:lnTo>
                <a:lnTo>
                  <a:pt x="547368" y="668342"/>
                </a:lnTo>
                <a:close/>
                <a:moveTo>
                  <a:pt x="229467" y="619415"/>
                </a:moveTo>
                <a:lnTo>
                  <a:pt x="240899" y="640477"/>
                </a:lnTo>
                <a:lnTo>
                  <a:pt x="237847" y="636291"/>
                </a:lnTo>
                <a:close/>
                <a:moveTo>
                  <a:pt x="1796034" y="619413"/>
                </a:moveTo>
                <a:lnTo>
                  <a:pt x="1787653" y="636291"/>
                </a:lnTo>
                <a:lnTo>
                  <a:pt x="1784601" y="640477"/>
                </a:lnTo>
                <a:close/>
                <a:moveTo>
                  <a:pt x="1444766" y="619413"/>
                </a:moveTo>
                <a:lnTo>
                  <a:pt x="1456199" y="640477"/>
                </a:lnTo>
                <a:lnTo>
                  <a:pt x="1453147" y="636291"/>
                </a:lnTo>
                <a:close/>
                <a:moveTo>
                  <a:pt x="580735" y="619411"/>
                </a:moveTo>
                <a:lnTo>
                  <a:pt x="572353" y="636291"/>
                </a:lnTo>
                <a:lnTo>
                  <a:pt x="569301" y="640477"/>
                </a:lnTo>
                <a:close/>
                <a:moveTo>
                  <a:pt x="213512" y="574311"/>
                </a:moveTo>
                <a:lnTo>
                  <a:pt x="224255" y="608919"/>
                </a:lnTo>
                <a:lnTo>
                  <a:pt x="223100" y="606592"/>
                </a:lnTo>
                <a:close/>
                <a:moveTo>
                  <a:pt x="1811992" y="574298"/>
                </a:moveTo>
                <a:lnTo>
                  <a:pt x="1802400" y="606592"/>
                </a:lnTo>
                <a:lnTo>
                  <a:pt x="1801245" y="608919"/>
                </a:lnTo>
                <a:close/>
                <a:moveTo>
                  <a:pt x="1428808" y="574298"/>
                </a:moveTo>
                <a:lnTo>
                  <a:pt x="1439555" y="608919"/>
                </a:lnTo>
                <a:lnTo>
                  <a:pt x="1438399" y="606592"/>
                </a:lnTo>
                <a:close/>
                <a:moveTo>
                  <a:pt x="596692" y="574297"/>
                </a:moveTo>
                <a:lnTo>
                  <a:pt x="587100" y="606592"/>
                </a:lnTo>
                <a:lnTo>
                  <a:pt x="585945" y="608920"/>
                </a:lnTo>
                <a:close/>
                <a:moveTo>
                  <a:pt x="596798" y="573253"/>
                </a:moveTo>
                <a:lnTo>
                  <a:pt x="596692" y="574297"/>
                </a:lnTo>
                <a:lnTo>
                  <a:pt x="596692" y="574296"/>
                </a:lnTo>
                <a:close/>
                <a:moveTo>
                  <a:pt x="725426" y="402768"/>
                </a:moveTo>
                <a:lnTo>
                  <a:pt x="729179" y="424843"/>
                </a:lnTo>
                <a:lnTo>
                  <a:pt x="729214" y="424843"/>
                </a:lnTo>
                <a:cubicBezTo>
                  <a:pt x="729214" y="426419"/>
                  <a:pt x="730492" y="427697"/>
                  <a:pt x="732068" y="427697"/>
                </a:cubicBezTo>
                <a:lnTo>
                  <a:pt x="773153" y="427697"/>
                </a:lnTo>
                <a:cubicBezTo>
                  <a:pt x="774729" y="427697"/>
                  <a:pt x="776006" y="426419"/>
                  <a:pt x="776006" y="424843"/>
                </a:cubicBezTo>
                <a:lnTo>
                  <a:pt x="776042" y="424843"/>
                </a:lnTo>
                <a:lnTo>
                  <a:pt x="779794" y="402768"/>
                </a:lnTo>
                <a:close/>
                <a:moveTo>
                  <a:pt x="707975" y="358248"/>
                </a:moveTo>
                <a:lnTo>
                  <a:pt x="714136" y="394496"/>
                </a:lnTo>
                <a:lnTo>
                  <a:pt x="714195" y="394496"/>
                </a:lnTo>
                <a:cubicBezTo>
                  <a:pt x="714195" y="397084"/>
                  <a:pt x="716292" y="399182"/>
                  <a:pt x="718880" y="399182"/>
                </a:cubicBezTo>
                <a:lnTo>
                  <a:pt x="786340" y="399182"/>
                </a:lnTo>
                <a:cubicBezTo>
                  <a:pt x="788928" y="399182"/>
                  <a:pt x="791026" y="397084"/>
                  <a:pt x="791026" y="394496"/>
                </a:cubicBezTo>
                <a:lnTo>
                  <a:pt x="791084" y="394496"/>
                </a:lnTo>
                <a:lnTo>
                  <a:pt x="797246" y="358248"/>
                </a:lnTo>
                <a:close/>
                <a:moveTo>
                  <a:pt x="1620400" y="349843"/>
                </a:moveTo>
                <a:cubicBezTo>
                  <a:pt x="1722595" y="349843"/>
                  <a:pt x="1805440" y="432688"/>
                  <a:pt x="1805440" y="534883"/>
                </a:cubicBezTo>
                <a:cubicBezTo>
                  <a:pt x="1805440" y="637078"/>
                  <a:pt x="1722595" y="719923"/>
                  <a:pt x="1620400" y="719923"/>
                </a:cubicBezTo>
                <a:cubicBezTo>
                  <a:pt x="1518205" y="719923"/>
                  <a:pt x="1435360" y="637078"/>
                  <a:pt x="1435360" y="534883"/>
                </a:cubicBezTo>
                <a:cubicBezTo>
                  <a:pt x="1435360" y="432688"/>
                  <a:pt x="1518205" y="349843"/>
                  <a:pt x="1620400" y="349843"/>
                </a:cubicBezTo>
                <a:close/>
                <a:moveTo>
                  <a:pt x="405100" y="349843"/>
                </a:moveTo>
                <a:cubicBezTo>
                  <a:pt x="507295" y="349843"/>
                  <a:pt x="590140" y="432688"/>
                  <a:pt x="590140" y="534883"/>
                </a:cubicBezTo>
                <a:cubicBezTo>
                  <a:pt x="590140" y="637078"/>
                  <a:pt x="507295" y="719923"/>
                  <a:pt x="405100" y="719923"/>
                </a:cubicBezTo>
                <a:cubicBezTo>
                  <a:pt x="302905" y="719923"/>
                  <a:pt x="220060" y="637078"/>
                  <a:pt x="220060" y="534883"/>
                </a:cubicBezTo>
                <a:cubicBezTo>
                  <a:pt x="220060" y="432688"/>
                  <a:pt x="302905" y="349843"/>
                  <a:pt x="405100" y="349843"/>
                </a:cubicBezTo>
                <a:close/>
                <a:moveTo>
                  <a:pt x="703264" y="345291"/>
                </a:moveTo>
                <a:cubicBezTo>
                  <a:pt x="700676" y="345291"/>
                  <a:pt x="698578" y="347389"/>
                  <a:pt x="698578" y="349977"/>
                </a:cubicBezTo>
                <a:cubicBezTo>
                  <a:pt x="698578" y="352564"/>
                  <a:pt x="700676" y="354662"/>
                  <a:pt x="703264" y="354662"/>
                </a:cubicBezTo>
                <a:lnTo>
                  <a:pt x="801957" y="354662"/>
                </a:lnTo>
                <a:cubicBezTo>
                  <a:pt x="804545" y="354662"/>
                  <a:pt x="806643" y="352564"/>
                  <a:pt x="806643" y="349977"/>
                </a:cubicBezTo>
                <a:cubicBezTo>
                  <a:pt x="806643" y="347389"/>
                  <a:pt x="804545" y="345291"/>
                  <a:pt x="801957" y="345291"/>
                </a:cubicBezTo>
                <a:close/>
                <a:moveTo>
                  <a:pt x="776103" y="316113"/>
                </a:moveTo>
                <a:cubicBezTo>
                  <a:pt x="773515" y="316113"/>
                  <a:pt x="771417" y="318211"/>
                  <a:pt x="771417" y="320799"/>
                </a:cubicBezTo>
                <a:lnTo>
                  <a:pt x="771417" y="341715"/>
                </a:lnTo>
                <a:lnTo>
                  <a:pt x="780788" y="341715"/>
                </a:lnTo>
                <a:lnTo>
                  <a:pt x="780788" y="320799"/>
                </a:lnTo>
                <a:cubicBezTo>
                  <a:pt x="780788" y="318211"/>
                  <a:pt x="778690" y="316113"/>
                  <a:pt x="776103" y="316113"/>
                </a:cubicBezTo>
                <a:close/>
                <a:moveTo>
                  <a:pt x="728855" y="316113"/>
                </a:moveTo>
                <a:cubicBezTo>
                  <a:pt x="726268" y="316113"/>
                  <a:pt x="724170" y="318211"/>
                  <a:pt x="724170" y="320799"/>
                </a:cubicBezTo>
                <a:lnTo>
                  <a:pt x="724170" y="341715"/>
                </a:lnTo>
                <a:lnTo>
                  <a:pt x="733541" y="341715"/>
                </a:lnTo>
                <a:lnTo>
                  <a:pt x="733541" y="320799"/>
                </a:lnTo>
                <a:cubicBezTo>
                  <a:pt x="733541" y="318211"/>
                  <a:pt x="731443" y="316113"/>
                  <a:pt x="728855" y="316113"/>
                </a:cubicBezTo>
                <a:close/>
                <a:moveTo>
                  <a:pt x="751884" y="274259"/>
                </a:moveTo>
                <a:cubicBezTo>
                  <a:pt x="693916" y="274259"/>
                  <a:pt x="646924" y="321251"/>
                  <a:pt x="646924" y="379219"/>
                </a:cubicBezTo>
                <a:cubicBezTo>
                  <a:pt x="646924" y="422122"/>
                  <a:pt x="672665" y="459012"/>
                  <a:pt x="709572" y="475229"/>
                </a:cubicBezTo>
                <a:lnTo>
                  <a:pt x="709597" y="475176"/>
                </a:lnTo>
                <a:cubicBezTo>
                  <a:pt x="710297" y="475687"/>
                  <a:pt x="711164" y="475939"/>
                  <a:pt x="712089" y="475939"/>
                </a:cubicBezTo>
                <a:cubicBezTo>
                  <a:pt x="714846" y="475939"/>
                  <a:pt x="717082" y="473703"/>
                  <a:pt x="717082" y="470946"/>
                </a:cubicBezTo>
                <a:cubicBezTo>
                  <a:pt x="717082" y="468632"/>
                  <a:pt x="715508" y="466686"/>
                  <a:pt x="713349" y="466208"/>
                </a:cubicBezTo>
                <a:cubicBezTo>
                  <a:pt x="679966" y="451470"/>
                  <a:pt x="656700" y="418062"/>
                  <a:pt x="656700" y="379219"/>
                </a:cubicBezTo>
                <a:cubicBezTo>
                  <a:pt x="656700" y="326650"/>
                  <a:pt x="699315" y="284035"/>
                  <a:pt x="751884" y="284035"/>
                </a:cubicBezTo>
                <a:cubicBezTo>
                  <a:pt x="804453" y="284035"/>
                  <a:pt x="847068" y="326650"/>
                  <a:pt x="847068" y="379219"/>
                </a:cubicBezTo>
                <a:cubicBezTo>
                  <a:pt x="847068" y="421379"/>
                  <a:pt x="819658" y="457137"/>
                  <a:pt x="781650" y="469487"/>
                </a:cubicBezTo>
                <a:lnTo>
                  <a:pt x="781650" y="469482"/>
                </a:lnTo>
                <a:cubicBezTo>
                  <a:pt x="779655" y="470239"/>
                  <a:pt x="777490" y="470598"/>
                  <a:pt x="775242" y="470598"/>
                </a:cubicBezTo>
                <a:cubicBezTo>
                  <a:pt x="764062" y="470598"/>
                  <a:pt x="754956" y="461722"/>
                  <a:pt x="754644" y="450630"/>
                </a:cubicBezTo>
                <a:lnTo>
                  <a:pt x="754660" y="450630"/>
                </a:lnTo>
                <a:lnTo>
                  <a:pt x="754660" y="433454"/>
                </a:lnTo>
                <a:cubicBezTo>
                  <a:pt x="754660" y="431047"/>
                  <a:pt x="752728" y="429095"/>
                  <a:pt x="750345" y="429095"/>
                </a:cubicBezTo>
                <a:cubicBezTo>
                  <a:pt x="747963" y="429095"/>
                  <a:pt x="746031" y="431046"/>
                  <a:pt x="746031" y="433454"/>
                </a:cubicBezTo>
                <a:cubicBezTo>
                  <a:pt x="746031" y="439179"/>
                  <a:pt x="746031" y="444905"/>
                  <a:pt x="746031" y="450630"/>
                </a:cubicBezTo>
                <a:lnTo>
                  <a:pt x="746080" y="450630"/>
                </a:lnTo>
                <a:cubicBezTo>
                  <a:pt x="746294" y="461427"/>
                  <a:pt x="752407" y="470771"/>
                  <a:pt x="761385" y="475494"/>
                </a:cubicBezTo>
                <a:cubicBezTo>
                  <a:pt x="761752" y="475745"/>
                  <a:pt x="762143" y="475945"/>
                  <a:pt x="762543" y="476123"/>
                </a:cubicBezTo>
                <a:cubicBezTo>
                  <a:pt x="765619" y="477737"/>
                  <a:pt x="769053" y="478714"/>
                  <a:pt x="772678" y="479011"/>
                </a:cubicBezTo>
                <a:cubicBezTo>
                  <a:pt x="778023" y="479614"/>
                  <a:pt x="783790" y="478866"/>
                  <a:pt x="790117" y="476891"/>
                </a:cubicBezTo>
                <a:cubicBezTo>
                  <a:pt x="829196" y="461689"/>
                  <a:pt x="856844" y="423683"/>
                  <a:pt x="856844" y="379219"/>
                </a:cubicBezTo>
                <a:cubicBezTo>
                  <a:pt x="856844" y="321251"/>
                  <a:pt x="809852" y="274259"/>
                  <a:pt x="751884" y="274259"/>
                </a:cubicBezTo>
                <a:close/>
                <a:moveTo>
                  <a:pt x="889893" y="15513"/>
                </a:moveTo>
                <a:lnTo>
                  <a:pt x="889893" y="195222"/>
                </a:lnTo>
                <a:lnTo>
                  <a:pt x="1435391" y="195222"/>
                </a:lnTo>
                <a:lnTo>
                  <a:pt x="1136331" y="47722"/>
                </a:lnTo>
                <a:cubicBezTo>
                  <a:pt x="1101741" y="32940"/>
                  <a:pt x="1057690" y="20523"/>
                  <a:pt x="1007726" y="21114"/>
                </a:cubicBezTo>
                <a:cubicBezTo>
                  <a:pt x="971978" y="18330"/>
                  <a:pt x="936747" y="16581"/>
                  <a:pt x="901645" y="15608"/>
                </a:cubicBezTo>
                <a:close/>
                <a:moveTo>
                  <a:pt x="827876" y="14758"/>
                </a:moveTo>
                <a:cubicBezTo>
                  <a:pt x="757414" y="15398"/>
                  <a:pt x="685918" y="18108"/>
                  <a:pt x="610282" y="20819"/>
                </a:cubicBezTo>
                <a:lnTo>
                  <a:pt x="454169" y="89182"/>
                </a:lnTo>
                <a:lnTo>
                  <a:pt x="454169" y="195222"/>
                </a:lnTo>
                <a:lnTo>
                  <a:pt x="870279" y="195222"/>
                </a:lnTo>
                <a:lnTo>
                  <a:pt x="870279" y="15100"/>
                </a:lnTo>
                <a:close/>
                <a:moveTo>
                  <a:pt x="817224" y="142"/>
                </a:moveTo>
                <a:cubicBezTo>
                  <a:pt x="887686" y="-499"/>
                  <a:pt x="957113" y="930"/>
                  <a:pt x="1028609" y="6498"/>
                </a:cubicBezTo>
                <a:cubicBezTo>
                  <a:pt x="1078573" y="5907"/>
                  <a:pt x="1122624" y="18324"/>
                  <a:pt x="1157214" y="33106"/>
                </a:cubicBezTo>
                <a:lnTo>
                  <a:pt x="1483901" y="194232"/>
                </a:lnTo>
                <a:cubicBezTo>
                  <a:pt x="1633004" y="195119"/>
                  <a:pt x="1873165" y="226753"/>
                  <a:pt x="2023450" y="367183"/>
                </a:cubicBezTo>
                <a:cubicBezTo>
                  <a:pt x="2033601" y="397240"/>
                  <a:pt x="2027195" y="424932"/>
                  <a:pt x="2021972" y="457355"/>
                </a:cubicBezTo>
                <a:lnTo>
                  <a:pt x="2010583" y="518856"/>
                </a:lnTo>
                <a:lnTo>
                  <a:pt x="2011531" y="523552"/>
                </a:lnTo>
                <a:cubicBezTo>
                  <a:pt x="2011531" y="541241"/>
                  <a:pt x="1997192" y="555580"/>
                  <a:pt x="1979503" y="555580"/>
                </a:cubicBezTo>
                <a:cubicBezTo>
                  <a:pt x="1944878" y="562093"/>
                  <a:pt x="1864921" y="576490"/>
                  <a:pt x="1832267" y="576105"/>
                </a:cubicBezTo>
                <a:lnTo>
                  <a:pt x="1819456" y="555410"/>
                </a:lnTo>
                <a:lnTo>
                  <a:pt x="1813896" y="555410"/>
                </a:lnTo>
                <a:lnTo>
                  <a:pt x="1815965" y="534883"/>
                </a:lnTo>
                <a:cubicBezTo>
                  <a:pt x="1815965" y="426875"/>
                  <a:pt x="1728408" y="339318"/>
                  <a:pt x="1620400" y="339318"/>
                </a:cubicBezTo>
                <a:cubicBezTo>
                  <a:pt x="1512392" y="339318"/>
                  <a:pt x="1424834" y="426875"/>
                  <a:pt x="1424834" y="534883"/>
                </a:cubicBezTo>
                <a:lnTo>
                  <a:pt x="1428013" y="566410"/>
                </a:lnTo>
                <a:lnTo>
                  <a:pt x="597488" y="566410"/>
                </a:lnTo>
                <a:lnTo>
                  <a:pt x="596798" y="573253"/>
                </a:lnTo>
                <a:lnTo>
                  <a:pt x="600666" y="534883"/>
                </a:lnTo>
                <a:cubicBezTo>
                  <a:pt x="600666" y="426875"/>
                  <a:pt x="513108" y="339318"/>
                  <a:pt x="405100" y="339318"/>
                </a:cubicBezTo>
                <a:cubicBezTo>
                  <a:pt x="297092" y="339318"/>
                  <a:pt x="209534" y="426875"/>
                  <a:pt x="209534" y="534883"/>
                </a:cubicBezTo>
                <a:lnTo>
                  <a:pt x="211619" y="555568"/>
                </a:lnTo>
                <a:lnTo>
                  <a:pt x="87904" y="555580"/>
                </a:lnTo>
                <a:cubicBezTo>
                  <a:pt x="81271" y="555580"/>
                  <a:pt x="75108" y="553563"/>
                  <a:pt x="69997" y="550110"/>
                </a:cubicBezTo>
                <a:lnTo>
                  <a:pt x="63514" y="544219"/>
                </a:lnTo>
                <a:lnTo>
                  <a:pt x="54484" y="542396"/>
                </a:lnTo>
                <a:cubicBezTo>
                  <a:pt x="46820" y="539155"/>
                  <a:pt x="40681" y="533015"/>
                  <a:pt x="37440" y="525352"/>
                </a:cubicBezTo>
                <a:lnTo>
                  <a:pt x="34923" y="512885"/>
                </a:lnTo>
                <a:lnTo>
                  <a:pt x="34923" y="505022"/>
                </a:lnTo>
                <a:lnTo>
                  <a:pt x="28267" y="498975"/>
                </a:lnTo>
                <a:cubicBezTo>
                  <a:pt x="26309" y="496602"/>
                  <a:pt x="24686" y="493943"/>
                  <a:pt x="23470" y="491069"/>
                </a:cubicBezTo>
                <a:lnTo>
                  <a:pt x="23244" y="489949"/>
                </a:lnTo>
                <a:lnTo>
                  <a:pt x="12274" y="482553"/>
                </a:lnTo>
                <a:cubicBezTo>
                  <a:pt x="4691" y="474969"/>
                  <a:pt x="0" y="464492"/>
                  <a:pt x="0" y="452920"/>
                </a:cubicBezTo>
                <a:lnTo>
                  <a:pt x="0" y="452920"/>
                </a:lnTo>
                <a:lnTo>
                  <a:pt x="0" y="452920"/>
                </a:lnTo>
                <a:lnTo>
                  <a:pt x="0" y="184614"/>
                </a:lnTo>
                <a:lnTo>
                  <a:pt x="2517" y="172148"/>
                </a:lnTo>
                <a:cubicBezTo>
                  <a:pt x="7379" y="160653"/>
                  <a:pt x="18761" y="152587"/>
                  <a:pt x="32028" y="152587"/>
                </a:cubicBezTo>
                <a:lnTo>
                  <a:pt x="265349" y="152587"/>
                </a:lnTo>
                <a:lnTo>
                  <a:pt x="599631" y="6202"/>
                </a:lnTo>
                <a:cubicBezTo>
                  <a:pt x="675267" y="3492"/>
                  <a:pt x="746763" y="782"/>
                  <a:pt x="817224" y="14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ot="0" spcFirstLastPara="0" vertOverflow="overflow" horzOverflow="overflow" vert="horz" wrap="square" lIns="91433" tIns="45716" rIns="91433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14" name="Freihandform: Form 813">
            <a:hlinkClick r:id="" action="ppaction://noaction"/>
            <a:extLst>
              <a:ext uri="{FF2B5EF4-FFF2-40B4-BE49-F238E27FC236}">
                <a16:creationId xmlns:a16="http://schemas.microsoft.com/office/drawing/2014/main" xmlns="" id="{1B3F17B3-21BF-4FFE-B3D7-DD7AF3DC8A56}"/>
              </a:ext>
            </a:extLst>
          </p:cNvPr>
          <p:cNvSpPr>
            <a:spLocks noChangeAspect="1"/>
          </p:cNvSpPr>
          <p:nvPr userDrawn="1"/>
        </p:nvSpPr>
        <p:spPr>
          <a:xfrm>
            <a:off x="409933" y="2613905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15" name="Freihandform: Form 814">
            <a:hlinkClick r:id="" action="ppaction://noaction"/>
            <a:extLst>
              <a:ext uri="{FF2B5EF4-FFF2-40B4-BE49-F238E27FC236}">
                <a16:creationId xmlns:a16="http://schemas.microsoft.com/office/drawing/2014/main" xmlns="" id="{5299EDF7-B12A-4A9D-B92F-6070423199EB}"/>
              </a:ext>
            </a:extLst>
          </p:cNvPr>
          <p:cNvSpPr>
            <a:spLocks noChangeAspect="1"/>
          </p:cNvSpPr>
          <p:nvPr userDrawn="1"/>
        </p:nvSpPr>
        <p:spPr>
          <a:xfrm>
            <a:off x="1870049" y="2745688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16" name="Freihandform: Form 815">
            <a:hlinkClick r:id="" action="ppaction://noaction"/>
            <a:extLst>
              <a:ext uri="{FF2B5EF4-FFF2-40B4-BE49-F238E27FC236}">
                <a16:creationId xmlns:a16="http://schemas.microsoft.com/office/drawing/2014/main" xmlns="" id="{2C964BE4-18F9-4416-835A-F350BB4F0CAD}"/>
              </a:ext>
            </a:extLst>
          </p:cNvPr>
          <p:cNvSpPr>
            <a:spLocks noChangeAspect="1"/>
          </p:cNvSpPr>
          <p:nvPr userDrawn="1"/>
        </p:nvSpPr>
        <p:spPr>
          <a:xfrm>
            <a:off x="1419528" y="2748869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17" name="Freihandform: Form 816">
            <a:hlinkClick r:id="" action="ppaction://noaction"/>
            <a:extLst>
              <a:ext uri="{FF2B5EF4-FFF2-40B4-BE49-F238E27FC236}">
                <a16:creationId xmlns:a16="http://schemas.microsoft.com/office/drawing/2014/main" xmlns="" id="{571625E7-39CE-4F96-840C-3360DA324CCA}"/>
              </a:ext>
            </a:extLst>
          </p:cNvPr>
          <p:cNvSpPr>
            <a:spLocks noChangeAspect="1"/>
          </p:cNvSpPr>
          <p:nvPr userDrawn="1"/>
        </p:nvSpPr>
        <p:spPr>
          <a:xfrm>
            <a:off x="1565395" y="2476101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18" name="Freihandform: Form 817">
            <a:hlinkClick r:id="" action="ppaction://noaction"/>
            <a:extLst>
              <a:ext uri="{FF2B5EF4-FFF2-40B4-BE49-F238E27FC236}">
                <a16:creationId xmlns:a16="http://schemas.microsoft.com/office/drawing/2014/main" xmlns="" id="{805BBA3F-6EC3-4AEA-963D-9E74ECC15807}"/>
              </a:ext>
            </a:extLst>
          </p:cNvPr>
          <p:cNvSpPr>
            <a:spLocks noChangeAspect="1"/>
          </p:cNvSpPr>
          <p:nvPr userDrawn="1"/>
        </p:nvSpPr>
        <p:spPr>
          <a:xfrm>
            <a:off x="1219399" y="2420321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rgbClr val="12419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19" name="Freihandform: Form 818">
            <a:extLst>
              <a:ext uri="{FF2B5EF4-FFF2-40B4-BE49-F238E27FC236}">
                <a16:creationId xmlns:a16="http://schemas.microsoft.com/office/drawing/2014/main" xmlns="" id="{0802704A-B626-4358-943A-0B80AC8B4D8B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2299508" y="3513155"/>
            <a:ext cx="82343" cy="82336"/>
          </a:xfrm>
          <a:custGeom>
            <a:avLst/>
            <a:gdLst>
              <a:gd name="connsiteX0" fmla="*/ 49214 w 81828"/>
              <a:gd name="connsiteY0" fmla="*/ 47625 h 81828"/>
              <a:gd name="connsiteX1" fmla="*/ 48050 w 81828"/>
              <a:gd name="connsiteY1" fmla="*/ 54473 h 81828"/>
              <a:gd name="connsiteX2" fmla="*/ 48039 w 81828"/>
              <a:gd name="connsiteY2" fmla="*/ 54473 h 81828"/>
              <a:gd name="connsiteX3" fmla="*/ 47154 w 81828"/>
              <a:gd name="connsiteY3" fmla="*/ 55359 h 81828"/>
              <a:gd name="connsiteX4" fmla="*/ 34409 w 81828"/>
              <a:gd name="connsiteY4" fmla="*/ 55359 h 81828"/>
              <a:gd name="connsiteX5" fmla="*/ 33524 w 81828"/>
              <a:gd name="connsiteY5" fmla="*/ 54473 h 81828"/>
              <a:gd name="connsiteX6" fmla="*/ 33513 w 81828"/>
              <a:gd name="connsiteY6" fmla="*/ 54473 h 81828"/>
              <a:gd name="connsiteX7" fmla="*/ 32349 w 81828"/>
              <a:gd name="connsiteY7" fmla="*/ 47625 h 81828"/>
              <a:gd name="connsiteX8" fmla="*/ 54628 w 81828"/>
              <a:gd name="connsiteY8" fmla="*/ 33815 h 81828"/>
              <a:gd name="connsiteX9" fmla="*/ 52716 w 81828"/>
              <a:gd name="connsiteY9" fmla="*/ 45059 h 81828"/>
              <a:gd name="connsiteX10" fmla="*/ 52698 w 81828"/>
              <a:gd name="connsiteY10" fmla="*/ 45059 h 81828"/>
              <a:gd name="connsiteX11" fmla="*/ 51245 w 81828"/>
              <a:gd name="connsiteY11" fmla="*/ 46513 h 81828"/>
              <a:gd name="connsiteX12" fmla="*/ 30318 w 81828"/>
              <a:gd name="connsiteY12" fmla="*/ 46513 h 81828"/>
              <a:gd name="connsiteX13" fmla="*/ 28865 w 81828"/>
              <a:gd name="connsiteY13" fmla="*/ 45059 h 81828"/>
              <a:gd name="connsiteX14" fmla="*/ 28846 w 81828"/>
              <a:gd name="connsiteY14" fmla="*/ 45059 h 81828"/>
              <a:gd name="connsiteX15" fmla="*/ 26935 w 81828"/>
              <a:gd name="connsiteY15" fmla="*/ 33815 h 81828"/>
              <a:gd name="connsiteX16" fmla="*/ 56089 w 81828"/>
              <a:gd name="connsiteY16" fmla="*/ 29795 h 81828"/>
              <a:gd name="connsiteX17" fmla="*/ 57543 w 81828"/>
              <a:gd name="connsiteY17" fmla="*/ 31249 h 81828"/>
              <a:gd name="connsiteX18" fmla="*/ 56089 w 81828"/>
              <a:gd name="connsiteY18" fmla="*/ 32702 h 81828"/>
              <a:gd name="connsiteX19" fmla="*/ 25474 w 81828"/>
              <a:gd name="connsiteY19" fmla="*/ 32702 h 81828"/>
              <a:gd name="connsiteX20" fmla="*/ 24020 w 81828"/>
              <a:gd name="connsiteY20" fmla="*/ 31249 h 81828"/>
              <a:gd name="connsiteX21" fmla="*/ 25474 w 81828"/>
              <a:gd name="connsiteY21" fmla="*/ 29795 h 81828"/>
              <a:gd name="connsiteX22" fmla="*/ 33412 w 81828"/>
              <a:gd name="connsiteY22" fmla="*/ 20744 h 81828"/>
              <a:gd name="connsiteX23" fmla="*/ 34866 w 81828"/>
              <a:gd name="connsiteY23" fmla="*/ 22198 h 81828"/>
              <a:gd name="connsiteX24" fmla="*/ 34866 w 81828"/>
              <a:gd name="connsiteY24" fmla="*/ 28686 h 81828"/>
              <a:gd name="connsiteX25" fmla="*/ 31959 w 81828"/>
              <a:gd name="connsiteY25" fmla="*/ 28686 h 81828"/>
              <a:gd name="connsiteX26" fmla="*/ 31959 w 81828"/>
              <a:gd name="connsiteY26" fmla="*/ 22198 h 81828"/>
              <a:gd name="connsiteX27" fmla="*/ 33412 w 81828"/>
              <a:gd name="connsiteY27" fmla="*/ 20744 h 81828"/>
              <a:gd name="connsiteX28" fmla="*/ 48069 w 81828"/>
              <a:gd name="connsiteY28" fmla="*/ 20744 h 81828"/>
              <a:gd name="connsiteX29" fmla="*/ 49522 w 81828"/>
              <a:gd name="connsiteY29" fmla="*/ 22198 h 81828"/>
              <a:gd name="connsiteX30" fmla="*/ 49522 w 81828"/>
              <a:gd name="connsiteY30" fmla="*/ 28686 h 81828"/>
              <a:gd name="connsiteX31" fmla="*/ 46615 w 81828"/>
              <a:gd name="connsiteY31" fmla="*/ 28686 h 81828"/>
              <a:gd name="connsiteX32" fmla="*/ 46615 w 81828"/>
              <a:gd name="connsiteY32" fmla="*/ 22198 h 81828"/>
              <a:gd name="connsiteX33" fmla="*/ 48069 w 81828"/>
              <a:gd name="connsiteY33" fmla="*/ 20744 h 81828"/>
              <a:gd name="connsiteX34" fmla="*/ 40556 w 81828"/>
              <a:gd name="connsiteY34" fmla="*/ 7760 h 81828"/>
              <a:gd name="connsiteX35" fmla="*/ 73116 w 81828"/>
              <a:gd name="connsiteY35" fmla="*/ 40320 h 81828"/>
              <a:gd name="connsiteX36" fmla="*/ 52416 w 81828"/>
              <a:gd name="connsiteY36" fmla="*/ 70619 h 81828"/>
              <a:gd name="connsiteX37" fmla="*/ 47007 w 81828"/>
              <a:gd name="connsiteY37" fmla="*/ 71277 h 81828"/>
              <a:gd name="connsiteX38" fmla="*/ 43863 w 81828"/>
              <a:gd name="connsiteY38" fmla="*/ 70381 h 81828"/>
              <a:gd name="connsiteX39" fmla="*/ 43503 w 81828"/>
              <a:gd name="connsiteY39" fmla="*/ 70186 h 81828"/>
              <a:gd name="connsiteX40" fmla="*/ 38756 w 81828"/>
              <a:gd name="connsiteY40" fmla="*/ 62473 h 81828"/>
              <a:gd name="connsiteX41" fmla="*/ 38740 w 81828"/>
              <a:gd name="connsiteY41" fmla="*/ 62473 h 81828"/>
              <a:gd name="connsiteX42" fmla="*/ 38740 w 81828"/>
              <a:gd name="connsiteY42" fmla="*/ 57145 h 81828"/>
              <a:gd name="connsiteX43" fmla="*/ 40079 w 81828"/>
              <a:gd name="connsiteY43" fmla="*/ 55792 h 81828"/>
              <a:gd name="connsiteX44" fmla="*/ 41417 w 81828"/>
              <a:gd name="connsiteY44" fmla="*/ 57145 h 81828"/>
              <a:gd name="connsiteX45" fmla="*/ 41417 w 81828"/>
              <a:gd name="connsiteY45" fmla="*/ 62473 h 81828"/>
              <a:gd name="connsiteX46" fmla="*/ 41412 w 81828"/>
              <a:gd name="connsiteY46" fmla="*/ 62473 h 81828"/>
              <a:gd name="connsiteX47" fmla="*/ 47802 w 81828"/>
              <a:gd name="connsiteY47" fmla="*/ 68667 h 81828"/>
              <a:gd name="connsiteX48" fmla="*/ 49790 w 81828"/>
              <a:gd name="connsiteY48" fmla="*/ 68321 h 81828"/>
              <a:gd name="connsiteX49" fmla="*/ 49790 w 81828"/>
              <a:gd name="connsiteY49" fmla="*/ 68323 h 81828"/>
              <a:gd name="connsiteX50" fmla="*/ 70083 w 81828"/>
              <a:gd name="connsiteY50" fmla="*/ 40320 h 81828"/>
              <a:gd name="connsiteX51" fmla="*/ 40556 w 81828"/>
              <a:gd name="connsiteY51" fmla="*/ 10793 h 81828"/>
              <a:gd name="connsiteX52" fmla="*/ 11029 w 81828"/>
              <a:gd name="connsiteY52" fmla="*/ 40320 h 81828"/>
              <a:gd name="connsiteX53" fmla="*/ 28602 w 81828"/>
              <a:gd name="connsiteY53" fmla="*/ 67305 h 81828"/>
              <a:gd name="connsiteX54" fmla="*/ 29760 w 81828"/>
              <a:gd name="connsiteY54" fmla="*/ 68775 h 81828"/>
              <a:gd name="connsiteX55" fmla="*/ 28211 w 81828"/>
              <a:gd name="connsiteY55" fmla="*/ 70324 h 81828"/>
              <a:gd name="connsiteX56" fmla="*/ 27438 w 81828"/>
              <a:gd name="connsiteY56" fmla="*/ 70087 h 81828"/>
              <a:gd name="connsiteX57" fmla="*/ 27430 w 81828"/>
              <a:gd name="connsiteY57" fmla="*/ 70104 h 81828"/>
              <a:gd name="connsiteX58" fmla="*/ 7996 w 81828"/>
              <a:gd name="connsiteY58" fmla="*/ 40320 h 81828"/>
              <a:gd name="connsiteX59" fmla="*/ 40556 w 81828"/>
              <a:gd name="connsiteY59" fmla="*/ 7760 h 81828"/>
              <a:gd name="connsiteX60" fmla="*/ 40914 w 81828"/>
              <a:gd name="connsiteY60" fmla="*/ 0 h 81828"/>
              <a:gd name="connsiteX61" fmla="*/ 0 w 81828"/>
              <a:gd name="connsiteY61" fmla="*/ 40914 h 81828"/>
              <a:gd name="connsiteX62" fmla="*/ 40914 w 81828"/>
              <a:gd name="connsiteY62" fmla="*/ 81828 h 81828"/>
              <a:gd name="connsiteX63" fmla="*/ 81828 w 81828"/>
              <a:gd name="connsiteY63" fmla="*/ 40914 h 81828"/>
              <a:gd name="connsiteX64" fmla="*/ 40914 w 81828"/>
              <a:gd name="connsiteY64" fmla="*/ 0 h 81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81828" h="81828">
                <a:moveTo>
                  <a:pt x="49214" y="47625"/>
                </a:moveTo>
                <a:lnTo>
                  <a:pt x="48050" y="54473"/>
                </a:lnTo>
                <a:lnTo>
                  <a:pt x="48039" y="54473"/>
                </a:lnTo>
                <a:cubicBezTo>
                  <a:pt x="48039" y="54962"/>
                  <a:pt x="47643" y="55359"/>
                  <a:pt x="47154" y="55359"/>
                </a:cubicBezTo>
                <a:lnTo>
                  <a:pt x="34409" y="55359"/>
                </a:lnTo>
                <a:cubicBezTo>
                  <a:pt x="33920" y="55359"/>
                  <a:pt x="33524" y="54962"/>
                  <a:pt x="33524" y="54473"/>
                </a:cubicBezTo>
                <a:lnTo>
                  <a:pt x="33513" y="54473"/>
                </a:lnTo>
                <a:lnTo>
                  <a:pt x="32349" y="47625"/>
                </a:lnTo>
                <a:close/>
                <a:moveTo>
                  <a:pt x="54628" y="33815"/>
                </a:moveTo>
                <a:lnTo>
                  <a:pt x="52716" y="45059"/>
                </a:lnTo>
                <a:lnTo>
                  <a:pt x="52698" y="45059"/>
                </a:lnTo>
                <a:cubicBezTo>
                  <a:pt x="52698" y="45862"/>
                  <a:pt x="52048" y="46513"/>
                  <a:pt x="51245" y="46513"/>
                </a:cubicBezTo>
                <a:lnTo>
                  <a:pt x="30318" y="46513"/>
                </a:lnTo>
                <a:cubicBezTo>
                  <a:pt x="29515" y="46513"/>
                  <a:pt x="28865" y="45862"/>
                  <a:pt x="28865" y="45059"/>
                </a:cubicBezTo>
                <a:lnTo>
                  <a:pt x="28846" y="45059"/>
                </a:lnTo>
                <a:lnTo>
                  <a:pt x="26935" y="33815"/>
                </a:lnTo>
                <a:close/>
                <a:moveTo>
                  <a:pt x="56089" y="29795"/>
                </a:moveTo>
                <a:cubicBezTo>
                  <a:pt x="56892" y="29795"/>
                  <a:pt x="57543" y="30446"/>
                  <a:pt x="57543" y="31249"/>
                </a:cubicBezTo>
                <a:cubicBezTo>
                  <a:pt x="57543" y="32051"/>
                  <a:pt x="56892" y="32702"/>
                  <a:pt x="56089" y="32702"/>
                </a:cubicBezTo>
                <a:lnTo>
                  <a:pt x="25474" y="32702"/>
                </a:lnTo>
                <a:cubicBezTo>
                  <a:pt x="24671" y="32702"/>
                  <a:pt x="24020" y="32051"/>
                  <a:pt x="24020" y="31249"/>
                </a:cubicBezTo>
                <a:cubicBezTo>
                  <a:pt x="24020" y="30446"/>
                  <a:pt x="24671" y="29795"/>
                  <a:pt x="25474" y="29795"/>
                </a:cubicBezTo>
                <a:close/>
                <a:moveTo>
                  <a:pt x="33412" y="20744"/>
                </a:moveTo>
                <a:cubicBezTo>
                  <a:pt x="34215" y="20744"/>
                  <a:pt x="34866" y="21395"/>
                  <a:pt x="34866" y="22198"/>
                </a:cubicBezTo>
                <a:lnTo>
                  <a:pt x="34866" y="28686"/>
                </a:lnTo>
                <a:lnTo>
                  <a:pt x="31959" y="28686"/>
                </a:lnTo>
                <a:lnTo>
                  <a:pt x="31959" y="22198"/>
                </a:lnTo>
                <a:cubicBezTo>
                  <a:pt x="31959" y="21395"/>
                  <a:pt x="32610" y="20744"/>
                  <a:pt x="33412" y="20744"/>
                </a:cubicBezTo>
                <a:close/>
                <a:moveTo>
                  <a:pt x="48069" y="20744"/>
                </a:moveTo>
                <a:cubicBezTo>
                  <a:pt x="48872" y="20744"/>
                  <a:pt x="49522" y="21395"/>
                  <a:pt x="49522" y="22198"/>
                </a:cubicBezTo>
                <a:lnTo>
                  <a:pt x="49522" y="28686"/>
                </a:lnTo>
                <a:lnTo>
                  <a:pt x="46615" y="28686"/>
                </a:lnTo>
                <a:lnTo>
                  <a:pt x="46615" y="22198"/>
                </a:lnTo>
                <a:cubicBezTo>
                  <a:pt x="46615" y="21395"/>
                  <a:pt x="47266" y="20744"/>
                  <a:pt x="48069" y="20744"/>
                </a:cubicBezTo>
                <a:close/>
                <a:moveTo>
                  <a:pt x="40556" y="7760"/>
                </a:moveTo>
                <a:cubicBezTo>
                  <a:pt x="58539" y="7760"/>
                  <a:pt x="73116" y="22338"/>
                  <a:pt x="73116" y="40320"/>
                </a:cubicBezTo>
                <a:cubicBezTo>
                  <a:pt x="73116" y="54114"/>
                  <a:pt x="64539" y="65904"/>
                  <a:pt x="52416" y="70619"/>
                </a:cubicBezTo>
                <a:cubicBezTo>
                  <a:pt x="50454" y="71232"/>
                  <a:pt x="48665" y="71464"/>
                  <a:pt x="47007" y="71277"/>
                </a:cubicBezTo>
                <a:cubicBezTo>
                  <a:pt x="45882" y="71185"/>
                  <a:pt x="44817" y="70882"/>
                  <a:pt x="43863" y="70381"/>
                </a:cubicBezTo>
                <a:cubicBezTo>
                  <a:pt x="43739" y="70326"/>
                  <a:pt x="43617" y="70264"/>
                  <a:pt x="43503" y="70186"/>
                </a:cubicBezTo>
                <a:cubicBezTo>
                  <a:pt x="40718" y="68721"/>
                  <a:pt x="38822" y="65822"/>
                  <a:pt x="38756" y="62473"/>
                </a:cubicBezTo>
                <a:lnTo>
                  <a:pt x="38740" y="62473"/>
                </a:lnTo>
                <a:cubicBezTo>
                  <a:pt x="38740" y="60697"/>
                  <a:pt x="38740" y="58921"/>
                  <a:pt x="38740" y="57145"/>
                </a:cubicBezTo>
                <a:cubicBezTo>
                  <a:pt x="38740" y="56398"/>
                  <a:pt x="39340" y="55792"/>
                  <a:pt x="40079" y="55792"/>
                </a:cubicBezTo>
                <a:cubicBezTo>
                  <a:pt x="40818" y="55792"/>
                  <a:pt x="41417" y="56398"/>
                  <a:pt x="41417" y="57145"/>
                </a:cubicBezTo>
                <a:lnTo>
                  <a:pt x="41417" y="62473"/>
                </a:lnTo>
                <a:lnTo>
                  <a:pt x="41412" y="62473"/>
                </a:lnTo>
                <a:cubicBezTo>
                  <a:pt x="41509" y="65914"/>
                  <a:pt x="44334" y="68667"/>
                  <a:pt x="47802" y="68667"/>
                </a:cubicBezTo>
                <a:cubicBezTo>
                  <a:pt x="48499" y="68667"/>
                  <a:pt x="49171" y="68556"/>
                  <a:pt x="49790" y="68321"/>
                </a:cubicBezTo>
                <a:lnTo>
                  <a:pt x="49790" y="68323"/>
                </a:lnTo>
                <a:cubicBezTo>
                  <a:pt x="61580" y="64492"/>
                  <a:pt x="70083" y="53399"/>
                  <a:pt x="70083" y="40320"/>
                </a:cubicBezTo>
                <a:cubicBezTo>
                  <a:pt x="70083" y="24013"/>
                  <a:pt x="56864" y="10793"/>
                  <a:pt x="40556" y="10793"/>
                </a:cubicBezTo>
                <a:cubicBezTo>
                  <a:pt x="24249" y="10793"/>
                  <a:pt x="11029" y="24013"/>
                  <a:pt x="11029" y="40320"/>
                </a:cubicBezTo>
                <a:cubicBezTo>
                  <a:pt x="11029" y="52370"/>
                  <a:pt x="18246" y="62734"/>
                  <a:pt x="28602" y="67305"/>
                </a:cubicBezTo>
                <a:cubicBezTo>
                  <a:pt x="29272" y="67454"/>
                  <a:pt x="29760" y="68057"/>
                  <a:pt x="29760" y="68775"/>
                </a:cubicBezTo>
                <a:cubicBezTo>
                  <a:pt x="29760" y="69631"/>
                  <a:pt x="29066" y="70324"/>
                  <a:pt x="28211" y="70324"/>
                </a:cubicBezTo>
                <a:cubicBezTo>
                  <a:pt x="27924" y="70324"/>
                  <a:pt x="27655" y="70246"/>
                  <a:pt x="27438" y="70087"/>
                </a:cubicBezTo>
                <a:lnTo>
                  <a:pt x="27430" y="70104"/>
                </a:lnTo>
                <a:cubicBezTo>
                  <a:pt x="15981" y="65073"/>
                  <a:pt x="7996" y="53629"/>
                  <a:pt x="7996" y="40320"/>
                </a:cubicBezTo>
                <a:cubicBezTo>
                  <a:pt x="7996" y="22338"/>
                  <a:pt x="22574" y="7760"/>
                  <a:pt x="40556" y="7760"/>
                </a:cubicBezTo>
                <a:close/>
                <a:moveTo>
                  <a:pt x="40914" y="0"/>
                </a:moveTo>
                <a:cubicBezTo>
                  <a:pt x="18318" y="0"/>
                  <a:pt x="0" y="18318"/>
                  <a:pt x="0" y="40914"/>
                </a:cubicBezTo>
                <a:cubicBezTo>
                  <a:pt x="0" y="63510"/>
                  <a:pt x="18318" y="81828"/>
                  <a:pt x="40914" y="81828"/>
                </a:cubicBezTo>
                <a:cubicBezTo>
                  <a:pt x="63510" y="81828"/>
                  <a:pt x="81828" y="63510"/>
                  <a:pt x="81828" y="40914"/>
                </a:cubicBezTo>
                <a:cubicBezTo>
                  <a:pt x="81828" y="18318"/>
                  <a:pt x="63510" y="0"/>
                  <a:pt x="4091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ot="0" spcFirstLastPara="0" vertOverflow="overflow" horzOverflow="overflow" vert="horz" wrap="square" lIns="91433" tIns="45716" rIns="91433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20" name="Freihandform: Form 819">
            <a:hlinkClick r:id="" action="ppaction://noaction"/>
            <a:extLst>
              <a:ext uri="{FF2B5EF4-FFF2-40B4-BE49-F238E27FC236}">
                <a16:creationId xmlns:a16="http://schemas.microsoft.com/office/drawing/2014/main" xmlns="" id="{F226B5D1-811C-48E4-8AFA-79AEF012E8FB}"/>
              </a:ext>
            </a:extLst>
          </p:cNvPr>
          <p:cNvSpPr>
            <a:spLocks noChangeAspect="1"/>
          </p:cNvSpPr>
          <p:nvPr userDrawn="1"/>
        </p:nvSpPr>
        <p:spPr>
          <a:xfrm>
            <a:off x="1921338" y="3474455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2851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2000" fill="hold"/>
                                        <p:tgtEl>
                                          <p:spTgt spid="79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7" dur="2000" fill="hold"/>
                                        <p:tgtEl>
                                          <p:spTgt spid="79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2000" fill="hold"/>
                                        <p:tgtEl>
                                          <p:spTgt spid="79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" dur="2000" fill="hold"/>
                                        <p:tgtEl>
                                          <p:spTgt spid="80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11" dur="2000" fill="hold"/>
                                        <p:tgtEl>
                                          <p:spTgt spid="80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2" dur="2000" fill="hold"/>
                                        <p:tgtEl>
                                          <p:spTgt spid="80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" dur="2000" fill="hold"/>
                                        <p:tgtEl>
                                          <p:spTgt spid="80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15" dur="2000" fill="hold"/>
                                        <p:tgtEl>
                                          <p:spTgt spid="80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" dur="2000" fill="hold"/>
                                        <p:tgtEl>
                                          <p:spTgt spid="80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" dur="2000" fill="hold"/>
                                        <p:tgtEl>
                                          <p:spTgt spid="80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19" dur="2000" fill="hold"/>
                                        <p:tgtEl>
                                          <p:spTgt spid="80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2000" fill="hold"/>
                                        <p:tgtEl>
                                          <p:spTgt spid="80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2" dur="2000" fill="hold"/>
                                        <p:tgtEl>
                                          <p:spTgt spid="80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23" dur="2000" fill="hold"/>
                                        <p:tgtEl>
                                          <p:spTgt spid="80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" dur="2000" fill="hold"/>
                                        <p:tgtEl>
                                          <p:spTgt spid="80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6" dur="2000" fill="hold"/>
                                        <p:tgtEl>
                                          <p:spTgt spid="80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27" dur="2000" fill="hold"/>
                                        <p:tgtEl>
                                          <p:spTgt spid="80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8" dur="2000" fill="hold"/>
                                        <p:tgtEl>
                                          <p:spTgt spid="80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0" dur="2000" fill="hold"/>
                                        <p:tgtEl>
                                          <p:spTgt spid="80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31" dur="2000" fill="hold"/>
                                        <p:tgtEl>
                                          <p:spTgt spid="80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2" dur="2000" fill="hold"/>
                                        <p:tgtEl>
                                          <p:spTgt spid="80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4" dur="2000" fill="hold"/>
                                        <p:tgtEl>
                                          <p:spTgt spid="80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35" dur="2000" fill="hold"/>
                                        <p:tgtEl>
                                          <p:spTgt spid="80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6" dur="2000" fill="hold"/>
                                        <p:tgtEl>
                                          <p:spTgt spid="80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8" dur="2000" fill="hold"/>
                                        <p:tgtEl>
                                          <p:spTgt spid="80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39" dur="2000" fill="hold"/>
                                        <p:tgtEl>
                                          <p:spTgt spid="80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2000" fill="hold"/>
                                        <p:tgtEl>
                                          <p:spTgt spid="80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2" dur="2000" fill="hold"/>
                                        <p:tgtEl>
                                          <p:spTgt spid="80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43" dur="2000" fill="hold"/>
                                        <p:tgtEl>
                                          <p:spTgt spid="80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2000" fill="hold"/>
                                        <p:tgtEl>
                                          <p:spTgt spid="80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6" dur="2000" fill="hold"/>
                                        <p:tgtEl>
                                          <p:spTgt spid="8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47" dur="2000" fill="hold"/>
                                        <p:tgtEl>
                                          <p:spTgt spid="8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8" dur="2000" fill="hold"/>
                                        <p:tgtEl>
                                          <p:spTgt spid="81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0" dur="2000" fill="hold"/>
                                        <p:tgtEl>
                                          <p:spTgt spid="81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51" dur="2000" fill="hold"/>
                                        <p:tgtEl>
                                          <p:spTgt spid="81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2" dur="2000" fill="hold"/>
                                        <p:tgtEl>
                                          <p:spTgt spid="81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4" dur="2000" fill="hold"/>
                                        <p:tgtEl>
                                          <p:spTgt spid="8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55" dur="2000" fill="hold"/>
                                        <p:tgtEl>
                                          <p:spTgt spid="8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6" dur="2000" fill="hold"/>
                                        <p:tgtEl>
                                          <p:spTgt spid="8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8" dur="2000" fill="hold"/>
                                        <p:tgtEl>
                                          <p:spTgt spid="8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59" dur="2000" fill="hold"/>
                                        <p:tgtEl>
                                          <p:spTgt spid="8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0" dur="2000" fill="hold"/>
                                        <p:tgtEl>
                                          <p:spTgt spid="8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2" dur="2000" fill="hold"/>
                                        <p:tgtEl>
                                          <p:spTgt spid="81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63" dur="2000" fill="hold"/>
                                        <p:tgtEl>
                                          <p:spTgt spid="81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4" dur="2000" fill="hold"/>
                                        <p:tgtEl>
                                          <p:spTgt spid="81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6" dur="2000" fill="hold"/>
                                        <p:tgtEl>
                                          <p:spTgt spid="81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67" dur="2000" fill="hold"/>
                                        <p:tgtEl>
                                          <p:spTgt spid="81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8" dur="2000" fill="hold"/>
                                        <p:tgtEl>
                                          <p:spTgt spid="81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0" dur="2000" fill="hold"/>
                                        <p:tgtEl>
                                          <p:spTgt spid="8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71" dur="2000" fill="hold"/>
                                        <p:tgtEl>
                                          <p:spTgt spid="8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2" dur="2000" fill="hold"/>
                                        <p:tgtEl>
                                          <p:spTgt spid="8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4" dur="2000" fill="hold"/>
                                        <p:tgtEl>
                                          <p:spTgt spid="81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75" dur="2000" fill="hold"/>
                                        <p:tgtEl>
                                          <p:spTgt spid="81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6" dur="2000" fill="hold"/>
                                        <p:tgtEl>
                                          <p:spTgt spid="81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8" dur="2000" fill="hold"/>
                                        <p:tgtEl>
                                          <p:spTgt spid="82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79" dur="2000" fill="hold"/>
                                        <p:tgtEl>
                                          <p:spTgt spid="82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0" dur="2000" fill="hold"/>
                                        <p:tgtEl>
                                          <p:spTgt spid="82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8F9EBCC8-205A-46CA-8D05-6228D379B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22BA691-D70E-4DF0-8A23-E2B51E3A3F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ltra-optimized solution to de-risk your 5G deploy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943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1" y="4816800"/>
            <a:ext cx="2847687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Ultra-optimized solution to de-risk your 5G deploy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2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12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xmlns="" id="{C836EC8E-5F24-405B-AED7-22B300A20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00" y="280989"/>
            <a:ext cx="8308800" cy="309351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0792462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| 5G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: Form 3">
            <a:extLst>
              <a:ext uri="{FF2B5EF4-FFF2-40B4-BE49-F238E27FC236}">
                <a16:creationId xmlns:a16="http://schemas.microsoft.com/office/drawing/2014/main" xmlns="" id="{EC37974A-EB65-4063-90F5-71E09E803075}"/>
              </a:ext>
            </a:extLst>
          </p:cNvPr>
          <p:cNvSpPr/>
          <p:nvPr userDrawn="1"/>
        </p:nvSpPr>
        <p:spPr>
          <a:xfrm>
            <a:off x="635175" y="2048977"/>
            <a:ext cx="7924447" cy="1288800"/>
          </a:xfrm>
          <a:custGeom>
            <a:avLst/>
            <a:gdLst>
              <a:gd name="connsiteX0" fmla="*/ 6960911 w 7924447"/>
              <a:gd name="connsiteY0" fmla="*/ 321135 h 1288800"/>
              <a:gd name="connsiteX1" fmla="*/ 6719487 w 7924447"/>
              <a:gd name="connsiteY1" fmla="*/ 779851 h 1288800"/>
              <a:gd name="connsiteX2" fmla="*/ 7204868 w 7924447"/>
              <a:gd name="connsiteY2" fmla="*/ 779851 h 1288800"/>
              <a:gd name="connsiteX3" fmla="*/ 2388009 w 7924447"/>
              <a:gd name="connsiteY3" fmla="*/ 315532 h 1288800"/>
              <a:gd name="connsiteX4" fmla="*/ 2313866 w 7924447"/>
              <a:gd name="connsiteY4" fmla="*/ 389523 h 1288800"/>
              <a:gd name="connsiteX5" fmla="*/ 2313866 w 7924447"/>
              <a:gd name="connsiteY5" fmla="*/ 895278 h 1288800"/>
              <a:gd name="connsiteX6" fmla="*/ 2388009 w 7924447"/>
              <a:gd name="connsiteY6" fmla="*/ 969269 h 1288800"/>
              <a:gd name="connsiteX7" fmla="*/ 3186375 w 7924447"/>
              <a:gd name="connsiteY7" fmla="*/ 969269 h 1288800"/>
              <a:gd name="connsiteX8" fmla="*/ 3260517 w 7924447"/>
              <a:gd name="connsiteY8" fmla="*/ 895278 h 1288800"/>
              <a:gd name="connsiteX9" fmla="*/ 3260517 w 7924447"/>
              <a:gd name="connsiteY9" fmla="*/ 389523 h 1288800"/>
              <a:gd name="connsiteX10" fmla="*/ 3186375 w 7924447"/>
              <a:gd name="connsiteY10" fmla="*/ 315532 h 1288800"/>
              <a:gd name="connsiteX11" fmla="*/ 5545757 w 7924447"/>
              <a:gd name="connsiteY11" fmla="*/ 14419 h 1288800"/>
              <a:gd name="connsiteX12" fmla="*/ 5939564 w 7924447"/>
              <a:gd name="connsiteY12" fmla="*/ 14419 h 1288800"/>
              <a:gd name="connsiteX13" fmla="*/ 5939564 w 7924447"/>
              <a:gd name="connsiteY13" fmla="*/ 1273030 h 1288800"/>
              <a:gd name="connsiteX14" fmla="*/ 5545757 w 7924447"/>
              <a:gd name="connsiteY14" fmla="*/ 1273030 h 1288800"/>
              <a:gd name="connsiteX15" fmla="*/ 3781683 w 7924447"/>
              <a:gd name="connsiteY15" fmla="*/ 14419 h 1288800"/>
              <a:gd name="connsiteX16" fmla="*/ 4175490 w 7924447"/>
              <a:gd name="connsiteY16" fmla="*/ 14419 h 1288800"/>
              <a:gd name="connsiteX17" fmla="*/ 4175490 w 7924447"/>
              <a:gd name="connsiteY17" fmla="*/ 1273030 h 1288800"/>
              <a:gd name="connsiteX18" fmla="*/ 3781683 w 7924447"/>
              <a:gd name="connsiteY18" fmla="*/ 1273030 h 1288800"/>
              <a:gd name="connsiteX19" fmla="*/ 6726931 w 7924447"/>
              <a:gd name="connsiteY19" fmla="*/ 14418 h 1288800"/>
              <a:gd name="connsiteX20" fmla="*/ 7216062 w 7924447"/>
              <a:gd name="connsiteY20" fmla="*/ 14418 h 1288800"/>
              <a:gd name="connsiteX21" fmla="*/ 7924447 w 7924447"/>
              <a:gd name="connsiteY21" fmla="*/ 1273030 h 1288800"/>
              <a:gd name="connsiteX22" fmla="*/ 7467155 w 7924447"/>
              <a:gd name="connsiteY22" fmla="*/ 1273030 h 1288800"/>
              <a:gd name="connsiteX23" fmla="*/ 7349796 w 7924447"/>
              <a:gd name="connsiteY23" fmla="*/ 1052360 h 1288800"/>
              <a:gd name="connsiteX24" fmla="*/ 6576065 w 7924447"/>
              <a:gd name="connsiteY24" fmla="*/ 1052360 h 1288800"/>
              <a:gd name="connsiteX25" fmla="*/ 6459926 w 7924447"/>
              <a:gd name="connsiteY25" fmla="*/ 1273030 h 1288800"/>
              <a:gd name="connsiteX26" fmla="*/ 6011821 w 7924447"/>
              <a:gd name="connsiteY26" fmla="*/ 1273030 h 1288800"/>
              <a:gd name="connsiteX27" fmla="*/ 139469 w 7924447"/>
              <a:gd name="connsiteY27" fmla="*/ 14418 h 1288800"/>
              <a:gd name="connsiteX28" fmla="*/ 657720 w 7924447"/>
              <a:gd name="connsiteY28" fmla="*/ 14418 h 1288800"/>
              <a:gd name="connsiteX29" fmla="*/ 1414558 w 7924447"/>
              <a:gd name="connsiteY29" fmla="*/ 955333 h 1288800"/>
              <a:gd name="connsiteX30" fmla="*/ 1414558 w 7924447"/>
              <a:gd name="connsiteY30" fmla="*/ 14420 h 1288800"/>
              <a:gd name="connsiteX31" fmla="*/ 1793219 w 7924447"/>
              <a:gd name="connsiteY31" fmla="*/ 14420 h 1288800"/>
              <a:gd name="connsiteX32" fmla="*/ 1793219 w 7924447"/>
              <a:gd name="connsiteY32" fmla="*/ 1273030 h 1288800"/>
              <a:gd name="connsiteX33" fmla="*/ 1151296 w 7924447"/>
              <a:gd name="connsiteY33" fmla="*/ 1273030 h 1288800"/>
              <a:gd name="connsiteX34" fmla="*/ 378661 w 7924447"/>
              <a:gd name="connsiteY34" fmla="*/ 311950 h 1288800"/>
              <a:gd name="connsiteX35" fmla="*/ 378661 w 7924447"/>
              <a:gd name="connsiteY35" fmla="*/ 1273030 h 1288800"/>
              <a:gd name="connsiteX36" fmla="*/ 0 w 7924447"/>
              <a:gd name="connsiteY36" fmla="*/ 1273030 h 1288800"/>
              <a:gd name="connsiteX37" fmla="*/ 0 w 7924447"/>
              <a:gd name="connsiteY37" fmla="*/ 14420 h 1288800"/>
              <a:gd name="connsiteX38" fmla="*/ 139470 w 7924447"/>
              <a:gd name="connsiteY38" fmla="*/ 14420 h 1288800"/>
              <a:gd name="connsiteX39" fmla="*/ 4850522 w 7924447"/>
              <a:gd name="connsiteY39" fmla="*/ 14418 h 1288800"/>
              <a:gd name="connsiteX40" fmla="*/ 5385591 w 7924447"/>
              <a:gd name="connsiteY40" fmla="*/ 14418 h 1288800"/>
              <a:gd name="connsiteX41" fmla="*/ 4668730 w 7924447"/>
              <a:gd name="connsiteY41" fmla="*/ 603446 h 1288800"/>
              <a:gd name="connsiteX42" fmla="*/ 5474313 w 7924447"/>
              <a:gd name="connsiteY42" fmla="*/ 1273029 h 1288800"/>
              <a:gd name="connsiteX43" fmla="*/ 4911442 w 7924447"/>
              <a:gd name="connsiteY43" fmla="*/ 1273029 h 1288800"/>
              <a:gd name="connsiteX44" fmla="*/ 4178297 w 7924447"/>
              <a:gd name="connsiteY44" fmla="*/ 616444 h 1288800"/>
              <a:gd name="connsiteX45" fmla="*/ 2308976 w 7924447"/>
              <a:gd name="connsiteY45" fmla="*/ 0 h 1288800"/>
              <a:gd name="connsiteX46" fmla="*/ 3257392 w 7924447"/>
              <a:gd name="connsiteY46" fmla="*/ 0 h 1288800"/>
              <a:gd name="connsiteX47" fmla="*/ 3620245 w 7924447"/>
              <a:gd name="connsiteY47" fmla="*/ 334112 h 1288800"/>
              <a:gd name="connsiteX48" fmla="*/ 3620245 w 7924447"/>
              <a:gd name="connsiteY48" fmla="*/ 950689 h 1288800"/>
              <a:gd name="connsiteX49" fmla="*/ 3261400 w 7924447"/>
              <a:gd name="connsiteY49" fmla="*/ 1284801 h 1288800"/>
              <a:gd name="connsiteX50" fmla="*/ 2333021 w 7924447"/>
              <a:gd name="connsiteY50" fmla="*/ 1288800 h 1288800"/>
              <a:gd name="connsiteX51" fmla="*/ 1954138 w 7924447"/>
              <a:gd name="connsiteY51" fmla="*/ 950689 h 1288800"/>
              <a:gd name="connsiteX52" fmla="*/ 1954138 w 7924447"/>
              <a:gd name="connsiteY52" fmla="*/ 334112 h 1288800"/>
              <a:gd name="connsiteX53" fmla="*/ 2308976 w 7924447"/>
              <a:gd name="connsiteY53" fmla="*/ 0 h 12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924447" h="1288800">
                <a:moveTo>
                  <a:pt x="6960911" y="321135"/>
                </a:moveTo>
                <a:lnTo>
                  <a:pt x="6719487" y="779851"/>
                </a:lnTo>
                <a:lnTo>
                  <a:pt x="7204868" y="779851"/>
                </a:lnTo>
                <a:close/>
                <a:moveTo>
                  <a:pt x="2388009" y="315532"/>
                </a:moveTo>
                <a:cubicBezTo>
                  <a:pt x="2347061" y="315532"/>
                  <a:pt x="2313866" y="348659"/>
                  <a:pt x="2313866" y="389523"/>
                </a:cubicBezTo>
                <a:lnTo>
                  <a:pt x="2313866" y="895278"/>
                </a:lnTo>
                <a:cubicBezTo>
                  <a:pt x="2313866" y="936142"/>
                  <a:pt x="2347061" y="969269"/>
                  <a:pt x="2388009" y="969269"/>
                </a:cubicBezTo>
                <a:lnTo>
                  <a:pt x="3186375" y="969269"/>
                </a:lnTo>
                <a:cubicBezTo>
                  <a:pt x="3227323" y="969269"/>
                  <a:pt x="3260517" y="936142"/>
                  <a:pt x="3260517" y="895278"/>
                </a:cubicBezTo>
                <a:lnTo>
                  <a:pt x="3260517" y="389523"/>
                </a:lnTo>
                <a:cubicBezTo>
                  <a:pt x="3260517" y="348659"/>
                  <a:pt x="3227323" y="315532"/>
                  <a:pt x="3186375" y="315532"/>
                </a:cubicBezTo>
                <a:close/>
                <a:moveTo>
                  <a:pt x="5545757" y="14419"/>
                </a:moveTo>
                <a:lnTo>
                  <a:pt x="5939564" y="14419"/>
                </a:lnTo>
                <a:lnTo>
                  <a:pt x="5939564" y="1273030"/>
                </a:lnTo>
                <a:lnTo>
                  <a:pt x="5545757" y="1273030"/>
                </a:lnTo>
                <a:close/>
                <a:moveTo>
                  <a:pt x="3781683" y="14419"/>
                </a:moveTo>
                <a:lnTo>
                  <a:pt x="4175490" y="14419"/>
                </a:lnTo>
                <a:lnTo>
                  <a:pt x="4175490" y="1273030"/>
                </a:lnTo>
                <a:lnTo>
                  <a:pt x="3781683" y="1273030"/>
                </a:lnTo>
                <a:close/>
                <a:moveTo>
                  <a:pt x="6726931" y="14418"/>
                </a:moveTo>
                <a:lnTo>
                  <a:pt x="7216062" y="14418"/>
                </a:lnTo>
                <a:lnTo>
                  <a:pt x="7924447" y="1273030"/>
                </a:lnTo>
                <a:lnTo>
                  <a:pt x="7467155" y="1273030"/>
                </a:lnTo>
                <a:lnTo>
                  <a:pt x="7349796" y="1052360"/>
                </a:lnTo>
                <a:lnTo>
                  <a:pt x="6576065" y="1052360"/>
                </a:lnTo>
                <a:lnTo>
                  <a:pt x="6459926" y="1273030"/>
                </a:lnTo>
                <a:lnTo>
                  <a:pt x="6011821" y="1273030"/>
                </a:lnTo>
                <a:close/>
                <a:moveTo>
                  <a:pt x="139469" y="14418"/>
                </a:moveTo>
                <a:lnTo>
                  <a:pt x="657720" y="14418"/>
                </a:lnTo>
                <a:lnTo>
                  <a:pt x="1414558" y="955333"/>
                </a:lnTo>
                <a:lnTo>
                  <a:pt x="1414558" y="14420"/>
                </a:lnTo>
                <a:lnTo>
                  <a:pt x="1793219" y="14420"/>
                </a:lnTo>
                <a:lnTo>
                  <a:pt x="1793219" y="1273030"/>
                </a:lnTo>
                <a:lnTo>
                  <a:pt x="1151296" y="1273030"/>
                </a:lnTo>
                <a:lnTo>
                  <a:pt x="378661" y="311950"/>
                </a:lnTo>
                <a:lnTo>
                  <a:pt x="378661" y="1273030"/>
                </a:lnTo>
                <a:lnTo>
                  <a:pt x="0" y="1273030"/>
                </a:lnTo>
                <a:lnTo>
                  <a:pt x="0" y="14420"/>
                </a:lnTo>
                <a:lnTo>
                  <a:pt x="139470" y="14420"/>
                </a:lnTo>
                <a:close/>
                <a:moveTo>
                  <a:pt x="4850522" y="14418"/>
                </a:moveTo>
                <a:lnTo>
                  <a:pt x="5385591" y="14418"/>
                </a:lnTo>
                <a:lnTo>
                  <a:pt x="4668730" y="603446"/>
                </a:lnTo>
                <a:lnTo>
                  <a:pt x="5474313" y="1273029"/>
                </a:lnTo>
                <a:lnTo>
                  <a:pt x="4911442" y="1273029"/>
                </a:lnTo>
                <a:lnTo>
                  <a:pt x="4178297" y="616444"/>
                </a:lnTo>
                <a:close/>
                <a:moveTo>
                  <a:pt x="2308976" y="0"/>
                </a:moveTo>
                <a:lnTo>
                  <a:pt x="3257392" y="0"/>
                </a:lnTo>
                <a:cubicBezTo>
                  <a:pt x="3442298" y="0"/>
                  <a:pt x="3624253" y="119593"/>
                  <a:pt x="3620245" y="334112"/>
                </a:cubicBezTo>
                <a:lnTo>
                  <a:pt x="3620245" y="950689"/>
                </a:lnTo>
                <a:cubicBezTo>
                  <a:pt x="3620245" y="1159210"/>
                  <a:pt x="3446305" y="1284801"/>
                  <a:pt x="3261400" y="1284801"/>
                </a:cubicBezTo>
                <a:lnTo>
                  <a:pt x="2333021" y="1288800"/>
                </a:lnTo>
                <a:cubicBezTo>
                  <a:pt x="2148115" y="1286801"/>
                  <a:pt x="1954138" y="1181205"/>
                  <a:pt x="1954138" y="950689"/>
                </a:cubicBezTo>
                <a:lnTo>
                  <a:pt x="1954138" y="334112"/>
                </a:lnTo>
                <a:cubicBezTo>
                  <a:pt x="1962153" y="113594"/>
                  <a:pt x="2124071" y="0"/>
                  <a:pt x="2308976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endParaRPr lang="en-US" sz="1811" dirty="0">
              <a:latin typeface="+mn-lt"/>
            </a:endParaRPr>
          </a:p>
        </p:txBody>
      </p:sp>
      <p:sp>
        <p:nvSpPr>
          <p:cNvPr id="3" name="Footer Placeholder 27">
            <a:extLst>
              <a:ext uri="{FF2B5EF4-FFF2-40B4-BE49-F238E27FC236}">
                <a16:creationId xmlns:a16="http://schemas.microsoft.com/office/drawing/2014/main" xmlns="" id="{D490AD9A-DCC8-4BBC-88DF-7609CEC9C4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520265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accent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Ultra-optimized solution to de-risk your 5G deployment</a:t>
            </a:r>
            <a:endParaRPr lang="en-US" dirty="0"/>
          </a:p>
        </p:txBody>
      </p:sp>
      <p:sp>
        <p:nvSpPr>
          <p:cNvPr id="5" name="Rechteck 4">
            <a:hlinkClick r:id="" action="ppaction://hlinkshowjump?jump=firstslide"/>
            <a:extLst>
              <a:ext uri="{FF2B5EF4-FFF2-40B4-BE49-F238E27FC236}">
                <a16:creationId xmlns:a16="http://schemas.microsoft.com/office/drawing/2014/main" xmlns="" id="{B62B5399-5869-4393-8FE9-5011564A3C41}"/>
              </a:ext>
            </a:extLst>
          </p:cNvPr>
          <p:cNvSpPr/>
          <p:nvPr userDrawn="1"/>
        </p:nvSpPr>
        <p:spPr>
          <a:xfrm>
            <a:off x="0" y="1521149"/>
            <a:ext cx="9107770" cy="2101202"/>
          </a:xfrm>
          <a:prstGeom prst="rect">
            <a:avLst/>
          </a:prstGeom>
          <a:solidFill>
            <a:srgbClr val="FFFF00">
              <a:alpha val="0"/>
            </a:srgbClr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7" dirty="0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42324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| clas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xmlns="" id="{674B1E84-967A-49BF-B8A7-C56D37570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182" y="2031752"/>
            <a:ext cx="2565641" cy="1080000"/>
          </a:xfrm>
          <a:prstGeom prst="rect">
            <a:avLst/>
          </a:prstGeom>
        </p:spPr>
      </p:pic>
      <p:sp>
        <p:nvSpPr>
          <p:cNvPr id="3" name="Rechteck 2">
            <a:hlinkClick r:id="" action="ppaction://hlinkshowjump?jump=firstslide"/>
            <a:extLst>
              <a:ext uri="{FF2B5EF4-FFF2-40B4-BE49-F238E27FC236}">
                <a16:creationId xmlns:a16="http://schemas.microsoft.com/office/drawing/2014/main" xmlns="" id="{1D598C98-9A42-4172-B564-7924F5D712E4}"/>
              </a:ext>
            </a:extLst>
          </p:cNvPr>
          <p:cNvSpPr/>
          <p:nvPr userDrawn="1"/>
        </p:nvSpPr>
        <p:spPr>
          <a:xfrm>
            <a:off x="3485087" y="2332831"/>
            <a:ext cx="2137596" cy="477838"/>
          </a:xfrm>
          <a:prstGeom prst="rect">
            <a:avLst/>
          </a:prstGeom>
          <a:solidFill>
            <a:srgbClr val="FFFF00">
              <a:alpha val="0"/>
            </a:srgbClr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7" dirty="0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78815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Rechteck: abgerundete Ecken 260">
            <a:extLst>
              <a:ext uri="{FF2B5EF4-FFF2-40B4-BE49-F238E27FC236}">
                <a16:creationId xmlns:a16="http://schemas.microsoft.com/office/drawing/2014/main" xmlns="" id="{039E2D4C-9DCD-471F-9434-597D3BA6CE42}"/>
              </a:ext>
            </a:extLst>
          </p:cNvPr>
          <p:cNvSpPr/>
          <p:nvPr userDrawn="1"/>
        </p:nvSpPr>
        <p:spPr>
          <a:xfrm>
            <a:off x="681445" y="1277961"/>
            <a:ext cx="2572075" cy="25727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>
            <a:noFill/>
            <a:prstDash val="solid"/>
          </a:ln>
          <a:effectLst>
            <a:innerShdw blurRad="114300">
              <a:schemeClr val="accent2">
                <a:alpha val="7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lang="en-GB" sz="906" dirty="0">
              <a:solidFill>
                <a:schemeClr val="bg2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grpSp>
        <p:nvGrpSpPr>
          <p:cNvPr id="285" name="Gruppieren 297">
            <a:extLst>
              <a:ext uri="{FF2B5EF4-FFF2-40B4-BE49-F238E27FC236}">
                <a16:creationId xmlns:a16="http://schemas.microsoft.com/office/drawing/2014/main" xmlns="" id="{FD2A1660-A1BE-422D-BE9F-485F10CA74C0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1694069" y="1937125"/>
            <a:ext cx="468401" cy="222769"/>
            <a:chOff x="1585913" y="981550"/>
            <a:chExt cx="5862636" cy="2721294"/>
          </a:xfrm>
          <a:noFill/>
        </p:grpSpPr>
        <p:sp>
          <p:nvSpPr>
            <p:cNvPr id="286" name="Trapezoid 285">
              <a:extLst>
                <a:ext uri="{FF2B5EF4-FFF2-40B4-BE49-F238E27FC236}">
                  <a16:creationId xmlns:a16="http://schemas.microsoft.com/office/drawing/2014/main" xmlns="" id="{EA501ACA-3706-4F11-8FCF-E2A779A53485}"/>
                </a:ext>
              </a:extLst>
            </p:cNvPr>
            <p:cNvSpPr/>
            <p:nvPr/>
          </p:nvSpPr>
          <p:spPr>
            <a:xfrm flipV="1">
              <a:off x="1585913" y="981550"/>
              <a:ext cx="5862636" cy="2721293"/>
            </a:xfrm>
            <a:prstGeom prst="trapezoid">
              <a:avLst/>
            </a:pr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287" name="Freihandform: Form 404">
              <a:extLst>
                <a:ext uri="{FF2B5EF4-FFF2-40B4-BE49-F238E27FC236}">
                  <a16:creationId xmlns:a16="http://schemas.microsoft.com/office/drawing/2014/main" xmlns="" id="{06961540-9081-414A-9BC4-FABF0C476DA2}"/>
                </a:ext>
              </a:extLst>
            </p:cNvPr>
            <p:cNvSpPr/>
            <p:nvPr/>
          </p:nvSpPr>
          <p:spPr>
            <a:xfrm>
              <a:off x="2772271" y="1122998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288" name="Freihandform: Form 405">
              <a:extLst>
                <a:ext uri="{FF2B5EF4-FFF2-40B4-BE49-F238E27FC236}">
                  <a16:creationId xmlns:a16="http://schemas.microsoft.com/office/drawing/2014/main" xmlns="" id="{8D0D16C4-A3BA-494A-B6E5-BD64058BF630}"/>
                </a:ext>
              </a:extLst>
            </p:cNvPr>
            <p:cNvSpPr/>
            <p:nvPr/>
          </p:nvSpPr>
          <p:spPr>
            <a:xfrm>
              <a:off x="2002632" y="1122998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289" name="Freihandform: Form 406">
              <a:extLst>
                <a:ext uri="{FF2B5EF4-FFF2-40B4-BE49-F238E27FC236}">
                  <a16:creationId xmlns:a16="http://schemas.microsoft.com/office/drawing/2014/main" xmlns="" id="{ED551EFC-78DF-44B7-B24B-5484F1F006E1}"/>
                </a:ext>
              </a:extLst>
            </p:cNvPr>
            <p:cNvSpPr/>
            <p:nvPr/>
          </p:nvSpPr>
          <p:spPr>
            <a:xfrm>
              <a:off x="4311549" y="1122998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290" name="Freihandform: Form 407">
              <a:extLst>
                <a:ext uri="{FF2B5EF4-FFF2-40B4-BE49-F238E27FC236}">
                  <a16:creationId xmlns:a16="http://schemas.microsoft.com/office/drawing/2014/main" xmlns="" id="{B583D166-F06A-40B2-BC12-26C788802DF0}"/>
                </a:ext>
              </a:extLst>
            </p:cNvPr>
            <p:cNvSpPr/>
            <p:nvPr/>
          </p:nvSpPr>
          <p:spPr>
            <a:xfrm>
              <a:off x="3541910" y="1122998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291" name="Freihandform: Form 408">
              <a:extLst>
                <a:ext uri="{FF2B5EF4-FFF2-40B4-BE49-F238E27FC236}">
                  <a16:creationId xmlns:a16="http://schemas.microsoft.com/office/drawing/2014/main" xmlns="" id="{67AB5430-88AF-4E5E-ADAD-50D84FDDF793}"/>
                </a:ext>
              </a:extLst>
            </p:cNvPr>
            <p:cNvSpPr/>
            <p:nvPr/>
          </p:nvSpPr>
          <p:spPr>
            <a:xfrm>
              <a:off x="5850827" y="1122998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292" name="Freihandform: Form 409">
              <a:extLst>
                <a:ext uri="{FF2B5EF4-FFF2-40B4-BE49-F238E27FC236}">
                  <a16:creationId xmlns:a16="http://schemas.microsoft.com/office/drawing/2014/main" xmlns="" id="{13B1EEC3-901B-4624-A5F6-1C636D04313E}"/>
                </a:ext>
              </a:extLst>
            </p:cNvPr>
            <p:cNvSpPr/>
            <p:nvPr/>
          </p:nvSpPr>
          <p:spPr>
            <a:xfrm>
              <a:off x="5081188" y="1122998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293" name="Freihandform: Form 410">
              <a:extLst>
                <a:ext uri="{FF2B5EF4-FFF2-40B4-BE49-F238E27FC236}">
                  <a16:creationId xmlns:a16="http://schemas.microsoft.com/office/drawing/2014/main" xmlns="" id="{79B55AA8-E45C-471E-9E48-ACDAEF99D4CC}"/>
                </a:ext>
              </a:extLst>
            </p:cNvPr>
            <p:cNvSpPr/>
            <p:nvPr/>
          </p:nvSpPr>
          <p:spPr>
            <a:xfrm>
              <a:off x="6620469" y="1122998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294" name="Freihandform: Form 461">
              <a:extLst>
                <a:ext uri="{FF2B5EF4-FFF2-40B4-BE49-F238E27FC236}">
                  <a16:creationId xmlns:a16="http://schemas.microsoft.com/office/drawing/2014/main" xmlns="" id="{AE22F921-8D79-4B62-83FB-34AC7E6DE9E7}"/>
                </a:ext>
              </a:extLst>
            </p:cNvPr>
            <p:cNvSpPr/>
            <p:nvPr/>
          </p:nvSpPr>
          <p:spPr>
            <a:xfrm>
              <a:off x="2360961" y="2020014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295" name="Freihandform: Form 462">
              <a:extLst>
                <a:ext uri="{FF2B5EF4-FFF2-40B4-BE49-F238E27FC236}">
                  <a16:creationId xmlns:a16="http://schemas.microsoft.com/office/drawing/2014/main" xmlns="" id="{D64B908F-71E0-4752-A124-D1EC9D4F429D}"/>
                </a:ext>
              </a:extLst>
            </p:cNvPr>
            <p:cNvSpPr/>
            <p:nvPr/>
          </p:nvSpPr>
          <p:spPr>
            <a:xfrm>
              <a:off x="3900239" y="2020014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296" name="Freihandform: Form 484">
              <a:extLst>
                <a:ext uri="{FF2B5EF4-FFF2-40B4-BE49-F238E27FC236}">
                  <a16:creationId xmlns:a16="http://schemas.microsoft.com/office/drawing/2014/main" xmlns="" id="{08807C0C-EF55-403F-A1CF-9B070B0578C6}"/>
                </a:ext>
              </a:extLst>
            </p:cNvPr>
            <p:cNvSpPr/>
            <p:nvPr/>
          </p:nvSpPr>
          <p:spPr>
            <a:xfrm>
              <a:off x="3130600" y="2020014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297" name="Freihandform: Form 485">
              <a:extLst>
                <a:ext uri="{FF2B5EF4-FFF2-40B4-BE49-F238E27FC236}">
                  <a16:creationId xmlns:a16="http://schemas.microsoft.com/office/drawing/2014/main" xmlns="" id="{4F65E7E0-2BA3-4EF7-9BE2-F02E7651C4C0}"/>
                </a:ext>
              </a:extLst>
            </p:cNvPr>
            <p:cNvSpPr/>
            <p:nvPr/>
          </p:nvSpPr>
          <p:spPr>
            <a:xfrm>
              <a:off x="5439517" y="2020014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298" name="Freihandform: Form 486">
              <a:extLst>
                <a:ext uri="{FF2B5EF4-FFF2-40B4-BE49-F238E27FC236}">
                  <a16:creationId xmlns:a16="http://schemas.microsoft.com/office/drawing/2014/main" xmlns="" id="{EDF7C013-980B-42E4-B9BB-AD2267E28518}"/>
                </a:ext>
              </a:extLst>
            </p:cNvPr>
            <p:cNvSpPr/>
            <p:nvPr/>
          </p:nvSpPr>
          <p:spPr>
            <a:xfrm>
              <a:off x="4669878" y="2020014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299" name="Freihandform: Form 487">
              <a:extLst>
                <a:ext uri="{FF2B5EF4-FFF2-40B4-BE49-F238E27FC236}">
                  <a16:creationId xmlns:a16="http://schemas.microsoft.com/office/drawing/2014/main" xmlns="" id="{3C1BDC6D-F751-4303-958B-AD697CD4C718}"/>
                </a:ext>
              </a:extLst>
            </p:cNvPr>
            <p:cNvSpPr/>
            <p:nvPr/>
          </p:nvSpPr>
          <p:spPr>
            <a:xfrm>
              <a:off x="6209159" y="2020014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  <a:gd name="connsiteX0" fmla="*/ 1191 w 495300"/>
                <a:gd name="connsiteY0" fmla="*/ 516731 h 516731"/>
                <a:gd name="connsiteX1" fmla="*/ 0 w 495300"/>
                <a:gd name="connsiteY1" fmla="*/ 1 h 516731"/>
                <a:gd name="connsiteX2" fmla="*/ 0 w 495300"/>
                <a:gd name="connsiteY2" fmla="*/ 0 h 516731"/>
                <a:gd name="connsiteX3" fmla="*/ 495300 w 495300"/>
                <a:gd name="connsiteY3" fmla="*/ 0 h 516731"/>
                <a:gd name="connsiteX4" fmla="*/ 495300 w 495300"/>
                <a:gd name="connsiteY4" fmla="*/ 1 h 516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0" h="516731">
                  <a:moveTo>
                    <a:pt x="1191" y="516731"/>
                  </a:moveTo>
                  <a:cubicBezTo>
                    <a:pt x="0" y="344488"/>
                    <a:pt x="1191" y="172244"/>
                    <a:pt x="0" y="1"/>
                  </a:cubicBezTo>
                  <a:lnTo>
                    <a:pt x="0" y="0"/>
                  </a:lnTo>
                  <a:lnTo>
                    <a:pt x="495300" y="0"/>
                  </a:lnTo>
                  <a:lnTo>
                    <a:pt x="495300" y="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cxnSp>
          <p:nvCxnSpPr>
            <p:cNvPr id="300" name="Gerader Verbinder 488">
              <a:extLst>
                <a:ext uri="{FF2B5EF4-FFF2-40B4-BE49-F238E27FC236}">
                  <a16:creationId xmlns:a16="http://schemas.microsoft.com/office/drawing/2014/main" xmlns="" id="{5AAE0114-EEF4-4FF6-9F54-96D13CC4E779}"/>
                </a:ext>
              </a:extLst>
            </p:cNvPr>
            <p:cNvCxnSpPr>
              <a:cxnSpLocks/>
            </p:cNvCxnSpPr>
            <p:nvPr/>
          </p:nvCxnSpPr>
          <p:spPr>
            <a:xfrm>
              <a:off x="2034302" y="2795110"/>
              <a:ext cx="4968240" cy="0"/>
            </a:xfrm>
            <a:prstGeom prst="line">
              <a:avLst/>
            </a:pr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</p:cxnSp>
        <p:cxnSp>
          <p:nvCxnSpPr>
            <p:cNvPr id="301" name="Gerader Verbinder 489">
              <a:extLst>
                <a:ext uri="{FF2B5EF4-FFF2-40B4-BE49-F238E27FC236}">
                  <a16:creationId xmlns:a16="http://schemas.microsoft.com/office/drawing/2014/main" xmlns="" id="{27CE3C92-90F3-45F9-A1F8-2AA072970195}"/>
                </a:ext>
              </a:extLst>
            </p:cNvPr>
            <p:cNvCxnSpPr>
              <a:cxnSpLocks/>
            </p:cNvCxnSpPr>
            <p:nvPr/>
          </p:nvCxnSpPr>
          <p:spPr>
            <a:xfrm>
              <a:off x="1811657" y="1887379"/>
              <a:ext cx="5410674" cy="0"/>
            </a:xfrm>
            <a:prstGeom prst="line">
              <a:avLst/>
            </a:pr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</p:cxnSp>
        <p:sp>
          <p:nvSpPr>
            <p:cNvPr id="302" name="Freihandform: Form 491">
              <a:extLst>
                <a:ext uri="{FF2B5EF4-FFF2-40B4-BE49-F238E27FC236}">
                  <a16:creationId xmlns:a16="http://schemas.microsoft.com/office/drawing/2014/main" xmlns="" id="{BDB8C313-2861-4635-A065-C12F6D1A3F18}"/>
                </a:ext>
              </a:extLst>
            </p:cNvPr>
            <p:cNvSpPr/>
            <p:nvPr/>
          </p:nvSpPr>
          <p:spPr>
            <a:xfrm>
              <a:off x="3130601" y="2938463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300" h="764381">
                  <a:moveTo>
                    <a:pt x="1191" y="764381"/>
                  </a:moveTo>
                  <a:cubicBezTo>
                    <a:pt x="0" y="592138"/>
                    <a:pt x="1191" y="419894"/>
                    <a:pt x="0" y="247651"/>
                  </a:cubicBezTo>
                  <a:lnTo>
                    <a:pt x="0" y="247650"/>
                  </a:lnTo>
                  <a:cubicBezTo>
                    <a:pt x="0" y="110877"/>
                    <a:pt x="110877" y="0"/>
                    <a:pt x="247650" y="0"/>
                  </a:cubicBezTo>
                  <a:cubicBezTo>
                    <a:pt x="384423" y="0"/>
                    <a:pt x="495300" y="110877"/>
                    <a:pt x="495300" y="247650"/>
                  </a:cubicBezTo>
                  <a:lnTo>
                    <a:pt x="495300" y="24765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303" name="Freihandform: Form 497">
              <a:extLst>
                <a:ext uri="{FF2B5EF4-FFF2-40B4-BE49-F238E27FC236}">
                  <a16:creationId xmlns:a16="http://schemas.microsoft.com/office/drawing/2014/main" xmlns="" id="{3EEC94B4-2395-4C75-87B8-B17A97F6F4C6}"/>
                </a:ext>
              </a:extLst>
            </p:cNvPr>
            <p:cNvSpPr/>
            <p:nvPr/>
          </p:nvSpPr>
          <p:spPr>
            <a:xfrm>
              <a:off x="3900241" y="2938463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300" h="764381">
                  <a:moveTo>
                    <a:pt x="1191" y="764381"/>
                  </a:moveTo>
                  <a:cubicBezTo>
                    <a:pt x="0" y="592138"/>
                    <a:pt x="1191" y="419894"/>
                    <a:pt x="0" y="247651"/>
                  </a:cubicBezTo>
                  <a:lnTo>
                    <a:pt x="0" y="247650"/>
                  </a:lnTo>
                  <a:cubicBezTo>
                    <a:pt x="0" y="110877"/>
                    <a:pt x="110877" y="0"/>
                    <a:pt x="247650" y="0"/>
                  </a:cubicBezTo>
                  <a:cubicBezTo>
                    <a:pt x="384423" y="0"/>
                    <a:pt x="495300" y="110877"/>
                    <a:pt x="495300" y="247650"/>
                  </a:cubicBezTo>
                  <a:lnTo>
                    <a:pt x="495300" y="24765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304" name="Freihandform: Form 498">
              <a:extLst>
                <a:ext uri="{FF2B5EF4-FFF2-40B4-BE49-F238E27FC236}">
                  <a16:creationId xmlns:a16="http://schemas.microsoft.com/office/drawing/2014/main" xmlns="" id="{03E5DF5B-CCEF-42CE-AA32-FD81530B1CD0}"/>
                </a:ext>
              </a:extLst>
            </p:cNvPr>
            <p:cNvSpPr/>
            <p:nvPr/>
          </p:nvSpPr>
          <p:spPr>
            <a:xfrm>
              <a:off x="4669881" y="2938463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300" h="764381">
                  <a:moveTo>
                    <a:pt x="1191" y="764381"/>
                  </a:moveTo>
                  <a:cubicBezTo>
                    <a:pt x="0" y="592138"/>
                    <a:pt x="1191" y="419894"/>
                    <a:pt x="0" y="247651"/>
                  </a:cubicBezTo>
                  <a:lnTo>
                    <a:pt x="0" y="247650"/>
                  </a:lnTo>
                  <a:cubicBezTo>
                    <a:pt x="0" y="110877"/>
                    <a:pt x="110877" y="0"/>
                    <a:pt x="247650" y="0"/>
                  </a:cubicBezTo>
                  <a:cubicBezTo>
                    <a:pt x="384423" y="0"/>
                    <a:pt x="495300" y="110877"/>
                    <a:pt x="495300" y="247650"/>
                  </a:cubicBezTo>
                  <a:lnTo>
                    <a:pt x="495300" y="24765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305" name="Freihandform: Form 503">
              <a:extLst>
                <a:ext uri="{FF2B5EF4-FFF2-40B4-BE49-F238E27FC236}">
                  <a16:creationId xmlns:a16="http://schemas.microsoft.com/office/drawing/2014/main" xmlns="" id="{45F6FD14-3048-4627-B336-F98F8C0F86D8}"/>
                </a:ext>
              </a:extLst>
            </p:cNvPr>
            <p:cNvSpPr/>
            <p:nvPr/>
          </p:nvSpPr>
          <p:spPr>
            <a:xfrm>
              <a:off x="5439521" y="2938463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300" h="764381">
                  <a:moveTo>
                    <a:pt x="1191" y="764381"/>
                  </a:moveTo>
                  <a:cubicBezTo>
                    <a:pt x="0" y="592138"/>
                    <a:pt x="1191" y="419894"/>
                    <a:pt x="0" y="247651"/>
                  </a:cubicBezTo>
                  <a:lnTo>
                    <a:pt x="0" y="247650"/>
                  </a:lnTo>
                  <a:cubicBezTo>
                    <a:pt x="0" y="110877"/>
                    <a:pt x="110877" y="0"/>
                    <a:pt x="247650" y="0"/>
                  </a:cubicBezTo>
                  <a:cubicBezTo>
                    <a:pt x="384423" y="0"/>
                    <a:pt x="495300" y="110877"/>
                    <a:pt x="495300" y="247650"/>
                  </a:cubicBezTo>
                  <a:lnTo>
                    <a:pt x="495300" y="24765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306" name="Freihandform: Form 504">
              <a:extLst>
                <a:ext uri="{FF2B5EF4-FFF2-40B4-BE49-F238E27FC236}">
                  <a16:creationId xmlns:a16="http://schemas.microsoft.com/office/drawing/2014/main" xmlns="" id="{4842D1C1-BD0E-485D-AEB2-E642654F62C7}"/>
                </a:ext>
              </a:extLst>
            </p:cNvPr>
            <p:cNvSpPr/>
            <p:nvPr/>
          </p:nvSpPr>
          <p:spPr>
            <a:xfrm>
              <a:off x="6209159" y="2938463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300" h="764381">
                  <a:moveTo>
                    <a:pt x="1191" y="764381"/>
                  </a:moveTo>
                  <a:cubicBezTo>
                    <a:pt x="0" y="592138"/>
                    <a:pt x="1191" y="419894"/>
                    <a:pt x="0" y="247651"/>
                  </a:cubicBezTo>
                  <a:lnTo>
                    <a:pt x="0" y="247650"/>
                  </a:lnTo>
                  <a:cubicBezTo>
                    <a:pt x="0" y="110877"/>
                    <a:pt x="110877" y="0"/>
                    <a:pt x="247650" y="0"/>
                  </a:cubicBezTo>
                  <a:cubicBezTo>
                    <a:pt x="384423" y="0"/>
                    <a:pt x="495300" y="110877"/>
                    <a:pt x="495300" y="247650"/>
                  </a:cubicBezTo>
                  <a:lnTo>
                    <a:pt x="495300" y="24765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307" name="Freihandform: Form 505">
              <a:extLst>
                <a:ext uri="{FF2B5EF4-FFF2-40B4-BE49-F238E27FC236}">
                  <a16:creationId xmlns:a16="http://schemas.microsoft.com/office/drawing/2014/main" xmlns="" id="{6D47FF02-7B57-4C26-8D80-03239F637E2E}"/>
                </a:ext>
              </a:extLst>
            </p:cNvPr>
            <p:cNvSpPr/>
            <p:nvPr/>
          </p:nvSpPr>
          <p:spPr>
            <a:xfrm>
              <a:off x="2360961" y="2938463"/>
              <a:ext cx="495300" cy="764381"/>
            </a:xfrm>
            <a:custGeom>
              <a:avLst/>
              <a:gdLst>
                <a:gd name="connsiteX0" fmla="*/ 247650 w 495300"/>
                <a:gd name="connsiteY0" fmla="*/ 0 h 247651"/>
                <a:gd name="connsiteX1" fmla="*/ 495300 w 495300"/>
                <a:gd name="connsiteY1" fmla="*/ 247650 h 247651"/>
                <a:gd name="connsiteX2" fmla="*/ 495300 w 495300"/>
                <a:gd name="connsiteY2" fmla="*/ 247651 h 247651"/>
                <a:gd name="connsiteX3" fmla="*/ 0 w 495300"/>
                <a:gd name="connsiteY3" fmla="*/ 247651 h 247651"/>
                <a:gd name="connsiteX4" fmla="*/ 0 w 495300"/>
                <a:gd name="connsiteY4" fmla="*/ 247650 h 247651"/>
                <a:gd name="connsiteX5" fmla="*/ 247650 w 495300"/>
                <a:gd name="connsiteY5" fmla="*/ 0 h 247651"/>
                <a:gd name="connsiteX0" fmla="*/ 248841 w 496491"/>
                <a:gd name="connsiteY0" fmla="*/ 0 h 759618"/>
                <a:gd name="connsiteX1" fmla="*/ 496491 w 496491"/>
                <a:gd name="connsiteY1" fmla="*/ 247650 h 759618"/>
                <a:gd name="connsiteX2" fmla="*/ 496491 w 496491"/>
                <a:gd name="connsiteY2" fmla="*/ 247651 h 759618"/>
                <a:gd name="connsiteX3" fmla="*/ 0 w 496491"/>
                <a:gd name="connsiteY3" fmla="*/ 759618 h 759618"/>
                <a:gd name="connsiteX4" fmla="*/ 1191 w 496491"/>
                <a:gd name="connsiteY4" fmla="*/ 247651 h 759618"/>
                <a:gd name="connsiteX5" fmla="*/ 1191 w 496491"/>
                <a:gd name="connsiteY5" fmla="*/ 247650 h 759618"/>
                <a:gd name="connsiteX6" fmla="*/ 248841 w 496491"/>
                <a:gd name="connsiteY6" fmla="*/ 0 h 759618"/>
                <a:gd name="connsiteX0" fmla="*/ 248841 w 515315"/>
                <a:gd name="connsiteY0" fmla="*/ 0 h 795422"/>
                <a:gd name="connsiteX1" fmla="*/ 496491 w 515315"/>
                <a:gd name="connsiteY1" fmla="*/ 247650 h 795422"/>
                <a:gd name="connsiteX2" fmla="*/ 496491 w 515315"/>
                <a:gd name="connsiteY2" fmla="*/ 247651 h 795422"/>
                <a:gd name="connsiteX3" fmla="*/ 481013 w 515315"/>
                <a:gd name="connsiteY3" fmla="*/ 745330 h 795422"/>
                <a:gd name="connsiteX4" fmla="*/ 0 w 515315"/>
                <a:gd name="connsiteY4" fmla="*/ 759618 h 795422"/>
                <a:gd name="connsiteX5" fmla="*/ 1191 w 515315"/>
                <a:gd name="connsiteY5" fmla="*/ 247651 h 795422"/>
                <a:gd name="connsiteX6" fmla="*/ 1191 w 515315"/>
                <a:gd name="connsiteY6" fmla="*/ 247650 h 795422"/>
                <a:gd name="connsiteX7" fmla="*/ 248841 w 515315"/>
                <a:gd name="connsiteY7" fmla="*/ 0 h 795422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72453"/>
                <a:gd name="connsiteY0" fmla="*/ 759618 h 836770"/>
                <a:gd name="connsiteX1" fmla="*/ 1191 w 572453"/>
                <a:gd name="connsiteY1" fmla="*/ 247651 h 836770"/>
                <a:gd name="connsiteX2" fmla="*/ 1191 w 572453"/>
                <a:gd name="connsiteY2" fmla="*/ 247650 h 836770"/>
                <a:gd name="connsiteX3" fmla="*/ 248841 w 572453"/>
                <a:gd name="connsiteY3" fmla="*/ 0 h 836770"/>
                <a:gd name="connsiteX4" fmla="*/ 496491 w 572453"/>
                <a:gd name="connsiteY4" fmla="*/ 247650 h 836770"/>
                <a:gd name="connsiteX5" fmla="*/ 496491 w 572453"/>
                <a:gd name="connsiteY5" fmla="*/ 247651 h 836770"/>
                <a:gd name="connsiteX6" fmla="*/ 572453 w 572453"/>
                <a:gd name="connsiteY6" fmla="*/ 836770 h 836770"/>
                <a:gd name="connsiteX0" fmla="*/ 0 w 501016"/>
                <a:gd name="connsiteY0" fmla="*/ 759618 h 765333"/>
                <a:gd name="connsiteX1" fmla="*/ 1191 w 501016"/>
                <a:gd name="connsiteY1" fmla="*/ 247651 h 765333"/>
                <a:gd name="connsiteX2" fmla="*/ 1191 w 501016"/>
                <a:gd name="connsiteY2" fmla="*/ 247650 h 765333"/>
                <a:gd name="connsiteX3" fmla="*/ 248841 w 501016"/>
                <a:gd name="connsiteY3" fmla="*/ 0 h 765333"/>
                <a:gd name="connsiteX4" fmla="*/ 496491 w 501016"/>
                <a:gd name="connsiteY4" fmla="*/ 247650 h 765333"/>
                <a:gd name="connsiteX5" fmla="*/ 496491 w 501016"/>
                <a:gd name="connsiteY5" fmla="*/ 247651 h 765333"/>
                <a:gd name="connsiteX6" fmla="*/ 501016 w 501016"/>
                <a:gd name="connsiteY6" fmla="*/ 765333 h 765333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0571"/>
                <a:gd name="connsiteX1" fmla="*/ 1191 w 498635"/>
                <a:gd name="connsiteY1" fmla="*/ 247651 h 760571"/>
                <a:gd name="connsiteX2" fmla="*/ 1191 w 498635"/>
                <a:gd name="connsiteY2" fmla="*/ 247650 h 760571"/>
                <a:gd name="connsiteX3" fmla="*/ 248841 w 498635"/>
                <a:gd name="connsiteY3" fmla="*/ 0 h 760571"/>
                <a:gd name="connsiteX4" fmla="*/ 496491 w 498635"/>
                <a:gd name="connsiteY4" fmla="*/ 247650 h 760571"/>
                <a:gd name="connsiteX5" fmla="*/ 496491 w 498635"/>
                <a:gd name="connsiteY5" fmla="*/ 247651 h 760571"/>
                <a:gd name="connsiteX6" fmla="*/ 498635 w 498635"/>
                <a:gd name="connsiteY6" fmla="*/ 760571 h 760571"/>
                <a:gd name="connsiteX0" fmla="*/ 0 w 498635"/>
                <a:gd name="connsiteY0" fmla="*/ 759618 h 762953"/>
                <a:gd name="connsiteX1" fmla="*/ 1191 w 498635"/>
                <a:gd name="connsiteY1" fmla="*/ 247651 h 762953"/>
                <a:gd name="connsiteX2" fmla="*/ 1191 w 498635"/>
                <a:gd name="connsiteY2" fmla="*/ 247650 h 762953"/>
                <a:gd name="connsiteX3" fmla="*/ 248841 w 498635"/>
                <a:gd name="connsiteY3" fmla="*/ 0 h 762953"/>
                <a:gd name="connsiteX4" fmla="*/ 496491 w 498635"/>
                <a:gd name="connsiteY4" fmla="*/ 247650 h 762953"/>
                <a:gd name="connsiteX5" fmla="*/ 496491 w 498635"/>
                <a:gd name="connsiteY5" fmla="*/ 247651 h 762953"/>
                <a:gd name="connsiteX6" fmla="*/ 498635 w 498635"/>
                <a:gd name="connsiteY6" fmla="*/ 762953 h 762953"/>
                <a:gd name="connsiteX0" fmla="*/ 0 w 496900"/>
                <a:gd name="connsiteY0" fmla="*/ 759618 h 767715"/>
                <a:gd name="connsiteX1" fmla="*/ 1191 w 496900"/>
                <a:gd name="connsiteY1" fmla="*/ 247651 h 767715"/>
                <a:gd name="connsiteX2" fmla="*/ 1191 w 496900"/>
                <a:gd name="connsiteY2" fmla="*/ 247650 h 767715"/>
                <a:gd name="connsiteX3" fmla="*/ 248841 w 496900"/>
                <a:gd name="connsiteY3" fmla="*/ 0 h 767715"/>
                <a:gd name="connsiteX4" fmla="*/ 496491 w 496900"/>
                <a:gd name="connsiteY4" fmla="*/ 247650 h 767715"/>
                <a:gd name="connsiteX5" fmla="*/ 496491 w 496900"/>
                <a:gd name="connsiteY5" fmla="*/ 247651 h 767715"/>
                <a:gd name="connsiteX6" fmla="*/ 496253 w 496900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3572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709"/>
                <a:gd name="connsiteY0" fmla="*/ 764381 h 767715"/>
                <a:gd name="connsiteX1" fmla="*/ 0 w 495709"/>
                <a:gd name="connsiteY1" fmla="*/ 247651 h 767715"/>
                <a:gd name="connsiteX2" fmla="*/ 0 w 495709"/>
                <a:gd name="connsiteY2" fmla="*/ 247650 h 767715"/>
                <a:gd name="connsiteX3" fmla="*/ 247650 w 495709"/>
                <a:gd name="connsiteY3" fmla="*/ 0 h 767715"/>
                <a:gd name="connsiteX4" fmla="*/ 495300 w 495709"/>
                <a:gd name="connsiteY4" fmla="*/ 247650 h 767715"/>
                <a:gd name="connsiteX5" fmla="*/ 495300 w 495709"/>
                <a:gd name="connsiteY5" fmla="*/ 247651 h 767715"/>
                <a:gd name="connsiteX6" fmla="*/ 495062 w 495709"/>
                <a:gd name="connsiteY6" fmla="*/ 767715 h 767715"/>
                <a:gd name="connsiteX0" fmla="*/ 1191 w 495300"/>
                <a:gd name="connsiteY0" fmla="*/ 764381 h 764381"/>
                <a:gd name="connsiteX1" fmla="*/ 0 w 495300"/>
                <a:gd name="connsiteY1" fmla="*/ 247651 h 764381"/>
                <a:gd name="connsiteX2" fmla="*/ 0 w 495300"/>
                <a:gd name="connsiteY2" fmla="*/ 247650 h 764381"/>
                <a:gd name="connsiteX3" fmla="*/ 247650 w 495300"/>
                <a:gd name="connsiteY3" fmla="*/ 0 h 764381"/>
                <a:gd name="connsiteX4" fmla="*/ 495300 w 495300"/>
                <a:gd name="connsiteY4" fmla="*/ 247650 h 764381"/>
                <a:gd name="connsiteX5" fmla="*/ 495300 w 495300"/>
                <a:gd name="connsiteY5" fmla="*/ 247651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5300" h="764381">
                  <a:moveTo>
                    <a:pt x="1191" y="764381"/>
                  </a:moveTo>
                  <a:cubicBezTo>
                    <a:pt x="0" y="592138"/>
                    <a:pt x="1191" y="419894"/>
                    <a:pt x="0" y="247651"/>
                  </a:cubicBezTo>
                  <a:lnTo>
                    <a:pt x="0" y="247650"/>
                  </a:lnTo>
                  <a:cubicBezTo>
                    <a:pt x="0" y="110877"/>
                    <a:pt x="110877" y="0"/>
                    <a:pt x="247650" y="0"/>
                  </a:cubicBezTo>
                  <a:cubicBezTo>
                    <a:pt x="384423" y="0"/>
                    <a:pt x="495300" y="110877"/>
                    <a:pt x="495300" y="247650"/>
                  </a:cubicBezTo>
                  <a:lnTo>
                    <a:pt x="495300" y="247651"/>
                  </a:lnTo>
                </a:path>
              </a:pathLst>
            </a:custGeom>
            <a:grpFill/>
            <a:ln w="8001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731" tIns="33866" rIns="67731" bIns="3386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4273">
                <a:defRPr/>
              </a:pPr>
              <a:endParaRPr lang="en-US" sz="1789" kern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</p:grpSp>
      <p:sp>
        <p:nvSpPr>
          <p:cNvPr id="263" name="Freihandform: Form 262">
            <a:extLst>
              <a:ext uri="{FF2B5EF4-FFF2-40B4-BE49-F238E27FC236}">
                <a16:creationId xmlns:a16="http://schemas.microsoft.com/office/drawing/2014/main" xmlns="" id="{8992CDDB-83ED-4A37-B391-249D8D291D25}"/>
              </a:ext>
            </a:extLst>
          </p:cNvPr>
          <p:cNvSpPr/>
          <p:nvPr userDrawn="1"/>
        </p:nvSpPr>
        <p:spPr>
          <a:xfrm>
            <a:off x="405499" y="1231561"/>
            <a:ext cx="1558885" cy="2996382"/>
          </a:xfrm>
          <a:custGeom>
            <a:avLst/>
            <a:gdLst>
              <a:gd name="connsiteX0" fmla="*/ 2 w 1549142"/>
              <a:gd name="connsiteY0" fmla="*/ 0 h 2977886"/>
              <a:gd name="connsiteX1" fmla="*/ 1548002 w 1549142"/>
              <a:gd name="connsiteY1" fmla="*/ 0 h 2977886"/>
              <a:gd name="connsiteX2" fmla="*/ 1548002 w 1549142"/>
              <a:gd name="connsiteY2" fmla="*/ 31112 h 2977886"/>
              <a:gd name="connsiteX3" fmla="*/ 1420367 w 1549142"/>
              <a:gd name="connsiteY3" fmla="*/ 37557 h 2977886"/>
              <a:gd name="connsiteX4" fmla="*/ 258981 w 1549142"/>
              <a:gd name="connsiteY4" fmla="*/ 1324532 h 2977886"/>
              <a:gd name="connsiteX5" fmla="*/ 1420367 w 1549142"/>
              <a:gd name="connsiteY5" fmla="*/ 2611507 h 2977886"/>
              <a:gd name="connsiteX6" fmla="*/ 1548002 w 1549142"/>
              <a:gd name="connsiteY6" fmla="*/ 2617952 h 2977886"/>
              <a:gd name="connsiteX7" fmla="*/ 1548002 w 1549142"/>
              <a:gd name="connsiteY7" fmla="*/ 2625737 h 2977886"/>
              <a:gd name="connsiteX8" fmla="*/ 1549142 w 1549142"/>
              <a:gd name="connsiteY8" fmla="*/ 2625737 h 2977886"/>
              <a:gd name="connsiteX9" fmla="*/ 1549142 w 1549142"/>
              <a:gd name="connsiteY9" fmla="*/ 2977886 h 2977886"/>
              <a:gd name="connsiteX10" fmla="*/ 0 w 1549142"/>
              <a:gd name="connsiteY10" fmla="*/ 2977886 h 2977886"/>
              <a:gd name="connsiteX11" fmla="*/ 0 w 1549142"/>
              <a:gd name="connsiteY11" fmla="*/ 2625737 h 2977886"/>
              <a:gd name="connsiteX12" fmla="*/ 2 w 1549142"/>
              <a:gd name="connsiteY12" fmla="*/ 2625737 h 2977886"/>
              <a:gd name="connsiteX0" fmla="*/ 2 w 1549142"/>
              <a:gd name="connsiteY0" fmla="*/ 0 h 2977886"/>
              <a:gd name="connsiteX1" fmla="*/ 1548002 w 1549142"/>
              <a:gd name="connsiteY1" fmla="*/ 0 h 2977886"/>
              <a:gd name="connsiteX2" fmla="*/ 1548002 w 1549142"/>
              <a:gd name="connsiteY2" fmla="*/ 31112 h 2977886"/>
              <a:gd name="connsiteX3" fmla="*/ 1420367 w 1549142"/>
              <a:gd name="connsiteY3" fmla="*/ 37557 h 2977886"/>
              <a:gd name="connsiteX4" fmla="*/ 258981 w 1549142"/>
              <a:gd name="connsiteY4" fmla="*/ 1324532 h 2977886"/>
              <a:gd name="connsiteX5" fmla="*/ 1420367 w 1549142"/>
              <a:gd name="connsiteY5" fmla="*/ 2611507 h 2977886"/>
              <a:gd name="connsiteX6" fmla="*/ 1548002 w 1549142"/>
              <a:gd name="connsiteY6" fmla="*/ 2617952 h 2977886"/>
              <a:gd name="connsiteX7" fmla="*/ 1548002 w 1549142"/>
              <a:gd name="connsiteY7" fmla="*/ 2625737 h 2977886"/>
              <a:gd name="connsiteX8" fmla="*/ 1549142 w 1549142"/>
              <a:gd name="connsiteY8" fmla="*/ 2625737 h 2977886"/>
              <a:gd name="connsiteX9" fmla="*/ 1549142 w 1549142"/>
              <a:gd name="connsiteY9" fmla="*/ 2977886 h 2977886"/>
              <a:gd name="connsiteX10" fmla="*/ 0 w 1549142"/>
              <a:gd name="connsiteY10" fmla="*/ 2977886 h 2977886"/>
              <a:gd name="connsiteX11" fmla="*/ 0 w 1549142"/>
              <a:gd name="connsiteY11" fmla="*/ 2625737 h 2977886"/>
              <a:gd name="connsiteX12" fmla="*/ 2 w 1549142"/>
              <a:gd name="connsiteY12" fmla="*/ 0 h 2977886"/>
              <a:gd name="connsiteX0" fmla="*/ 2 w 1549142"/>
              <a:gd name="connsiteY0" fmla="*/ 0 h 2977886"/>
              <a:gd name="connsiteX1" fmla="*/ 1548002 w 1549142"/>
              <a:gd name="connsiteY1" fmla="*/ 0 h 2977886"/>
              <a:gd name="connsiteX2" fmla="*/ 1548002 w 1549142"/>
              <a:gd name="connsiteY2" fmla="*/ 31112 h 2977886"/>
              <a:gd name="connsiteX3" fmla="*/ 1420367 w 1549142"/>
              <a:gd name="connsiteY3" fmla="*/ 37557 h 2977886"/>
              <a:gd name="connsiteX4" fmla="*/ 258981 w 1549142"/>
              <a:gd name="connsiteY4" fmla="*/ 1324532 h 2977886"/>
              <a:gd name="connsiteX5" fmla="*/ 1420367 w 1549142"/>
              <a:gd name="connsiteY5" fmla="*/ 2611507 h 2977886"/>
              <a:gd name="connsiteX6" fmla="*/ 1548002 w 1549142"/>
              <a:gd name="connsiteY6" fmla="*/ 2617952 h 2977886"/>
              <a:gd name="connsiteX7" fmla="*/ 1548002 w 1549142"/>
              <a:gd name="connsiteY7" fmla="*/ 2625737 h 2977886"/>
              <a:gd name="connsiteX8" fmla="*/ 1549142 w 1549142"/>
              <a:gd name="connsiteY8" fmla="*/ 2625737 h 2977886"/>
              <a:gd name="connsiteX9" fmla="*/ 1549142 w 1549142"/>
              <a:gd name="connsiteY9" fmla="*/ 2977886 h 2977886"/>
              <a:gd name="connsiteX10" fmla="*/ 0 w 1549142"/>
              <a:gd name="connsiteY10" fmla="*/ 2977886 h 2977886"/>
              <a:gd name="connsiteX11" fmla="*/ 2 w 1549142"/>
              <a:gd name="connsiteY11" fmla="*/ 0 h 2977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49142" h="2977886">
                <a:moveTo>
                  <a:pt x="2" y="0"/>
                </a:moveTo>
                <a:lnTo>
                  <a:pt x="1548002" y="0"/>
                </a:lnTo>
                <a:lnTo>
                  <a:pt x="1548002" y="31112"/>
                </a:lnTo>
                <a:lnTo>
                  <a:pt x="1420367" y="37557"/>
                </a:lnTo>
                <a:cubicBezTo>
                  <a:pt x="768034" y="103805"/>
                  <a:pt x="258981" y="654721"/>
                  <a:pt x="258981" y="1324532"/>
                </a:cubicBezTo>
                <a:cubicBezTo>
                  <a:pt x="258981" y="1994343"/>
                  <a:pt x="768034" y="2545259"/>
                  <a:pt x="1420367" y="2611507"/>
                </a:cubicBezTo>
                <a:lnTo>
                  <a:pt x="1548002" y="2617952"/>
                </a:lnTo>
                <a:lnTo>
                  <a:pt x="1548002" y="2625737"/>
                </a:lnTo>
                <a:lnTo>
                  <a:pt x="1549142" y="2625737"/>
                </a:lnTo>
                <a:lnTo>
                  <a:pt x="1549142" y="2977886"/>
                </a:lnTo>
                <a:lnTo>
                  <a:pt x="0" y="2977886"/>
                </a:lnTo>
                <a:cubicBezTo>
                  <a:pt x="1" y="1985257"/>
                  <a:pt x="1" y="992629"/>
                  <a:pt x="2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  <a:alpha val="60000"/>
            </a:schemeClr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224" tIns="36224" rIns="36224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lang="en-GB" sz="906" dirty="0">
              <a:solidFill>
                <a:schemeClr val="bg2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xmlns="" id="{9037572F-BFF4-4714-B046-38450C0C228C}"/>
              </a:ext>
            </a:extLst>
          </p:cNvPr>
          <p:cNvGrpSpPr/>
          <p:nvPr userDrawn="1"/>
        </p:nvGrpSpPr>
        <p:grpSpPr>
          <a:xfrm>
            <a:off x="723185" y="1892693"/>
            <a:ext cx="2414714" cy="1416738"/>
            <a:chOff x="718665" y="1881009"/>
            <a:chExt cx="2399622" cy="1407993"/>
          </a:xfrm>
        </p:grpSpPr>
        <p:grpSp>
          <p:nvGrpSpPr>
            <p:cNvPr id="314" name="Gruppieren 391">
              <a:extLst>
                <a:ext uri="{FF2B5EF4-FFF2-40B4-BE49-F238E27FC236}">
                  <a16:creationId xmlns:a16="http://schemas.microsoft.com/office/drawing/2014/main" xmlns="" id="{95E91CF1-E2C4-4F26-A21C-A09FBD608F28}"/>
                </a:ext>
              </a:extLst>
            </p:cNvPr>
            <p:cNvGrpSpPr/>
            <p:nvPr userDrawn="1"/>
          </p:nvGrpSpPr>
          <p:grpSpPr>
            <a:xfrm>
              <a:off x="861005" y="1944197"/>
              <a:ext cx="359328" cy="275325"/>
              <a:chOff x="4317506" y="1841320"/>
              <a:chExt cx="612000" cy="466034"/>
            </a:xfrm>
            <a:noFill/>
          </p:grpSpPr>
          <p:sp>
            <p:nvSpPr>
              <p:cNvPr id="315" name="Freihandform: Form 322">
                <a:extLst>
                  <a:ext uri="{FF2B5EF4-FFF2-40B4-BE49-F238E27FC236}">
                    <a16:creationId xmlns:a16="http://schemas.microsoft.com/office/drawing/2014/main" xmlns="" id="{004F7E0C-81A0-4A2D-82B0-FE18DA4ADCB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81179" y="1841320"/>
                <a:ext cx="464969" cy="466034"/>
              </a:xfrm>
              <a:custGeom>
                <a:avLst/>
                <a:gdLst>
                  <a:gd name="connsiteX0" fmla="*/ 0 w 2038350"/>
                  <a:gd name="connsiteY0" fmla="*/ 2033588 h 2043113"/>
                  <a:gd name="connsiteX1" fmla="*/ 0 w 2038350"/>
                  <a:gd name="connsiteY1" fmla="*/ 766763 h 2043113"/>
                  <a:gd name="connsiteX2" fmla="*/ 514350 w 2038350"/>
                  <a:gd name="connsiteY2" fmla="*/ 1023938 h 2043113"/>
                  <a:gd name="connsiteX3" fmla="*/ 514350 w 2038350"/>
                  <a:gd name="connsiteY3" fmla="*/ 762000 h 2043113"/>
                  <a:gd name="connsiteX4" fmla="*/ 1019175 w 2038350"/>
                  <a:gd name="connsiteY4" fmla="*/ 1023938 h 2043113"/>
                  <a:gd name="connsiteX5" fmla="*/ 1019175 w 2038350"/>
                  <a:gd name="connsiteY5" fmla="*/ 762000 h 2043113"/>
                  <a:gd name="connsiteX6" fmla="*/ 1528762 w 2038350"/>
                  <a:gd name="connsiteY6" fmla="*/ 1019175 h 2043113"/>
                  <a:gd name="connsiteX7" fmla="*/ 1785937 w 2038350"/>
                  <a:gd name="connsiteY7" fmla="*/ 0 h 2043113"/>
                  <a:gd name="connsiteX8" fmla="*/ 2038350 w 2038350"/>
                  <a:gd name="connsiteY8" fmla="*/ 0 h 2043113"/>
                  <a:gd name="connsiteX9" fmla="*/ 2038350 w 2038350"/>
                  <a:gd name="connsiteY9" fmla="*/ 2038350 h 2043113"/>
                  <a:gd name="connsiteX10" fmla="*/ 1643062 w 2038350"/>
                  <a:gd name="connsiteY10" fmla="*/ 2038350 h 2043113"/>
                  <a:gd name="connsiteX11" fmla="*/ 1643062 w 2038350"/>
                  <a:gd name="connsiteY11" fmla="*/ 1528763 h 2043113"/>
                  <a:gd name="connsiteX12" fmla="*/ 1333500 w 2038350"/>
                  <a:gd name="connsiteY12" fmla="*/ 1528763 h 2043113"/>
                  <a:gd name="connsiteX13" fmla="*/ 1333500 w 2038350"/>
                  <a:gd name="connsiteY13" fmla="*/ 2043113 h 2043113"/>
                  <a:gd name="connsiteX14" fmla="*/ 0 w 2038350"/>
                  <a:gd name="connsiteY14" fmla="*/ 2033588 h 2043113"/>
                  <a:gd name="connsiteX0" fmla="*/ 0 w 2038350"/>
                  <a:gd name="connsiteY0" fmla="*/ 2043026 h 2043113"/>
                  <a:gd name="connsiteX1" fmla="*/ 0 w 2038350"/>
                  <a:gd name="connsiteY1" fmla="*/ 766763 h 2043113"/>
                  <a:gd name="connsiteX2" fmla="*/ 514350 w 2038350"/>
                  <a:gd name="connsiteY2" fmla="*/ 1023938 h 2043113"/>
                  <a:gd name="connsiteX3" fmla="*/ 514350 w 2038350"/>
                  <a:gd name="connsiteY3" fmla="*/ 762000 h 2043113"/>
                  <a:gd name="connsiteX4" fmla="*/ 1019175 w 2038350"/>
                  <a:gd name="connsiteY4" fmla="*/ 1023938 h 2043113"/>
                  <a:gd name="connsiteX5" fmla="*/ 1019175 w 2038350"/>
                  <a:gd name="connsiteY5" fmla="*/ 762000 h 2043113"/>
                  <a:gd name="connsiteX6" fmla="*/ 1528762 w 2038350"/>
                  <a:gd name="connsiteY6" fmla="*/ 1019175 h 2043113"/>
                  <a:gd name="connsiteX7" fmla="*/ 1785937 w 2038350"/>
                  <a:gd name="connsiteY7" fmla="*/ 0 h 2043113"/>
                  <a:gd name="connsiteX8" fmla="*/ 2038350 w 2038350"/>
                  <a:gd name="connsiteY8" fmla="*/ 0 h 2043113"/>
                  <a:gd name="connsiteX9" fmla="*/ 2038350 w 2038350"/>
                  <a:gd name="connsiteY9" fmla="*/ 2038350 h 2043113"/>
                  <a:gd name="connsiteX10" fmla="*/ 1643062 w 2038350"/>
                  <a:gd name="connsiteY10" fmla="*/ 2038350 h 2043113"/>
                  <a:gd name="connsiteX11" fmla="*/ 1643062 w 2038350"/>
                  <a:gd name="connsiteY11" fmla="*/ 1528763 h 2043113"/>
                  <a:gd name="connsiteX12" fmla="*/ 1333500 w 2038350"/>
                  <a:gd name="connsiteY12" fmla="*/ 1528763 h 2043113"/>
                  <a:gd name="connsiteX13" fmla="*/ 1333500 w 2038350"/>
                  <a:gd name="connsiteY13" fmla="*/ 2043113 h 2043113"/>
                  <a:gd name="connsiteX14" fmla="*/ 0 w 2038350"/>
                  <a:gd name="connsiteY14" fmla="*/ 2043026 h 2043113"/>
                  <a:gd name="connsiteX0" fmla="*/ 0 w 2038350"/>
                  <a:gd name="connsiteY0" fmla="*/ 2043026 h 2405486"/>
                  <a:gd name="connsiteX1" fmla="*/ 0 w 2038350"/>
                  <a:gd name="connsiteY1" fmla="*/ 766763 h 2405486"/>
                  <a:gd name="connsiteX2" fmla="*/ 514350 w 2038350"/>
                  <a:gd name="connsiteY2" fmla="*/ 1023938 h 2405486"/>
                  <a:gd name="connsiteX3" fmla="*/ 514350 w 2038350"/>
                  <a:gd name="connsiteY3" fmla="*/ 762000 h 2405486"/>
                  <a:gd name="connsiteX4" fmla="*/ 1019175 w 2038350"/>
                  <a:gd name="connsiteY4" fmla="*/ 1023938 h 2405486"/>
                  <a:gd name="connsiteX5" fmla="*/ 1019175 w 2038350"/>
                  <a:gd name="connsiteY5" fmla="*/ 762000 h 2405486"/>
                  <a:gd name="connsiteX6" fmla="*/ 1528762 w 2038350"/>
                  <a:gd name="connsiteY6" fmla="*/ 1019175 h 2405486"/>
                  <a:gd name="connsiteX7" fmla="*/ 1785937 w 2038350"/>
                  <a:gd name="connsiteY7" fmla="*/ 0 h 2405486"/>
                  <a:gd name="connsiteX8" fmla="*/ 2038350 w 2038350"/>
                  <a:gd name="connsiteY8" fmla="*/ 0 h 2405486"/>
                  <a:gd name="connsiteX9" fmla="*/ 2038350 w 2038350"/>
                  <a:gd name="connsiteY9" fmla="*/ 2038350 h 2405486"/>
                  <a:gd name="connsiteX10" fmla="*/ 1643062 w 2038350"/>
                  <a:gd name="connsiteY10" fmla="*/ 2038350 h 2405486"/>
                  <a:gd name="connsiteX11" fmla="*/ 1643062 w 2038350"/>
                  <a:gd name="connsiteY11" fmla="*/ 1528763 h 2405486"/>
                  <a:gd name="connsiteX12" fmla="*/ 1333500 w 2038350"/>
                  <a:gd name="connsiteY12" fmla="*/ 1528763 h 2405486"/>
                  <a:gd name="connsiteX13" fmla="*/ 1695873 w 2038350"/>
                  <a:gd name="connsiteY13" fmla="*/ 2405486 h 2405486"/>
                  <a:gd name="connsiteX0" fmla="*/ 0 w 2038350"/>
                  <a:gd name="connsiteY0" fmla="*/ 2043026 h 2405486"/>
                  <a:gd name="connsiteX1" fmla="*/ 0 w 2038350"/>
                  <a:gd name="connsiteY1" fmla="*/ 766763 h 2405486"/>
                  <a:gd name="connsiteX2" fmla="*/ 514350 w 2038350"/>
                  <a:gd name="connsiteY2" fmla="*/ 1023938 h 2405486"/>
                  <a:gd name="connsiteX3" fmla="*/ 514350 w 2038350"/>
                  <a:gd name="connsiteY3" fmla="*/ 762000 h 2405486"/>
                  <a:gd name="connsiteX4" fmla="*/ 1019175 w 2038350"/>
                  <a:gd name="connsiteY4" fmla="*/ 1023938 h 2405486"/>
                  <a:gd name="connsiteX5" fmla="*/ 1019175 w 2038350"/>
                  <a:gd name="connsiteY5" fmla="*/ 762000 h 2405486"/>
                  <a:gd name="connsiteX6" fmla="*/ 1528762 w 2038350"/>
                  <a:gd name="connsiteY6" fmla="*/ 1019175 h 2405486"/>
                  <a:gd name="connsiteX7" fmla="*/ 1785937 w 2038350"/>
                  <a:gd name="connsiteY7" fmla="*/ 0 h 2405486"/>
                  <a:gd name="connsiteX8" fmla="*/ 2038350 w 2038350"/>
                  <a:gd name="connsiteY8" fmla="*/ 0 h 2405486"/>
                  <a:gd name="connsiteX9" fmla="*/ 2038350 w 2038350"/>
                  <a:gd name="connsiteY9" fmla="*/ 2038350 h 2405486"/>
                  <a:gd name="connsiteX10" fmla="*/ 1643062 w 2038350"/>
                  <a:gd name="connsiteY10" fmla="*/ 2038350 h 2405486"/>
                  <a:gd name="connsiteX11" fmla="*/ 1643062 w 2038350"/>
                  <a:gd name="connsiteY11" fmla="*/ 1528763 h 2405486"/>
                  <a:gd name="connsiteX12" fmla="*/ 1333500 w 2038350"/>
                  <a:gd name="connsiteY12" fmla="*/ 1528763 h 2405486"/>
                  <a:gd name="connsiteX13" fmla="*/ 1695873 w 2038350"/>
                  <a:gd name="connsiteY13" fmla="*/ 2405486 h 240548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7274 w 2038350"/>
                  <a:gd name="connsiteY13" fmla="*/ 2009142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3054 w 2038350"/>
                  <a:gd name="connsiteY13" fmla="*/ 1859204 h 2043026"/>
                  <a:gd name="connsiteX14" fmla="*/ 1337274 w 2038350"/>
                  <a:gd name="connsiteY14" fmla="*/ 2009142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7274 w 2038350"/>
                  <a:gd name="connsiteY13" fmla="*/ 2009142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18402 w 2038350"/>
                  <a:gd name="connsiteY13" fmla="*/ 2028018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18402 w 2038350"/>
                  <a:gd name="connsiteY13" fmla="*/ 2028018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27838 w 2038350"/>
                  <a:gd name="connsiteY13" fmla="*/ 2037454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46710 w 2038350"/>
                  <a:gd name="connsiteY13" fmla="*/ 2037454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5803 w 2038350"/>
                  <a:gd name="connsiteY13" fmla="*/ 2037454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5803 w 2038350"/>
                  <a:gd name="connsiteY13" fmla="*/ 2037454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5803 w 2038350"/>
                  <a:gd name="connsiteY13" fmla="*/ 2034728 h 204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38350" h="2043026">
                    <a:moveTo>
                      <a:pt x="0" y="2043026"/>
                    </a:moveTo>
                    <a:lnTo>
                      <a:pt x="0" y="766763"/>
                    </a:lnTo>
                    <a:lnTo>
                      <a:pt x="514350" y="1023938"/>
                    </a:lnTo>
                    <a:lnTo>
                      <a:pt x="514350" y="762000"/>
                    </a:lnTo>
                    <a:lnTo>
                      <a:pt x="1019175" y="1023938"/>
                    </a:lnTo>
                    <a:lnTo>
                      <a:pt x="1019175" y="762000"/>
                    </a:lnTo>
                    <a:lnTo>
                      <a:pt x="1528762" y="1019175"/>
                    </a:lnTo>
                    <a:lnTo>
                      <a:pt x="1785937" y="0"/>
                    </a:lnTo>
                    <a:lnTo>
                      <a:pt x="2038350" y="0"/>
                    </a:lnTo>
                    <a:lnTo>
                      <a:pt x="2038350" y="2038350"/>
                    </a:lnTo>
                    <a:lnTo>
                      <a:pt x="1643062" y="2038350"/>
                    </a:lnTo>
                    <a:lnTo>
                      <a:pt x="1643062" y="1528763"/>
                    </a:lnTo>
                    <a:lnTo>
                      <a:pt x="1333500" y="1528763"/>
                    </a:lnTo>
                    <a:cubicBezTo>
                      <a:pt x="1334268" y="1698327"/>
                      <a:pt x="1335035" y="1865164"/>
                      <a:pt x="1335803" y="2034728"/>
                    </a:cubicBezTo>
                  </a:path>
                </a:pathLst>
              </a:custGeom>
              <a:grpFill/>
              <a:ln w="8001" cap="flat" cmpd="sng" algn="ctr">
                <a:solidFill>
                  <a:schemeClr val="accent2">
                    <a:lumMod val="75000"/>
                  </a:scheme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53332" tIns="53332" rIns="53332" bIns="5333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4273">
                  <a:defRPr/>
                </a:pPr>
                <a:endParaRPr lang="en-US" sz="1193" kern="0">
                  <a:solidFill>
                    <a:srgbClr val="001135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316" name="Line 201">
                <a:extLst>
                  <a:ext uri="{FF2B5EF4-FFF2-40B4-BE49-F238E27FC236}">
                    <a16:creationId xmlns:a16="http://schemas.microsoft.com/office/drawing/2014/main" xmlns="" id="{92FAAD71-B1C9-4690-AE59-B12FA3AAA78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17506" y="2307354"/>
                <a:ext cx="612000" cy="0"/>
              </a:xfrm>
              <a:prstGeom prst="line">
                <a:avLst/>
              </a:prstGeom>
              <a:grpFill/>
              <a:ln w="8001" cap="flat">
                <a:solidFill>
                  <a:schemeClr val="accent2">
                    <a:lumMod val="75000"/>
                  </a:scheme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67731" tIns="33866" rIns="67731" bIns="33866" numCol="1" anchor="t" anchorCtr="0" compatLnSpc="1">
                <a:prstTxWarp prst="textNoShape">
                  <a:avLst/>
                </a:prstTxWarp>
              </a:bodyPr>
              <a:lstStyle/>
              <a:p>
                <a:pPr defTabSz="454284">
                  <a:defRPr/>
                </a:pPr>
                <a:endParaRPr lang="en-US" sz="1789">
                  <a:solidFill>
                    <a:srgbClr val="124191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</p:grpSp>
        <p:grpSp>
          <p:nvGrpSpPr>
            <p:cNvPr id="241" name="Gruppieren 584">
              <a:extLst>
                <a:ext uri="{FF2B5EF4-FFF2-40B4-BE49-F238E27FC236}">
                  <a16:creationId xmlns:a16="http://schemas.microsoft.com/office/drawing/2014/main" xmlns="" id="{01553B7E-DEC6-4554-BDA6-23CE2926E66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3452" y="2317736"/>
              <a:ext cx="892572" cy="90748"/>
              <a:chOff x="2444750" y="2740025"/>
              <a:chExt cx="3886682" cy="392717"/>
            </a:xfrm>
            <a:noFill/>
          </p:grpSpPr>
          <p:sp>
            <p:nvSpPr>
              <p:cNvPr id="242" name="Freihandform: Form 585">
                <a:extLst>
                  <a:ext uri="{FF2B5EF4-FFF2-40B4-BE49-F238E27FC236}">
                    <a16:creationId xmlns:a16="http://schemas.microsoft.com/office/drawing/2014/main" xmlns="" id="{23347B52-4D61-4AAB-8AA6-8318B271C6BE}"/>
                  </a:ext>
                </a:extLst>
              </p:cNvPr>
              <p:cNvSpPr/>
              <p:nvPr/>
            </p:nvSpPr>
            <p:spPr>
              <a:xfrm>
                <a:off x="5598255" y="2742168"/>
                <a:ext cx="376737" cy="90399"/>
              </a:xfrm>
              <a:custGeom>
                <a:avLst/>
                <a:gdLst>
                  <a:gd name="connsiteX0" fmla="*/ 0 w 376737"/>
                  <a:gd name="connsiteY0" fmla="*/ 0 h 90399"/>
                  <a:gd name="connsiteX1" fmla="*/ 87929 w 376737"/>
                  <a:gd name="connsiteY1" fmla="*/ 239 h 90399"/>
                  <a:gd name="connsiteX2" fmla="*/ 369907 w 376737"/>
                  <a:gd name="connsiteY2" fmla="*/ 86337 h 90399"/>
                  <a:gd name="connsiteX3" fmla="*/ 376737 w 376737"/>
                  <a:gd name="connsiteY3" fmla="*/ 90399 h 90399"/>
                  <a:gd name="connsiteX4" fmla="*/ 70479 w 376737"/>
                  <a:gd name="connsiteY4" fmla="*/ 90399 h 90399"/>
                  <a:gd name="connsiteX5" fmla="*/ 0 w 376737"/>
                  <a:gd name="connsiteY5" fmla="*/ 19920 h 90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6737" h="90399">
                    <a:moveTo>
                      <a:pt x="0" y="0"/>
                    </a:moveTo>
                    <a:lnTo>
                      <a:pt x="87929" y="239"/>
                    </a:lnTo>
                    <a:cubicBezTo>
                      <a:pt x="165807" y="140"/>
                      <a:pt x="276500" y="37881"/>
                      <a:pt x="369907" y="86337"/>
                    </a:cubicBezTo>
                    <a:lnTo>
                      <a:pt x="376737" y="90399"/>
                    </a:lnTo>
                    <a:lnTo>
                      <a:pt x="70479" y="90399"/>
                    </a:lnTo>
                    <a:cubicBezTo>
                      <a:pt x="31555" y="90399"/>
                      <a:pt x="0" y="58844"/>
                      <a:pt x="0" y="19920"/>
                    </a:cubicBezTo>
                    <a:close/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53332" tIns="53332" rIns="53332" bIns="5333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4284">
                  <a:defRPr/>
                </a:pPr>
                <a:endParaRPr lang="en-US" sz="1193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243" name="Freihandform: Form 586">
                <a:extLst>
                  <a:ext uri="{FF2B5EF4-FFF2-40B4-BE49-F238E27FC236}">
                    <a16:creationId xmlns:a16="http://schemas.microsoft.com/office/drawing/2014/main" xmlns="" id="{FF9EFCDC-7C28-4272-8C9E-10E3E1620714}"/>
                  </a:ext>
                </a:extLst>
              </p:cNvPr>
              <p:cNvSpPr/>
              <p:nvPr/>
            </p:nvSpPr>
            <p:spPr>
              <a:xfrm>
                <a:off x="2444750" y="2740025"/>
                <a:ext cx="2327275" cy="292100"/>
              </a:xfrm>
              <a:custGeom>
                <a:avLst/>
                <a:gdLst>
                  <a:gd name="connsiteX0" fmla="*/ 3175 w 2327275"/>
                  <a:gd name="connsiteY0" fmla="*/ 0 h 292100"/>
                  <a:gd name="connsiteX1" fmla="*/ 2327275 w 2327275"/>
                  <a:gd name="connsiteY1" fmla="*/ 0 h 292100"/>
                  <a:gd name="connsiteX2" fmla="*/ 2327275 w 2327275"/>
                  <a:gd name="connsiteY2" fmla="*/ 292100 h 292100"/>
                  <a:gd name="connsiteX3" fmla="*/ 0 w 2327275"/>
                  <a:gd name="connsiteY3" fmla="*/ 292100 h 29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27275" h="292100">
                    <a:moveTo>
                      <a:pt x="3175" y="0"/>
                    </a:moveTo>
                    <a:lnTo>
                      <a:pt x="2327275" y="0"/>
                    </a:lnTo>
                    <a:lnTo>
                      <a:pt x="2327275" y="292100"/>
                    </a:lnTo>
                    <a:lnTo>
                      <a:pt x="0" y="292100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4284">
                  <a:defRPr/>
                </a:pPr>
                <a:endParaRPr lang="en-US" sz="1789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244" name="Freihandform: Form 587">
                <a:extLst>
                  <a:ext uri="{FF2B5EF4-FFF2-40B4-BE49-F238E27FC236}">
                    <a16:creationId xmlns:a16="http://schemas.microsoft.com/office/drawing/2014/main" xmlns="" id="{C5322776-B801-480C-840E-805603F521AB}"/>
                  </a:ext>
                </a:extLst>
              </p:cNvPr>
              <p:cNvSpPr/>
              <p:nvPr/>
            </p:nvSpPr>
            <p:spPr>
              <a:xfrm>
                <a:off x="2638425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4284">
                  <a:defRPr/>
                </a:pPr>
                <a:endParaRPr lang="en-US" sz="1789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245" name="Freihandform: Form 588">
                <a:extLst>
                  <a:ext uri="{FF2B5EF4-FFF2-40B4-BE49-F238E27FC236}">
                    <a16:creationId xmlns:a16="http://schemas.microsoft.com/office/drawing/2014/main" xmlns="" id="{E388E5B1-AC44-45DE-A5E6-0107B6D9C8A3}"/>
                  </a:ext>
                </a:extLst>
              </p:cNvPr>
              <p:cNvSpPr/>
              <p:nvPr/>
            </p:nvSpPr>
            <p:spPr>
              <a:xfrm>
                <a:off x="2884650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4284">
                  <a:defRPr/>
                </a:pPr>
                <a:endParaRPr lang="en-US" sz="1789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246" name="Freihandform: Form 589">
                <a:extLst>
                  <a:ext uri="{FF2B5EF4-FFF2-40B4-BE49-F238E27FC236}">
                    <a16:creationId xmlns:a16="http://schemas.microsoft.com/office/drawing/2014/main" xmlns="" id="{8AF7E1DB-701C-45FE-9B44-46DEEF058237}"/>
                  </a:ext>
                </a:extLst>
              </p:cNvPr>
              <p:cNvSpPr/>
              <p:nvPr/>
            </p:nvSpPr>
            <p:spPr>
              <a:xfrm>
                <a:off x="3120748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4284">
                  <a:defRPr/>
                </a:pPr>
                <a:endParaRPr lang="en-US" sz="1789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247" name="Freihandform: Form 590">
                <a:extLst>
                  <a:ext uri="{FF2B5EF4-FFF2-40B4-BE49-F238E27FC236}">
                    <a16:creationId xmlns:a16="http://schemas.microsoft.com/office/drawing/2014/main" xmlns="" id="{0879FF74-D8F3-4EE1-81BE-F92B70AA3C2A}"/>
                  </a:ext>
                </a:extLst>
              </p:cNvPr>
              <p:cNvSpPr/>
              <p:nvPr/>
            </p:nvSpPr>
            <p:spPr>
              <a:xfrm>
                <a:off x="3366973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4284">
                  <a:defRPr/>
                </a:pPr>
                <a:endParaRPr lang="en-US" sz="1789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248" name="Freihandform: Form 591">
                <a:extLst>
                  <a:ext uri="{FF2B5EF4-FFF2-40B4-BE49-F238E27FC236}">
                    <a16:creationId xmlns:a16="http://schemas.microsoft.com/office/drawing/2014/main" xmlns="" id="{5BCB8755-D530-4EF3-84EB-F8080445F7F2}"/>
                  </a:ext>
                </a:extLst>
              </p:cNvPr>
              <p:cNvSpPr/>
              <p:nvPr/>
            </p:nvSpPr>
            <p:spPr>
              <a:xfrm>
                <a:off x="3602163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4284">
                  <a:defRPr/>
                </a:pPr>
                <a:endParaRPr lang="en-US" sz="1789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249" name="Freihandform: Form 592">
                <a:extLst>
                  <a:ext uri="{FF2B5EF4-FFF2-40B4-BE49-F238E27FC236}">
                    <a16:creationId xmlns:a16="http://schemas.microsoft.com/office/drawing/2014/main" xmlns="" id="{ED948F94-B3D3-4168-B3AF-BF65D1FFB76F}"/>
                  </a:ext>
                </a:extLst>
              </p:cNvPr>
              <p:cNvSpPr/>
              <p:nvPr userDrawn="1"/>
            </p:nvSpPr>
            <p:spPr>
              <a:xfrm>
                <a:off x="3848388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4284">
                  <a:defRPr/>
                </a:pPr>
                <a:endParaRPr lang="en-US" sz="1789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250" name="Freihandform: Form 593">
                <a:extLst>
                  <a:ext uri="{FF2B5EF4-FFF2-40B4-BE49-F238E27FC236}">
                    <a16:creationId xmlns:a16="http://schemas.microsoft.com/office/drawing/2014/main" xmlns="" id="{8745EBEC-7865-462C-A724-C793752C0222}"/>
                  </a:ext>
                </a:extLst>
              </p:cNvPr>
              <p:cNvSpPr/>
              <p:nvPr/>
            </p:nvSpPr>
            <p:spPr>
              <a:xfrm>
                <a:off x="4077256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4284">
                  <a:defRPr/>
                </a:pPr>
                <a:endParaRPr lang="en-US" sz="1789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255" name="Freihandform: Form 594">
                <a:extLst>
                  <a:ext uri="{FF2B5EF4-FFF2-40B4-BE49-F238E27FC236}">
                    <a16:creationId xmlns:a16="http://schemas.microsoft.com/office/drawing/2014/main" xmlns="" id="{A6860C7F-F082-4DA7-A161-223401253F53}"/>
                  </a:ext>
                </a:extLst>
              </p:cNvPr>
              <p:cNvSpPr/>
              <p:nvPr/>
            </p:nvSpPr>
            <p:spPr>
              <a:xfrm>
                <a:off x="4323481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4284">
                  <a:defRPr/>
                </a:pPr>
                <a:endParaRPr lang="en-US" sz="1789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256" name="Freihandform: Form 595">
                <a:extLst>
                  <a:ext uri="{FF2B5EF4-FFF2-40B4-BE49-F238E27FC236}">
                    <a16:creationId xmlns:a16="http://schemas.microsoft.com/office/drawing/2014/main" xmlns="" id="{2043C0D5-31C0-4E05-B4BD-E45755AD9466}"/>
                  </a:ext>
                </a:extLst>
              </p:cNvPr>
              <p:cNvSpPr/>
              <p:nvPr/>
            </p:nvSpPr>
            <p:spPr>
              <a:xfrm>
                <a:off x="4550877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4284">
                  <a:defRPr/>
                </a:pPr>
                <a:endParaRPr lang="en-US" sz="1789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257" name="Freihandform: Form 596">
                <a:extLst>
                  <a:ext uri="{FF2B5EF4-FFF2-40B4-BE49-F238E27FC236}">
                    <a16:creationId xmlns:a16="http://schemas.microsoft.com/office/drawing/2014/main" xmlns="" id="{918EB801-CFCA-4D66-BCDC-4C6F193E9563}"/>
                  </a:ext>
                </a:extLst>
              </p:cNvPr>
              <p:cNvSpPr/>
              <p:nvPr/>
            </p:nvSpPr>
            <p:spPr>
              <a:xfrm>
                <a:off x="4909182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4284">
                  <a:defRPr/>
                </a:pPr>
                <a:endParaRPr lang="en-US" sz="1789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258" name="Freihandform: Form 597">
                <a:extLst>
                  <a:ext uri="{FF2B5EF4-FFF2-40B4-BE49-F238E27FC236}">
                    <a16:creationId xmlns:a16="http://schemas.microsoft.com/office/drawing/2014/main" xmlns="" id="{EC461F4F-01B0-4338-A6C5-DBB3C52EC924}"/>
                  </a:ext>
                </a:extLst>
              </p:cNvPr>
              <p:cNvSpPr/>
              <p:nvPr/>
            </p:nvSpPr>
            <p:spPr>
              <a:xfrm>
                <a:off x="5155407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4284">
                  <a:defRPr/>
                </a:pPr>
                <a:endParaRPr lang="en-US" sz="1789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259" name="Freihandform: Form 598">
                <a:extLst>
                  <a:ext uri="{FF2B5EF4-FFF2-40B4-BE49-F238E27FC236}">
                    <a16:creationId xmlns:a16="http://schemas.microsoft.com/office/drawing/2014/main" xmlns="" id="{B851BF89-8557-48BE-81A6-C79A685DC522}"/>
                  </a:ext>
                </a:extLst>
              </p:cNvPr>
              <p:cNvSpPr/>
              <p:nvPr/>
            </p:nvSpPr>
            <p:spPr>
              <a:xfrm>
                <a:off x="5382803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4284">
                  <a:defRPr/>
                </a:pPr>
                <a:endParaRPr lang="en-US" sz="1789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sp>
            <p:nvSpPr>
              <p:cNvPr id="260" name="Freihandform: Form 599">
                <a:extLst>
                  <a:ext uri="{FF2B5EF4-FFF2-40B4-BE49-F238E27FC236}">
                    <a16:creationId xmlns:a16="http://schemas.microsoft.com/office/drawing/2014/main" xmlns="" id="{59FC1789-B333-43B1-83A3-F01E2BC82784}"/>
                  </a:ext>
                </a:extLst>
              </p:cNvPr>
              <p:cNvSpPr/>
              <p:nvPr/>
            </p:nvSpPr>
            <p:spPr>
              <a:xfrm flipH="1">
                <a:off x="4811559" y="2740025"/>
                <a:ext cx="1335690" cy="294482"/>
              </a:xfrm>
              <a:custGeom>
                <a:avLst/>
                <a:gdLst>
                  <a:gd name="connsiteX0" fmla="*/ 3175 w 2327275"/>
                  <a:gd name="connsiteY0" fmla="*/ 0 h 292100"/>
                  <a:gd name="connsiteX1" fmla="*/ 2327275 w 2327275"/>
                  <a:gd name="connsiteY1" fmla="*/ 0 h 292100"/>
                  <a:gd name="connsiteX2" fmla="*/ 2327275 w 2327275"/>
                  <a:gd name="connsiteY2" fmla="*/ 292100 h 292100"/>
                  <a:gd name="connsiteX3" fmla="*/ 0 w 2327275"/>
                  <a:gd name="connsiteY3" fmla="*/ 292100 h 292100"/>
                  <a:gd name="connsiteX0" fmla="*/ 3175 w 2327275"/>
                  <a:gd name="connsiteY0" fmla="*/ 0 h 292100"/>
                  <a:gd name="connsiteX1" fmla="*/ 2327275 w 2327275"/>
                  <a:gd name="connsiteY1" fmla="*/ 0 h 292100"/>
                  <a:gd name="connsiteX2" fmla="*/ 2327275 w 2327275"/>
                  <a:gd name="connsiteY2" fmla="*/ 292100 h 292100"/>
                  <a:gd name="connsiteX3" fmla="*/ 0 w 2327275"/>
                  <a:gd name="connsiteY3" fmla="*/ 292100 h 292100"/>
                  <a:gd name="connsiteX4" fmla="*/ 3175 w 2327275"/>
                  <a:gd name="connsiteY4" fmla="*/ 0 h 292100"/>
                  <a:gd name="connsiteX0" fmla="*/ 298508 w 2622608"/>
                  <a:gd name="connsiteY0" fmla="*/ 0 h 294482"/>
                  <a:gd name="connsiteX1" fmla="*/ 2622608 w 2622608"/>
                  <a:gd name="connsiteY1" fmla="*/ 0 h 294482"/>
                  <a:gd name="connsiteX2" fmla="*/ 2622608 w 2622608"/>
                  <a:gd name="connsiteY2" fmla="*/ 292100 h 294482"/>
                  <a:gd name="connsiteX3" fmla="*/ 0 w 2622608"/>
                  <a:gd name="connsiteY3" fmla="*/ 294482 h 294482"/>
                  <a:gd name="connsiteX4" fmla="*/ 298508 w 2622608"/>
                  <a:gd name="connsiteY4" fmla="*/ 0 h 294482"/>
                  <a:gd name="connsiteX0" fmla="*/ 784055 w 2622608"/>
                  <a:gd name="connsiteY0" fmla="*/ 2381 h 294482"/>
                  <a:gd name="connsiteX1" fmla="*/ 2622608 w 2622608"/>
                  <a:gd name="connsiteY1" fmla="*/ 0 h 294482"/>
                  <a:gd name="connsiteX2" fmla="*/ 2622608 w 2622608"/>
                  <a:gd name="connsiteY2" fmla="*/ 292100 h 294482"/>
                  <a:gd name="connsiteX3" fmla="*/ 0 w 2622608"/>
                  <a:gd name="connsiteY3" fmla="*/ 294482 h 294482"/>
                  <a:gd name="connsiteX4" fmla="*/ 784055 w 2622608"/>
                  <a:gd name="connsiteY4" fmla="*/ 2381 h 294482"/>
                  <a:gd name="connsiteX0" fmla="*/ 784055 w 2622608"/>
                  <a:gd name="connsiteY0" fmla="*/ 2381 h 294482"/>
                  <a:gd name="connsiteX1" fmla="*/ 2622608 w 2622608"/>
                  <a:gd name="connsiteY1" fmla="*/ 0 h 294482"/>
                  <a:gd name="connsiteX2" fmla="*/ 2622608 w 2622608"/>
                  <a:gd name="connsiteY2" fmla="*/ 292100 h 294482"/>
                  <a:gd name="connsiteX3" fmla="*/ 0 w 2622608"/>
                  <a:gd name="connsiteY3" fmla="*/ 294482 h 294482"/>
                  <a:gd name="connsiteX4" fmla="*/ 784055 w 2622608"/>
                  <a:gd name="connsiteY4" fmla="*/ 2381 h 294482"/>
                  <a:gd name="connsiteX0" fmla="*/ 971201 w 2809754"/>
                  <a:gd name="connsiteY0" fmla="*/ 2381 h 294482"/>
                  <a:gd name="connsiteX1" fmla="*/ 2809754 w 2809754"/>
                  <a:gd name="connsiteY1" fmla="*/ 0 h 294482"/>
                  <a:gd name="connsiteX2" fmla="*/ 2809754 w 2809754"/>
                  <a:gd name="connsiteY2" fmla="*/ 292100 h 294482"/>
                  <a:gd name="connsiteX3" fmla="*/ 187146 w 2809754"/>
                  <a:gd name="connsiteY3" fmla="*/ 294482 h 294482"/>
                  <a:gd name="connsiteX4" fmla="*/ 971201 w 2809754"/>
                  <a:gd name="connsiteY4" fmla="*/ 2381 h 294482"/>
                  <a:gd name="connsiteX0" fmla="*/ 965143 w 2803696"/>
                  <a:gd name="connsiteY0" fmla="*/ 2381 h 294482"/>
                  <a:gd name="connsiteX1" fmla="*/ 2803696 w 2803696"/>
                  <a:gd name="connsiteY1" fmla="*/ 0 h 294482"/>
                  <a:gd name="connsiteX2" fmla="*/ 2803696 w 2803696"/>
                  <a:gd name="connsiteY2" fmla="*/ 292100 h 294482"/>
                  <a:gd name="connsiteX3" fmla="*/ 181088 w 2803696"/>
                  <a:gd name="connsiteY3" fmla="*/ 294482 h 294482"/>
                  <a:gd name="connsiteX4" fmla="*/ 965143 w 2803696"/>
                  <a:gd name="connsiteY4" fmla="*/ 2381 h 294482"/>
                  <a:gd name="connsiteX0" fmla="*/ 969206 w 2807759"/>
                  <a:gd name="connsiteY0" fmla="*/ 2381 h 294482"/>
                  <a:gd name="connsiteX1" fmla="*/ 2807759 w 2807759"/>
                  <a:gd name="connsiteY1" fmla="*/ 0 h 294482"/>
                  <a:gd name="connsiteX2" fmla="*/ 2807759 w 2807759"/>
                  <a:gd name="connsiteY2" fmla="*/ 292100 h 294482"/>
                  <a:gd name="connsiteX3" fmla="*/ 185151 w 2807759"/>
                  <a:gd name="connsiteY3" fmla="*/ 294482 h 294482"/>
                  <a:gd name="connsiteX4" fmla="*/ 969206 w 2807759"/>
                  <a:gd name="connsiteY4" fmla="*/ 2381 h 294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07759" h="294482">
                    <a:moveTo>
                      <a:pt x="969206" y="2381"/>
                    </a:moveTo>
                    <a:lnTo>
                      <a:pt x="2807759" y="0"/>
                    </a:lnTo>
                    <a:lnTo>
                      <a:pt x="2807759" y="292100"/>
                    </a:lnTo>
                    <a:lnTo>
                      <a:pt x="185151" y="294482"/>
                    </a:lnTo>
                    <a:cubicBezTo>
                      <a:pt x="-394443" y="270934"/>
                      <a:pt x="532656" y="2117"/>
                      <a:pt x="969206" y="2381"/>
                    </a:cubicBezTo>
                    <a:close/>
                  </a:path>
                </a:pathLst>
              </a:custGeom>
              <a:grpFill/>
              <a:ln w="8001" cap="flat" cmpd="sng" algn="ctr">
                <a:solidFill>
                  <a:schemeClr val="accent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454284">
                  <a:defRPr/>
                </a:pPr>
                <a:endParaRPr lang="en-US" sz="1789" kern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endParaRPr>
              </a:p>
            </p:txBody>
          </p:sp>
          <p:grpSp>
            <p:nvGrpSpPr>
              <p:cNvPr id="262" name="Gruppieren 600">
                <a:extLst>
                  <a:ext uri="{FF2B5EF4-FFF2-40B4-BE49-F238E27FC236}">
                    <a16:creationId xmlns:a16="http://schemas.microsoft.com/office/drawing/2014/main" xmlns="" id="{3D444028-C39F-4394-9A35-0C1B3E0CB5B2}"/>
                  </a:ext>
                </a:extLst>
              </p:cNvPr>
              <p:cNvGrpSpPr/>
              <p:nvPr/>
            </p:nvGrpSpPr>
            <p:grpSpPr>
              <a:xfrm>
                <a:off x="2446936" y="3082933"/>
                <a:ext cx="3884496" cy="49809"/>
                <a:chOff x="2294536" y="2930533"/>
                <a:chExt cx="3884496" cy="49809"/>
              </a:xfrm>
              <a:grpFill/>
            </p:grpSpPr>
            <p:cxnSp>
              <p:nvCxnSpPr>
                <p:cNvPr id="264" name="Gerader Verbinder 601">
                  <a:extLst>
                    <a:ext uri="{FF2B5EF4-FFF2-40B4-BE49-F238E27FC236}">
                      <a16:creationId xmlns:a16="http://schemas.microsoft.com/office/drawing/2014/main" xmlns="" id="{ADDE2FE9-5D60-49CF-B271-AC318F13F27D}"/>
                    </a:ext>
                  </a:extLst>
                </p:cNvPr>
                <p:cNvCxnSpPr/>
                <p:nvPr/>
              </p:nvCxnSpPr>
              <p:spPr>
                <a:xfrm>
                  <a:off x="2294536" y="2955437"/>
                  <a:ext cx="3884496" cy="0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65" name="Gerader Verbinder 602">
                  <a:extLst>
                    <a:ext uri="{FF2B5EF4-FFF2-40B4-BE49-F238E27FC236}">
                      <a16:creationId xmlns:a16="http://schemas.microsoft.com/office/drawing/2014/main" xmlns="" id="{4192B78E-7CC4-41C9-A3B3-19BEFE843DAF}"/>
                    </a:ext>
                  </a:extLst>
                </p:cNvPr>
                <p:cNvCxnSpPr/>
                <p:nvPr/>
              </p:nvCxnSpPr>
              <p:spPr>
                <a:xfrm>
                  <a:off x="2410655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69" name="Gerader Verbinder 603">
                  <a:extLst>
                    <a:ext uri="{FF2B5EF4-FFF2-40B4-BE49-F238E27FC236}">
                      <a16:creationId xmlns:a16="http://schemas.microsoft.com/office/drawing/2014/main" xmlns="" id="{66AB8C1D-9256-4FBB-8FF2-19E0C78286BB}"/>
                    </a:ext>
                  </a:extLst>
                </p:cNvPr>
                <p:cNvCxnSpPr/>
                <p:nvPr/>
              </p:nvCxnSpPr>
              <p:spPr>
                <a:xfrm>
                  <a:off x="2639026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70" name="Gerader Verbinder 604">
                  <a:extLst>
                    <a:ext uri="{FF2B5EF4-FFF2-40B4-BE49-F238E27FC236}">
                      <a16:creationId xmlns:a16="http://schemas.microsoft.com/office/drawing/2014/main" xmlns="" id="{BD119496-1D8B-4CFF-9FB4-801F2C10DD16}"/>
                    </a:ext>
                  </a:extLst>
                </p:cNvPr>
                <p:cNvCxnSpPr/>
                <p:nvPr/>
              </p:nvCxnSpPr>
              <p:spPr>
                <a:xfrm>
                  <a:off x="2867397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71" name="Gerader Verbinder 605">
                  <a:extLst>
                    <a:ext uri="{FF2B5EF4-FFF2-40B4-BE49-F238E27FC236}">
                      <a16:creationId xmlns:a16="http://schemas.microsoft.com/office/drawing/2014/main" xmlns="" id="{94B69AD9-ED29-4909-9EF5-1B246309C28D}"/>
                    </a:ext>
                  </a:extLst>
                </p:cNvPr>
                <p:cNvCxnSpPr/>
                <p:nvPr/>
              </p:nvCxnSpPr>
              <p:spPr>
                <a:xfrm>
                  <a:off x="3095768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72" name="Gerader Verbinder 606">
                  <a:extLst>
                    <a:ext uri="{FF2B5EF4-FFF2-40B4-BE49-F238E27FC236}">
                      <a16:creationId xmlns:a16="http://schemas.microsoft.com/office/drawing/2014/main" xmlns="" id="{46268346-F657-4D27-9B56-FED49EE69D13}"/>
                    </a:ext>
                  </a:extLst>
                </p:cNvPr>
                <p:cNvCxnSpPr/>
                <p:nvPr/>
              </p:nvCxnSpPr>
              <p:spPr>
                <a:xfrm>
                  <a:off x="3324139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73" name="Gerader Verbinder 607">
                  <a:extLst>
                    <a:ext uri="{FF2B5EF4-FFF2-40B4-BE49-F238E27FC236}">
                      <a16:creationId xmlns:a16="http://schemas.microsoft.com/office/drawing/2014/main" xmlns="" id="{476A7F5A-2D10-4D15-9180-CF2B0E918195}"/>
                    </a:ext>
                  </a:extLst>
                </p:cNvPr>
                <p:cNvCxnSpPr/>
                <p:nvPr/>
              </p:nvCxnSpPr>
              <p:spPr>
                <a:xfrm>
                  <a:off x="3552510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74" name="Gerader Verbinder 608">
                  <a:extLst>
                    <a:ext uri="{FF2B5EF4-FFF2-40B4-BE49-F238E27FC236}">
                      <a16:creationId xmlns:a16="http://schemas.microsoft.com/office/drawing/2014/main" xmlns="" id="{281BCEED-EB0E-4717-8887-C53E19931FA1}"/>
                    </a:ext>
                  </a:extLst>
                </p:cNvPr>
                <p:cNvCxnSpPr/>
                <p:nvPr/>
              </p:nvCxnSpPr>
              <p:spPr>
                <a:xfrm>
                  <a:off x="3780881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75" name="Gerader Verbinder 609">
                  <a:extLst>
                    <a:ext uri="{FF2B5EF4-FFF2-40B4-BE49-F238E27FC236}">
                      <a16:creationId xmlns:a16="http://schemas.microsoft.com/office/drawing/2014/main" xmlns="" id="{AEBCD46C-86BC-4B7F-A0DA-98AE7B58FD2C}"/>
                    </a:ext>
                  </a:extLst>
                </p:cNvPr>
                <p:cNvCxnSpPr/>
                <p:nvPr/>
              </p:nvCxnSpPr>
              <p:spPr>
                <a:xfrm>
                  <a:off x="4009252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76" name="Gerader Verbinder 610">
                  <a:extLst>
                    <a:ext uri="{FF2B5EF4-FFF2-40B4-BE49-F238E27FC236}">
                      <a16:creationId xmlns:a16="http://schemas.microsoft.com/office/drawing/2014/main" xmlns="" id="{3319EF80-E857-41F4-A09C-8A73E8F2021D}"/>
                    </a:ext>
                  </a:extLst>
                </p:cNvPr>
                <p:cNvCxnSpPr/>
                <p:nvPr/>
              </p:nvCxnSpPr>
              <p:spPr>
                <a:xfrm>
                  <a:off x="4237623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77" name="Gerader Verbinder 611">
                  <a:extLst>
                    <a:ext uri="{FF2B5EF4-FFF2-40B4-BE49-F238E27FC236}">
                      <a16:creationId xmlns:a16="http://schemas.microsoft.com/office/drawing/2014/main" xmlns="" id="{1363BA28-7D88-410B-80AF-0905CB7CDD31}"/>
                    </a:ext>
                  </a:extLst>
                </p:cNvPr>
                <p:cNvCxnSpPr/>
                <p:nvPr/>
              </p:nvCxnSpPr>
              <p:spPr>
                <a:xfrm>
                  <a:off x="4465994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78" name="Gerader Verbinder 612">
                  <a:extLst>
                    <a:ext uri="{FF2B5EF4-FFF2-40B4-BE49-F238E27FC236}">
                      <a16:creationId xmlns:a16="http://schemas.microsoft.com/office/drawing/2014/main" xmlns="" id="{322417FE-30B0-49D3-969C-788A1E00D069}"/>
                    </a:ext>
                  </a:extLst>
                </p:cNvPr>
                <p:cNvCxnSpPr/>
                <p:nvPr/>
              </p:nvCxnSpPr>
              <p:spPr>
                <a:xfrm>
                  <a:off x="4694365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79" name="Gerader Verbinder 613">
                  <a:extLst>
                    <a:ext uri="{FF2B5EF4-FFF2-40B4-BE49-F238E27FC236}">
                      <a16:creationId xmlns:a16="http://schemas.microsoft.com/office/drawing/2014/main" xmlns="" id="{92F60F2A-EB1C-4557-8703-85C8938A280C}"/>
                    </a:ext>
                  </a:extLst>
                </p:cNvPr>
                <p:cNvCxnSpPr/>
                <p:nvPr/>
              </p:nvCxnSpPr>
              <p:spPr>
                <a:xfrm>
                  <a:off x="4922736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80" name="Gerader Verbinder 614">
                  <a:extLst>
                    <a:ext uri="{FF2B5EF4-FFF2-40B4-BE49-F238E27FC236}">
                      <a16:creationId xmlns:a16="http://schemas.microsoft.com/office/drawing/2014/main" xmlns="" id="{3AF9A9D4-0AEF-42FF-B07F-0C1AEC40046E}"/>
                    </a:ext>
                  </a:extLst>
                </p:cNvPr>
                <p:cNvCxnSpPr/>
                <p:nvPr/>
              </p:nvCxnSpPr>
              <p:spPr>
                <a:xfrm>
                  <a:off x="5151107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81" name="Gerader Verbinder 615">
                  <a:extLst>
                    <a:ext uri="{FF2B5EF4-FFF2-40B4-BE49-F238E27FC236}">
                      <a16:creationId xmlns:a16="http://schemas.microsoft.com/office/drawing/2014/main" xmlns="" id="{D9B7A91B-5E30-4CC0-8545-5287534A2422}"/>
                    </a:ext>
                  </a:extLst>
                </p:cNvPr>
                <p:cNvCxnSpPr/>
                <p:nvPr/>
              </p:nvCxnSpPr>
              <p:spPr>
                <a:xfrm>
                  <a:off x="5379478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82" name="Gerader Verbinder 616">
                  <a:extLst>
                    <a:ext uri="{FF2B5EF4-FFF2-40B4-BE49-F238E27FC236}">
                      <a16:creationId xmlns:a16="http://schemas.microsoft.com/office/drawing/2014/main" xmlns="" id="{DE1D2332-2897-4DC4-B3A0-BE6DDDD7DF7C}"/>
                    </a:ext>
                  </a:extLst>
                </p:cNvPr>
                <p:cNvCxnSpPr/>
                <p:nvPr/>
              </p:nvCxnSpPr>
              <p:spPr>
                <a:xfrm>
                  <a:off x="5607849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83" name="Gerader Verbinder 617">
                  <a:extLst>
                    <a:ext uri="{FF2B5EF4-FFF2-40B4-BE49-F238E27FC236}">
                      <a16:creationId xmlns:a16="http://schemas.microsoft.com/office/drawing/2014/main" xmlns="" id="{12480034-92D3-4061-ACC4-76DD2B06E5C2}"/>
                    </a:ext>
                  </a:extLst>
                </p:cNvPr>
                <p:cNvCxnSpPr/>
                <p:nvPr/>
              </p:nvCxnSpPr>
              <p:spPr>
                <a:xfrm>
                  <a:off x="5836220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84" name="Gerader Verbinder 618">
                  <a:extLst>
                    <a:ext uri="{FF2B5EF4-FFF2-40B4-BE49-F238E27FC236}">
                      <a16:creationId xmlns:a16="http://schemas.microsoft.com/office/drawing/2014/main" xmlns="" id="{5EE9ECA3-D8CE-4532-9A45-7DC6C94BFEFB}"/>
                    </a:ext>
                  </a:extLst>
                </p:cNvPr>
                <p:cNvCxnSpPr/>
                <p:nvPr/>
              </p:nvCxnSpPr>
              <p:spPr>
                <a:xfrm>
                  <a:off x="6064595" y="2930533"/>
                  <a:ext cx="0" cy="49809"/>
                </a:xfrm>
                <a:prstGeom prst="line">
                  <a:avLst/>
                </a:prstGeom>
                <a:grpFill/>
                <a:ln w="8001" cap="flat" cmpd="sng" algn="ctr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effectLst/>
              </p:spPr>
            </p:cxnSp>
          </p:grpSp>
        </p:grpSp>
        <p:grpSp>
          <p:nvGrpSpPr>
            <p:cNvPr id="334" name="Gruppieren 333">
              <a:extLst>
                <a:ext uri="{FF2B5EF4-FFF2-40B4-BE49-F238E27FC236}">
                  <a16:creationId xmlns:a16="http://schemas.microsoft.com/office/drawing/2014/main" xmlns="" id="{AA6A93B9-9E3C-4550-B756-08E57107D8EC}"/>
                </a:ext>
              </a:extLst>
            </p:cNvPr>
            <p:cNvGrpSpPr/>
            <p:nvPr userDrawn="1"/>
          </p:nvGrpSpPr>
          <p:grpSpPr>
            <a:xfrm>
              <a:off x="718665" y="1881009"/>
              <a:ext cx="2399622" cy="1407993"/>
              <a:chOff x="224823" y="2404047"/>
              <a:chExt cx="2399622" cy="1407993"/>
            </a:xfrm>
          </p:grpSpPr>
          <p:grpSp>
            <p:nvGrpSpPr>
              <p:cNvPr id="335" name="Gruppieren 334">
                <a:extLst>
                  <a:ext uri="{FF2B5EF4-FFF2-40B4-BE49-F238E27FC236}">
                    <a16:creationId xmlns:a16="http://schemas.microsoft.com/office/drawing/2014/main" xmlns="" id="{5B6C2936-051E-4FED-A15F-D1E08ED7DFB9}"/>
                  </a:ext>
                </a:extLst>
              </p:cNvPr>
              <p:cNvGrpSpPr/>
              <p:nvPr/>
            </p:nvGrpSpPr>
            <p:grpSpPr>
              <a:xfrm>
                <a:off x="224823" y="2404047"/>
                <a:ext cx="2399622" cy="1407993"/>
                <a:chOff x="224823" y="2404047"/>
                <a:chExt cx="2399622" cy="1407993"/>
              </a:xfrm>
            </p:grpSpPr>
            <p:grpSp>
              <p:nvGrpSpPr>
                <p:cNvPr id="338" name="Gruppieren 337">
                  <a:extLst>
                    <a:ext uri="{FF2B5EF4-FFF2-40B4-BE49-F238E27FC236}">
                      <a16:creationId xmlns:a16="http://schemas.microsoft.com/office/drawing/2014/main" xmlns="" id="{6841615D-D713-40C5-8A74-156D8FAE3F50}"/>
                    </a:ext>
                  </a:extLst>
                </p:cNvPr>
                <p:cNvGrpSpPr/>
                <p:nvPr/>
              </p:nvGrpSpPr>
              <p:grpSpPr>
                <a:xfrm>
                  <a:off x="771901" y="2477602"/>
                  <a:ext cx="254188" cy="760121"/>
                  <a:chOff x="1510396" y="547704"/>
                  <a:chExt cx="565155" cy="1690030"/>
                </a:xfrm>
              </p:grpSpPr>
              <p:sp>
                <p:nvSpPr>
                  <p:cNvPr id="521" name="Rectangle 193">
                    <a:extLst>
                      <a:ext uri="{FF2B5EF4-FFF2-40B4-BE49-F238E27FC236}">
                        <a16:creationId xmlns:a16="http://schemas.microsoft.com/office/drawing/2014/main" xmlns="" id="{6277EDBC-FB49-41A0-B4F2-47F1AD2FDDB1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510396" y="547704"/>
                    <a:ext cx="565155" cy="1690030"/>
                  </a:xfrm>
                  <a:prstGeom prst="rect">
                    <a:avLst/>
                  </a:prstGeom>
                  <a:solidFill>
                    <a:schemeClr val="accent1">
                      <a:lumMod val="40000"/>
                      <a:lumOff val="60000"/>
                    </a:schemeClr>
                  </a:solidFill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grpSp>
                <p:nvGrpSpPr>
                  <p:cNvPr id="522" name="Gruppieren 521">
                    <a:extLst>
                      <a:ext uri="{FF2B5EF4-FFF2-40B4-BE49-F238E27FC236}">
                        <a16:creationId xmlns:a16="http://schemas.microsoft.com/office/drawing/2014/main" xmlns="" id="{17FE542C-2ADE-4C69-8531-9C8B891F6F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561759" y="627641"/>
                    <a:ext cx="462428" cy="754224"/>
                    <a:chOff x="1587718" y="627641"/>
                    <a:chExt cx="462428" cy="754224"/>
                  </a:xfrm>
                </p:grpSpPr>
                <p:grpSp>
                  <p:nvGrpSpPr>
                    <p:cNvPr id="527" name="Gruppieren 526">
                      <a:extLst>
                        <a:ext uri="{FF2B5EF4-FFF2-40B4-BE49-F238E27FC236}">
                          <a16:creationId xmlns:a16="http://schemas.microsoft.com/office/drawing/2014/main" xmlns="" id="{EB7FDE74-6DD8-481B-9193-FB94C30E410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587718" y="627641"/>
                      <a:ext cx="116404" cy="754224"/>
                      <a:chOff x="1587718" y="627641"/>
                      <a:chExt cx="77489" cy="754224"/>
                    </a:xfrm>
                  </p:grpSpPr>
                  <p:sp>
                    <p:nvSpPr>
                      <p:cNvPr id="540" name="Rectangle 220">
                        <a:extLst>
                          <a:ext uri="{FF2B5EF4-FFF2-40B4-BE49-F238E27FC236}">
                            <a16:creationId xmlns:a16="http://schemas.microsoft.com/office/drawing/2014/main" xmlns="" id="{061E9F84-7B5E-4E19-8CAA-636F5DB77703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627641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541" name="Rectangle 220">
                        <a:extLst>
                          <a:ext uri="{FF2B5EF4-FFF2-40B4-BE49-F238E27FC236}">
                            <a16:creationId xmlns:a16="http://schemas.microsoft.com/office/drawing/2014/main" xmlns="" id="{C5948DE5-AF7B-4941-9A6C-C4187D3ABA6A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79369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542" name="Rectangle 220">
                        <a:extLst>
                          <a:ext uri="{FF2B5EF4-FFF2-40B4-BE49-F238E27FC236}">
                            <a16:creationId xmlns:a16="http://schemas.microsoft.com/office/drawing/2014/main" xmlns="" id="{F2ADF8A4-9827-4C7C-B8E5-E2191CDDBB80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95975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543" name="Rectangle 220">
                        <a:extLst>
                          <a:ext uri="{FF2B5EF4-FFF2-40B4-BE49-F238E27FC236}">
                            <a16:creationId xmlns:a16="http://schemas.microsoft.com/office/drawing/2014/main" xmlns="" id="{9255464B-4A77-473A-8265-C4DC5D458D8D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12580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544" name="Rectangle 220">
                        <a:extLst>
                          <a:ext uri="{FF2B5EF4-FFF2-40B4-BE49-F238E27FC236}">
                            <a16:creationId xmlns:a16="http://schemas.microsoft.com/office/drawing/2014/main" xmlns="" id="{4878D57D-2689-4D65-B4A3-63F8B672CF9A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29186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</p:grpSp>
                <p:grpSp>
                  <p:nvGrpSpPr>
                    <p:cNvPr id="528" name="Gruppieren 527">
                      <a:extLst>
                        <a:ext uri="{FF2B5EF4-FFF2-40B4-BE49-F238E27FC236}">
                          <a16:creationId xmlns:a16="http://schemas.microsoft.com/office/drawing/2014/main" xmlns="" id="{D1B49417-7703-4060-BC93-3B9ACE994037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760730" y="627641"/>
                      <a:ext cx="116404" cy="754224"/>
                      <a:chOff x="1587718" y="627641"/>
                      <a:chExt cx="77489" cy="754224"/>
                    </a:xfrm>
                  </p:grpSpPr>
                  <p:sp>
                    <p:nvSpPr>
                      <p:cNvPr id="535" name="Rectangle 220">
                        <a:extLst>
                          <a:ext uri="{FF2B5EF4-FFF2-40B4-BE49-F238E27FC236}">
                            <a16:creationId xmlns:a16="http://schemas.microsoft.com/office/drawing/2014/main" xmlns="" id="{27D8A2A2-A397-42AA-B77D-D30448D78462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627641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536" name="Rectangle 220">
                        <a:extLst>
                          <a:ext uri="{FF2B5EF4-FFF2-40B4-BE49-F238E27FC236}">
                            <a16:creationId xmlns:a16="http://schemas.microsoft.com/office/drawing/2014/main" xmlns="" id="{53D475A6-CBF8-48E8-9A78-A42496BD86AA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79369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537" name="Rectangle 220">
                        <a:extLst>
                          <a:ext uri="{FF2B5EF4-FFF2-40B4-BE49-F238E27FC236}">
                            <a16:creationId xmlns:a16="http://schemas.microsoft.com/office/drawing/2014/main" xmlns="" id="{697ECA49-C6D8-4FA0-9CFB-ED78F9964C1E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95975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538" name="Rectangle 220">
                        <a:extLst>
                          <a:ext uri="{FF2B5EF4-FFF2-40B4-BE49-F238E27FC236}">
                            <a16:creationId xmlns:a16="http://schemas.microsoft.com/office/drawing/2014/main" xmlns="" id="{2E539D83-77D5-45A6-8F06-58A96C2337AB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12580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539" name="Rectangle 220">
                        <a:extLst>
                          <a:ext uri="{FF2B5EF4-FFF2-40B4-BE49-F238E27FC236}">
                            <a16:creationId xmlns:a16="http://schemas.microsoft.com/office/drawing/2014/main" xmlns="" id="{F3CF60B0-3F57-4724-B45E-16F135EB567C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29186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</p:grpSp>
                <p:grpSp>
                  <p:nvGrpSpPr>
                    <p:cNvPr id="529" name="Gruppieren 528">
                      <a:extLst>
                        <a:ext uri="{FF2B5EF4-FFF2-40B4-BE49-F238E27FC236}">
                          <a16:creationId xmlns:a16="http://schemas.microsoft.com/office/drawing/2014/main" xmlns="" id="{1C055FAB-7C9B-4F7C-A52E-67ED2E05AB87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933742" y="627641"/>
                      <a:ext cx="116404" cy="754224"/>
                      <a:chOff x="1587718" y="627641"/>
                      <a:chExt cx="77489" cy="754224"/>
                    </a:xfrm>
                  </p:grpSpPr>
                  <p:sp>
                    <p:nvSpPr>
                      <p:cNvPr id="530" name="Rectangle 220">
                        <a:extLst>
                          <a:ext uri="{FF2B5EF4-FFF2-40B4-BE49-F238E27FC236}">
                            <a16:creationId xmlns:a16="http://schemas.microsoft.com/office/drawing/2014/main" xmlns="" id="{001C987A-DC35-4353-8014-9864B53F8474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627641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531" name="Rectangle 220">
                        <a:extLst>
                          <a:ext uri="{FF2B5EF4-FFF2-40B4-BE49-F238E27FC236}">
                            <a16:creationId xmlns:a16="http://schemas.microsoft.com/office/drawing/2014/main" xmlns="" id="{0E72087D-6892-4289-B136-B014B7317B1F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79369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532" name="Rectangle 220">
                        <a:extLst>
                          <a:ext uri="{FF2B5EF4-FFF2-40B4-BE49-F238E27FC236}">
                            <a16:creationId xmlns:a16="http://schemas.microsoft.com/office/drawing/2014/main" xmlns="" id="{8D4E6050-0378-44AA-9E55-D27483978BED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95975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533" name="Rectangle 220">
                        <a:extLst>
                          <a:ext uri="{FF2B5EF4-FFF2-40B4-BE49-F238E27FC236}">
                            <a16:creationId xmlns:a16="http://schemas.microsoft.com/office/drawing/2014/main" xmlns="" id="{5AB4E8C7-8326-4242-BE93-2C33F542A8F6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12580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534" name="Rectangle 220">
                        <a:extLst>
                          <a:ext uri="{FF2B5EF4-FFF2-40B4-BE49-F238E27FC236}">
                            <a16:creationId xmlns:a16="http://schemas.microsoft.com/office/drawing/2014/main" xmlns="" id="{6BCEFCDF-7E55-4805-AB75-C698CC2B0096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29186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</p:grpSp>
              </p:grpSp>
              <p:sp>
                <p:nvSpPr>
                  <p:cNvPr id="523" name="Rectangle 220">
                    <a:extLst>
                      <a:ext uri="{FF2B5EF4-FFF2-40B4-BE49-F238E27FC236}">
                        <a16:creationId xmlns:a16="http://schemas.microsoft.com/office/drawing/2014/main" xmlns="" id="{0EDA1470-F2E6-4F44-B1C2-6264A1742D4F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734771" y="1445876"/>
                    <a:ext cx="116404" cy="90000"/>
                  </a:xfrm>
                  <a:custGeom>
                    <a:avLst/>
                    <a:gdLst>
                      <a:gd name="connsiteX0" fmla="*/ 0 w 28417"/>
                      <a:gd name="connsiteY0" fmla="*/ 0 h 27223"/>
                      <a:gd name="connsiteX1" fmla="*/ 28417 w 28417"/>
                      <a:gd name="connsiteY1" fmla="*/ 0 h 27223"/>
                      <a:gd name="connsiteX2" fmla="*/ 28417 w 28417"/>
                      <a:gd name="connsiteY2" fmla="*/ 27223 h 27223"/>
                      <a:gd name="connsiteX3" fmla="*/ 0 w 28417"/>
                      <a:gd name="connsiteY3" fmla="*/ 27223 h 27223"/>
                      <a:gd name="connsiteX4" fmla="*/ 0 w 28417"/>
                      <a:gd name="connsiteY4" fmla="*/ 0 h 27223"/>
                      <a:gd name="connsiteX0" fmla="*/ 0 w 28417"/>
                      <a:gd name="connsiteY0" fmla="*/ 0 h 27223"/>
                      <a:gd name="connsiteX1" fmla="*/ 28417 w 28417"/>
                      <a:gd name="connsiteY1" fmla="*/ 0 h 27223"/>
                      <a:gd name="connsiteX2" fmla="*/ 0 w 28417"/>
                      <a:gd name="connsiteY2" fmla="*/ 27223 h 27223"/>
                      <a:gd name="connsiteX3" fmla="*/ 0 w 28417"/>
                      <a:gd name="connsiteY3" fmla="*/ 0 h 27223"/>
                      <a:gd name="connsiteX0" fmla="*/ 0 w 132887"/>
                      <a:gd name="connsiteY0" fmla="*/ 0 h 33158"/>
                      <a:gd name="connsiteX1" fmla="*/ 28417 w 132887"/>
                      <a:gd name="connsiteY1" fmla="*/ 0 h 33158"/>
                      <a:gd name="connsiteX2" fmla="*/ 132814 w 132887"/>
                      <a:gd name="connsiteY2" fmla="*/ 33158 h 33158"/>
                      <a:gd name="connsiteX3" fmla="*/ 0 w 132887"/>
                      <a:gd name="connsiteY3" fmla="*/ 27223 h 33158"/>
                      <a:gd name="connsiteX4" fmla="*/ 0 w 132887"/>
                      <a:gd name="connsiteY4" fmla="*/ 0 h 33158"/>
                      <a:gd name="connsiteX0" fmla="*/ 0 w 132887"/>
                      <a:gd name="connsiteY0" fmla="*/ 0 h 88199"/>
                      <a:gd name="connsiteX1" fmla="*/ 28417 w 132887"/>
                      <a:gd name="connsiteY1" fmla="*/ 0 h 88199"/>
                      <a:gd name="connsiteX2" fmla="*/ 132814 w 132887"/>
                      <a:gd name="connsiteY2" fmla="*/ 33158 h 88199"/>
                      <a:gd name="connsiteX3" fmla="*/ 70812 w 132887"/>
                      <a:gd name="connsiteY3" fmla="*/ 88173 h 88199"/>
                      <a:gd name="connsiteX4" fmla="*/ 0 w 132887"/>
                      <a:gd name="connsiteY4" fmla="*/ 27223 h 88199"/>
                      <a:gd name="connsiteX5" fmla="*/ 0 w 132887"/>
                      <a:gd name="connsiteY5" fmla="*/ 0 h 88199"/>
                      <a:gd name="connsiteX0" fmla="*/ 70812 w 166347"/>
                      <a:gd name="connsiteY0" fmla="*/ 88173 h 88173"/>
                      <a:gd name="connsiteX1" fmla="*/ 0 w 166347"/>
                      <a:gd name="connsiteY1" fmla="*/ 27223 h 88173"/>
                      <a:gd name="connsiteX2" fmla="*/ 0 w 166347"/>
                      <a:gd name="connsiteY2" fmla="*/ 0 h 88173"/>
                      <a:gd name="connsiteX3" fmla="*/ 28417 w 166347"/>
                      <a:gd name="connsiteY3" fmla="*/ 0 h 88173"/>
                      <a:gd name="connsiteX4" fmla="*/ 166347 w 166347"/>
                      <a:gd name="connsiteY4" fmla="*/ 66691 h 88173"/>
                      <a:gd name="connsiteX0" fmla="*/ 70812 w 70812"/>
                      <a:gd name="connsiteY0" fmla="*/ 88173 h 88173"/>
                      <a:gd name="connsiteX1" fmla="*/ 0 w 70812"/>
                      <a:gd name="connsiteY1" fmla="*/ 27223 h 88173"/>
                      <a:gd name="connsiteX2" fmla="*/ 0 w 70812"/>
                      <a:gd name="connsiteY2" fmla="*/ 0 h 88173"/>
                      <a:gd name="connsiteX3" fmla="*/ 28417 w 70812"/>
                      <a:gd name="connsiteY3" fmla="*/ 0 h 88173"/>
                      <a:gd name="connsiteX0" fmla="*/ 0 w 28417"/>
                      <a:gd name="connsiteY0" fmla="*/ 27223 h 27223"/>
                      <a:gd name="connsiteX1" fmla="*/ 0 w 28417"/>
                      <a:gd name="connsiteY1" fmla="*/ 0 h 27223"/>
                      <a:gd name="connsiteX2" fmla="*/ 28417 w 28417"/>
                      <a:gd name="connsiteY2" fmla="*/ 0 h 272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8417" h="27223">
                        <a:moveTo>
                          <a:pt x="0" y="27223"/>
                        </a:moveTo>
                        <a:lnTo>
                          <a:pt x="0" y="0"/>
                        </a:lnTo>
                        <a:lnTo>
                          <a:pt x="28417" y="0"/>
                        </a:lnTo>
                      </a:path>
                    </a:pathLst>
                  </a:custGeom>
                  <a:noFill/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24" name="Rectangle 220">
                    <a:extLst>
                      <a:ext uri="{FF2B5EF4-FFF2-40B4-BE49-F238E27FC236}">
                        <a16:creationId xmlns:a16="http://schemas.microsoft.com/office/drawing/2014/main" xmlns="" id="{B9755F01-23FE-4976-B78E-8742106E3930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734771" y="1611933"/>
                    <a:ext cx="116404" cy="90000"/>
                  </a:xfrm>
                  <a:custGeom>
                    <a:avLst/>
                    <a:gdLst>
                      <a:gd name="connsiteX0" fmla="*/ 0 w 28417"/>
                      <a:gd name="connsiteY0" fmla="*/ 0 h 27223"/>
                      <a:gd name="connsiteX1" fmla="*/ 28417 w 28417"/>
                      <a:gd name="connsiteY1" fmla="*/ 0 h 27223"/>
                      <a:gd name="connsiteX2" fmla="*/ 28417 w 28417"/>
                      <a:gd name="connsiteY2" fmla="*/ 27223 h 27223"/>
                      <a:gd name="connsiteX3" fmla="*/ 0 w 28417"/>
                      <a:gd name="connsiteY3" fmla="*/ 27223 h 27223"/>
                      <a:gd name="connsiteX4" fmla="*/ 0 w 28417"/>
                      <a:gd name="connsiteY4" fmla="*/ 0 h 27223"/>
                      <a:gd name="connsiteX0" fmla="*/ 0 w 28417"/>
                      <a:gd name="connsiteY0" fmla="*/ 0 h 27223"/>
                      <a:gd name="connsiteX1" fmla="*/ 28417 w 28417"/>
                      <a:gd name="connsiteY1" fmla="*/ 0 h 27223"/>
                      <a:gd name="connsiteX2" fmla="*/ 0 w 28417"/>
                      <a:gd name="connsiteY2" fmla="*/ 27223 h 27223"/>
                      <a:gd name="connsiteX3" fmla="*/ 0 w 28417"/>
                      <a:gd name="connsiteY3" fmla="*/ 0 h 27223"/>
                      <a:gd name="connsiteX0" fmla="*/ 0 w 132887"/>
                      <a:gd name="connsiteY0" fmla="*/ 0 h 33158"/>
                      <a:gd name="connsiteX1" fmla="*/ 28417 w 132887"/>
                      <a:gd name="connsiteY1" fmla="*/ 0 h 33158"/>
                      <a:gd name="connsiteX2" fmla="*/ 132814 w 132887"/>
                      <a:gd name="connsiteY2" fmla="*/ 33158 h 33158"/>
                      <a:gd name="connsiteX3" fmla="*/ 0 w 132887"/>
                      <a:gd name="connsiteY3" fmla="*/ 27223 h 33158"/>
                      <a:gd name="connsiteX4" fmla="*/ 0 w 132887"/>
                      <a:gd name="connsiteY4" fmla="*/ 0 h 33158"/>
                      <a:gd name="connsiteX0" fmla="*/ 0 w 132887"/>
                      <a:gd name="connsiteY0" fmla="*/ 0 h 88199"/>
                      <a:gd name="connsiteX1" fmla="*/ 28417 w 132887"/>
                      <a:gd name="connsiteY1" fmla="*/ 0 h 88199"/>
                      <a:gd name="connsiteX2" fmla="*/ 132814 w 132887"/>
                      <a:gd name="connsiteY2" fmla="*/ 33158 h 88199"/>
                      <a:gd name="connsiteX3" fmla="*/ 70812 w 132887"/>
                      <a:gd name="connsiteY3" fmla="*/ 88173 h 88199"/>
                      <a:gd name="connsiteX4" fmla="*/ 0 w 132887"/>
                      <a:gd name="connsiteY4" fmla="*/ 27223 h 88199"/>
                      <a:gd name="connsiteX5" fmla="*/ 0 w 132887"/>
                      <a:gd name="connsiteY5" fmla="*/ 0 h 88199"/>
                      <a:gd name="connsiteX0" fmla="*/ 70812 w 166347"/>
                      <a:gd name="connsiteY0" fmla="*/ 88173 h 88173"/>
                      <a:gd name="connsiteX1" fmla="*/ 0 w 166347"/>
                      <a:gd name="connsiteY1" fmla="*/ 27223 h 88173"/>
                      <a:gd name="connsiteX2" fmla="*/ 0 w 166347"/>
                      <a:gd name="connsiteY2" fmla="*/ 0 h 88173"/>
                      <a:gd name="connsiteX3" fmla="*/ 28417 w 166347"/>
                      <a:gd name="connsiteY3" fmla="*/ 0 h 88173"/>
                      <a:gd name="connsiteX4" fmla="*/ 166347 w 166347"/>
                      <a:gd name="connsiteY4" fmla="*/ 66691 h 88173"/>
                      <a:gd name="connsiteX0" fmla="*/ 70812 w 70812"/>
                      <a:gd name="connsiteY0" fmla="*/ 88173 h 88173"/>
                      <a:gd name="connsiteX1" fmla="*/ 0 w 70812"/>
                      <a:gd name="connsiteY1" fmla="*/ 27223 h 88173"/>
                      <a:gd name="connsiteX2" fmla="*/ 0 w 70812"/>
                      <a:gd name="connsiteY2" fmla="*/ 0 h 88173"/>
                      <a:gd name="connsiteX3" fmla="*/ 28417 w 70812"/>
                      <a:gd name="connsiteY3" fmla="*/ 0 h 88173"/>
                      <a:gd name="connsiteX0" fmla="*/ 0 w 28417"/>
                      <a:gd name="connsiteY0" fmla="*/ 27223 h 27223"/>
                      <a:gd name="connsiteX1" fmla="*/ 0 w 28417"/>
                      <a:gd name="connsiteY1" fmla="*/ 0 h 27223"/>
                      <a:gd name="connsiteX2" fmla="*/ 28417 w 28417"/>
                      <a:gd name="connsiteY2" fmla="*/ 0 h 272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8417" h="27223">
                        <a:moveTo>
                          <a:pt x="0" y="27223"/>
                        </a:moveTo>
                        <a:lnTo>
                          <a:pt x="0" y="0"/>
                        </a:lnTo>
                        <a:lnTo>
                          <a:pt x="28417" y="0"/>
                        </a:lnTo>
                      </a:path>
                    </a:pathLst>
                  </a:custGeom>
                  <a:noFill/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25" name="Rectangle 220">
                    <a:extLst>
                      <a:ext uri="{FF2B5EF4-FFF2-40B4-BE49-F238E27FC236}">
                        <a16:creationId xmlns:a16="http://schemas.microsoft.com/office/drawing/2014/main" xmlns="" id="{A3A5E0E1-4ABB-469B-9B08-ADA99A5F2C38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734771" y="1777990"/>
                    <a:ext cx="116404" cy="90000"/>
                  </a:xfrm>
                  <a:custGeom>
                    <a:avLst/>
                    <a:gdLst>
                      <a:gd name="connsiteX0" fmla="*/ 0 w 28417"/>
                      <a:gd name="connsiteY0" fmla="*/ 0 h 27223"/>
                      <a:gd name="connsiteX1" fmla="*/ 28417 w 28417"/>
                      <a:gd name="connsiteY1" fmla="*/ 0 h 27223"/>
                      <a:gd name="connsiteX2" fmla="*/ 28417 w 28417"/>
                      <a:gd name="connsiteY2" fmla="*/ 27223 h 27223"/>
                      <a:gd name="connsiteX3" fmla="*/ 0 w 28417"/>
                      <a:gd name="connsiteY3" fmla="*/ 27223 h 27223"/>
                      <a:gd name="connsiteX4" fmla="*/ 0 w 28417"/>
                      <a:gd name="connsiteY4" fmla="*/ 0 h 27223"/>
                      <a:gd name="connsiteX0" fmla="*/ 0 w 28417"/>
                      <a:gd name="connsiteY0" fmla="*/ 0 h 27223"/>
                      <a:gd name="connsiteX1" fmla="*/ 28417 w 28417"/>
                      <a:gd name="connsiteY1" fmla="*/ 0 h 27223"/>
                      <a:gd name="connsiteX2" fmla="*/ 0 w 28417"/>
                      <a:gd name="connsiteY2" fmla="*/ 27223 h 27223"/>
                      <a:gd name="connsiteX3" fmla="*/ 0 w 28417"/>
                      <a:gd name="connsiteY3" fmla="*/ 0 h 27223"/>
                      <a:gd name="connsiteX0" fmla="*/ 0 w 132887"/>
                      <a:gd name="connsiteY0" fmla="*/ 0 h 33158"/>
                      <a:gd name="connsiteX1" fmla="*/ 28417 w 132887"/>
                      <a:gd name="connsiteY1" fmla="*/ 0 h 33158"/>
                      <a:gd name="connsiteX2" fmla="*/ 132814 w 132887"/>
                      <a:gd name="connsiteY2" fmla="*/ 33158 h 33158"/>
                      <a:gd name="connsiteX3" fmla="*/ 0 w 132887"/>
                      <a:gd name="connsiteY3" fmla="*/ 27223 h 33158"/>
                      <a:gd name="connsiteX4" fmla="*/ 0 w 132887"/>
                      <a:gd name="connsiteY4" fmla="*/ 0 h 33158"/>
                      <a:gd name="connsiteX0" fmla="*/ 0 w 132887"/>
                      <a:gd name="connsiteY0" fmla="*/ 0 h 88199"/>
                      <a:gd name="connsiteX1" fmla="*/ 28417 w 132887"/>
                      <a:gd name="connsiteY1" fmla="*/ 0 h 88199"/>
                      <a:gd name="connsiteX2" fmla="*/ 132814 w 132887"/>
                      <a:gd name="connsiteY2" fmla="*/ 33158 h 88199"/>
                      <a:gd name="connsiteX3" fmla="*/ 70812 w 132887"/>
                      <a:gd name="connsiteY3" fmla="*/ 88173 h 88199"/>
                      <a:gd name="connsiteX4" fmla="*/ 0 w 132887"/>
                      <a:gd name="connsiteY4" fmla="*/ 27223 h 88199"/>
                      <a:gd name="connsiteX5" fmla="*/ 0 w 132887"/>
                      <a:gd name="connsiteY5" fmla="*/ 0 h 88199"/>
                      <a:gd name="connsiteX0" fmla="*/ 70812 w 166347"/>
                      <a:gd name="connsiteY0" fmla="*/ 88173 h 88173"/>
                      <a:gd name="connsiteX1" fmla="*/ 0 w 166347"/>
                      <a:gd name="connsiteY1" fmla="*/ 27223 h 88173"/>
                      <a:gd name="connsiteX2" fmla="*/ 0 w 166347"/>
                      <a:gd name="connsiteY2" fmla="*/ 0 h 88173"/>
                      <a:gd name="connsiteX3" fmla="*/ 28417 w 166347"/>
                      <a:gd name="connsiteY3" fmla="*/ 0 h 88173"/>
                      <a:gd name="connsiteX4" fmla="*/ 166347 w 166347"/>
                      <a:gd name="connsiteY4" fmla="*/ 66691 h 88173"/>
                      <a:gd name="connsiteX0" fmla="*/ 70812 w 70812"/>
                      <a:gd name="connsiteY0" fmla="*/ 88173 h 88173"/>
                      <a:gd name="connsiteX1" fmla="*/ 0 w 70812"/>
                      <a:gd name="connsiteY1" fmla="*/ 27223 h 88173"/>
                      <a:gd name="connsiteX2" fmla="*/ 0 w 70812"/>
                      <a:gd name="connsiteY2" fmla="*/ 0 h 88173"/>
                      <a:gd name="connsiteX3" fmla="*/ 28417 w 70812"/>
                      <a:gd name="connsiteY3" fmla="*/ 0 h 88173"/>
                      <a:gd name="connsiteX0" fmla="*/ 0 w 28417"/>
                      <a:gd name="connsiteY0" fmla="*/ 27223 h 27223"/>
                      <a:gd name="connsiteX1" fmla="*/ 0 w 28417"/>
                      <a:gd name="connsiteY1" fmla="*/ 0 h 27223"/>
                      <a:gd name="connsiteX2" fmla="*/ 28417 w 28417"/>
                      <a:gd name="connsiteY2" fmla="*/ 0 h 272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8417" h="27223">
                        <a:moveTo>
                          <a:pt x="0" y="27223"/>
                        </a:moveTo>
                        <a:lnTo>
                          <a:pt x="0" y="0"/>
                        </a:lnTo>
                        <a:lnTo>
                          <a:pt x="28417" y="0"/>
                        </a:lnTo>
                      </a:path>
                    </a:pathLst>
                  </a:custGeom>
                  <a:noFill/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26" name="Rectangle 220">
                    <a:extLst>
                      <a:ext uri="{FF2B5EF4-FFF2-40B4-BE49-F238E27FC236}">
                        <a16:creationId xmlns:a16="http://schemas.microsoft.com/office/drawing/2014/main" xmlns="" id="{0F6ABACF-BCCF-4B4A-BCF7-CDE28F6D74BD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907783" y="1445876"/>
                    <a:ext cx="116404" cy="90000"/>
                  </a:xfrm>
                  <a:custGeom>
                    <a:avLst/>
                    <a:gdLst>
                      <a:gd name="connsiteX0" fmla="*/ 0 w 28417"/>
                      <a:gd name="connsiteY0" fmla="*/ 0 h 27223"/>
                      <a:gd name="connsiteX1" fmla="*/ 28417 w 28417"/>
                      <a:gd name="connsiteY1" fmla="*/ 0 h 27223"/>
                      <a:gd name="connsiteX2" fmla="*/ 28417 w 28417"/>
                      <a:gd name="connsiteY2" fmla="*/ 27223 h 27223"/>
                      <a:gd name="connsiteX3" fmla="*/ 0 w 28417"/>
                      <a:gd name="connsiteY3" fmla="*/ 27223 h 27223"/>
                      <a:gd name="connsiteX4" fmla="*/ 0 w 28417"/>
                      <a:gd name="connsiteY4" fmla="*/ 0 h 27223"/>
                      <a:gd name="connsiteX0" fmla="*/ 0 w 28417"/>
                      <a:gd name="connsiteY0" fmla="*/ 0 h 27223"/>
                      <a:gd name="connsiteX1" fmla="*/ 28417 w 28417"/>
                      <a:gd name="connsiteY1" fmla="*/ 0 h 27223"/>
                      <a:gd name="connsiteX2" fmla="*/ 0 w 28417"/>
                      <a:gd name="connsiteY2" fmla="*/ 27223 h 27223"/>
                      <a:gd name="connsiteX3" fmla="*/ 0 w 28417"/>
                      <a:gd name="connsiteY3" fmla="*/ 0 h 27223"/>
                      <a:gd name="connsiteX0" fmla="*/ 0 w 132887"/>
                      <a:gd name="connsiteY0" fmla="*/ 0 h 33158"/>
                      <a:gd name="connsiteX1" fmla="*/ 28417 w 132887"/>
                      <a:gd name="connsiteY1" fmla="*/ 0 h 33158"/>
                      <a:gd name="connsiteX2" fmla="*/ 132814 w 132887"/>
                      <a:gd name="connsiteY2" fmla="*/ 33158 h 33158"/>
                      <a:gd name="connsiteX3" fmla="*/ 0 w 132887"/>
                      <a:gd name="connsiteY3" fmla="*/ 27223 h 33158"/>
                      <a:gd name="connsiteX4" fmla="*/ 0 w 132887"/>
                      <a:gd name="connsiteY4" fmla="*/ 0 h 33158"/>
                      <a:gd name="connsiteX0" fmla="*/ 0 w 132887"/>
                      <a:gd name="connsiteY0" fmla="*/ 0 h 88199"/>
                      <a:gd name="connsiteX1" fmla="*/ 28417 w 132887"/>
                      <a:gd name="connsiteY1" fmla="*/ 0 h 88199"/>
                      <a:gd name="connsiteX2" fmla="*/ 132814 w 132887"/>
                      <a:gd name="connsiteY2" fmla="*/ 33158 h 88199"/>
                      <a:gd name="connsiteX3" fmla="*/ 70812 w 132887"/>
                      <a:gd name="connsiteY3" fmla="*/ 88173 h 88199"/>
                      <a:gd name="connsiteX4" fmla="*/ 0 w 132887"/>
                      <a:gd name="connsiteY4" fmla="*/ 27223 h 88199"/>
                      <a:gd name="connsiteX5" fmla="*/ 0 w 132887"/>
                      <a:gd name="connsiteY5" fmla="*/ 0 h 88199"/>
                      <a:gd name="connsiteX0" fmla="*/ 70812 w 166347"/>
                      <a:gd name="connsiteY0" fmla="*/ 88173 h 88173"/>
                      <a:gd name="connsiteX1" fmla="*/ 0 w 166347"/>
                      <a:gd name="connsiteY1" fmla="*/ 27223 h 88173"/>
                      <a:gd name="connsiteX2" fmla="*/ 0 w 166347"/>
                      <a:gd name="connsiteY2" fmla="*/ 0 h 88173"/>
                      <a:gd name="connsiteX3" fmla="*/ 28417 w 166347"/>
                      <a:gd name="connsiteY3" fmla="*/ 0 h 88173"/>
                      <a:gd name="connsiteX4" fmla="*/ 166347 w 166347"/>
                      <a:gd name="connsiteY4" fmla="*/ 66691 h 88173"/>
                      <a:gd name="connsiteX0" fmla="*/ 70812 w 70812"/>
                      <a:gd name="connsiteY0" fmla="*/ 88173 h 88173"/>
                      <a:gd name="connsiteX1" fmla="*/ 0 w 70812"/>
                      <a:gd name="connsiteY1" fmla="*/ 27223 h 88173"/>
                      <a:gd name="connsiteX2" fmla="*/ 0 w 70812"/>
                      <a:gd name="connsiteY2" fmla="*/ 0 h 88173"/>
                      <a:gd name="connsiteX3" fmla="*/ 28417 w 70812"/>
                      <a:gd name="connsiteY3" fmla="*/ 0 h 88173"/>
                      <a:gd name="connsiteX0" fmla="*/ 0 w 28417"/>
                      <a:gd name="connsiteY0" fmla="*/ 27223 h 27223"/>
                      <a:gd name="connsiteX1" fmla="*/ 0 w 28417"/>
                      <a:gd name="connsiteY1" fmla="*/ 0 h 27223"/>
                      <a:gd name="connsiteX2" fmla="*/ 28417 w 28417"/>
                      <a:gd name="connsiteY2" fmla="*/ 0 h 272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8417" h="27223">
                        <a:moveTo>
                          <a:pt x="0" y="27223"/>
                        </a:moveTo>
                        <a:lnTo>
                          <a:pt x="0" y="0"/>
                        </a:lnTo>
                        <a:lnTo>
                          <a:pt x="28417" y="0"/>
                        </a:lnTo>
                      </a:path>
                    </a:pathLst>
                  </a:custGeom>
                  <a:noFill/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</p:grpSp>
            <p:grpSp>
              <p:nvGrpSpPr>
                <p:cNvPr id="339" name="Gruppieren 338">
                  <a:extLst>
                    <a:ext uri="{FF2B5EF4-FFF2-40B4-BE49-F238E27FC236}">
                      <a16:creationId xmlns:a16="http://schemas.microsoft.com/office/drawing/2014/main" xmlns="" id="{DB044A48-7C54-48DB-AC87-FEA143735DFA}"/>
                    </a:ext>
                  </a:extLst>
                </p:cNvPr>
                <p:cNvGrpSpPr/>
                <p:nvPr/>
              </p:nvGrpSpPr>
              <p:grpSpPr>
                <a:xfrm>
                  <a:off x="1582619" y="2721787"/>
                  <a:ext cx="168040" cy="456819"/>
                  <a:chOff x="3312924" y="1090617"/>
                  <a:chExt cx="373616" cy="1015676"/>
                </a:xfrm>
              </p:grpSpPr>
              <p:sp>
                <p:nvSpPr>
                  <p:cNvPr id="511" name="Rectangle 193">
                    <a:extLst>
                      <a:ext uri="{FF2B5EF4-FFF2-40B4-BE49-F238E27FC236}">
                        <a16:creationId xmlns:a16="http://schemas.microsoft.com/office/drawing/2014/main" xmlns="" id="{429AB237-629E-48B6-A59B-F058B25415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312924" y="1090617"/>
                    <a:ext cx="373616" cy="1015676"/>
                  </a:xfrm>
                  <a:custGeom>
                    <a:avLst/>
                    <a:gdLst>
                      <a:gd name="connsiteX0" fmla="*/ 0 w 168040"/>
                      <a:gd name="connsiteY0" fmla="*/ 0 h 456819"/>
                      <a:gd name="connsiteX1" fmla="*/ 168040 w 168040"/>
                      <a:gd name="connsiteY1" fmla="*/ 0 h 456819"/>
                      <a:gd name="connsiteX2" fmla="*/ 168040 w 168040"/>
                      <a:gd name="connsiteY2" fmla="*/ 456819 h 456819"/>
                      <a:gd name="connsiteX3" fmla="*/ 0 w 168040"/>
                      <a:gd name="connsiteY3" fmla="*/ 456819 h 456819"/>
                      <a:gd name="connsiteX4" fmla="*/ 0 w 168040"/>
                      <a:gd name="connsiteY4" fmla="*/ 0 h 456819"/>
                      <a:gd name="connsiteX0" fmla="*/ 3850 w 171890"/>
                      <a:gd name="connsiteY0" fmla="*/ 0 h 609582"/>
                      <a:gd name="connsiteX1" fmla="*/ 171890 w 171890"/>
                      <a:gd name="connsiteY1" fmla="*/ 0 h 609582"/>
                      <a:gd name="connsiteX2" fmla="*/ 171890 w 171890"/>
                      <a:gd name="connsiteY2" fmla="*/ 456819 h 609582"/>
                      <a:gd name="connsiteX3" fmla="*/ 0 w 171890"/>
                      <a:gd name="connsiteY3" fmla="*/ 609582 h 609582"/>
                      <a:gd name="connsiteX4" fmla="*/ 3850 w 171890"/>
                      <a:gd name="connsiteY4" fmla="*/ 456819 h 609582"/>
                      <a:gd name="connsiteX5" fmla="*/ 3850 w 171890"/>
                      <a:gd name="connsiteY5" fmla="*/ 0 h 609582"/>
                      <a:gd name="connsiteX0" fmla="*/ 3850 w 252177"/>
                      <a:gd name="connsiteY0" fmla="*/ 0 h 620856"/>
                      <a:gd name="connsiteX1" fmla="*/ 171890 w 252177"/>
                      <a:gd name="connsiteY1" fmla="*/ 0 h 620856"/>
                      <a:gd name="connsiteX2" fmla="*/ 171890 w 252177"/>
                      <a:gd name="connsiteY2" fmla="*/ 456819 h 620856"/>
                      <a:gd name="connsiteX3" fmla="*/ 247650 w 252177"/>
                      <a:gd name="connsiteY3" fmla="*/ 604818 h 620856"/>
                      <a:gd name="connsiteX4" fmla="*/ 0 w 252177"/>
                      <a:gd name="connsiteY4" fmla="*/ 609582 h 620856"/>
                      <a:gd name="connsiteX5" fmla="*/ 3850 w 252177"/>
                      <a:gd name="connsiteY5" fmla="*/ 456819 h 620856"/>
                      <a:gd name="connsiteX6" fmla="*/ 3850 w 252177"/>
                      <a:gd name="connsiteY6" fmla="*/ 0 h 620856"/>
                      <a:gd name="connsiteX0" fmla="*/ 0 w 339090"/>
                      <a:gd name="connsiteY0" fmla="*/ 609582 h 696258"/>
                      <a:gd name="connsiteX1" fmla="*/ 3850 w 339090"/>
                      <a:gd name="connsiteY1" fmla="*/ 456819 h 696258"/>
                      <a:gd name="connsiteX2" fmla="*/ 3850 w 339090"/>
                      <a:gd name="connsiteY2" fmla="*/ 0 h 696258"/>
                      <a:gd name="connsiteX3" fmla="*/ 171890 w 339090"/>
                      <a:gd name="connsiteY3" fmla="*/ 0 h 696258"/>
                      <a:gd name="connsiteX4" fmla="*/ 171890 w 339090"/>
                      <a:gd name="connsiteY4" fmla="*/ 456819 h 696258"/>
                      <a:gd name="connsiteX5" fmla="*/ 339090 w 339090"/>
                      <a:gd name="connsiteY5" fmla="*/ 696258 h 696258"/>
                      <a:gd name="connsiteX0" fmla="*/ 0 w 171890"/>
                      <a:gd name="connsiteY0" fmla="*/ 609582 h 609582"/>
                      <a:gd name="connsiteX1" fmla="*/ 3850 w 171890"/>
                      <a:gd name="connsiteY1" fmla="*/ 456819 h 609582"/>
                      <a:gd name="connsiteX2" fmla="*/ 3850 w 171890"/>
                      <a:gd name="connsiteY2" fmla="*/ 0 h 609582"/>
                      <a:gd name="connsiteX3" fmla="*/ 171890 w 171890"/>
                      <a:gd name="connsiteY3" fmla="*/ 0 h 609582"/>
                      <a:gd name="connsiteX4" fmla="*/ 171890 w 171890"/>
                      <a:gd name="connsiteY4" fmla="*/ 456819 h 609582"/>
                      <a:gd name="connsiteX0" fmla="*/ 0 w 168040"/>
                      <a:gd name="connsiteY0" fmla="*/ 456819 h 456819"/>
                      <a:gd name="connsiteX1" fmla="*/ 0 w 168040"/>
                      <a:gd name="connsiteY1" fmla="*/ 0 h 456819"/>
                      <a:gd name="connsiteX2" fmla="*/ 168040 w 168040"/>
                      <a:gd name="connsiteY2" fmla="*/ 0 h 456819"/>
                      <a:gd name="connsiteX3" fmla="*/ 168040 w 168040"/>
                      <a:gd name="connsiteY3" fmla="*/ 456819 h 456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8040" h="456819">
                        <a:moveTo>
                          <a:pt x="0" y="456819"/>
                        </a:moveTo>
                        <a:lnTo>
                          <a:pt x="0" y="0"/>
                        </a:lnTo>
                        <a:lnTo>
                          <a:pt x="168040" y="0"/>
                        </a:lnTo>
                        <a:lnTo>
                          <a:pt x="168040" y="456819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grpSp>
                <p:nvGrpSpPr>
                  <p:cNvPr id="512" name="Gruppieren 511">
                    <a:extLst>
                      <a:ext uri="{FF2B5EF4-FFF2-40B4-BE49-F238E27FC236}">
                        <a16:creationId xmlns:a16="http://schemas.microsoft.com/office/drawing/2014/main" xmlns="" id="{2D9DDAD2-5E10-4E8D-9D0B-C612F5853A1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3395411" y="1154977"/>
                    <a:ext cx="222783" cy="754224"/>
                    <a:chOff x="3395411" y="1154977"/>
                    <a:chExt cx="222783" cy="754224"/>
                  </a:xfrm>
                </p:grpSpPr>
                <p:sp>
                  <p:nvSpPr>
                    <p:cNvPr id="513" name="Rectangle 220">
                      <a:extLst>
                        <a:ext uri="{FF2B5EF4-FFF2-40B4-BE49-F238E27FC236}">
                          <a16:creationId xmlns:a16="http://schemas.microsoft.com/office/drawing/2014/main" xmlns="" id="{752041F7-E98F-445C-A1AF-C3AD381DCB74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540705" y="1154977"/>
                      <a:ext cx="77489" cy="90000"/>
                    </a:xfrm>
                    <a:custGeom>
                      <a:avLst/>
                      <a:gdLst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28417 w 28417"/>
                        <a:gd name="connsiteY2" fmla="*/ 27223 h 27223"/>
                        <a:gd name="connsiteX3" fmla="*/ 0 w 28417"/>
                        <a:gd name="connsiteY3" fmla="*/ 27223 h 27223"/>
                        <a:gd name="connsiteX4" fmla="*/ 0 w 28417"/>
                        <a:gd name="connsiteY4" fmla="*/ 0 h 27223"/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0 w 28417"/>
                        <a:gd name="connsiteY2" fmla="*/ 27223 h 27223"/>
                        <a:gd name="connsiteX3" fmla="*/ 0 w 28417"/>
                        <a:gd name="connsiteY3" fmla="*/ 0 h 27223"/>
                        <a:gd name="connsiteX0" fmla="*/ 0 w 132887"/>
                        <a:gd name="connsiteY0" fmla="*/ 0 h 33158"/>
                        <a:gd name="connsiteX1" fmla="*/ 28417 w 132887"/>
                        <a:gd name="connsiteY1" fmla="*/ 0 h 33158"/>
                        <a:gd name="connsiteX2" fmla="*/ 132814 w 132887"/>
                        <a:gd name="connsiteY2" fmla="*/ 33158 h 33158"/>
                        <a:gd name="connsiteX3" fmla="*/ 0 w 132887"/>
                        <a:gd name="connsiteY3" fmla="*/ 27223 h 33158"/>
                        <a:gd name="connsiteX4" fmla="*/ 0 w 132887"/>
                        <a:gd name="connsiteY4" fmla="*/ 0 h 33158"/>
                        <a:gd name="connsiteX0" fmla="*/ 0 w 132887"/>
                        <a:gd name="connsiteY0" fmla="*/ 0 h 88199"/>
                        <a:gd name="connsiteX1" fmla="*/ 28417 w 132887"/>
                        <a:gd name="connsiteY1" fmla="*/ 0 h 88199"/>
                        <a:gd name="connsiteX2" fmla="*/ 132814 w 132887"/>
                        <a:gd name="connsiteY2" fmla="*/ 33158 h 88199"/>
                        <a:gd name="connsiteX3" fmla="*/ 70812 w 132887"/>
                        <a:gd name="connsiteY3" fmla="*/ 88173 h 88199"/>
                        <a:gd name="connsiteX4" fmla="*/ 0 w 132887"/>
                        <a:gd name="connsiteY4" fmla="*/ 27223 h 88199"/>
                        <a:gd name="connsiteX5" fmla="*/ 0 w 132887"/>
                        <a:gd name="connsiteY5" fmla="*/ 0 h 88199"/>
                        <a:gd name="connsiteX0" fmla="*/ 70812 w 166347"/>
                        <a:gd name="connsiteY0" fmla="*/ 88173 h 88173"/>
                        <a:gd name="connsiteX1" fmla="*/ 0 w 166347"/>
                        <a:gd name="connsiteY1" fmla="*/ 27223 h 88173"/>
                        <a:gd name="connsiteX2" fmla="*/ 0 w 166347"/>
                        <a:gd name="connsiteY2" fmla="*/ 0 h 88173"/>
                        <a:gd name="connsiteX3" fmla="*/ 28417 w 166347"/>
                        <a:gd name="connsiteY3" fmla="*/ 0 h 88173"/>
                        <a:gd name="connsiteX4" fmla="*/ 166347 w 166347"/>
                        <a:gd name="connsiteY4" fmla="*/ 66691 h 88173"/>
                        <a:gd name="connsiteX0" fmla="*/ 70812 w 70812"/>
                        <a:gd name="connsiteY0" fmla="*/ 88173 h 88173"/>
                        <a:gd name="connsiteX1" fmla="*/ 0 w 70812"/>
                        <a:gd name="connsiteY1" fmla="*/ 27223 h 88173"/>
                        <a:gd name="connsiteX2" fmla="*/ 0 w 70812"/>
                        <a:gd name="connsiteY2" fmla="*/ 0 h 88173"/>
                        <a:gd name="connsiteX3" fmla="*/ 28417 w 70812"/>
                        <a:gd name="connsiteY3" fmla="*/ 0 h 88173"/>
                        <a:gd name="connsiteX0" fmla="*/ 0 w 28417"/>
                        <a:gd name="connsiteY0" fmla="*/ 27223 h 27223"/>
                        <a:gd name="connsiteX1" fmla="*/ 0 w 28417"/>
                        <a:gd name="connsiteY1" fmla="*/ 0 h 27223"/>
                        <a:gd name="connsiteX2" fmla="*/ 28417 w 28417"/>
                        <a:gd name="connsiteY2" fmla="*/ 0 h 272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8417" h="27223">
                          <a:moveTo>
                            <a:pt x="0" y="27223"/>
                          </a:moveTo>
                          <a:lnTo>
                            <a:pt x="0" y="0"/>
                          </a:lnTo>
                          <a:lnTo>
                            <a:pt x="28417" y="0"/>
                          </a:lnTo>
                        </a:path>
                      </a:pathLst>
                    </a:custGeom>
                    <a:noFill/>
                    <a:ln w="9525" cap="sq">
                      <a:solidFill>
                        <a:srgbClr val="98A2AE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514" name="Rectangle 220">
                      <a:extLst>
                        <a:ext uri="{FF2B5EF4-FFF2-40B4-BE49-F238E27FC236}">
                          <a16:creationId xmlns:a16="http://schemas.microsoft.com/office/drawing/2014/main" xmlns="" id="{E553E1A9-23D8-46F8-8347-51C3BB787E0C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3395411" y="1154977"/>
                      <a:ext cx="77489" cy="90000"/>
                    </a:xfrm>
                    <a:custGeom>
                      <a:avLst/>
                      <a:gdLst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28417 w 28417"/>
                        <a:gd name="connsiteY2" fmla="*/ 27223 h 27223"/>
                        <a:gd name="connsiteX3" fmla="*/ 0 w 28417"/>
                        <a:gd name="connsiteY3" fmla="*/ 27223 h 27223"/>
                        <a:gd name="connsiteX4" fmla="*/ 0 w 28417"/>
                        <a:gd name="connsiteY4" fmla="*/ 0 h 27223"/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0 w 28417"/>
                        <a:gd name="connsiteY2" fmla="*/ 27223 h 27223"/>
                        <a:gd name="connsiteX3" fmla="*/ 0 w 28417"/>
                        <a:gd name="connsiteY3" fmla="*/ 0 h 27223"/>
                        <a:gd name="connsiteX0" fmla="*/ 0 w 132887"/>
                        <a:gd name="connsiteY0" fmla="*/ 0 h 33158"/>
                        <a:gd name="connsiteX1" fmla="*/ 28417 w 132887"/>
                        <a:gd name="connsiteY1" fmla="*/ 0 h 33158"/>
                        <a:gd name="connsiteX2" fmla="*/ 132814 w 132887"/>
                        <a:gd name="connsiteY2" fmla="*/ 33158 h 33158"/>
                        <a:gd name="connsiteX3" fmla="*/ 0 w 132887"/>
                        <a:gd name="connsiteY3" fmla="*/ 27223 h 33158"/>
                        <a:gd name="connsiteX4" fmla="*/ 0 w 132887"/>
                        <a:gd name="connsiteY4" fmla="*/ 0 h 33158"/>
                        <a:gd name="connsiteX0" fmla="*/ 0 w 132887"/>
                        <a:gd name="connsiteY0" fmla="*/ 0 h 88199"/>
                        <a:gd name="connsiteX1" fmla="*/ 28417 w 132887"/>
                        <a:gd name="connsiteY1" fmla="*/ 0 h 88199"/>
                        <a:gd name="connsiteX2" fmla="*/ 132814 w 132887"/>
                        <a:gd name="connsiteY2" fmla="*/ 33158 h 88199"/>
                        <a:gd name="connsiteX3" fmla="*/ 70812 w 132887"/>
                        <a:gd name="connsiteY3" fmla="*/ 88173 h 88199"/>
                        <a:gd name="connsiteX4" fmla="*/ 0 w 132887"/>
                        <a:gd name="connsiteY4" fmla="*/ 27223 h 88199"/>
                        <a:gd name="connsiteX5" fmla="*/ 0 w 132887"/>
                        <a:gd name="connsiteY5" fmla="*/ 0 h 88199"/>
                        <a:gd name="connsiteX0" fmla="*/ 70812 w 166347"/>
                        <a:gd name="connsiteY0" fmla="*/ 88173 h 88173"/>
                        <a:gd name="connsiteX1" fmla="*/ 0 w 166347"/>
                        <a:gd name="connsiteY1" fmla="*/ 27223 h 88173"/>
                        <a:gd name="connsiteX2" fmla="*/ 0 w 166347"/>
                        <a:gd name="connsiteY2" fmla="*/ 0 h 88173"/>
                        <a:gd name="connsiteX3" fmla="*/ 28417 w 166347"/>
                        <a:gd name="connsiteY3" fmla="*/ 0 h 88173"/>
                        <a:gd name="connsiteX4" fmla="*/ 166347 w 166347"/>
                        <a:gd name="connsiteY4" fmla="*/ 66691 h 88173"/>
                        <a:gd name="connsiteX0" fmla="*/ 70812 w 70812"/>
                        <a:gd name="connsiteY0" fmla="*/ 88173 h 88173"/>
                        <a:gd name="connsiteX1" fmla="*/ 0 w 70812"/>
                        <a:gd name="connsiteY1" fmla="*/ 27223 h 88173"/>
                        <a:gd name="connsiteX2" fmla="*/ 0 w 70812"/>
                        <a:gd name="connsiteY2" fmla="*/ 0 h 88173"/>
                        <a:gd name="connsiteX3" fmla="*/ 28417 w 70812"/>
                        <a:gd name="connsiteY3" fmla="*/ 0 h 88173"/>
                        <a:gd name="connsiteX0" fmla="*/ 0 w 28417"/>
                        <a:gd name="connsiteY0" fmla="*/ 27223 h 27223"/>
                        <a:gd name="connsiteX1" fmla="*/ 0 w 28417"/>
                        <a:gd name="connsiteY1" fmla="*/ 0 h 27223"/>
                        <a:gd name="connsiteX2" fmla="*/ 28417 w 28417"/>
                        <a:gd name="connsiteY2" fmla="*/ 0 h 272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8417" h="27223">
                          <a:moveTo>
                            <a:pt x="0" y="27223"/>
                          </a:moveTo>
                          <a:lnTo>
                            <a:pt x="0" y="0"/>
                          </a:lnTo>
                          <a:lnTo>
                            <a:pt x="28417" y="0"/>
                          </a:lnTo>
                        </a:path>
                      </a:pathLst>
                    </a:custGeom>
                    <a:noFill/>
                    <a:ln w="9525" cap="sq">
                      <a:solidFill>
                        <a:srgbClr val="98A2AE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515" name="Rectangle 220">
                      <a:extLst>
                        <a:ext uri="{FF2B5EF4-FFF2-40B4-BE49-F238E27FC236}">
                          <a16:creationId xmlns:a16="http://schemas.microsoft.com/office/drawing/2014/main" xmlns="" id="{4EBFB7B7-F40F-4502-81CC-902743DCD82A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3395411" y="1321034"/>
                      <a:ext cx="77489" cy="90000"/>
                    </a:xfrm>
                    <a:custGeom>
                      <a:avLst/>
                      <a:gdLst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28417 w 28417"/>
                        <a:gd name="connsiteY2" fmla="*/ 27223 h 27223"/>
                        <a:gd name="connsiteX3" fmla="*/ 0 w 28417"/>
                        <a:gd name="connsiteY3" fmla="*/ 27223 h 27223"/>
                        <a:gd name="connsiteX4" fmla="*/ 0 w 28417"/>
                        <a:gd name="connsiteY4" fmla="*/ 0 h 27223"/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0 w 28417"/>
                        <a:gd name="connsiteY2" fmla="*/ 27223 h 27223"/>
                        <a:gd name="connsiteX3" fmla="*/ 0 w 28417"/>
                        <a:gd name="connsiteY3" fmla="*/ 0 h 27223"/>
                        <a:gd name="connsiteX0" fmla="*/ 0 w 132887"/>
                        <a:gd name="connsiteY0" fmla="*/ 0 h 33158"/>
                        <a:gd name="connsiteX1" fmla="*/ 28417 w 132887"/>
                        <a:gd name="connsiteY1" fmla="*/ 0 h 33158"/>
                        <a:gd name="connsiteX2" fmla="*/ 132814 w 132887"/>
                        <a:gd name="connsiteY2" fmla="*/ 33158 h 33158"/>
                        <a:gd name="connsiteX3" fmla="*/ 0 w 132887"/>
                        <a:gd name="connsiteY3" fmla="*/ 27223 h 33158"/>
                        <a:gd name="connsiteX4" fmla="*/ 0 w 132887"/>
                        <a:gd name="connsiteY4" fmla="*/ 0 h 33158"/>
                        <a:gd name="connsiteX0" fmla="*/ 0 w 132887"/>
                        <a:gd name="connsiteY0" fmla="*/ 0 h 88199"/>
                        <a:gd name="connsiteX1" fmla="*/ 28417 w 132887"/>
                        <a:gd name="connsiteY1" fmla="*/ 0 h 88199"/>
                        <a:gd name="connsiteX2" fmla="*/ 132814 w 132887"/>
                        <a:gd name="connsiteY2" fmla="*/ 33158 h 88199"/>
                        <a:gd name="connsiteX3" fmla="*/ 70812 w 132887"/>
                        <a:gd name="connsiteY3" fmla="*/ 88173 h 88199"/>
                        <a:gd name="connsiteX4" fmla="*/ 0 w 132887"/>
                        <a:gd name="connsiteY4" fmla="*/ 27223 h 88199"/>
                        <a:gd name="connsiteX5" fmla="*/ 0 w 132887"/>
                        <a:gd name="connsiteY5" fmla="*/ 0 h 88199"/>
                        <a:gd name="connsiteX0" fmla="*/ 70812 w 166347"/>
                        <a:gd name="connsiteY0" fmla="*/ 88173 h 88173"/>
                        <a:gd name="connsiteX1" fmla="*/ 0 w 166347"/>
                        <a:gd name="connsiteY1" fmla="*/ 27223 h 88173"/>
                        <a:gd name="connsiteX2" fmla="*/ 0 w 166347"/>
                        <a:gd name="connsiteY2" fmla="*/ 0 h 88173"/>
                        <a:gd name="connsiteX3" fmla="*/ 28417 w 166347"/>
                        <a:gd name="connsiteY3" fmla="*/ 0 h 88173"/>
                        <a:gd name="connsiteX4" fmla="*/ 166347 w 166347"/>
                        <a:gd name="connsiteY4" fmla="*/ 66691 h 88173"/>
                        <a:gd name="connsiteX0" fmla="*/ 70812 w 70812"/>
                        <a:gd name="connsiteY0" fmla="*/ 88173 h 88173"/>
                        <a:gd name="connsiteX1" fmla="*/ 0 w 70812"/>
                        <a:gd name="connsiteY1" fmla="*/ 27223 h 88173"/>
                        <a:gd name="connsiteX2" fmla="*/ 0 w 70812"/>
                        <a:gd name="connsiteY2" fmla="*/ 0 h 88173"/>
                        <a:gd name="connsiteX3" fmla="*/ 28417 w 70812"/>
                        <a:gd name="connsiteY3" fmla="*/ 0 h 88173"/>
                        <a:gd name="connsiteX0" fmla="*/ 0 w 28417"/>
                        <a:gd name="connsiteY0" fmla="*/ 27223 h 27223"/>
                        <a:gd name="connsiteX1" fmla="*/ 0 w 28417"/>
                        <a:gd name="connsiteY1" fmla="*/ 0 h 27223"/>
                        <a:gd name="connsiteX2" fmla="*/ 28417 w 28417"/>
                        <a:gd name="connsiteY2" fmla="*/ 0 h 272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8417" h="27223">
                          <a:moveTo>
                            <a:pt x="0" y="27223"/>
                          </a:moveTo>
                          <a:lnTo>
                            <a:pt x="0" y="0"/>
                          </a:lnTo>
                          <a:lnTo>
                            <a:pt x="28417" y="0"/>
                          </a:lnTo>
                        </a:path>
                      </a:pathLst>
                    </a:custGeom>
                    <a:noFill/>
                    <a:ln w="9525" cap="sq">
                      <a:solidFill>
                        <a:srgbClr val="98A2AE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516" name="Rectangle 220">
                      <a:extLst>
                        <a:ext uri="{FF2B5EF4-FFF2-40B4-BE49-F238E27FC236}">
                          <a16:creationId xmlns:a16="http://schemas.microsoft.com/office/drawing/2014/main" xmlns="" id="{E9ED3BFC-F51C-4792-B62B-0469D6514127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3395411" y="1487091"/>
                      <a:ext cx="77489" cy="90000"/>
                    </a:xfrm>
                    <a:custGeom>
                      <a:avLst/>
                      <a:gdLst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28417 w 28417"/>
                        <a:gd name="connsiteY2" fmla="*/ 27223 h 27223"/>
                        <a:gd name="connsiteX3" fmla="*/ 0 w 28417"/>
                        <a:gd name="connsiteY3" fmla="*/ 27223 h 27223"/>
                        <a:gd name="connsiteX4" fmla="*/ 0 w 28417"/>
                        <a:gd name="connsiteY4" fmla="*/ 0 h 27223"/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0 w 28417"/>
                        <a:gd name="connsiteY2" fmla="*/ 27223 h 27223"/>
                        <a:gd name="connsiteX3" fmla="*/ 0 w 28417"/>
                        <a:gd name="connsiteY3" fmla="*/ 0 h 27223"/>
                        <a:gd name="connsiteX0" fmla="*/ 0 w 132887"/>
                        <a:gd name="connsiteY0" fmla="*/ 0 h 33158"/>
                        <a:gd name="connsiteX1" fmla="*/ 28417 w 132887"/>
                        <a:gd name="connsiteY1" fmla="*/ 0 h 33158"/>
                        <a:gd name="connsiteX2" fmla="*/ 132814 w 132887"/>
                        <a:gd name="connsiteY2" fmla="*/ 33158 h 33158"/>
                        <a:gd name="connsiteX3" fmla="*/ 0 w 132887"/>
                        <a:gd name="connsiteY3" fmla="*/ 27223 h 33158"/>
                        <a:gd name="connsiteX4" fmla="*/ 0 w 132887"/>
                        <a:gd name="connsiteY4" fmla="*/ 0 h 33158"/>
                        <a:gd name="connsiteX0" fmla="*/ 0 w 132887"/>
                        <a:gd name="connsiteY0" fmla="*/ 0 h 88199"/>
                        <a:gd name="connsiteX1" fmla="*/ 28417 w 132887"/>
                        <a:gd name="connsiteY1" fmla="*/ 0 h 88199"/>
                        <a:gd name="connsiteX2" fmla="*/ 132814 w 132887"/>
                        <a:gd name="connsiteY2" fmla="*/ 33158 h 88199"/>
                        <a:gd name="connsiteX3" fmla="*/ 70812 w 132887"/>
                        <a:gd name="connsiteY3" fmla="*/ 88173 h 88199"/>
                        <a:gd name="connsiteX4" fmla="*/ 0 w 132887"/>
                        <a:gd name="connsiteY4" fmla="*/ 27223 h 88199"/>
                        <a:gd name="connsiteX5" fmla="*/ 0 w 132887"/>
                        <a:gd name="connsiteY5" fmla="*/ 0 h 88199"/>
                        <a:gd name="connsiteX0" fmla="*/ 70812 w 166347"/>
                        <a:gd name="connsiteY0" fmla="*/ 88173 h 88173"/>
                        <a:gd name="connsiteX1" fmla="*/ 0 w 166347"/>
                        <a:gd name="connsiteY1" fmla="*/ 27223 h 88173"/>
                        <a:gd name="connsiteX2" fmla="*/ 0 w 166347"/>
                        <a:gd name="connsiteY2" fmla="*/ 0 h 88173"/>
                        <a:gd name="connsiteX3" fmla="*/ 28417 w 166347"/>
                        <a:gd name="connsiteY3" fmla="*/ 0 h 88173"/>
                        <a:gd name="connsiteX4" fmla="*/ 166347 w 166347"/>
                        <a:gd name="connsiteY4" fmla="*/ 66691 h 88173"/>
                        <a:gd name="connsiteX0" fmla="*/ 70812 w 70812"/>
                        <a:gd name="connsiteY0" fmla="*/ 88173 h 88173"/>
                        <a:gd name="connsiteX1" fmla="*/ 0 w 70812"/>
                        <a:gd name="connsiteY1" fmla="*/ 27223 h 88173"/>
                        <a:gd name="connsiteX2" fmla="*/ 0 w 70812"/>
                        <a:gd name="connsiteY2" fmla="*/ 0 h 88173"/>
                        <a:gd name="connsiteX3" fmla="*/ 28417 w 70812"/>
                        <a:gd name="connsiteY3" fmla="*/ 0 h 88173"/>
                        <a:gd name="connsiteX0" fmla="*/ 0 w 28417"/>
                        <a:gd name="connsiteY0" fmla="*/ 27223 h 27223"/>
                        <a:gd name="connsiteX1" fmla="*/ 0 w 28417"/>
                        <a:gd name="connsiteY1" fmla="*/ 0 h 27223"/>
                        <a:gd name="connsiteX2" fmla="*/ 28417 w 28417"/>
                        <a:gd name="connsiteY2" fmla="*/ 0 h 272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8417" h="27223">
                          <a:moveTo>
                            <a:pt x="0" y="27223"/>
                          </a:moveTo>
                          <a:lnTo>
                            <a:pt x="0" y="0"/>
                          </a:lnTo>
                          <a:lnTo>
                            <a:pt x="28417" y="0"/>
                          </a:lnTo>
                        </a:path>
                      </a:pathLst>
                    </a:custGeom>
                    <a:noFill/>
                    <a:ln w="9525" cap="sq">
                      <a:solidFill>
                        <a:srgbClr val="98A2AE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517" name="Rectangle 220">
                      <a:extLst>
                        <a:ext uri="{FF2B5EF4-FFF2-40B4-BE49-F238E27FC236}">
                          <a16:creationId xmlns:a16="http://schemas.microsoft.com/office/drawing/2014/main" xmlns="" id="{A9834D1C-D511-4BAD-9747-60DA9AC0B0FA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3395411" y="1653144"/>
                      <a:ext cx="77489" cy="90000"/>
                    </a:xfrm>
                    <a:custGeom>
                      <a:avLst/>
                      <a:gdLst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28417 w 28417"/>
                        <a:gd name="connsiteY2" fmla="*/ 27223 h 27223"/>
                        <a:gd name="connsiteX3" fmla="*/ 0 w 28417"/>
                        <a:gd name="connsiteY3" fmla="*/ 27223 h 27223"/>
                        <a:gd name="connsiteX4" fmla="*/ 0 w 28417"/>
                        <a:gd name="connsiteY4" fmla="*/ 0 h 27223"/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0 w 28417"/>
                        <a:gd name="connsiteY2" fmla="*/ 27223 h 27223"/>
                        <a:gd name="connsiteX3" fmla="*/ 0 w 28417"/>
                        <a:gd name="connsiteY3" fmla="*/ 0 h 27223"/>
                        <a:gd name="connsiteX0" fmla="*/ 0 w 132887"/>
                        <a:gd name="connsiteY0" fmla="*/ 0 h 33158"/>
                        <a:gd name="connsiteX1" fmla="*/ 28417 w 132887"/>
                        <a:gd name="connsiteY1" fmla="*/ 0 h 33158"/>
                        <a:gd name="connsiteX2" fmla="*/ 132814 w 132887"/>
                        <a:gd name="connsiteY2" fmla="*/ 33158 h 33158"/>
                        <a:gd name="connsiteX3" fmla="*/ 0 w 132887"/>
                        <a:gd name="connsiteY3" fmla="*/ 27223 h 33158"/>
                        <a:gd name="connsiteX4" fmla="*/ 0 w 132887"/>
                        <a:gd name="connsiteY4" fmla="*/ 0 h 33158"/>
                        <a:gd name="connsiteX0" fmla="*/ 0 w 132887"/>
                        <a:gd name="connsiteY0" fmla="*/ 0 h 88199"/>
                        <a:gd name="connsiteX1" fmla="*/ 28417 w 132887"/>
                        <a:gd name="connsiteY1" fmla="*/ 0 h 88199"/>
                        <a:gd name="connsiteX2" fmla="*/ 132814 w 132887"/>
                        <a:gd name="connsiteY2" fmla="*/ 33158 h 88199"/>
                        <a:gd name="connsiteX3" fmla="*/ 70812 w 132887"/>
                        <a:gd name="connsiteY3" fmla="*/ 88173 h 88199"/>
                        <a:gd name="connsiteX4" fmla="*/ 0 w 132887"/>
                        <a:gd name="connsiteY4" fmla="*/ 27223 h 88199"/>
                        <a:gd name="connsiteX5" fmla="*/ 0 w 132887"/>
                        <a:gd name="connsiteY5" fmla="*/ 0 h 88199"/>
                        <a:gd name="connsiteX0" fmla="*/ 70812 w 166347"/>
                        <a:gd name="connsiteY0" fmla="*/ 88173 h 88173"/>
                        <a:gd name="connsiteX1" fmla="*/ 0 w 166347"/>
                        <a:gd name="connsiteY1" fmla="*/ 27223 h 88173"/>
                        <a:gd name="connsiteX2" fmla="*/ 0 w 166347"/>
                        <a:gd name="connsiteY2" fmla="*/ 0 h 88173"/>
                        <a:gd name="connsiteX3" fmla="*/ 28417 w 166347"/>
                        <a:gd name="connsiteY3" fmla="*/ 0 h 88173"/>
                        <a:gd name="connsiteX4" fmla="*/ 166347 w 166347"/>
                        <a:gd name="connsiteY4" fmla="*/ 66691 h 88173"/>
                        <a:gd name="connsiteX0" fmla="*/ 70812 w 70812"/>
                        <a:gd name="connsiteY0" fmla="*/ 88173 h 88173"/>
                        <a:gd name="connsiteX1" fmla="*/ 0 w 70812"/>
                        <a:gd name="connsiteY1" fmla="*/ 27223 h 88173"/>
                        <a:gd name="connsiteX2" fmla="*/ 0 w 70812"/>
                        <a:gd name="connsiteY2" fmla="*/ 0 h 88173"/>
                        <a:gd name="connsiteX3" fmla="*/ 28417 w 70812"/>
                        <a:gd name="connsiteY3" fmla="*/ 0 h 88173"/>
                        <a:gd name="connsiteX0" fmla="*/ 0 w 28417"/>
                        <a:gd name="connsiteY0" fmla="*/ 27223 h 27223"/>
                        <a:gd name="connsiteX1" fmla="*/ 0 w 28417"/>
                        <a:gd name="connsiteY1" fmla="*/ 0 h 27223"/>
                        <a:gd name="connsiteX2" fmla="*/ 28417 w 28417"/>
                        <a:gd name="connsiteY2" fmla="*/ 0 h 272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8417" h="27223">
                          <a:moveTo>
                            <a:pt x="0" y="27223"/>
                          </a:moveTo>
                          <a:lnTo>
                            <a:pt x="0" y="0"/>
                          </a:lnTo>
                          <a:lnTo>
                            <a:pt x="28417" y="0"/>
                          </a:lnTo>
                        </a:path>
                      </a:pathLst>
                    </a:custGeom>
                    <a:noFill/>
                    <a:ln w="9525" cap="sq">
                      <a:solidFill>
                        <a:srgbClr val="98A2AE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518" name="Rectangle 220">
                      <a:extLst>
                        <a:ext uri="{FF2B5EF4-FFF2-40B4-BE49-F238E27FC236}">
                          <a16:creationId xmlns:a16="http://schemas.microsoft.com/office/drawing/2014/main" xmlns="" id="{AD18E4E4-2EA2-4B1A-B32E-296EFEB9D373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3395411" y="1819201"/>
                      <a:ext cx="77489" cy="90000"/>
                    </a:xfrm>
                    <a:custGeom>
                      <a:avLst/>
                      <a:gdLst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28417 w 28417"/>
                        <a:gd name="connsiteY2" fmla="*/ 27223 h 27223"/>
                        <a:gd name="connsiteX3" fmla="*/ 0 w 28417"/>
                        <a:gd name="connsiteY3" fmla="*/ 27223 h 27223"/>
                        <a:gd name="connsiteX4" fmla="*/ 0 w 28417"/>
                        <a:gd name="connsiteY4" fmla="*/ 0 h 27223"/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0 w 28417"/>
                        <a:gd name="connsiteY2" fmla="*/ 27223 h 27223"/>
                        <a:gd name="connsiteX3" fmla="*/ 0 w 28417"/>
                        <a:gd name="connsiteY3" fmla="*/ 0 h 27223"/>
                        <a:gd name="connsiteX0" fmla="*/ 0 w 132887"/>
                        <a:gd name="connsiteY0" fmla="*/ 0 h 33158"/>
                        <a:gd name="connsiteX1" fmla="*/ 28417 w 132887"/>
                        <a:gd name="connsiteY1" fmla="*/ 0 h 33158"/>
                        <a:gd name="connsiteX2" fmla="*/ 132814 w 132887"/>
                        <a:gd name="connsiteY2" fmla="*/ 33158 h 33158"/>
                        <a:gd name="connsiteX3" fmla="*/ 0 w 132887"/>
                        <a:gd name="connsiteY3" fmla="*/ 27223 h 33158"/>
                        <a:gd name="connsiteX4" fmla="*/ 0 w 132887"/>
                        <a:gd name="connsiteY4" fmla="*/ 0 h 33158"/>
                        <a:gd name="connsiteX0" fmla="*/ 0 w 132887"/>
                        <a:gd name="connsiteY0" fmla="*/ 0 h 88199"/>
                        <a:gd name="connsiteX1" fmla="*/ 28417 w 132887"/>
                        <a:gd name="connsiteY1" fmla="*/ 0 h 88199"/>
                        <a:gd name="connsiteX2" fmla="*/ 132814 w 132887"/>
                        <a:gd name="connsiteY2" fmla="*/ 33158 h 88199"/>
                        <a:gd name="connsiteX3" fmla="*/ 70812 w 132887"/>
                        <a:gd name="connsiteY3" fmla="*/ 88173 h 88199"/>
                        <a:gd name="connsiteX4" fmla="*/ 0 w 132887"/>
                        <a:gd name="connsiteY4" fmla="*/ 27223 h 88199"/>
                        <a:gd name="connsiteX5" fmla="*/ 0 w 132887"/>
                        <a:gd name="connsiteY5" fmla="*/ 0 h 88199"/>
                        <a:gd name="connsiteX0" fmla="*/ 70812 w 166347"/>
                        <a:gd name="connsiteY0" fmla="*/ 88173 h 88173"/>
                        <a:gd name="connsiteX1" fmla="*/ 0 w 166347"/>
                        <a:gd name="connsiteY1" fmla="*/ 27223 h 88173"/>
                        <a:gd name="connsiteX2" fmla="*/ 0 w 166347"/>
                        <a:gd name="connsiteY2" fmla="*/ 0 h 88173"/>
                        <a:gd name="connsiteX3" fmla="*/ 28417 w 166347"/>
                        <a:gd name="connsiteY3" fmla="*/ 0 h 88173"/>
                        <a:gd name="connsiteX4" fmla="*/ 166347 w 166347"/>
                        <a:gd name="connsiteY4" fmla="*/ 66691 h 88173"/>
                        <a:gd name="connsiteX0" fmla="*/ 70812 w 70812"/>
                        <a:gd name="connsiteY0" fmla="*/ 88173 h 88173"/>
                        <a:gd name="connsiteX1" fmla="*/ 0 w 70812"/>
                        <a:gd name="connsiteY1" fmla="*/ 27223 h 88173"/>
                        <a:gd name="connsiteX2" fmla="*/ 0 w 70812"/>
                        <a:gd name="connsiteY2" fmla="*/ 0 h 88173"/>
                        <a:gd name="connsiteX3" fmla="*/ 28417 w 70812"/>
                        <a:gd name="connsiteY3" fmla="*/ 0 h 88173"/>
                        <a:gd name="connsiteX0" fmla="*/ 0 w 28417"/>
                        <a:gd name="connsiteY0" fmla="*/ 27223 h 27223"/>
                        <a:gd name="connsiteX1" fmla="*/ 0 w 28417"/>
                        <a:gd name="connsiteY1" fmla="*/ 0 h 27223"/>
                        <a:gd name="connsiteX2" fmla="*/ 28417 w 28417"/>
                        <a:gd name="connsiteY2" fmla="*/ 0 h 272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8417" h="27223">
                          <a:moveTo>
                            <a:pt x="0" y="27223"/>
                          </a:moveTo>
                          <a:lnTo>
                            <a:pt x="0" y="0"/>
                          </a:lnTo>
                          <a:lnTo>
                            <a:pt x="28417" y="0"/>
                          </a:lnTo>
                        </a:path>
                      </a:pathLst>
                    </a:custGeom>
                    <a:noFill/>
                    <a:ln w="9525" cap="sq">
                      <a:solidFill>
                        <a:srgbClr val="98A2AE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519" name="Rectangle 220">
                      <a:extLst>
                        <a:ext uri="{FF2B5EF4-FFF2-40B4-BE49-F238E27FC236}">
                          <a16:creationId xmlns:a16="http://schemas.microsoft.com/office/drawing/2014/main" xmlns="" id="{CE411CED-AC89-472E-ADEB-70CC2590B15C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3540705" y="1321034"/>
                      <a:ext cx="77489" cy="90000"/>
                    </a:xfrm>
                    <a:custGeom>
                      <a:avLst/>
                      <a:gdLst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28417 w 28417"/>
                        <a:gd name="connsiteY2" fmla="*/ 27223 h 27223"/>
                        <a:gd name="connsiteX3" fmla="*/ 0 w 28417"/>
                        <a:gd name="connsiteY3" fmla="*/ 27223 h 27223"/>
                        <a:gd name="connsiteX4" fmla="*/ 0 w 28417"/>
                        <a:gd name="connsiteY4" fmla="*/ 0 h 27223"/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0 w 28417"/>
                        <a:gd name="connsiteY2" fmla="*/ 27223 h 27223"/>
                        <a:gd name="connsiteX3" fmla="*/ 0 w 28417"/>
                        <a:gd name="connsiteY3" fmla="*/ 0 h 27223"/>
                        <a:gd name="connsiteX0" fmla="*/ 0 w 132887"/>
                        <a:gd name="connsiteY0" fmla="*/ 0 h 33158"/>
                        <a:gd name="connsiteX1" fmla="*/ 28417 w 132887"/>
                        <a:gd name="connsiteY1" fmla="*/ 0 h 33158"/>
                        <a:gd name="connsiteX2" fmla="*/ 132814 w 132887"/>
                        <a:gd name="connsiteY2" fmla="*/ 33158 h 33158"/>
                        <a:gd name="connsiteX3" fmla="*/ 0 w 132887"/>
                        <a:gd name="connsiteY3" fmla="*/ 27223 h 33158"/>
                        <a:gd name="connsiteX4" fmla="*/ 0 w 132887"/>
                        <a:gd name="connsiteY4" fmla="*/ 0 h 33158"/>
                        <a:gd name="connsiteX0" fmla="*/ 0 w 132887"/>
                        <a:gd name="connsiteY0" fmla="*/ 0 h 88199"/>
                        <a:gd name="connsiteX1" fmla="*/ 28417 w 132887"/>
                        <a:gd name="connsiteY1" fmla="*/ 0 h 88199"/>
                        <a:gd name="connsiteX2" fmla="*/ 132814 w 132887"/>
                        <a:gd name="connsiteY2" fmla="*/ 33158 h 88199"/>
                        <a:gd name="connsiteX3" fmla="*/ 70812 w 132887"/>
                        <a:gd name="connsiteY3" fmla="*/ 88173 h 88199"/>
                        <a:gd name="connsiteX4" fmla="*/ 0 w 132887"/>
                        <a:gd name="connsiteY4" fmla="*/ 27223 h 88199"/>
                        <a:gd name="connsiteX5" fmla="*/ 0 w 132887"/>
                        <a:gd name="connsiteY5" fmla="*/ 0 h 88199"/>
                        <a:gd name="connsiteX0" fmla="*/ 70812 w 166347"/>
                        <a:gd name="connsiteY0" fmla="*/ 88173 h 88173"/>
                        <a:gd name="connsiteX1" fmla="*/ 0 w 166347"/>
                        <a:gd name="connsiteY1" fmla="*/ 27223 h 88173"/>
                        <a:gd name="connsiteX2" fmla="*/ 0 w 166347"/>
                        <a:gd name="connsiteY2" fmla="*/ 0 h 88173"/>
                        <a:gd name="connsiteX3" fmla="*/ 28417 w 166347"/>
                        <a:gd name="connsiteY3" fmla="*/ 0 h 88173"/>
                        <a:gd name="connsiteX4" fmla="*/ 166347 w 166347"/>
                        <a:gd name="connsiteY4" fmla="*/ 66691 h 88173"/>
                        <a:gd name="connsiteX0" fmla="*/ 70812 w 70812"/>
                        <a:gd name="connsiteY0" fmla="*/ 88173 h 88173"/>
                        <a:gd name="connsiteX1" fmla="*/ 0 w 70812"/>
                        <a:gd name="connsiteY1" fmla="*/ 27223 h 88173"/>
                        <a:gd name="connsiteX2" fmla="*/ 0 w 70812"/>
                        <a:gd name="connsiteY2" fmla="*/ 0 h 88173"/>
                        <a:gd name="connsiteX3" fmla="*/ 28417 w 70812"/>
                        <a:gd name="connsiteY3" fmla="*/ 0 h 88173"/>
                        <a:gd name="connsiteX0" fmla="*/ 0 w 28417"/>
                        <a:gd name="connsiteY0" fmla="*/ 27223 h 27223"/>
                        <a:gd name="connsiteX1" fmla="*/ 0 w 28417"/>
                        <a:gd name="connsiteY1" fmla="*/ 0 h 27223"/>
                        <a:gd name="connsiteX2" fmla="*/ 28417 w 28417"/>
                        <a:gd name="connsiteY2" fmla="*/ 0 h 272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8417" h="27223">
                          <a:moveTo>
                            <a:pt x="0" y="27223"/>
                          </a:moveTo>
                          <a:lnTo>
                            <a:pt x="0" y="0"/>
                          </a:lnTo>
                          <a:lnTo>
                            <a:pt x="28417" y="0"/>
                          </a:lnTo>
                        </a:path>
                      </a:pathLst>
                    </a:custGeom>
                    <a:noFill/>
                    <a:ln w="9525" cap="sq">
                      <a:solidFill>
                        <a:srgbClr val="98A2AE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520" name="Rectangle 220">
                      <a:extLst>
                        <a:ext uri="{FF2B5EF4-FFF2-40B4-BE49-F238E27FC236}">
                          <a16:creationId xmlns:a16="http://schemas.microsoft.com/office/drawing/2014/main" xmlns="" id="{AF0785FF-6C34-458B-B97D-BFB3BBC28941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3540705" y="1487091"/>
                      <a:ext cx="77489" cy="90000"/>
                    </a:xfrm>
                    <a:custGeom>
                      <a:avLst/>
                      <a:gdLst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28417 w 28417"/>
                        <a:gd name="connsiteY2" fmla="*/ 27223 h 27223"/>
                        <a:gd name="connsiteX3" fmla="*/ 0 w 28417"/>
                        <a:gd name="connsiteY3" fmla="*/ 27223 h 27223"/>
                        <a:gd name="connsiteX4" fmla="*/ 0 w 28417"/>
                        <a:gd name="connsiteY4" fmla="*/ 0 h 27223"/>
                        <a:gd name="connsiteX0" fmla="*/ 0 w 28417"/>
                        <a:gd name="connsiteY0" fmla="*/ 0 h 27223"/>
                        <a:gd name="connsiteX1" fmla="*/ 28417 w 28417"/>
                        <a:gd name="connsiteY1" fmla="*/ 0 h 27223"/>
                        <a:gd name="connsiteX2" fmla="*/ 0 w 28417"/>
                        <a:gd name="connsiteY2" fmla="*/ 27223 h 27223"/>
                        <a:gd name="connsiteX3" fmla="*/ 0 w 28417"/>
                        <a:gd name="connsiteY3" fmla="*/ 0 h 27223"/>
                        <a:gd name="connsiteX0" fmla="*/ 0 w 132887"/>
                        <a:gd name="connsiteY0" fmla="*/ 0 h 33158"/>
                        <a:gd name="connsiteX1" fmla="*/ 28417 w 132887"/>
                        <a:gd name="connsiteY1" fmla="*/ 0 h 33158"/>
                        <a:gd name="connsiteX2" fmla="*/ 132814 w 132887"/>
                        <a:gd name="connsiteY2" fmla="*/ 33158 h 33158"/>
                        <a:gd name="connsiteX3" fmla="*/ 0 w 132887"/>
                        <a:gd name="connsiteY3" fmla="*/ 27223 h 33158"/>
                        <a:gd name="connsiteX4" fmla="*/ 0 w 132887"/>
                        <a:gd name="connsiteY4" fmla="*/ 0 h 33158"/>
                        <a:gd name="connsiteX0" fmla="*/ 0 w 132887"/>
                        <a:gd name="connsiteY0" fmla="*/ 0 h 88199"/>
                        <a:gd name="connsiteX1" fmla="*/ 28417 w 132887"/>
                        <a:gd name="connsiteY1" fmla="*/ 0 h 88199"/>
                        <a:gd name="connsiteX2" fmla="*/ 132814 w 132887"/>
                        <a:gd name="connsiteY2" fmla="*/ 33158 h 88199"/>
                        <a:gd name="connsiteX3" fmla="*/ 70812 w 132887"/>
                        <a:gd name="connsiteY3" fmla="*/ 88173 h 88199"/>
                        <a:gd name="connsiteX4" fmla="*/ 0 w 132887"/>
                        <a:gd name="connsiteY4" fmla="*/ 27223 h 88199"/>
                        <a:gd name="connsiteX5" fmla="*/ 0 w 132887"/>
                        <a:gd name="connsiteY5" fmla="*/ 0 h 88199"/>
                        <a:gd name="connsiteX0" fmla="*/ 70812 w 166347"/>
                        <a:gd name="connsiteY0" fmla="*/ 88173 h 88173"/>
                        <a:gd name="connsiteX1" fmla="*/ 0 w 166347"/>
                        <a:gd name="connsiteY1" fmla="*/ 27223 h 88173"/>
                        <a:gd name="connsiteX2" fmla="*/ 0 w 166347"/>
                        <a:gd name="connsiteY2" fmla="*/ 0 h 88173"/>
                        <a:gd name="connsiteX3" fmla="*/ 28417 w 166347"/>
                        <a:gd name="connsiteY3" fmla="*/ 0 h 88173"/>
                        <a:gd name="connsiteX4" fmla="*/ 166347 w 166347"/>
                        <a:gd name="connsiteY4" fmla="*/ 66691 h 88173"/>
                        <a:gd name="connsiteX0" fmla="*/ 70812 w 70812"/>
                        <a:gd name="connsiteY0" fmla="*/ 88173 h 88173"/>
                        <a:gd name="connsiteX1" fmla="*/ 0 w 70812"/>
                        <a:gd name="connsiteY1" fmla="*/ 27223 h 88173"/>
                        <a:gd name="connsiteX2" fmla="*/ 0 w 70812"/>
                        <a:gd name="connsiteY2" fmla="*/ 0 h 88173"/>
                        <a:gd name="connsiteX3" fmla="*/ 28417 w 70812"/>
                        <a:gd name="connsiteY3" fmla="*/ 0 h 88173"/>
                        <a:gd name="connsiteX0" fmla="*/ 0 w 28417"/>
                        <a:gd name="connsiteY0" fmla="*/ 27223 h 27223"/>
                        <a:gd name="connsiteX1" fmla="*/ 0 w 28417"/>
                        <a:gd name="connsiteY1" fmla="*/ 0 h 27223"/>
                        <a:gd name="connsiteX2" fmla="*/ 28417 w 28417"/>
                        <a:gd name="connsiteY2" fmla="*/ 0 h 272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8417" h="27223">
                          <a:moveTo>
                            <a:pt x="0" y="27223"/>
                          </a:moveTo>
                          <a:lnTo>
                            <a:pt x="0" y="0"/>
                          </a:lnTo>
                          <a:lnTo>
                            <a:pt x="28417" y="0"/>
                          </a:lnTo>
                        </a:path>
                      </a:pathLst>
                    </a:custGeom>
                    <a:noFill/>
                    <a:ln w="9525" cap="sq">
                      <a:solidFill>
                        <a:srgbClr val="98A2AE"/>
                      </a:solidFill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</p:grpSp>
            <p:grpSp>
              <p:nvGrpSpPr>
                <p:cNvPr id="340" name="Gruppieren 339">
                  <a:extLst>
                    <a:ext uri="{FF2B5EF4-FFF2-40B4-BE49-F238E27FC236}">
                      <a16:creationId xmlns:a16="http://schemas.microsoft.com/office/drawing/2014/main" xmlns="" id="{5ADE16CD-51F6-4DA4-86EF-3C6748989F1E}"/>
                    </a:ext>
                  </a:extLst>
                </p:cNvPr>
                <p:cNvGrpSpPr/>
                <p:nvPr/>
              </p:nvGrpSpPr>
              <p:grpSpPr>
                <a:xfrm>
                  <a:off x="1694164" y="2989403"/>
                  <a:ext cx="327366" cy="265358"/>
                  <a:chOff x="3560928" y="1685628"/>
                  <a:chExt cx="727857" cy="589988"/>
                </a:xfrm>
              </p:grpSpPr>
              <p:sp>
                <p:nvSpPr>
                  <p:cNvPr id="502" name="Rectangle 196">
                    <a:extLst>
                      <a:ext uri="{FF2B5EF4-FFF2-40B4-BE49-F238E27FC236}">
                        <a16:creationId xmlns:a16="http://schemas.microsoft.com/office/drawing/2014/main" xmlns="" id="{7949C26C-45A2-4B69-B5A7-26A08D6DB673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3560928" y="1685628"/>
                    <a:ext cx="727857" cy="589988"/>
                  </a:xfrm>
                  <a:custGeom>
                    <a:avLst/>
                    <a:gdLst>
                      <a:gd name="connsiteX0" fmla="*/ 0 w 327366"/>
                      <a:gd name="connsiteY0" fmla="*/ 0 h 265358"/>
                      <a:gd name="connsiteX1" fmla="*/ 327366 w 327366"/>
                      <a:gd name="connsiteY1" fmla="*/ 0 h 265358"/>
                      <a:gd name="connsiteX2" fmla="*/ 327366 w 327366"/>
                      <a:gd name="connsiteY2" fmla="*/ 265358 h 265358"/>
                      <a:gd name="connsiteX3" fmla="*/ 0 w 327366"/>
                      <a:gd name="connsiteY3" fmla="*/ 265358 h 265358"/>
                      <a:gd name="connsiteX4" fmla="*/ 0 w 327366"/>
                      <a:gd name="connsiteY4" fmla="*/ 0 h 265358"/>
                      <a:gd name="connsiteX0" fmla="*/ 0 w 327366"/>
                      <a:gd name="connsiteY0" fmla="*/ 0 h 325301"/>
                      <a:gd name="connsiteX1" fmla="*/ 327366 w 327366"/>
                      <a:gd name="connsiteY1" fmla="*/ 0 h 325301"/>
                      <a:gd name="connsiteX2" fmla="*/ 327366 w 327366"/>
                      <a:gd name="connsiteY2" fmla="*/ 265358 h 325301"/>
                      <a:gd name="connsiteX3" fmla="*/ 241792 w 327366"/>
                      <a:gd name="connsiteY3" fmla="*/ 325296 h 325301"/>
                      <a:gd name="connsiteX4" fmla="*/ 0 w 327366"/>
                      <a:gd name="connsiteY4" fmla="*/ 265358 h 325301"/>
                      <a:gd name="connsiteX5" fmla="*/ 0 w 327366"/>
                      <a:gd name="connsiteY5" fmla="*/ 0 h 325301"/>
                      <a:gd name="connsiteX0" fmla="*/ 0 w 327366"/>
                      <a:gd name="connsiteY0" fmla="*/ 0 h 362438"/>
                      <a:gd name="connsiteX1" fmla="*/ 327366 w 327366"/>
                      <a:gd name="connsiteY1" fmla="*/ 0 h 362438"/>
                      <a:gd name="connsiteX2" fmla="*/ 327366 w 327366"/>
                      <a:gd name="connsiteY2" fmla="*/ 265358 h 362438"/>
                      <a:gd name="connsiteX3" fmla="*/ 241792 w 327366"/>
                      <a:gd name="connsiteY3" fmla="*/ 325296 h 362438"/>
                      <a:gd name="connsiteX4" fmla="*/ 117967 w 327366"/>
                      <a:gd name="connsiteY4" fmla="*/ 361015 h 362438"/>
                      <a:gd name="connsiteX5" fmla="*/ 0 w 327366"/>
                      <a:gd name="connsiteY5" fmla="*/ 265358 h 362438"/>
                      <a:gd name="connsiteX6" fmla="*/ 0 w 327366"/>
                      <a:gd name="connsiteY6" fmla="*/ 0 h 362438"/>
                      <a:gd name="connsiteX0" fmla="*/ 117967 w 333232"/>
                      <a:gd name="connsiteY0" fmla="*/ 361015 h 416736"/>
                      <a:gd name="connsiteX1" fmla="*/ 0 w 333232"/>
                      <a:gd name="connsiteY1" fmla="*/ 265358 h 416736"/>
                      <a:gd name="connsiteX2" fmla="*/ 0 w 333232"/>
                      <a:gd name="connsiteY2" fmla="*/ 0 h 416736"/>
                      <a:gd name="connsiteX3" fmla="*/ 327366 w 333232"/>
                      <a:gd name="connsiteY3" fmla="*/ 0 h 416736"/>
                      <a:gd name="connsiteX4" fmla="*/ 327366 w 333232"/>
                      <a:gd name="connsiteY4" fmla="*/ 265358 h 416736"/>
                      <a:gd name="connsiteX5" fmla="*/ 333232 w 333232"/>
                      <a:gd name="connsiteY5" fmla="*/ 416736 h 416736"/>
                      <a:gd name="connsiteX0" fmla="*/ 117967 w 327366"/>
                      <a:gd name="connsiteY0" fmla="*/ 361015 h 361015"/>
                      <a:gd name="connsiteX1" fmla="*/ 0 w 327366"/>
                      <a:gd name="connsiteY1" fmla="*/ 265358 h 361015"/>
                      <a:gd name="connsiteX2" fmla="*/ 0 w 327366"/>
                      <a:gd name="connsiteY2" fmla="*/ 0 h 361015"/>
                      <a:gd name="connsiteX3" fmla="*/ 327366 w 327366"/>
                      <a:gd name="connsiteY3" fmla="*/ 0 h 361015"/>
                      <a:gd name="connsiteX4" fmla="*/ 327366 w 327366"/>
                      <a:gd name="connsiteY4" fmla="*/ 265358 h 361015"/>
                      <a:gd name="connsiteX0" fmla="*/ 0 w 327366"/>
                      <a:gd name="connsiteY0" fmla="*/ 265358 h 265358"/>
                      <a:gd name="connsiteX1" fmla="*/ 0 w 327366"/>
                      <a:gd name="connsiteY1" fmla="*/ 0 h 265358"/>
                      <a:gd name="connsiteX2" fmla="*/ 327366 w 327366"/>
                      <a:gd name="connsiteY2" fmla="*/ 0 h 265358"/>
                      <a:gd name="connsiteX3" fmla="*/ 327366 w 327366"/>
                      <a:gd name="connsiteY3" fmla="*/ 265358 h 265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27366" h="265358">
                        <a:moveTo>
                          <a:pt x="0" y="265358"/>
                        </a:moveTo>
                        <a:lnTo>
                          <a:pt x="0" y="0"/>
                        </a:lnTo>
                        <a:lnTo>
                          <a:pt x="327366" y="0"/>
                        </a:lnTo>
                        <a:lnTo>
                          <a:pt x="327366" y="265358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03" name="Rectangle 221">
                    <a:extLst>
                      <a:ext uri="{FF2B5EF4-FFF2-40B4-BE49-F238E27FC236}">
                        <a16:creationId xmlns:a16="http://schemas.microsoft.com/office/drawing/2014/main" xmlns="" id="{56331239-5868-4293-A6FE-092F6CA0AC5F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3632254" y="1746989"/>
                    <a:ext cx="169003" cy="112669"/>
                  </a:xfrm>
                  <a:custGeom>
                    <a:avLst/>
                    <a:gdLst>
                      <a:gd name="connsiteX0" fmla="*/ 0 w 169003"/>
                      <a:gd name="connsiteY0" fmla="*/ 0 h 112669"/>
                      <a:gd name="connsiteX1" fmla="*/ 169003 w 169003"/>
                      <a:gd name="connsiteY1" fmla="*/ 0 h 112669"/>
                      <a:gd name="connsiteX2" fmla="*/ 169003 w 169003"/>
                      <a:gd name="connsiteY2" fmla="*/ 112669 h 112669"/>
                      <a:gd name="connsiteX3" fmla="*/ 0 w 169003"/>
                      <a:gd name="connsiteY3" fmla="*/ 112669 h 112669"/>
                      <a:gd name="connsiteX4" fmla="*/ 0 w 169003"/>
                      <a:gd name="connsiteY4" fmla="*/ 0 h 112669"/>
                      <a:gd name="connsiteX0" fmla="*/ 0 w 169003"/>
                      <a:gd name="connsiteY0" fmla="*/ 0 h 188974"/>
                      <a:gd name="connsiteX1" fmla="*/ 169003 w 169003"/>
                      <a:gd name="connsiteY1" fmla="*/ 0 h 188974"/>
                      <a:gd name="connsiteX2" fmla="*/ 169003 w 169003"/>
                      <a:gd name="connsiteY2" fmla="*/ 112669 h 188974"/>
                      <a:gd name="connsiteX3" fmla="*/ 108690 w 169003"/>
                      <a:gd name="connsiteY3" fmla="*/ 188969 h 188974"/>
                      <a:gd name="connsiteX4" fmla="*/ 0 w 169003"/>
                      <a:gd name="connsiteY4" fmla="*/ 112669 h 188974"/>
                      <a:gd name="connsiteX5" fmla="*/ 0 w 169003"/>
                      <a:gd name="connsiteY5" fmla="*/ 0 h 188974"/>
                      <a:gd name="connsiteX0" fmla="*/ 108690 w 260443"/>
                      <a:gd name="connsiteY0" fmla="*/ 188969 h 204109"/>
                      <a:gd name="connsiteX1" fmla="*/ 0 w 260443"/>
                      <a:gd name="connsiteY1" fmla="*/ 112669 h 204109"/>
                      <a:gd name="connsiteX2" fmla="*/ 0 w 260443"/>
                      <a:gd name="connsiteY2" fmla="*/ 0 h 204109"/>
                      <a:gd name="connsiteX3" fmla="*/ 169003 w 260443"/>
                      <a:gd name="connsiteY3" fmla="*/ 0 h 204109"/>
                      <a:gd name="connsiteX4" fmla="*/ 260443 w 260443"/>
                      <a:gd name="connsiteY4" fmla="*/ 204109 h 204109"/>
                      <a:gd name="connsiteX0" fmla="*/ 108690 w 169003"/>
                      <a:gd name="connsiteY0" fmla="*/ 188969 h 188969"/>
                      <a:gd name="connsiteX1" fmla="*/ 0 w 169003"/>
                      <a:gd name="connsiteY1" fmla="*/ 112669 h 188969"/>
                      <a:gd name="connsiteX2" fmla="*/ 0 w 169003"/>
                      <a:gd name="connsiteY2" fmla="*/ 0 h 188969"/>
                      <a:gd name="connsiteX3" fmla="*/ 169003 w 169003"/>
                      <a:gd name="connsiteY3" fmla="*/ 0 h 188969"/>
                      <a:gd name="connsiteX0" fmla="*/ 0 w 169003"/>
                      <a:gd name="connsiteY0" fmla="*/ 112669 h 112669"/>
                      <a:gd name="connsiteX1" fmla="*/ 0 w 169003"/>
                      <a:gd name="connsiteY1" fmla="*/ 0 h 112669"/>
                      <a:gd name="connsiteX2" fmla="*/ 169003 w 169003"/>
                      <a:gd name="connsiteY2" fmla="*/ 0 h 112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9003" h="112669">
                        <a:moveTo>
                          <a:pt x="0" y="112669"/>
                        </a:moveTo>
                        <a:lnTo>
                          <a:pt x="0" y="0"/>
                        </a:lnTo>
                        <a:lnTo>
                          <a:pt x="169003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04" name="Rectangle 221">
                    <a:extLst>
                      <a:ext uri="{FF2B5EF4-FFF2-40B4-BE49-F238E27FC236}">
                        <a16:creationId xmlns:a16="http://schemas.microsoft.com/office/drawing/2014/main" xmlns="" id="{7BED2867-F2E3-48AE-933D-1ECA0AB52FC4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3865302" y="1746989"/>
                    <a:ext cx="169003" cy="112669"/>
                  </a:xfrm>
                  <a:custGeom>
                    <a:avLst/>
                    <a:gdLst>
                      <a:gd name="connsiteX0" fmla="*/ 0 w 169003"/>
                      <a:gd name="connsiteY0" fmla="*/ 0 h 112669"/>
                      <a:gd name="connsiteX1" fmla="*/ 169003 w 169003"/>
                      <a:gd name="connsiteY1" fmla="*/ 0 h 112669"/>
                      <a:gd name="connsiteX2" fmla="*/ 169003 w 169003"/>
                      <a:gd name="connsiteY2" fmla="*/ 112669 h 112669"/>
                      <a:gd name="connsiteX3" fmla="*/ 0 w 169003"/>
                      <a:gd name="connsiteY3" fmla="*/ 112669 h 112669"/>
                      <a:gd name="connsiteX4" fmla="*/ 0 w 169003"/>
                      <a:gd name="connsiteY4" fmla="*/ 0 h 112669"/>
                      <a:gd name="connsiteX0" fmla="*/ 0 w 169003"/>
                      <a:gd name="connsiteY0" fmla="*/ 0 h 188974"/>
                      <a:gd name="connsiteX1" fmla="*/ 169003 w 169003"/>
                      <a:gd name="connsiteY1" fmla="*/ 0 h 188974"/>
                      <a:gd name="connsiteX2" fmla="*/ 169003 w 169003"/>
                      <a:gd name="connsiteY2" fmla="*/ 112669 h 188974"/>
                      <a:gd name="connsiteX3" fmla="*/ 108690 w 169003"/>
                      <a:gd name="connsiteY3" fmla="*/ 188969 h 188974"/>
                      <a:gd name="connsiteX4" fmla="*/ 0 w 169003"/>
                      <a:gd name="connsiteY4" fmla="*/ 112669 h 188974"/>
                      <a:gd name="connsiteX5" fmla="*/ 0 w 169003"/>
                      <a:gd name="connsiteY5" fmla="*/ 0 h 188974"/>
                      <a:gd name="connsiteX0" fmla="*/ 108690 w 260443"/>
                      <a:gd name="connsiteY0" fmla="*/ 188969 h 204109"/>
                      <a:gd name="connsiteX1" fmla="*/ 0 w 260443"/>
                      <a:gd name="connsiteY1" fmla="*/ 112669 h 204109"/>
                      <a:gd name="connsiteX2" fmla="*/ 0 w 260443"/>
                      <a:gd name="connsiteY2" fmla="*/ 0 h 204109"/>
                      <a:gd name="connsiteX3" fmla="*/ 169003 w 260443"/>
                      <a:gd name="connsiteY3" fmla="*/ 0 h 204109"/>
                      <a:gd name="connsiteX4" fmla="*/ 260443 w 260443"/>
                      <a:gd name="connsiteY4" fmla="*/ 204109 h 204109"/>
                      <a:gd name="connsiteX0" fmla="*/ 108690 w 169003"/>
                      <a:gd name="connsiteY0" fmla="*/ 188969 h 188969"/>
                      <a:gd name="connsiteX1" fmla="*/ 0 w 169003"/>
                      <a:gd name="connsiteY1" fmla="*/ 112669 h 188969"/>
                      <a:gd name="connsiteX2" fmla="*/ 0 w 169003"/>
                      <a:gd name="connsiteY2" fmla="*/ 0 h 188969"/>
                      <a:gd name="connsiteX3" fmla="*/ 169003 w 169003"/>
                      <a:gd name="connsiteY3" fmla="*/ 0 h 188969"/>
                      <a:gd name="connsiteX0" fmla="*/ 0 w 169003"/>
                      <a:gd name="connsiteY0" fmla="*/ 112669 h 112669"/>
                      <a:gd name="connsiteX1" fmla="*/ 0 w 169003"/>
                      <a:gd name="connsiteY1" fmla="*/ 0 h 112669"/>
                      <a:gd name="connsiteX2" fmla="*/ 169003 w 169003"/>
                      <a:gd name="connsiteY2" fmla="*/ 0 h 112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9003" h="112669">
                        <a:moveTo>
                          <a:pt x="0" y="112669"/>
                        </a:moveTo>
                        <a:lnTo>
                          <a:pt x="0" y="0"/>
                        </a:lnTo>
                        <a:lnTo>
                          <a:pt x="169003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05" name="Rectangle 221">
                    <a:extLst>
                      <a:ext uri="{FF2B5EF4-FFF2-40B4-BE49-F238E27FC236}">
                        <a16:creationId xmlns:a16="http://schemas.microsoft.com/office/drawing/2014/main" xmlns="" id="{EB662B6D-0835-4C51-9738-37B812BF517A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098350" y="1746989"/>
                    <a:ext cx="169003" cy="112669"/>
                  </a:xfrm>
                  <a:custGeom>
                    <a:avLst/>
                    <a:gdLst>
                      <a:gd name="connsiteX0" fmla="*/ 0 w 169003"/>
                      <a:gd name="connsiteY0" fmla="*/ 0 h 112669"/>
                      <a:gd name="connsiteX1" fmla="*/ 169003 w 169003"/>
                      <a:gd name="connsiteY1" fmla="*/ 0 h 112669"/>
                      <a:gd name="connsiteX2" fmla="*/ 169003 w 169003"/>
                      <a:gd name="connsiteY2" fmla="*/ 112669 h 112669"/>
                      <a:gd name="connsiteX3" fmla="*/ 0 w 169003"/>
                      <a:gd name="connsiteY3" fmla="*/ 112669 h 112669"/>
                      <a:gd name="connsiteX4" fmla="*/ 0 w 169003"/>
                      <a:gd name="connsiteY4" fmla="*/ 0 h 112669"/>
                      <a:gd name="connsiteX0" fmla="*/ 0 w 169003"/>
                      <a:gd name="connsiteY0" fmla="*/ 0 h 188974"/>
                      <a:gd name="connsiteX1" fmla="*/ 169003 w 169003"/>
                      <a:gd name="connsiteY1" fmla="*/ 0 h 188974"/>
                      <a:gd name="connsiteX2" fmla="*/ 169003 w 169003"/>
                      <a:gd name="connsiteY2" fmla="*/ 112669 h 188974"/>
                      <a:gd name="connsiteX3" fmla="*/ 108690 w 169003"/>
                      <a:gd name="connsiteY3" fmla="*/ 188969 h 188974"/>
                      <a:gd name="connsiteX4" fmla="*/ 0 w 169003"/>
                      <a:gd name="connsiteY4" fmla="*/ 112669 h 188974"/>
                      <a:gd name="connsiteX5" fmla="*/ 0 w 169003"/>
                      <a:gd name="connsiteY5" fmla="*/ 0 h 188974"/>
                      <a:gd name="connsiteX0" fmla="*/ 108690 w 260443"/>
                      <a:gd name="connsiteY0" fmla="*/ 188969 h 204109"/>
                      <a:gd name="connsiteX1" fmla="*/ 0 w 260443"/>
                      <a:gd name="connsiteY1" fmla="*/ 112669 h 204109"/>
                      <a:gd name="connsiteX2" fmla="*/ 0 w 260443"/>
                      <a:gd name="connsiteY2" fmla="*/ 0 h 204109"/>
                      <a:gd name="connsiteX3" fmla="*/ 169003 w 260443"/>
                      <a:gd name="connsiteY3" fmla="*/ 0 h 204109"/>
                      <a:gd name="connsiteX4" fmla="*/ 260443 w 260443"/>
                      <a:gd name="connsiteY4" fmla="*/ 204109 h 204109"/>
                      <a:gd name="connsiteX0" fmla="*/ 108690 w 169003"/>
                      <a:gd name="connsiteY0" fmla="*/ 188969 h 188969"/>
                      <a:gd name="connsiteX1" fmla="*/ 0 w 169003"/>
                      <a:gd name="connsiteY1" fmla="*/ 112669 h 188969"/>
                      <a:gd name="connsiteX2" fmla="*/ 0 w 169003"/>
                      <a:gd name="connsiteY2" fmla="*/ 0 h 188969"/>
                      <a:gd name="connsiteX3" fmla="*/ 169003 w 169003"/>
                      <a:gd name="connsiteY3" fmla="*/ 0 h 188969"/>
                      <a:gd name="connsiteX0" fmla="*/ 0 w 169003"/>
                      <a:gd name="connsiteY0" fmla="*/ 112669 h 112669"/>
                      <a:gd name="connsiteX1" fmla="*/ 0 w 169003"/>
                      <a:gd name="connsiteY1" fmla="*/ 0 h 112669"/>
                      <a:gd name="connsiteX2" fmla="*/ 169003 w 169003"/>
                      <a:gd name="connsiteY2" fmla="*/ 0 h 112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9003" h="112669">
                        <a:moveTo>
                          <a:pt x="0" y="112669"/>
                        </a:moveTo>
                        <a:lnTo>
                          <a:pt x="0" y="0"/>
                        </a:lnTo>
                        <a:lnTo>
                          <a:pt x="169003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06" name="Rectangle 221">
                    <a:extLst>
                      <a:ext uri="{FF2B5EF4-FFF2-40B4-BE49-F238E27FC236}">
                        <a16:creationId xmlns:a16="http://schemas.microsoft.com/office/drawing/2014/main" xmlns="" id="{1EDA4C8D-149F-4C8B-AADC-53D19D0F7C7D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098350" y="1930959"/>
                    <a:ext cx="169003" cy="112669"/>
                  </a:xfrm>
                  <a:custGeom>
                    <a:avLst/>
                    <a:gdLst>
                      <a:gd name="connsiteX0" fmla="*/ 0 w 169003"/>
                      <a:gd name="connsiteY0" fmla="*/ 0 h 112669"/>
                      <a:gd name="connsiteX1" fmla="*/ 169003 w 169003"/>
                      <a:gd name="connsiteY1" fmla="*/ 0 h 112669"/>
                      <a:gd name="connsiteX2" fmla="*/ 169003 w 169003"/>
                      <a:gd name="connsiteY2" fmla="*/ 112669 h 112669"/>
                      <a:gd name="connsiteX3" fmla="*/ 0 w 169003"/>
                      <a:gd name="connsiteY3" fmla="*/ 112669 h 112669"/>
                      <a:gd name="connsiteX4" fmla="*/ 0 w 169003"/>
                      <a:gd name="connsiteY4" fmla="*/ 0 h 112669"/>
                      <a:gd name="connsiteX0" fmla="*/ 0 w 169003"/>
                      <a:gd name="connsiteY0" fmla="*/ 0 h 188974"/>
                      <a:gd name="connsiteX1" fmla="*/ 169003 w 169003"/>
                      <a:gd name="connsiteY1" fmla="*/ 0 h 188974"/>
                      <a:gd name="connsiteX2" fmla="*/ 169003 w 169003"/>
                      <a:gd name="connsiteY2" fmla="*/ 112669 h 188974"/>
                      <a:gd name="connsiteX3" fmla="*/ 108690 w 169003"/>
                      <a:gd name="connsiteY3" fmla="*/ 188969 h 188974"/>
                      <a:gd name="connsiteX4" fmla="*/ 0 w 169003"/>
                      <a:gd name="connsiteY4" fmla="*/ 112669 h 188974"/>
                      <a:gd name="connsiteX5" fmla="*/ 0 w 169003"/>
                      <a:gd name="connsiteY5" fmla="*/ 0 h 188974"/>
                      <a:gd name="connsiteX0" fmla="*/ 108690 w 260443"/>
                      <a:gd name="connsiteY0" fmla="*/ 188969 h 204109"/>
                      <a:gd name="connsiteX1" fmla="*/ 0 w 260443"/>
                      <a:gd name="connsiteY1" fmla="*/ 112669 h 204109"/>
                      <a:gd name="connsiteX2" fmla="*/ 0 w 260443"/>
                      <a:gd name="connsiteY2" fmla="*/ 0 h 204109"/>
                      <a:gd name="connsiteX3" fmla="*/ 169003 w 260443"/>
                      <a:gd name="connsiteY3" fmla="*/ 0 h 204109"/>
                      <a:gd name="connsiteX4" fmla="*/ 260443 w 260443"/>
                      <a:gd name="connsiteY4" fmla="*/ 204109 h 204109"/>
                      <a:gd name="connsiteX0" fmla="*/ 108690 w 169003"/>
                      <a:gd name="connsiteY0" fmla="*/ 188969 h 188969"/>
                      <a:gd name="connsiteX1" fmla="*/ 0 w 169003"/>
                      <a:gd name="connsiteY1" fmla="*/ 112669 h 188969"/>
                      <a:gd name="connsiteX2" fmla="*/ 0 w 169003"/>
                      <a:gd name="connsiteY2" fmla="*/ 0 h 188969"/>
                      <a:gd name="connsiteX3" fmla="*/ 169003 w 169003"/>
                      <a:gd name="connsiteY3" fmla="*/ 0 h 188969"/>
                      <a:gd name="connsiteX0" fmla="*/ 0 w 169003"/>
                      <a:gd name="connsiteY0" fmla="*/ 112669 h 112669"/>
                      <a:gd name="connsiteX1" fmla="*/ 0 w 169003"/>
                      <a:gd name="connsiteY1" fmla="*/ 0 h 112669"/>
                      <a:gd name="connsiteX2" fmla="*/ 169003 w 169003"/>
                      <a:gd name="connsiteY2" fmla="*/ 0 h 112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9003" h="112669">
                        <a:moveTo>
                          <a:pt x="0" y="112669"/>
                        </a:moveTo>
                        <a:lnTo>
                          <a:pt x="0" y="0"/>
                        </a:lnTo>
                        <a:lnTo>
                          <a:pt x="169003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07" name="Rectangle 221">
                    <a:extLst>
                      <a:ext uri="{FF2B5EF4-FFF2-40B4-BE49-F238E27FC236}">
                        <a16:creationId xmlns:a16="http://schemas.microsoft.com/office/drawing/2014/main" xmlns="" id="{CB1EA8F3-99F9-4F31-A0A8-9BB4EDA1909A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3865302" y="1930959"/>
                    <a:ext cx="169003" cy="112669"/>
                  </a:xfrm>
                  <a:custGeom>
                    <a:avLst/>
                    <a:gdLst>
                      <a:gd name="connsiteX0" fmla="*/ 0 w 169003"/>
                      <a:gd name="connsiteY0" fmla="*/ 0 h 112669"/>
                      <a:gd name="connsiteX1" fmla="*/ 169003 w 169003"/>
                      <a:gd name="connsiteY1" fmla="*/ 0 h 112669"/>
                      <a:gd name="connsiteX2" fmla="*/ 169003 w 169003"/>
                      <a:gd name="connsiteY2" fmla="*/ 112669 h 112669"/>
                      <a:gd name="connsiteX3" fmla="*/ 0 w 169003"/>
                      <a:gd name="connsiteY3" fmla="*/ 112669 h 112669"/>
                      <a:gd name="connsiteX4" fmla="*/ 0 w 169003"/>
                      <a:gd name="connsiteY4" fmla="*/ 0 h 112669"/>
                      <a:gd name="connsiteX0" fmla="*/ 0 w 169003"/>
                      <a:gd name="connsiteY0" fmla="*/ 0 h 188974"/>
                      <a:gd name="connsiteX1" fmla="*/ 169003 w 169003"/>
                      <a:gd name="connsiteY1" fmla="*/ 0 h 188974"/>
                      <a:gd name="connsiteX2" fmla="*/ 169003 w 169003"/>
                      <a:gd name="connsiteY2" fmla="*/ 112669 h 188974"/>
                      <a:gd name="connsiteX3" fmla="*/ 108690 w 169003"/>
                      <a:gd name="connsiteY3" fmla="*/ 188969 h 188974"/>
                      <a:gd name="connsiteX4" fmla="*/ 0 w 169003"/>
                      <a:gd name="connsiteY4" fmla="*/ 112669 h 188974"/>
                      <a:gd name="connsiteX5" fmla="*/ 0 w 169003"/>
                      <a:gd name="connsiteY5" fmla="*/ 0 h 188974"/>
                      <a:gd name="connsiteX0" fmla="*/ 108690 w 260443"/>
                      <a:gd name="connsiteY0" fmla="*/ 188969 h 204109"/>
                      <a:gd name="connsiteX1" fmla="*/ 0 w 260443"/>
                      <a:gd name="connsiteY1" fmla="*/ 112669 h 204109"/>
                      <a:gd name="connsiteX2" fmla="*/ 0 w 260443"/>
                      <a:gd name="connsiteY2" fmla="*/ 0 h 204109"/>
                      <a:gd name="connsiteX3" fmla="*/ 169003 w 260443"/>
                      <a:gd name="connsiteY3" fmla="*/ 0 h 204109"/>
                      <a:gd name="connsiteX4" fmla="*/ 260443 w 260443"/>
                      <a:gd name="connsiteY4" fmla="*/ 204109 h 204109"/>
                      <a:gd name="connsiteX0" fmla="*/ 108690 w 169003"/>
                      <a:gd name="connsiteY0" fmla="*/ 188969 h 188969"/>
                      <a:gd name="connsiteX1" fmla="*/ 0 w 169003"/>
                      <a:gd name="connsiteY1" fmla="*/ 112669 h 188969"/>
                      <a:gd name="connsiteX2" fmla="*/ 0 w 169003"/>
                      <a:gd name="connsiteY2" fmla="*/ 0 h 188969"/>
                      <a:gd name="connsiteX3" fmla="*/ 169003 w 169003"/>
                      <a:gd name="connsiteY3" fmla="*/ 0 h 188969"/>
                      <a:gd name="connsiteX0" fmla="*/ 0 w 169003"/>
                      <a:gd name="connsiteY0" fmla="*/ 112669 h 112669"/>
                      <a:gd name="connsiteX1" fmla="*/ 0 w 169003"/>
                      <a:gd name="connsiteY1" fmla="*/ 0 h 112669"/>
                      <a:gd name="connsiteX2" fmla="*/ 169003 w 169003"/>
                      <a:gd name="connsiteY2" fmla="*/ 0 h 112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9003" h="112669">
                        <a:moveTo>
                          <a:pt x="0" y="112669"/>
                        </a:moveTo>
                        <a:lnTo>
                          <a:pt x="0" y="0"/>
                        </a:lnTo>
                        <a:lnTo>
                          <a:pt x="169003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08" name="Rectangle 221">
                    <a:extLst>
                      <a:ext uri="{FF2B5EF4-FFF2-40B4-BE49-F238E27FC236}">
                        <a16:creationId xmlns:a16="http://schemas.microsoft.com/office/drawing/2014/main" xmlns="" id="{1263F604-AE2B-4714-AE5E-99F33B2250AB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3632254" y="1930959"/>
                    <a:ext cx="169003" cy="112669"/>
                  </a:xfrm>
                  <a:custGeom>
                    <a:avLst/>
                    <a:gdLst>
                      <a:gd name="connsiteX0" fmla="*/ 0 w 169003"/>
                      <a:gd name="connsiteY0" fmla="*/ 0 h 112669"/>
                      <a:gd name="connsiteX1" fmla="*/ 169003 w 169003"/>
                      <a:gd name="connsiteY1" fmla="*/ 0 h 112669"/>
                      <a:gd name="connsiteX2" fmla="*/ 169003 w 169003"/>
                      <a:gd name="connsiteY2" fmla="*/ 112669 h 112669"/>
                      <a:gd name="connsiteX3" fmla="*/ 0 w 169003"/>
                      <a:gd name="connsiteY3" fmla="*/ 112669 h 112669"/>
                      <a:gd name="connsiteX4" fmla="*/ 0 w 169003"/>
                      <a:gd name="connsiteY4" fmla="*/ 0 h 112669"/>
                      <a:gd name="connsiteX0" fmla="*/ 0 w 169003"/>
                      <a:gd name="connsiteY0" fmla="*/ 0 h 188974"/>
                      <a:gd name="connsiteX1" fmla="*/ 169003 w 169003"/>
                      <a:gd name="connsiteY1" fmla="*/ 0 h 188974"/>
                      <a:gd name="connsiteX2" fmla="*/ 169003 w 169003"/>
                      <a:gd name="connsiteY2" fmla="*/ 112669 h 188974"/>
                      <a:gd name="connsiteX3" fmla="*/ 108690 w 169003"/>
                      <a:gd name="connsiteY3" fmla="*/ 188969 h 188974"/>
                      <a:gd name="connsiteX4" fmla="*/ 0 w 169003"/>
                      <a:gd name="connsiteY4" fmla="*/ 112669 h 188974"/>
                      <a:gd name="connsiteX5" fmla="*/ 0 w 169003"/>
                      <a:gd name="connsiteY5" fmla="*/ 0 h 188974"/>
                      <a:gd name="connsiteX0" fmla="*/ 108690 w 260443"/>
                      <a:gd name="connsiteY0" fmla="*/ 188969 h 204109"/>
                      <a:gd name="connsiteX1" fmla="*/ 0 w 260443"/>
                      <a:gd name="connsiteY1" fmla="*/ 112669 h 204109"/>
                      <a:gd name="connsiteX2" fmla="*/ 0 w 260443"/>
                      <a:gd name="connsiteY2" fmla="*/ 0 h 204109"/>
                      <a:gd name="connsiteX3" fmla="*/ 169003 w 260443"/>
                      <a:gd name="connsiteY3" fmla="*/ 0 h 204109"/>
                      <a:gd name="connsiteX4" fmla="*/ 260443 w 260443"/>
                      <a:gd name="connsiteY4" fmla="*/ 204109 h 204109"/>
                      <a:gd name="connsiteX0" fmla="*/ 108690 w 169003"/>
                      <a:gd name="connsiteY0" fmla="*/ 188969 h 188969"/>
                      <a:gd name="connsiteX1" fmla="*/ 0 w 169003"/>
                      <a:gd name="connsiteY1" fmla="*/ 112669 h 188969"/>
                      <a:gd name="connsiteX2" fmla="*/ 0 w 169003"/>
                      <a:gd name="connsiteY2" fmla="*/ 0 h 188969"/>
                      <a:gd name="connsiteX3" fmla="*/ 169003 w 169003"/>
                      <a:gd name="connsiteY3" fmla="*/ 0 h 188969"/>
                      <a:gd name="connsiteX0" fmla="*/ 0 w 169003"/>
                      <a:gd name="connsiteY0" fmla="*/ 112669 h 112669"/>
                      <a:gd name="connsiteX1" fmla="*/ 0 w 169003"/>
                      <a:gd name="connsiteY1" fmla="*/ 0 h 112669"/>
                      <a:gd name="connsiteX2" fmla="*/ 169003 w 169003"/>
                      <a:gd name="connsiteY2" fmla="*/ 0 h 112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9003" h="112669">
                        <a:moveTo>
                          <a:pt x="0" y="112669"/>
                        </a:moveTo>
                        <a:lnTo>
                          <a:pt x="0" y="0"/>
                        </a:lnTo>
                        <a:lnTo>
                          <a:pt x="169003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09" name="Rectangle 221">
                    <a:extLst>
                      <a:ext uri="{FF2B5EF4-FFF2-40B4-BE49-F238E27FC236}">
                        <a16:creationId xmlns:a16="http://schemas.microsoft.com/office/drawing/2014/main" xmlns="" id="{5B19F0B1-0D73-4C38-831D-F6B1B5C438CD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098350" y="2097587"/>
                    <a:ext cx="169003" cy="112669"/>
                  </a:xfrm>
                  <a:custGeom>
                    <a:avLst/>
                    <a:gdLst>
                      <a:gd name="connsiteX0" fmla="*/ 0 w 169003"/>
                      <a:gd name="connsiteY0" fmla="*/ 0 h 112669"/>
                      <a:gd name="connsiteX1" fmla="*/ 169003 w 169003"/>
                      <a:gd name="connsiteY1" fmla="*/ 0 h 112669"/>
                      <a:gd name="connsiteX2" fmla="*/ 169003 w 169003"/>
                      <a:gd name="connsiteY2" fmla="*/ 112669 h 112669"/>
                      <a:gd name="connsiteX3" fmla="*/ 0 w 169003"/>
                      <a:gd name="connsiteY3" fmla="*/ 112669 h 112669"/>
                      <a:gd name="connsiteX4" fmla="*/ 0 w 169003"/>
                      <a:gd name="connsiteY4" fmla="*/ 0 h 112669"/>
                      <a:gd name="connsiteX0" fmla="*/ 0 w 169003"/>
                      <a:gd name="connsiteY0" fmla="*/ 0 h 188974"/>
                      <a:gd name="connsiteX1" fmla="*/ 169003 w 169003"/>
                      <a:gd name="connsiteY1" fmla="*/ 0 h 188974"/>
                      <a:gd name="connsiteX2" fmla="*/ 169003 w 169003"/>
                      <a:gd name="connsiteY2" fmla="*/ 112669 h 188974"/>
                      <a:gd name="connsiteX3" fmla="*/ 108690 w 169003"/>
                      <a:gd name="connsiteY3" fmla="*/ 188969 h 188974"/>
                      <a:gd name="connsiteX4" fmla="*/ 0 w 169003"/>
                      <a:gd name="connsiteY4" fmla="*/ 112669 h 188974"/>
                      <a:gd name="connsiteX5" fmla="*/ 0 w 169003"/>
                      <a:gd name="connsiteY5" fmla="*/ 0 h 188974"/>
                      <a:gd name="connsiteX0" fmla="*/ 108690 w 260443"/>
                      <a:gd name="connsiteY0" fmla="*/ 188969 h 204109"/>
                      <a:gd name="connsiteX1" fmla="*/ 0 w 260443"/>
                      <a:gd name="connsiteY1" fmla="*/ 112669 h 204109"/>
                      <a:gd name="connsiteX2" fmla="*/ 0 w 260443"/>
                      <a:gd name="connsiteY2" fmla="*/ 0 h 204109"/>
                      <a:gd name="connsiteX3" fmla="*/ 169003 w 260443"/>
                      <a:gd name="connsiteY3" fmla="*/ 0 h 204109"/>
                      <a:gd name="connsiteX4" fmla="*/ 260443 w 260443"/>
                      <a:gd name="connsiteY4" fmla="*/ 204109 h 204109"/>
                      <a:gd name="connsiteX0" fmla="*/ 108690 w 169003"/>
                      <a:gd name="connsiteY0" fmla="*/ 188969 h 188969"/>
                      <a:gd name="connsiteX1" fmla="*/ 0 w 169003"/>
                      <a:gd name="connsiteY1" fmla="*/ 112669 h 188969"/>
                      <a:gd name="connsiteX2" fmla="*/ 0 w 169003"/>
                      <a:gd name="connsiteY2" fmla="*/ 0 h 188969"/>
                      <a:gd name="connsiteX3" fmla="*/ 169003 w 169003"/>
                      <a:gd name="connsiteY3" fmla="*/ 0 h 188969"/>
                      <a:gd name="connsiteX0" fmla="*/ 0 w 169003"/>
                      <a:gd name="connsiteY0" fmla="*/ 112669 h 112669"/>
                      <a:gd name="connsiteX1" fmla="*/ 0 w 169003"/>
                      <a:gd name="connsiteY1" fmla="*/ 0 h 112669"/>
                      <a:gd name="connsiteX2" fmla="*/ 169003 w 169003"/>
                      <a:gd name="connsiteY2" fmla="*/ 0 h 112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9003" h="112669">
                        <a:moveTo>
                          <a:pt x="0" y="112669"/>
                        </a:moveTo>
                        <a:lnTo>
                          <a:pt x="0" y="0"/>
                        </a:lnTo>
                        <a:lnTo>
                          <a:pt x="169003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10" name="Rectangle 221">
                    <a:extLst>
                      <a:ext uri="{FF2B5EF4-FFF2-40B4-BE49-F238E27FC236}">
                        <a16:creationId xmlns:a16="http://schemas.microsoft.com/office/drawing/2014/main" xmlns="" id="{90135E25-F83B-4B42-B000-13930B0813FC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3865302" y="2097587"/>
                    <a:ext cx="169003" cy="112669"/>
                  </a:xfrm>
                  <a:custGeom>
                    <a:avLst/>
                    <a:gdLst>
                      <a:gd name="connsiteX0" fmla="*/ 0 w 169003"/>
                      <a:gd name="connsiteY0" fmla="*/ 0 h 112669"/>
                      <a:gd name="connsiteX1" fmla="*/ 169003 w 169003"/>
                      <a:gd name="connsiteY1" fmla="*/ 0 h 112669"/>
                      <a:gd name="connsiteX2" fmla="*/ 169003 w 169003"/>
                      <a:gd name="connsiteY2" fmla="*/ 112669 h 112669"/>
                      <a:gd name="connsiteX3" fmla="*/ 0 w 169003"/>
                      <a:gd name="connsiteY3" fmla="*/ 112669 h 112669"/>
                      <a:gd name="connsiteX4" fmla="*/ 0 w 169003"/>
                      <a:gd name="connsiteY4" fmla="*/ 0 h 112669"/>
                      <a:gd name="connsiteX0" fmla="*/ 0 w 169003"/>
                      <a:gd name="connsiteY0" fmla="*/ 0 h 188974"/>
                      <a:gd name="connsiteX1" fmla="*/ 169003 w 169003"/>
                      <a:gd name="connsiteY1" fmla="*/ 0 h 188974"/>
                      <a:gd name="connsiteX2" fmla="*/ 169003 w 169003"/>
                      <a:gd name="connsiteY2" fmla="*/ 112669 h 188974"/>
                      <a:gd name="connsiteX3" fmla="*/ 108690 w 169003"/>
                      <a:gd name="connsiteY3" fmla="*/ 188969 h 188974"/>
                      <a:gd name="connsiteX4" fmla="*/ 0 w 169003"/>
                      <a:gd name="connsiteY4" fmla="*/ 112669 h 188974"/>
                      <a:gd name="connsiteX5" fmla="*/ 0 w 169003"/>
                      <a:gd name="connsiteY5" fmla="*/ 0 h 188974"/>
                      <a:gd name="connsiteX0" fmla="*/ 108690 w 260443"/>
                      <a:gd name="connsiteY0" fmla="*/ 188969 h 204109"/>
                      <a:gd name="connsiteX1" fmla="*/ 0 w 260443"/>
                      <a:gd name="connsiteY1" fmla="*/ 112669 h 204109"/>
                      <a:gd name="connsiteX2" fmla="*/ 0 w 260443"/>
                      <a:gd name="connsiteY2" fmla="*/ 0 h 204109"/>
                      <a:gd name="connsiteX3" fmla="*/ 169003 w 260443"/>
                      <a:gd name="connsiteY3" fmla="*/ 0 h 204109"/>
                      <a:gd name="connsiteX4" fmla="*/ 260443 w 260443"/>
                      <a:gd name="connsiteY4" fmla="*/ 204109 h 204109"/>
                      <a:gd name="connsiteX0" fmla="*/ 108690 w 169003"/>
                      <a:gd name="connsiteY0" fmla="*/ 188969 h 188969"/>
                      <a:gd name="connsiteX1" fmla="*/ 0 w 169003"/>
                      <a:gd name="connsiteY1" fmla="*/ 112669 h 188969"/>
                      <a:gd name="connsiteX2" fmla="*/ 0 w 169003"/>
                      <a:gd name="connsiteY2" fmla="*/ 0 h 188969"/>
                      <a:gd name="connsiteX3" fmla="*/ 169003 w 169003"/>
                      <a:gd name="connsiteY3" fmla="*/ 0 h 188969"/>
                      <a:gd name="connsiteX0" fmla="*/ 0 w 169003"/>
                      <a:gd name="connsiteY0" fmla="*/ 112669 h 112669"/>
                      <a:gd name="connsiteX1" fmla="*/ 0 w 169003"/>
                      <a:gd name="connsiteY1" fmla="*/ 0 h 112669"/>
                      <a:gd name="connsiteX2" fmla="*/ 169003 w 169003"/>
                      <a:gd name="connsiteY2" fmla="*/ 0 h 112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9003" h="112669">
                        <a:moveTo>
                          <a:pt x="0" y="112669"/>
                        </a:moveTo>
                        <a:lnTo>
                          <a:pt x="0" y="0"/>
                        </a:lnTo>
                        <a:lnTo>
                          <a:pt x="169003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</p:grpSp>
            <p:grpSp>
              <p:nvGrpSpPr>
                <p:cNvPr id="341" name="Gruppieren 340">
                  <a:extLst>
                    <a:ext uri="{FF2B5EF4-FFF2-40B4-BE49-F238E27FC236}">
                      <a16:creationId xmlns:a16="http://schemas.microsoft.com/office/drawing/2014/main" xmlns="" id="{4AF5EE2F-1061-4CC9-B476-AD0076378CFB}"/>
                    </a:ext>
                  </a:extLst>
                </p:cNvPr>
                <p:cNvGrpSpPr/>
                <p:nvPr/>
              </p:nvGrpSpPr>
              <p:grpSpPr>
                <a:xfrm>
                  <a:off x="224823" y="2807902"/>
                  <a:ext cx="222204" cy="491212"/>
                  <a:chOff x="351132" y="2523407"/>
                  <a:chExt cx="315712" cy="697927"/>
                </a:xfrm>
              </p:grpSpPr>
              <p:sp>
                <p:nvSpPr>
                  <p:cNvPr id="497" name="Rectangle 152">
                    <a:extLst>
                      <a:ext uri="{FF2B5EF4-FFF2-40B4-BE49-F238E27FC236}">
                        <a16:creationId xmlns:a16="http://schemas.microsoft.com/office/drawing/2014/main" xmlns="" id="{7343007F-4DF1-458B-92B4-D01C23128C1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51132" y="2617916"/>
                    <a:ext cx="315712" cy="603418"/>
                  </a:xfrm>
                  <a:custGeom>
                    <a:avLst/>
                    <a:gdLst>
                      <a:gd name="connsiteX0" fmla="*/ 0 w 222204"/>
                      <a:gd name="connsiteY0" fmla="*/ 0 h 424695"/>
                      <a:gd name="connsiteX1" fmla="*/ 222204 w 222204"/>
                      <a:gd name="connsiteY1" fmla="*/ 0 h 424695"/>
                      <a:gd name="connsiteX2" fmla="*/ 222204 w 222204"/>
                      <a:gd name="connsiteY2" fmla="*/ 424695 h 424695"/>
                      <a:gd name="connsiteX3" fmla="*/ 0 w 222204"/>
                      <a:gd name="connsiteY3" fmla="*/ 424695 h 424695"/>
                      <a:gd name="connsiteX4" fmla="*/ 0 w 222204"/>
                      <a:gd name="connsiteY4" fmla="*/ 0 h 424695"/>
                      <a:gd name="connsiteX0" fmla="*/ 0 w 222204"/>
                      <a:gd name="connsiteY0" fmla="*/ 0 h 490144"/>
                      <a:gd name="connsiteX1" fmla="*/ 222204 w 222204"/>
                      <a:gd name="connsiteY1" fmla="*/ 0 h 490144"/>
                      <a:gd name="connsiteX2" fmla="*/ 222204 w 222204"/>
                      <a:gd name="connsiteY2" fmla="*/ 424695 h 490144"/>
                      <a:gd name="connsiteX3" fmla="*/ 77596 w 222204"/>
                      <a:gd name="connsiteY3" fmla="*/ 490143 h 490144"/>
                      <a:gd name="connsiteX4" fmla="*/ 0 w 222204"/>
                      <a:gd name="connsiteY4" fmla="*/ 424695 h 490144"/>
                      <a:gd name="connsiteX5" fmla="*/ 0 w 222204"/>
                      <a:gd name="connsiteY5" fmla="*/ 0 h 490144"/>
                      <a:gd name="connsiteX0" fmla="*/ 0 w 222204"/>
                      <a:gd name="connsiteY0" fmla="*/ 0 h 498183"/>
                      <a:gd name="connsiteX1" fmla="*/ 222204 w 222204"/>
                      <a:gd name="connsiteY1" fmla="*/ 0 h 498183"/>
                      <a:gd name="connsiteX2" fmla="*/ 222204 w 222204"/>
                      <a:gd name="connsiteY2" fmla="*/ 424695 h 498183"/>
                      <a:gd name="connsiteX3" fmla="*/ 175227 w 222204"/>
                      <a:gd name="connsiteY3" fmla="*/ 492523 h 498183"/>
                      <a:gd name="connsiteX4" fmla="*/ 77596 w 222204"/>
                      <a:gd name="connsiteY4" fmla="*/ 490143 h 498183"/>
                      <a:gd name="connsiteX5" fmla="*/ 0 w 222204"/>
                      <a:gd name="connsiteY5" fmla="*/ 424695 h 498183"/>
                      <a:gd name="connsiteX6" fmla="*/ 0 w 222204"/>
                      <a:gd name="connsiteY6" fmla="*/ 0 h 498183"/>
                      <a:gd name="connsiteX0" fmla="*/ 77596 w 266667"/>
                      <a:gd name="connsiteY0" fmla="*/ 490143 h 583963"/>
                      <a:gd name="connsiteX1" fmla="*/ 0 w 266667"/>
                      <a:gd name="connsiteY1" fmla="*/ 424695 h 583963"/>
                      <a:gd name="connsiteX2" fmla="*/ 0 w 266667"/>
                      <a:gd name="connsiteY2" fmla="*/ 0 h 583963"/>
                      <a:gd name="connsiteX3" fmla="*/ 222204 w 266667"/>
                      <a:gd name="connsiteY3" fmla="*/ 0 h 583963"/>
                      <a:gd name="connsiteX4" fmla="*/ 222204 w 266667"/>
                      <a:gd name="connsiteY4" fmla="*/ 424695 h 583963"/>
                      <a:gd name="connsiteX5" fmla="*/ 266667 w 266667"/>
                      <a:gd name="connsiteY5" fmla="*/ 583963 h 583963"/>
                      <a:gd name="connsiteX0" fmla="*/ 77596 w 222204"/>
                      <a:gd name="connsiteY0" fmla="*/ 490143 h 490143"/>
                      <a:gd name="connsiteX1" fmla="*/ 0 w 222204"/>
                      <a:gd name="connsiteY1" fmla="*/ 424695 h 490143"/>
                      <a:gd name="connsiteX2" fmla="*/ 0 w 222204"/>
                      <a:gd name="connsiteY2" fmla="*/ 0 h 490143"/>
                      <a:gd name="connsiteX3" fmla="*/ 222204 w 222204"/>
                      <a:gd name="connsiteY3" fmla="*/ 0 h 490143"/>
                      <a:gd name="connsiteX4" fmla="*/ 222204 w 222204"/>
                      <a:gd name="connsiteY4" fmla="*/ 424695 h 490143"/>
                      <a:gd name="connsiteX0" fmla="*/ 0 w 222204"/>
                      <a:gd name="connsiteY0" fmla="*/ 424695 h 424695"/>
                      <a:gd name="connsiteX1" fmla="*/ 0 w 222204"/>
                      <a:gd name="connsiteY1" fmla="*/ 0 h 424695"/>
                      <a:gd name="connsiteX2" fmla="*/ 222204 w 222204"/>
                      <a:gd name="connsiteY2" fmla="*/ 0 h 424695"/>
                      <a:gd name="connsiteX3" fmla="*/ 222204 w 222204"/>
                      <a:gd name="connsiteY3" fmla="*/ 424695 h 4246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22204" h="424695">
                        <a:moveTo>
                          <a:pt x="0" y="424695"/>
                        </a:moveTo>
                        <a:lnTo>
                          <a:pt x="0" y="0"/>
                        </a:lnTo>
                        <a:lnTo>
                          <a:pt x="222204" y="0"/>
                        </a:lnTo>
                        <a:lnTo>
                          <a:pt x="222204" y="424695"/>
                        </a:lnTo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9525">
                    <a:solidFill>
                      <a:srgbClr val="98A2AE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98" name="Freeform 154">
                    <a:extLst>
                      <a:ext uri="{FF2B5EF4-FFF2-40B4-BE49-F238E27FC236}">
                        <a16:creationId xmlns:a16="http://schemas.microsoft.com/office/drawing/2014/main" xmlns="" id="{EE3C2BB9-F453-4921-8471-C0D421B1775D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357065" y="2523407"/>
                    <a:ext cx="305405" cy="89411"/>
                  </a:xfrm>
                  <a:custGeom>
                    <a:avLst/>
                    <a:gdLst>
                      <a:gd name="connsiteX0" fmla="*/ 10000 w 10000"/>
                      <a:gd name="connsiteY0" fmla="*/ 10000 h 10000"/>
                      <a:gd name="connsiteX1" fmla="*/ 2638 w 10000"/>
                      <a:gd name="connsiteY1" fmla="*/ 9917 h 10000"/>
                      <a:gd name="connsiteX2" fmla="*/ 0 w 10000"/>
                      <a:gd name="connsiteY2" fmla="*/ 10000 h 10000"/>
                      <a:gd name="connsiteX3" fmla="*/ 1127 w 10000"/>
                      <a:gd name="connsiteY3" fmla="*/ 0 h 10000"/>
                      <a:gd name="connsiteX4" fmla="*/ 8873 w 10000"/>
                      <a:gd name="connsiteY4" fmla="*/ 0 h 10000"/>
                      <a:gd name="connsiteX5" fmla="*/ 10000 w 10000"/>
                      <a:gd name="connsiteY5" fmla="*/ 10000 h 10000"/>
                      <a:gd name="connsiteX0" fmla="*/ 10000 w 10000"/>
                      <a:gd name="connsiteY0" fmla="*/ 10122 h 10122"/>
                      <a:gd name="connsiteX1" fmla="*/ 2638 w 10000"/>
                      <a:gd name="connsiteY1" fmla="*/ 10039 h 10122"/>
                      <a:gd name="connsiteX2" fmla="*/ 0 w 10000"/>
                      <a:gd name="connsiteY2" fmla="*/ 10122 h 10122"/>
                      <a:gd name="connsiteX3" fmla="*/ 1127 w 10000"/>
                      <a:gd name="connsiteY3" fmla="*/ 122 h 10122"/>
                      <a:gd name="connsiteX4" fmla="*/ 2584 w 10000"/>
                      <a:gd name="connsiteY4" fmla="*/ 0 h 10122"/>
                      <a:gd name="connsiteX5" fmla="*/ 8873 w 10000"/>
                      <a:gd name="connsiteY5" fmla="*/ 122 h 10122"/>
                      <a:gd name="connsiteX6" fmla="*/ 10000 w 10000"/>
                      <a:gd name="connsiteY6" fmla="*/ 10122 h 10122"/>
                      <a:gd name="connsiteX0" fmla="*/ 10000 w 10000"/>
                      <a:gd name="connsiteY0" fmla="*/ 10122 h 10122"/>
                      <a:gd name="connsiteX1" fmla="*/ 2638 w 10000"/>
                      <a:gd name="connsiteY1" fmla="*/ 10039 h 10122"/>
                      <a:gd name="connsiteX2" fmla="*/ 0 w 10000"/>
                      <a:gd name="connsiteY2" fmla="*/ 10122 h 10122"/>
                      <a:gd name="connsiteX3" fmla="*/ 1127 w 10000"/>
                      <a:gd name="connsiteY3" fmla="*/ 122 h 10122"/>
                      <a:gd name="connsiteX4" fmla="*/ 2584 w 10000"/>
                      <a:gd name="connsiteY4" fmla="*/ 0 h 10122"/>
                      <a:gd name="connsiteX5" fmla="*/ 10000 w 10000"/>
                      <a:gd name="connsiteY5" fmla="*/ 10122 h 10122"/>
                      <a:gd name="connsiteX0" fmla="*/ 2584 w 2638"/>
                      <a:gd name="connsiteY0" fmla="*/ 0 h 10122"/>
                      <a:gd name="connsiteX1" fmla="*/ 2638 w 2638"/>
                      <a:gd name="connsiteY1" fmla="*/ 10039 h 10122"/>
                      <a:gd name="connsiteX2" fmla="*/ 0 w 2638"/>
                      <a:gd name="connsiteY2" fmla="*/ 10122 h 10122"/>
                      <a:gd name="connsiteX3" fmla="*/ 1127 w 2638"/>
                      <a:gd name="connsiteY3" fmla="*/ 122 h 10122"/>
                      <a:gd name="connsiteX4" fmla="*/ 2584 w 2638"/>
                      <a:gd name="connsiteY4" fmla="*/ 0 h 10122"/>
                      <a:gd name="connsiteX0" fmla="*/ 13786 w 13786"/>
                      <a:gd name="connsiteY0" fmla="*/ 0 h 10000"/>
                      <a:gd name="connsiteX1" fmla="*/ 10000 w 13786"/>
                      <a:gd name="connsiteY1" fmla="*/ 9918 h 10000"/>
                      <a:gd name="connsiteX2" fmla="*/ 0 w 13786"/>
                      <a:gd name="connsiteY2" fmla="*/ 10000 h 10000"/>
                      <a:gd name="connsiteX3" fmla="*/ 4272 w 13786"/>
                      <a:gd name="connsiteY3" fmla="*/ 121 h 10000"/>
                      <a:gd name="connsiteX4" fmla="*/ 13786 w 13786"/>
                      <a:gd name="connsiteY4" fmla="*/ 0 h 10000"/>
                      <a:gd name="connsiteX0" fmla="*/ 13786 w 13799"/>
                      <a:gd name="connsiteY0" fmla="*/ 0 h 10296"/>
                      <a:gd name="connsiteX1" fmla="*/ 13695 w 13799"/>
                      <a:gd name="connsiteY1" fmla="*/ 10296 h 10296"/>
                      <a:gd name="connsiteX2" fmla="*/ 0 w 13799"/>
                      <a:gd name="connsiteY2" fmla="*/ 10000 h 10296"/>
                      <a:gd name="connsiteX3" fmla="*/ 4272 w 13799"/>
                      <a:gd name="connsiteY3" fmla="*/ 121 h 10296"/>
                      <a:gd name="connsiteX4" fmla="*/ 13786 w 13799"/>
                      <a:gd name="connsiteY4" fmla="*/ 0 h 10296"/>
                      <a:gd name="connsiteX0" fmla="*/ 13343 w 13695"/>
                      <a:gd name="connsiteY0" fmla="*/ 0 h 10296"/>
                      <a:gd name="connsiteX1" fmla="*/ 13695 w 13695"/>
                      <a:gd name="connsiteY1" fmla="*/ 10296 h 10296"/>
                      <a:gd name="connsiteX2" fmla="*/ 0 w 13695"/>
                      <a:gd name="connsiteY2" fmla="*/ 10000 h 10296"/>
                      <a:gd name="connsiteX3" fmla="*/ 4272 w 13695"/>
                      <a:gd name="connsiteY3" fmla="*/ 121 h 10296"/>
                      <a:gd name="connsiteX4" fmla="*/ 13343 w 13695"/>
                      <a:gd name="connsiteY4" fmla="*/ 0 h 10296"/>
                      <a:gd name="connsiteX0" fmla="*/ 13343 w 13695"/>
                      <a:gd name="connsiteY0" fmla="*/ 0 h 10000"/>
                      <a:gd name="connsiteX1" fmla="*/ 13695 w 13695"/>
                      <a:gd name="connsiteY1" fmla="*/ 9918 h 10000"/>
                      <a:gd name="connsiteX2" fmla="*/ 0 w 13695"/>
                      <a:gd name="connsiteY2" fmla="*/ 10000 h 10000"/>
                      <a:gd name="connsiteX3" fmla="*/ 4272 w 13695"/>
                      <a:gd name="connsiteY3" fmla="*/ 121 h 10000"/>
                      <a:gd name="connsiteX4" fmla="*/ 13343 w 13695"/>
                      <a:gd name="connsiteY4" fmla="*/ 0 h 10000"/>
                      <a:gd name="connsiteX0" fmla="*/ 13343 w 13351"/>
                      <a:gd name="connsiteY0" fmla="*/ 0 h 10000"/>
                      <a:gd name="connsiteX1" fmla="*/ 13104 w 13351"/>
                      <a:gd name="connsiteY1" fmla="*/ 9918 h 10000"/>
                      <a:gd name="connsiteX2" fmla="*/ 0 w 13351"/>
                      <a:gd name="connsiteY2" fmla="*/ 10000 h 10000"/>
                      <a:gd name="connsiteX3" fmla="*/ 4272 w 13351"/>
                      <a:gd name="connsiteY3" fmla="*/ 121 h 10000"/>
                      <a:gd name="connsiteX4" fmla="*/ 13343 w 13351"/>
                      <a:gd name="connsiteY4" fmla="*/ 0 h 10000"/>
                      <a:gd name="connsiteX0" fmla="*/ 13343 w 29095"/>
                      <a:gd name="connsiteY0" fmla="*/ 95 h 10095"/>
                      <a:gd name="connsiteX1" fmla="*/ 29095 w 29095"/>
                      <a:gd name="connsiteY1" fmla="*/ 787 h 10095"/>
                      <a:gd name="connsiteX2" fmla="*/ 13104 w 29095"/>
                      <a:gd name="connsiteY2" fmla="*/ 10013 h 10095"/>
                      <a:gd name="connsiteX3" fmla="*/ 0 w 29095"/>
                      <a:gd name="connsiteY3" fmla="*/ 10095 h 10095"/>
                      <a:gd name="connsiteX4" fmla="*/ 4272 w 29095"/>
                      <a:gd name="connsiteY4" fmla="*/ 216 h 10095"/>
                      <a:gd name="connsiteX5" fmla="*/ 13343 w 29095"/>
                      <a:gd name="connsiteY5" fmla="*/ 95 h 10095"/>
                      <a:gd name="connsiteX0" fmla="*/ 13343 w 29302"/>
                      <a:gd name="connsiteY0" fmla="*/ 95 h 12475"/>
                      <a:gd name="connsiteX1" fmla="*/ 29095 w 29302"/>
                      <a:gd name="connsiteY1" fmla="*/ 787 h 12475"/>
                      <a:gd name="connsiteX2" fmla="*/ 22443 w 29302"/>
                      <a:gd name="connsiteY2" fmla="*/ 12139 h 12475"/>
                      <a:gd name="connsiteX3" fmla="*/ 13104 w 29302"/>
                      <a:gd name="connsiteY3" fmla="*/ 10013 h 12475"/>
                      <a:gd name="connsiteX4" fmla="*/ 0 w 29302"/>
                      <a:gd name="connsiteY4" fmla="*/ 10095 h 12475"/>
                      <a:gd name="connsiteX5" fmla="*/ 4272 w 29302"/>
                      <a:gd name="connsiteY5" fmla="*/ 216 h 12475"/>
                      <a:gd name="connsiteX6" fmla="*/ 13343 w 29302"/>
                      <a:gd name="connsiteY6" fmla="*/ 95 h 12475"/>
                      <a:gd name="connsiteX0" fmla="*/ 22443 w 34771"/>
                      <a:gd name="connsiteY0" fmla="*/ 12044 h 15223"/>
                      <a:gd name="connsiteX1" fmla="*/ 13104 w 34771"/>
                      <a:gd name="connsiteY1" fmla="*/ 9918 h 15223"/>
                      <a:gd name="connsiteX2" fmla="*/ 0 w 34771"/>
                      <a:gd name="connsiteY2" fmla="*/ 10000 h 15223"/>
                      <a:gd name="connsiteX3" fmla="*/ 4272 w 34771"/>
                      <a:gd name="connsiteY3" fmla="*/ 121 h 15223"/>
                      <a:gd name="connsiteX4" fmla="*/ 13343 w 34771"/>
                      <a:gd name="connsiteY4" fmla="*/ 0 h 15223"/>
                      <a:gd name="connsiteX5" fmla="*/ 34771 w 34771"/>
                      <a:gd name="connsiteY5" fmla="*/ 15223 h 15223"/>
                      <a:gd name="connsiteX0" fmla="*/ 22443 w 22443"/>
                      <a:gd name="connsiteY0" fmla="*/ 12044 h 12380"/>
                      <a:gd name="connsiteX1" fmla="*/ 13104 w 22443"/>
                      <a:gd name="connsiteY1" fmla="*/ 9918 h 12380"/>
                      <a:gd name="connsiteX2" fmla="*/ 0 w 22443"/>
                      <a:gd name="connsiteY2" fmla="*/ 10000 h 12380"/>
                      <a:gd name="connsiteX3" fmla="*/ 4272 w 22443"/>
                      <a:gd name="connsiteY3" fmla="*/ 121 h 12380"/>
                      <a:gd name="connsiteX4" fmla="*/ 13343 w 22443"/>
                      <a:gd name="connsiteY4" fmla="*/ 0 h 12380"/>
                      <a:gd name="connsiteX0" fmla="*/ 13104 w 13343"/>
                      <a:gd name="connsiteY0" fmla="*/ 9918 h 10000"/>
                      <a:gd name="connsiteX1" fmla="*/ 0 w 13343"/>
                      <a:gd name="connsiteY1" fmla="*/ 10000 h 10000"/>
                      <a:gd name="connsiteX2" fmla="*/ 4272 w 13343"/>
                      <a:gd name="connsiteY2" fmla="*/ 121 h 10000"/>
                      <a:gd name="connsiteX3" fmla="*/ 13343 w 13343"/>
                      <a:gd name="connsiteY3" fmla="*/ 0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343" h="10000">
                        <a:moveTo>
                          <a:pt x="13104" y="9918"/>
                        </a:moveTo>
                        <a:lnTo>
                          <a:pt x="0" y="10000"/>
                        </a:lnTo>
                        <a:lnTo>
                          <a:pt x="4272" y="121"/>
                        </a:lnTo>
                        <a:lnTo>
                          <a:pt x="13343" y="0"/>
                        </a:lnTo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99" name="Rectangle 221">
                    <a:extLst>
                      <a:ext uri="{FF2B5EF4-FFF2-40B4-BE49-F238E27FC236}">
                        <a16:creationId xmlns:a16="http://schemas.microsoft.com/office/drawing/2014/main" xmlns="" id="{EAFAC316-F701-453D-81C6-A1EED6DAC84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32473" y="2687240"/>
                    <a:ext cx="72000" cy="72000"/>
                  </a:xfrm>
                  <a:prstGeom prst="rect">
                    <a:avLst/>
                  </a:prstGeom>
                  <a:solidFill>
                    <a:srgbClr val="FFFFFF"/>
                  </a:solidFill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00" name="Rectangle 221">
                    <a:extLst>
                      <a:ext uri="{FF2B5EF4-FFF2-40B4-BE49-F238E27FC236}">
                        <a16:creationId xmlns:a16="http://schemas.microsoft.com/office/drawing/2014/main" xmlns="" id="{5ADC9DF9-179E-47E5-89F4-D487B94C388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32473" y="2811109"/>
                    <a:ext cx="72000" cy="72000"/>
                  </a:xfrm>
                  <a:prstGeom prst="rect">
                    <a:avLst/>
                  </a:prstGeom>
                  <a:solidFill>
                    <a:srgbClr val="FFFFFF"/>
                  </a:solidFill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501" name="Rectangle 221">
                    <a:extLst>
                      <a:ext uri="{FF2B5EF4-FFF2-40B4-BE49-F238E27FC236}">
                        <a16:creationId xmlns:a16="http://schemas.microsoft.com/office/drawing/2014/main" xmlns="" id="{0BB3DDDA-04A7-47EC-9598-2A0F4593D36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32473" y="2934809"/>
                    <a:ext cx="72000" cy="72000"/>
                  </a:xfrm>
                  <a:prstGeom prst="rect">
                    <a:avLst/>
                  </a:prstGeom>
                  <a:solidFill>
                    <a:srgbClr val="FFFFFF"/>
                  </a:solidFill>
                  <a:ln w="9525" cap="sq">
                    <a:solidFill>
                      <a:srgbClr val="98A2AE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</p:grpSp>
            <p:sp>
              <p:nvSpPr>
                <p:cNvPr id="342" name="Rectangle 159">
                  <a:extLst>
                    <a:ext uri="{FF2B5EF4-FFF2-40B4-BE49-F238E27FC236}">
                      <a16:creationId xmlns:a16="http://schemas.microsoft.com/office/drawing/2014/main" xmlns="" id="{27DD1211-6A54-4B1C-AB23-1FE23C5237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7024" y="2779892"/>
                  <a:ext cx="271461" cy="224748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rnd">
                  <a:solidFill>
                    <a:srgbClr val="98A2A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43" name="Freeform 170">
                  <a:extLst>
                    <a:ext uri="{FF2B5EF4-FFF2-40B4-BE49-F238E27FC236}">
                      <a16:creationId xmlns:a16="http://schemas.microsoft.com/office/drawing/2014/main" xmlns="" id="{5D460ED2-B33B-4D79-B2A2-3CEB00738E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4282" y="2811254"/>
                  <a:ext cx="39832" cy="56014"/>
                </a:xfrm>
                <a:custGeom>
                  <a:avLst/>
                  <a:gdLst/>
                  <a:ahLst/>
                  <a:cxnLst>
                    <a:cxn ang="0">
                      <a:pos x="0" y="44"/>
                    </a:cxn>
                    <a:cxn ang="0">
                      <a:pos x="0" y="16"/>
                    </a:cxn>
                    <a:cxn ang="0">
                      <a:pos x="16" y="0"/>
                    </a:cxn>
                    <a:cxn ang="0">
                      <a:pos x="32" y="16"/>
                    </a:cxn>
                    <a:cxn ang="0">
                      <a:pos x="32" y="44"/>
                    </a:cxn>
                  </a:cxnLst>
                  <a:rect l="0" t="0" r="r" b="b"/>
                  <a:pathLst>
                    <a:path w="32" h="44">
                      <a:moveTo>
                        <a:pt x="0" y="44"/>
                      </a:move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8" y="0"/>
                        <a:pt x="16" y="0"/>
                      </a:cubicBezTo>
                      <a:cubicBezTo>
                        <a:pt x="25" y="0"/>
                        <a:pt x="32" y="7"/>
                        <a:pt x="32" y="16"/>
                      </a:cubicBezTo>
                      <a:cubicBezTo>
                        <a:pt x="32" y="44"/>
                        <a:pt x="32" y="44"/>
                        <a:pt x="32" y="44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98A2AE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44" name="Freeform 171">
                  <a:extLst>
                    <a:ext uri="{FF2B5EF4-FFF2-40B4-BE49-F238E27FC236}">
                      <a16:creationId xmlns:a16="http://schemas.microsoft.com/office/drawing/2014/main" xmlns="" id="{6EF8EFEF-8AD4-4852-A39B-FC203F1FC5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772" y="2811254"/>
                  <a:ext cx="34852" cy="56014"/>
                </a:xfrm>
                <a:custGeom>
                  <a:avLst/>
                  <a:gdLst/>
                  <a:ahLst/>
                  <a:cxnLst>
                    <a:cxn ang="0">
                      <a:pos x="0" y="44"/>
                    </a:cxn>
                    <a:cxn ang="0">
                      <a:pos x="0" y="16"/>
                    </a:cxn>
                    <a:cxn ang="0">
                      <a:pos x="14" y="0"/>
                    </a:cxn>
                    <a:cxn ang="0">
                      <a:pos x="28" y="16"/>
                    </a:cxn>
                    <a:cxn ang="0">
                      <a:pos x="28" y="44"/>
                    </a:cxn>
                  </a:cxnLst>
                  <a:rect l="0" t="0" r="r" b="b"/>
                  <a:pathLst>
                    <a:path w="28" h="44">
                      <a:moveTo>
                        <a:pt x="0" y="44"/>
                      </a:move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6" y="0"/>
                        <a:pt x="14" y="0"/>
                      </a:cubicBezTo>
                      <a:cubicBezTo>
                        <a:pt x="23" y="0"/>
                        <a:pt x="28" y="7"/>
                        <a:pt x="28" y="16"/>
                      </a:cubicBezTo>
                      <a:cubicBezTo>
                        <a:pt x="28" y="44"/>
                        <a:pt x="28" y="44"/>
                        <a:pt x="28" y="44"/>
                      </a:cubicBezTo>
                    </a:path>
                  </a:pathLst>
                </a:custGeom>
                <a:noFill/>
                <a:ln w="9525" cap="rnd">
                  <a:solidFill>
                    <a:srgbClr val="98A2A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45" name="Freeform 172">
                  <a:extLst>
                    <a:ext uri="{FF2B5EF4-FFF2-40B4-BE49-F238E27FC236}">
                      <a16:creationId xmlns:a16="http://schemas.microsoft.com/office/drawing/2014/main" xmlns="" id="{5089609F-CCBD-4876-84E0-30CB7BFCA9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030" y="2811254"/>
                  <a:ext cx="39832" cy="56014"/>
                </a:xfrm>
                <a:custGeom>
                  <a:avLst/>
                  <a:gdLst/>
                  <a:ahLst/>
                  <a:cxnLst>
                    <a:cxn ang="0">
                      <a:pos x="0" y="44"/>
                    </a:cxn>
                    <a:cxn ang="0">
                      <a:pos x="0" y="16"/>
                    </a:cxn>
                    <a:cxn ang="0">
                      <a:pos x="16" y="0"/>
                    </a:cxn>
                    <a:cxn ang="0">
                      <a:pos x="32" y="16"/>
                    </a:cxn>
                    <a:cxn ang="0">
                      <a:pos x="32" y="44"/>
                    </a:cxn>
                  </a:cxnLst>
                  <a:rect l="0" t="0" r="r" b="b"/>
                  <a:pathLst>
                    <a:path w="32" h="44">
                      <a:moveTo>
                        <a:pt x="0" y="44"/>
                      </a:move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8" y="0"/>
                        <a:pt x="16" y="0"/>
                      </a:cubicBezTo>
                      <a:cubicBezTo>
                        <a:pt x="25" y="0"/>
                        <a:pt x="32" y="7"/>
                        <a:pt x="32" y="16"/>
                      </a:cubicBezTo>
                      <a:cubicBezTo>
                        <a:pt x="32" y="44"/>
                        <a:pt x="32" y="44"/>
                        <a:pt x="32" y="44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98A2AE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46" name="Freeform 173">
                  <a:extLst>
                    <a:ext uri="{FF2B5EF4-FFF2-40B4-BE49-F238E27FC236}">
                      <a16:creationId xmlns:a16="http://schemas.microsoft.com/office/drawing/2014/main" xmlns="" id="{224F7AE8-C1C1-4F1A-AD52-1FF4CA8566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519" y="2811254"/>
                  <a:ext cx="34852" cy="56014"/>
                </a:xfrm>
                <a:custGeom>
                  <a:avLst/>
                  <a:gdLst/>
                  <a:ahLst/>
                  <a:cxnLst>
                    <a:cxn ang="0">
                      <a:pos x="0" y="44"/>
                    </a:cxn>
                    <a:cxn ang="0">
                      <a:pos x="0" y="16"/>
                    </a:cxn>
                    <a:cxn ang="0">
                      <a:pos x="14" y="0"/>
                    </a:cxn>
                    <a:cxn ang="0">
                      <a:pos x="28" y="16"/>
                    </a:cxn>
                    <a:cxn ang="0">
                      <a:pos x="28" y="44"/>
                    </a:cxn>
                  </a:cxnLst>
                  <a:rect l="0" t="0" r="r" b="b"/>
                  <a:pathLst>
                    <a:path w="28" h="44">
                      <a:moveTo>
                        <a:pt x="0" y="44"/>
                      </a:move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6" y="0"/>
                        <a:pt x="14" y="0"/>
                      </a:cubicBezTo>
                      <a:cubicBezTo>
                        <a:pt x="23" y="0"/>
                        <a:pt x="28" y="7"/>
                        <a:pt x="28" y="16"/>
                      </a:cubicBezTo>
                      <a:cubicBezTo>
                        <a:pt x="28" y="44"/>
                        <a:pt x="28" y="44"/>
                        <a:pt x="28" y="44"/>
                      </a:cubicBezTo>
                    </a:path>
                  </a:pathLst>
                </a:custGeom>
                <a:noFill/>
                <a:ln w="9525" cap="rnd">
                  <a:solidFill>
                    <a:srgbClr val="98A2A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47" name="Freeform 174">
                  <a:extLst>
                    <a:ext uri="{FF2B5EF4-FFF2-40B4-BE49-F238E27FC236}">
                      <a16:creationId xmlns:a16="http://schemas.microsoft.com/office/drawing/2014/main" xmlns="" id="{4E6B3847-D48E-43A9-83F4-3B9C12A5BA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777" y="2811254"/>
                  <a:ext cx="39832" cy="56014"/>
                </a:xfrm>
                <a:custGeom>
                  <a:avLst/>
                  <a:gdLst/>
                  <a:ahLst/>
                  <a:cxnLst>
                    <a:cxn ang="0">
                      <a:pos x="0" y="44"/>
                    </a:cxn>
                    <a:cxn ang="0">
                      <a:pos x="0" y="16"/>
                    </a:cxn>
                    <a:cxn ang="0">
                      <a:pos x="16" y="0"/>
                    </a:cxn>
                    <a:cxn ang="0">
                      <a:pos x="32" y="16"/>
                    </a:cxn>
                    <a:cxn ang="0">
                      <a:pos x="32" y="44"/>
                    </a:cxn>
                  </a:cxnLst>
                  <a:rect l="0" t="0" r="r" b="b"/>
                  <a:pathLst>
                    <a:path w="32" h="44">
                      <a:moveTo>
                        <a:pt x="0" y="44"/>
                      </a:move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8" y="0"/>
                        <a:pt x="16" y="0"/>
                      </a:cubicBezTo>
                      <a:cubicBezTo>
                        <a:pt x="25" y="0"/>
                        <a:pt x="32" y="7"/>
                        <a:pt x="32" y="16"/>
                      </a:cubicBezTo>
                      <a:cubicBezTo>
                        <a:pt x="32" y="44"/>
                        <a:pt x="32" y="44"/>
                        <a:pt x="32" y="44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98A2AE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48" name="Freeform 175">
                  <a:extLst>
                    <a:ext uri="{FF2B5EF4-FFF2-40B4-BE49-F238E27FC236}">
                      <a16:creationId xmlns:a16="http://schemas.microsoft.com/office/drawing/2014/main" xmlns="" id="{2BC36ABE-F90A-4BF5-9405-C5EBB76D0D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6266" y="2811254"/>
                  <a:ext cx="34852" cy="56014"/>
                </a:xfrm>
                <a:custGeom>
                  <a:avLst/>
                  <a:gdLst/>
                  <a:ahLst/>
                  <a:cxnLst>
                    <a:cxn ang="0">
                      <a:pos x="0" y="44"/>
                    </a:cxn>
                    <a:cxn ang="0">
                      <a:pos x="0" y="16"/>
                    </a:cxn>
                    <a:cxn ang="0">
                      <a:pos x="14" y="0"/>
                    </a:cxn>
                    <a:cxn ang="0">
                      <a:pos x="28" y="16"/>
                    </a:cxn>
                    <a:cxn ang="0">
                      <a:pos x="28" y="44"/>
                    </a:cxn>
                  </a:cxnLst>
                  <a:rect l="0" t="0" r="r" b="b"/>
                  <a:pathLst>
                    <a:path w="28" h="44">
                      <a:moveTo>
                        <a:pt x="0" y="44"/>
                      </a:move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6" y="0"/>
                        <a:pt x="14" y="0"/>
                      </a:cubicBezTo>
                      <a:cubicBezTo>
                        <a:pt x="23" y="0"/>
                        <a:pt x="28" y="7"/>
                        <a:pt x="28" y="16"/>
                      </a:cubicBezTo>
                      <a:cubicBezTo>
                        <a:pt x="28" y="44"/>
                        <a:pt x="28" y="44"/>
                        <a:pt x="28" y="44"/>
                      </a:cubicBezTo>
                    </a:path>
                  </a:pathLst>
                </a:custGeom>
                <a:noFill/>
                <a:ln w="9525" cap="rnd">
                  <a:solidFill>
                    <a:srgbClr val="98A2A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grpSp>
              <p:nvGrpSpPr>
                <p:cNvPr id="349" name="Gruppieren 348">
                  <a:extLst>
                    <a:ext uri="{FF2B5EF4-FFF2-40B4-BE49-F238E27FC236}">
                      <a16:creationId xmlns:a16="http://schemas.microsoft.com/office/drawing/2014/main" xmlns="" id="{32ED5158-A954-44C6-B78F-DA6D227C10EA}"/>
                    </a:ext>
                  </a:extLst>
                </p:cNvPr>
                <p:cNvGrpSpPr/>
                <p:nvPr/>
              </p:nvGrpSpPr>
              <p:grpSpPr>
                <a:xfrm>
                  <a:off x="1133497" y="2569926"/>
                  <a:ext cx="168040" cy="608677"/>
                  <a:chOff x="1642201" y="2185283"/>
                  <a:chExt cx="238755" cy="864824"/>
                </a:xfrm>
              </p:grpSpPr>
              <p:sp>
                <p:nvSpPr>
                  <p:cNvPr id="491" name="Rectangle 193">
                    <a:extLst>
                      <a:ext uri="{FF2B5EF4-FFF2-40B4-BE49-F238E27FC236}">
                        <a16:creationId xmlns:a16="http://schemas.microsoft.com/office/drawing/2014/main" xmlns="" id="{A16B59D5-01A9-4256-90C2-8DD561C3C97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642201" y="2185283"/>
                    <a:ext cx="238755" cy="864824"/>
                  </a:xfrm>
                  <a:custGeom>
                    <a:avLst/>
                    <a:gdLst>
                      <a:gd name="connsiteX0" fmla="*/ 0 w 168040"/>
                      <a:gd name="connsiteY0" fmla="*/ 0 h 608677"/>
                      <a:gd name="connsiteX1" fmla="*/ 168040 w 168040"/>
                      <a:gd name="connsiteY1" fmla="*/ 0 h 608677"/>
                      <a:gd name="connsiteX2" fmla="*/ 168040 w 168040"/>
                      <a:gd name="connsiteY2" fmla="*/ 608677 h 608677"/>
                      <a:gd name="connsiteX3" fmla="*/ 0 w 168040"/>
                      <a:gd name="connsiteY3" fmla="*/ 608677 h 608677"/>
                      <a:gd name="connsiteX4" fmla="*/ 0 w 168040"/>
                      <a:gd name="connsiteY4" fmla="*/ 0 h 608677"/>
                      <a:gd name="connsiteX0" fmla="*/ 0 w 338749"/>
                      <a:gd name="connsiteY0" fmla="*/ 0 h 792399"/>
                      <a:gd name="connsiteX1" fmla="*/ 168040 w 338749"/>
                      <a:gd name="connsiteY1" fmla="*/ 0 h 792399"/>
                      <a:gd name="connsiteX2" fmla="*/ 168040 w 338749"/>
                      <a:gd name="connsiteY2" fmla="*/ 608677 h 792399"/>
                      <a:gd name="connsiteX3" fmla="*/ 338116 w 338749"/>
                      <a:gd name="connsiteY3" fmla="*/ 792399 h 792399"/>
                      <a:gd name="connsiteX4" fmla="*/ 0 w 338749"/>
                      <a:gd name="connsiteY4" fmla="*/ 608677 h 792399"/>
                      <a:gd name="connsiteX5" fmla="*/ 0 w 338749"/>
                      <a:gd name="connsiteY5" fmla="*/ 0 h 792399"/>
                      <a:gd name="connsiteX0" fmla="*/ 0 w 338749"/>
                      <a:gd name="connsiteY0" fmla="*/ 0 h 792399"/>
                      <a:gd name="connsiteX1" fmla="*/ 168040 w 338749"/>
                      <a:gd name="connsiteY1" fmla="*/ 0 h 792399"/>
                      <a:gd name="connsiteX2" fmla="*/ 168040 w 338749"/>
                      <a:gd name="connsiteY2" fmla="*/ 608677 h 792399"/>
                      <a:gd name="connsiteX3" fmla="*/ 338116 w 338749"/>
                      <a:gd name="connsiteY3" fmla="*/ 792399 h 792399"/>
                      <a:gd name="connsiteX4" fmla="*/ 107134 w 338749"/>
                      <a:gd name="connsiteY4" fmla="*/ 773349 h 792399"/>
                      <a:gd name="connsiteX5" fmla="*/ 0 w 338749"/>
                      <a:gd name="connsiteY5" fmla="*/ 608677 h 792399"/>
                      <a:gd name="connsiteX6" fmla="*/ 0 w 338749"/>
                      <a:gd name="connsiteY6" fmla="*/ 0 h 792399"/>
                      <a:gd name="connsiteX0" fmla="*/ 107134 w 429556"/>
                      <a:gd name="connsiteY0" fmla="*/ 773349 h 883839"/>
                      <a:gd name="connsiteX1" fmla="*/ 0 w 429556"/>
                      <a:gd name="connsiteY1" fmla="*/ 608677 h 883839"/>
                      <a:gd name="connsiteX2" fmla="*/ 0 w 429556"/>
                      <a:gd name="connsiteY2" fmla="*/ 0 h 883839"/>
                      <a:gd name="connsiteX3" fmla="*/ 168040 w 429556"/>
                      <a:gd name="connsiteY3" fmla="*/ 0 h 883839"/>
                      <a:gd name="connsiteX4" fmla="*/ 168040 w 429556"/>
                      <a:gd name="connsiteY4" fmla="*/ 608677 h 883839"/>
                      <a:gd name="connsiteX5" fmla="*/ 429556 w 429556"/>
                      <a:gd name="connsiteY5" fmla="*/ 883839 h 883839"/>
                      <a:gd name="connsiteX0" fmla="*/ 107134 w 168040"/>
                      <a:gd name="connsiteY0" fmla="*/ 773349 h 773349"/>
                      <a:gd name="connsiteX1" fmla="*/ 0 w 168040"/>
                      <a:gd name="connsiteY1" fmla="*/ 608677 h 773349"/>
                      <a:gd name="connsiteX2" fmla="*/ 0 w 168040"/>
                      <a:gd name="connsiteY2" fmla="*/ 0 h 773349"/>
                      <a:gd name="connsiteX3" fmla="*/ 168040 w 168040"/>
                      <a:gd name="connsiteY3" fmla="*/ 0 h 773349"/>
                      <a:gd name="connsiteX4" fmla="*/ 168040 w 168040"/>
                      <a:gd name="connsiteY4" fmla="*/ 608677 h 773349"/>
                      <a:gd name="connsiteX0" fmla="*/ 0 w 168040"/>
                      <a:gd name="connsiteY0" fmla="*/ 608677 h 608677"/>
                      <a:gd name="connsiteX1" fmla="*/ 0 w 168040"/>
                      <a:gd name="connsiteY1" fmla="*/ 0 h 608677"/>
                      <a:gd name="connsiteX2" fmla="*/ 168040 w 168040"/>
                      <a:gd name="connsiteY2" fmla="*/ 0 h 608677"/>
                      <a:gd name="connsiteX3" fmla="*/ 168040 w 168040"/>
                      <a:gd name="connsiteY3" fmla="*/ 608677 h 6086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8040" h="608677">
                        <a:moveTo>
                          <a:pt x="0" y="608677"/>
                        </a:moveTo>
                        <a:lnTo>
                          <a:pt x="0" y="0"/>
                        </a:lnTo>
                        <a:lnTo>
                          <a:pt x="168040" y="0"/>
                        </a:lnTo>
                        <a:lnTo>
                          <a:pt x="168040" y="608677"/>
                        </a:lnTo>
                      </a:path>
                    </a:pathLst>
                  </a:custGeom>
                  <a:solidFill>
                    <a:schemeClr val="accent1">
                      <a:lumMod val="40000"/>
                      <a:lumOff val="60000"/>
                    </a:schemeClr>
                  </a:solidFill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92" name="Rectangle 220">
                    <a:extLst>
                      <a:ext uri="{FF2B5EF4-FFF2-40B4-BE49-F238E27FC236}">
                        <a16:creationId xmlns:a16="http://schemas.microsoft.com/office/drawing/2014/main" xmlns="" id="{157DF11F-5D4B-429F-8179-7D74CF8D992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776609" y="2228155"/>
                    <a:ext cx="49519" cy="50400"/>
                  </a:xfrm>
                  <a:custGeom>
                    <a:avLst/>
                    <a:gdLst>
                      <a:gd name="connsiteX0" fmla="*/ 0 w 77490"/>
                      <a:gd name="connsiteY0" fmla="*/ 0 h 78868"/>
                      <a:gd name="connsiteX1" fmla="*/ 77490 w 77490"/>
                      <a:gd name="connsiteY1" fmla="*/ 0 h 78868"/>
                      <a:gd name="connsiteX2" fmla="*/ 77490 w 77490"/>
                      <a:gd name="connsiteY2" fmla="*/ 78868 h 78868"/>
                      <a:gd name="connsiteX3" fmla="*/ 0 w 77490"/>
                      <a:gd name="connsiteY3" fmla="*/ 78868 h 78868"/>
                      <a:gd name="connsiteX4" fmla="*/ 0 w 77490"/>
                      <a:gd name="connsiteY4" fmla="*/ 0 h 78868"/>
                      <a:gd name="connsiteX0" fmla="*/ 0 w 168506"/>
                      <a:gd name="connsiteY0" fmla="*/ 0 h 78868"/>
                      <a:gd name="connsiteX1" fmla="*/ 77490 w 168506"/>
                      <a:gd name="connsiteY1" fmla="*/ 0 h 78868"/>
                      <a:gd name="connsiteX2" fmla="*/ 168506 w 168506"/>
                      <a:gd name="connsiteY2" fmla="*/ 37187 h 78868"/>
                      <a:gd name="connsiteX3" fmla="*/ 77490 w 168506"/>
                      <a:gd name="connsiteY3" fmla="*/ 78868 h 78868"/>
                      <a:gd name="connsiteX4" fmla="*/ 0 w 168506"/>
                      <a:gd name="connsiteY4" fmla="*/ 78868 h 78868"/>
                      <a:gd name="connsiteX5" fmla="*/ 0 w 168506"/>
                      <a:gd name="connsiteY5" fmla="*/ 0 h 78868"/>
                      <a:gd name="connsiteX0" fmla="*/ 77490 w 259946"/>
                      <a:gd name="connsiteY0" fmla="*/ 78868 h 128627"/>
                      <a:gd name="connsiteX1" fmla="*/ 0 w 259946"/>
                      <a:gd name="connsiteY1" fmla="*/ 78868 h 128627"/>
                      <a:gd name="connsiteX2" fmla="*/ 0 w 259946"/>
                      <a:gd name="connsiteY2" fmla="*/ 0 h 128627"/>
                      <a:gd name="connsiteX3" fmla="*/ 77490 w 259946"/>
                      <a:gd name="connsiteY3" fmla="*/ 0 h 128627"/>
                      <a:gd name="connsiteX4" fmla="*/ 259946 w 259946"/>
                      <a:gd name="connsiteY4" fmla="*/ 128627 h 128627"/>
                      <a:gd name="connsiteX0" fmla="*/ 77490 w 77490"/>
                      <a:gd name="connsiteY0" fmla="*/ 78868 h 78868"/>
                      <a:gd name="connsiteX1" fmla="*/ 0 w 77490"/>
                      <a:gd name="connsiteY1" fmla="*/ 78868 h 78868"/>
                      <a:gd name="connsiteX2" fmla="*/ 0 w 77490"/>
                      <a:gd name="connsiteY2" fmla="*/ 0 h 78868"/>
                      <a:gd name="connsiteX3" fmla="*/ 77490 w 77490"/>
                      <a:gd name="connsiteY3" fmla="*/ 0 h 78868"/>
                      <a:gd name="connsiteX0" fmla="*/ 0 w 77490"/>
                      <a:gd name="connsiteY0" fmla="*/ 78868 h 78868"/>
                      <a:gd name="connsiteX1" fmla="*/ 0 w 77490"/>
                      <a:gd name="connsiteY1" fmla="*/ 0 h 78868"/>
                      <a:gd name="connsiteX2" fmla="*/ 77490 w 77490"/>
                      <a:gd name="connsiteY2" fmla="*/ 0 h 78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77490" h="78868">
                        <a:moveTo>
                          <a:pt x="0" y="78868"/>
                        </a:moveTo>
                        <a:lnTo>
                          <a:pt x="0" y="0"/>
                        </a:lnTo>
                        <a:lnTo>
                          <a:pt x="77490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93" name="Rectangle 220">
                    <a:extLst>
                      <a:ext uri="{FF2B5EF4-FFF2-40B4-BE49-F238E27FC236}">
                        <a16:creationId xmlns:a16="http://schemas.microsoft.com/office/drawing/2014/main" xmlns="" id="{2CC05ABB-756C-4C96-9F52-C5B410D9306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677681" y="2228155"/>
                    <a:ext cx="36000" cy="612000"/>
                  </a:xfrm>
                  <a:prstGeom prst="rect">
                    <a:avLst/>
                  </a:prstGeom>
                  <a:solidFill>
                    <a:srgbClr val="FFFFFF"/>
                  </a:solidFill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94" name="Rectangle 220">
                    <a:extLst>
                      <a:ext uri="{FF2B5EF4-FFF2-40B4-BE49-F238E27FC236}">
                        <a16:creationId xmlns:a16="http://schemas.microsoft.com/office/drawing/2014/main" xmlns="" id="{438F46A4-5662-41B3-96A8-CFE1F520E414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776609" y="2312758"/>
                    <a:ext cx="49519" cy="50400"/>
                  </a:xfrm>
                  <a:custGeom>
                    <a:avLst/>
                    <a:gdLst>
                      <a:gd name="connsiteX0" fmla="*/ 0 w 77490"/>
                      <a:gd name="connsiteY0" fmla="*/ 0 h 78868"/>
                      <a:gd name="connsiteX1" fmla="*/ 77490 w 77490"/>
                      <a:gd name="connsiteY1" fmla="*/ 0 h 78868"/>
                      <a:gd name="connsiteX2" fmla="*/ 77490 w 77490"/>
                      <a:gd name="connsiteY2" fmla="*/ 78868 h 78868"/>
                      <a:gd name="connsiteX3" fmla="*/ 0 w 77490"/>
                      <a:gd name="connsiteY3" fmla="*/ 78868 h 78868"/>
                      <a:gd name="connsiteX4" fmla="*/ 0 w 77490"/>
                      <a:gd name="connsiteY4" fmla="*/ 0 h 78868"/>
                      <a:gd name="connsiteX0" fmla="*/ 0 w 168506"/>
                      <a:gd name="connsiteY0" fmla="*/ 0 h 78868"/>
                      <a:gd name="connsiteX1" fmla="*/ 77490 w 168506"/>
                      <a:gd name="connsiteY1" fmla="*/ 0 h 78868"/>
                      <a:gd name="connsiteX2" fmla="*/ 168506 w 168506"/>
                      <a:gd name="connsiteY2" fmla="*/ 37187 h 78868"/>
                      <a:gd name="connsiteX3" fmla="*/ 77490 w 168506"/>
                      <a:gd name="connsiteY3" fmla="*/ 78868 h 78868"/>
                      <a:gd name="connsiteX4" fmla="*/ 0 w 168506"/>
                      <a:gd name="connsiteY4" fmla="*/ 78868 h 78868"/>
                      <a:gd name="connsiteX5" fmla="*/ 0 w 168506"/>
                      <a:gd name="connsiteY5" fmla="*/ 0 h 78868"/>
                      <a:gd name="connsiteX0" fmla="*/ 77490 w 259946"/>
                      <a:gd name="connsiteY0" fmla="*/ 78868 h 128627"/>
                      <a:gd name="connsiteX1" fmla="*/ 0 w 259946"/>
                      <a:gd name="connsiteY1" fmla="*/ 78868 h 128627"/>
                      <a:gd name="connsiteX2" fmla="*/ 0 w 259946"/>
                      <a:gd name="connsiteY2" fmla="*/ 0 h 128627"/>
                      <a:gd name="connsiteX3" fmla="*/ 77490 w 259946"/>
                      <a:gd name="connsiteY3" fmla="*/ 0 h 128627"/>
                      <a:gd name="connsiteX4" fmla="*/ 259946 w 259946"/>
                      <a:gd name="connsiteY4" fmla="*/ 128627 h 128627"/>
                      <a:gd name="connsiteX0" fmla="*/ 77490 w 77490"/>
                      <a:gd name="connsiteY0" fmla="*/ 78868 h 78868"/>
                      <a:gd name="connsiteX1" fmla="*/ 0 w 77490"/>
                      <a:gd name="connsiteY1" fmla="*/ 78868 h 78868"/>
                      <a:gd name="connsiteX2" fmla="*/ 0 w 77490"/>
                      <a:gd name="connsiteY2" fmla="*/ 0 h 78868"/>
                      <a:gd name="connsiteX3" fmla="*/ 77490 w 77490"/>
                      <a:gd name="connsiteY3" fmla="*/ 0 h 78868"/>
                      <a:gd name="connsiteX0" fmla="*/ 0 w 77490"/>
                      <a:gd name="connsiteY0" fmla="*/ 78868 h 78868"/>
                      <a:gd name="connsiteX1" fmla="*/ 0 w 77490"/>
                      <a:gd name="connsiteY1" fmla="*/ 0 h 78868"/>
                      <a:gd name="connsiteX2" fmla="*/ 77490 w 77490"/>
                      <a:gd name="connsiteY2" fmla="*/ 0 h 78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77490" h="78868">
                        <a:moveTo>
                          <a:pt x="0" y="78868"/>
                        </a:moveTo>
                        <a:lnTo>
                          <a:pt x="0" y="0"/>
                        </a:lnTo>
                        <a:lnTo>
                          <a:pt x="77490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95" name="Rectangle 220">
                    <a:extLst>
                      <a:ext uri="{FF2B5EF4-FFF2-40B4-BE49-F238E27FC236}">
                        <a16:creationId xmlns:a16="http://schemas.microsoft.com/office/drawing/2014/main" xmlns="" id="{6FAAC6F0-D76B-47DE-985F-96B9495BC058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776609" y="2397360"/>
                    <a:ext cx="49519" cy="50400"/>
                  </a:xfrm>
                  <a:custGeom>
                    <a:avLst/>
                    <a:gdLst>
                      <a:gd name="connsiteX0" fmla="*/ 0 w 77490"/>
                      <a:gd name="connsiteY0" fmla="*/ 0 h 78868"/>
                      <a:gd name="connsiteX1" fmla="*/ 77490 w 77490"/>
                      <a:gd name="connsiteY1" fmla="*/ 0 h 78868"/>
                      <a:gd name="connsiteX2" fmla="*/ 77490 w 77490"/>
                      <a:gd name="connsiteY2" fmla="*/ 78868 h 78868"/>
                      <a:gd name="connsiteX3" fmla="*/ 0 w 77490"/>
                      <a:gd name="connsiteY3" fmla="*/ 78868 h 78868"/>
                      <a:gd name="connsiteX4" fmla="*/ 0 w 77490"/>
                      <a:gd name="connsiteY4" fmla="*/ 0 h 78868"/>
                      <a:gd name="connsiteX0" fmla="*/ 0 w 168506"/>
                      <a:gd name="connsiteY0" fmla="*/ 0 h 78868"/>
                      <a:gd name="connsiteX1" fmla="*/ 77490 w 168506"/>
                      <a:gd name="connsiteY1" fmla="*/ 0 h 78868"/>
                      <a:gd name="connsiteX2" fmla="*/ 168506 w 168506"/>
                      <a:gd name="connsiteY2" fmla="*/ 37187 h 78868"/>
                      <a:gd name="connsiteX3" fmla="*/ 77490 w 168506"/>
                      <a:gd name="connsiteY3" fmla="*/ 78868 h 78868"/>
                      <a:gd name="connsiteX4" fmla="*/ 0 w 168506"/>
                      <a:gd name="connsiteY4" fmla="*/ 78868 h 78868"/>
                      <a:gd name="connsiteX5" fmla="*/ 0 w 168506"/>
                      <a:gd name="connsiteY5" fmla="*/ 0 h 78868"/>
                      <a:gd name="connsiteX0" fmla="*/ 77490 w 259946"/>
                      <a:gd name="connsiteY0" fmla="*/ 78868 h 128627"/>
                      <a:gd name="connsiteX1" fmla="*/ 0 w 259946"/>
                      <a:gd name="connsiteY1" fmla="*/ 78868 h 128627"/>
                      <a:gd name="connsiteX2" fmla="*/ 0 w 259946"/>
                      <a:gd name="connsiteY2" fmla="*/ 0 h 128627"/>
                      <a:gd name="connsiteX3" fmla="*/ 77490 w 259946"/>
                      <a:gd name="connsiteY3" fmla="*/ 0 h 128627"/>
                      <a:gd name="connsiteX4" fmla="*/ 259946 w 259946"/>
                      <a:gd name="connsiteY4" fmla="*/ 128627 h 128627"/>
                      <a:gd name="connsiteX0" fmla="*/ 77490 w 77490"/>
                      <a:gd name="connsiteY0" fmla="*/ 78868 h 78868"/>
                      <a:gd name="connsiteX1" fmla="*/ 0 w 77490"/>
                      <a:gd name="connsiteY1" fmla="*/ 78868 h 78868"/>
                      <a:gd name="connsiteX2" fmla="*/ 0 w 77490"/>
                      <a:gd name="connsiteY2" fmla="*/ 0 h 78868"/>
                      <a:gd name="connsiteX3" fmla="*/ 77490 w 77490"/>
                      <a:gd name="connsiteY3" fmla="*/ 0 h 78868"/>
                      <a:gd name="connsiteX0" fmla="*/ 0 w 77490"/>
                      <a:gd name="connsiteY0" fmla="*/ 78868 h 78868"/>
                      <a:gd name="connsiteX1" fmla="*/ 0 w 77490"/>
                      <a:gd name="connsiteY1" fmla="*/ 0 h 78868"/>
                      <a:gd name="connsiteX2" fmla="*/ 77490 w 77490"/>
                      <a:gd name="connsiteY2" fmla="*/ 0 h 78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77490" h="78868">
                        <a:moveTo>
                          <a:pt x="0" y="78868"/>
                        </a:moveTo>
                        <a:lnTo>
                          <a:pt x="0" y="0"/>
                        </a:lnTo>
                        <a:lnTo>
                          <a:pt x="77490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96" name="Rectangle 220">
                    <a:extLst>
                      <a:ext uri="{FF2B5EF4-FFF2-40B4-BE49-F238E27FC236}">
                        <a16:creationId xmlns:a16="http://schemas.microsoft.com/office/drawing/2014/main" xmlns="" id="{0D65BD02-1A4D-478B-8E28-DA30BB0C944B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776609" y="2481963"/>
                    <a:ext cx="49519" cy="50400"/>
                  </a:xfrm>
                  <a:custGeom>
                    <a:avLst/>
                    <a:gdLst>
                      <a:gd name="connsiteX0" fmla="*/ 0 w 77490"/>
                      <a:gd name="connsiteY0" fmla="*/ 0 h 78868"/>
                      <a:gd name="connsiteX1" fmla="*/ 77490 w 77490"/>
                      <a:gd name="connsiteY1" fmla="*/ 0 h 78868"/>
                      <a:gd name="connsiteX2" fmla="*/ 77490 w 77490"/>
                      <a:gd name="connsiteY2" fmla="*/ 78868 h 78868"/>
                      <a:gd name="connsiteX3" fmla="*/ 0 w 77490"/>
                      <a:gd name="connsiteY3" fmla="*/ 78868 h 78868"/>
                      <a:gd name="connsiteX4" fmla="*/ 0 w 77490"/>
                      <a:gd name="connsiteY4" fmla="*/ 0 h 78868"/>
                      <a:gd name="connsiteX0" fmla="*/ 0 w 168506"/>
                      <a:gd name="connsiteY0" fmla="*/ 0 h 78868"/>
                      <a:gd name="connsiteX1" fmla="*/ 77490 w 168506"/>
                      <a:gd name="connsiteY1" fmla="*/ 0 h 78868"/>
                      <a:gd name="connsiteX2" fmla="*/ 168506 w 168506"/>
                      <a:gd name="connsiteY2" fmla="*/ 37187 h 78868"/>
                      <a:gd name="connsiteX3" fmla="*/ 77490 w 168506"/>
                      <a:gd name="connsiteY3" fmla="*/ 78868 h 78868"/>
                      <a:gd name="connsiteX4" fmla="*/ 0 w 168506"/>
                      <a:gd name="connsiteY4" fmla="*/ 78868 h 78868"/>
                      <a:gd name="connsiteX5" fmla="*/ 0 w 168506"/>
                      <a:gd name="connsiteY5" fmla="*/ 0 h 78868"/>
                      <a:gd name="connsiteX0" fmla="*/ 77490 w 259946"/>
                      <a:gd name="connsiteY0" fmla="*/ 78868 h 128627"/>
                      <a:gd name="connsiteX1" fmla="*/ 0 w 259946"/>
                      <a:gd name="connsiteY1" fmla="*/ 78868 h 128627"/>
                      <a:gd name="connsiteX2" fmla="*/ 0 w 259946"/>
                      <a:gd name="connsiteY2" fmla="*/ 0 h 128627"/>
                      <a:gd name="connsiteX3" fmla="*/ 77490 w 259946"/>
                      <a:gd name="connsiteY3" fmla="*/ 0 h 128627"/>
                      <a:gd name="connsiteX4" fmla="*/ 259946 w 259946"/>
                      <a:gd name="connsiteY4" fmla="*/ 128627 h 128627"/>
                      <a:gd name="connsiteX0" fmla="*/ 77490 w 77490"/>
                      <a:gd name="connsiteY0" fmla="*/ 78868 h 78868"/>
                      <a:gd name="connsiteX1" fmla="*/ 0 w 77490"/>
                      <a:gd name="connsiteY1" fmla="*/ 78868 h 78868"/>
                      <a:gd name="connsiteX2" fmla="*/ 0 w 77490"/>
                      <a:gd name="connsiteY2" fmla="*/ 0 h 78868"/>
                      <a:gd name="connsiteX3" fmla="*/ 77490 w 77490"/>
                      <a:gd name="connsiteY3" fmla="*/ 0 h 78868"/>
                      <a:gd name="connsiteX0" fmla="*/ 0 w 77490"/>
                      <a:gd name="connsiteY0" fmla="*/ 78868 h 78868"/>
                      <a:gd name="connsiteX1" fmla="*/ 0 w 77490"/>
                      <a:gd name="connsiteY1" fmla="*/ 0 h 78868"/>
                      <a:gd name="connsiteX2" fmla="*/ 77490 w 77490"/>
                      <a:gd name="connsiteY2" fmla="*/ 0 h 78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77490" h="78868">
                        <a:moveTo>
                          <a:pt x="0" y="78868"/>
                        </a:moveTo>
                        <a:lnTo>
                          <a:pt x="0" y="0"/>
                        </a:lnTo>
                        <a:lnTo>
                          <a:pt x="77490" y="0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</p:grpSp>
            <p:grpSp>
              <p:nvGrpSpPr>
                <p:cNvPr id="350" name="Gruppieren 349">
                  <a:extLst>
                    <a:ext uri="{FF2B5EF4-FFF2-40B4-BE49-F238E27FC236}">
                      <a16:creationId xmlns:a16="http://schemas.microsoft.com/office/drawing/2014/main" xmlns="" id="{48BE9FBD-AC58-4DD8-9293-89A7C208F783}"/>
                    </a:ext>
                  </a:extLst>
                </p:cNvPr>
                <p:cNvGrpSpPr/>
                <p:nvPr/>
              </p:nvGrpSpPr>
              <p:grpSpPr>
                <a:xfrm>
                  <a:off x="1248013" y="2823638"/>
                  <a:ext cx="187957" cy="359730"/>
                  <a:chOff x="1804906" y="2545762"/>
                  <a:chExt cx="267053" cy="511113"/>
                </a:xfrm>
              </p:grpSpPr>
              <p:sp>
                <p:nvSpPr>
                  <p:cNvPr id="478" name="Rectangle 194">
                    <a:extLst>
                      <a:ext uri="{FF2B5EF4-FFF2-40B4-BE49-F238E27FC236}">
                        <a16:creationId xmlns:a16="http://schemas.microsoft.com/office/drawing/2014/main" xmlns="" id="{EFC3673A-8E7F-4D13-AC8C-8BD24FE1AA2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804906" y="2545762"/>
                    <a:ext cx="267053" cy="511113"/>
                  </a:xfrm>
                  <a:custGeom>
                    <a:avLst/>
                    <a:gdLst>
                      <a:gd name="connsiteX0" fmla="*/ 0 w 187957"/>
                      <a:gd name="connsiteY0" fmla="*/ 0 h 359730"/>
                      <a:gd name="connsiteX1" fmla="*/ 187957 w 187957"/>
                      <a:gd name="connsiteY1" fmla="*/ 0 h 359730"/>
                      <a:gd name="connsiteX2" fmla="*/ 187957 w 187957"/>
                      <a:gd name="connsiteY2" fmla="*/ 359730 h 359730"/>
                      <a:gd name="connsiteX3" fmla="*/ 0 w 187957"/>
                      <a:gd name="connsiteY3" fmla="*/ 359730 h 359730"/>
                      <a:gd name="connsiteX4" fmla="*/ 0 w 187957"/>
                      <a:gd name="connsiteY4" fmla="*/ 0 h 359730"/>
                      <a:gd name="connsiteX0" fmla="*/ 0 w 187957"/>
                      <a:gd name="connsiteY0" fmla="*/ 0 h 441060"/>
                      <a:gd name="connsiteX1" fmla="*/ 187957 w 187957"/>
                      <a:gd name="connsiteY1" fmla="*/ 0 h 441060"/>
                      <a:gd name="connsiteX2" fmla="*/ 187957 w 187957"/>
                      <a:gd name="connsiteY2" fmla="*/ 359730 h 441060"/>
                      <a:gd name="connsiteX3" fmla="*/ 128350 w 187957"/>
                      <a:gd name="connsiteY3" fmla="*/ 441056 h 441060"/>
                      <a:gd name="connsiteX4" fmla="*/ 0 w 187957"/>
                      <a:gd name="connsiteY4" fmla="*/ 359730 h 441060"/>
                      <a:gd name="connsiteX5" fmla="*/ 0 w 187957"/>
                      <a:gd name="connsiteY5" fmla="*/ 0 h 441060"/>
                      <a:gd name="connsiteX0" fmla="*/ 0 w 187957"/>
                      <a:gd name="connsiteY0" fmla="*/ 0 h 460347"/>
                      <a:gd name="connsiteX1" fmla="*/ 187957 w 187957"/>
                      <a:gd name="connsiteY1" fmla="*/ 0 h 460347"/>
                      <a:gd name="connsiteX2" fmla="*/ 187957 w 187957"/>
                      <a:gd name="connsiteY2" fmla="*/ 359730 h 460347"/>
                      <a:gd name="connsiteX3" fmla="*/ 128350 w 187957"/>
                      <a:gd name="connsiteY3" fmla="*/ 441056 h 460347"/>
                      <a:gd name="connsiteX4" fmla="*/ 35481 w 187957"/>
                      <a:gd name="connsiteY4" fmla="*/ 457726 h 460347"/>
                      <a:gd name="connsiteX5" fmla="*/ 0 w 187957"/>
                      <a:gd name="connsiteY5" fmla="*/ 359730 h 460347"/>
                      <a:gd name="connsiteX6" fmla="*/ 0 w 187957"/>
                      <a:gd name="connsiteY6" fmla="*/ 0 h 460347"/>
                      <a:gd name="connsiteX0" fmla="*/ 35481 w 219790"/>
                      <a:gd name="connsiteY0" fmla="*/ 457726 h 532496"/>
                      <a:gd name="connsiteX1" fmla="*/ 0 w 219790"/>
                      <a:gd name="connsiteY1" fmla="*/ 359730 h 532496"/>
                      <a:gd name="connsiteX2" fmla="*/ 0 w 219790"/>
                      <a:gd name="connsiteY2" fmla="*/ 0 h 532496"/>
                      <a:gd name="connsiteX3" fmla="*/ 187957 w 219790"/>
                      <a:gd name="connsiteY3" fmla="*/ 0 h 532496"/>
                      <a:gd name="connsiteX4" fmla="*/ 187957 w 219790"/>
                      <a:gd name="connsiteY4" fmla="*/ 359730 h 532496"/>
                      <a:gd name="connsiteX5" fmla="*/ 219790 w 219790"/>
                      <a:gd name="connsiteY5" fmla="*/ 532496 h 532496"/>
                      <a:gd name="connsiteX0" fmla="*/ 35481 w 187957"/>
                      <a:gd name="connsiteY0" fmla="*/ 457726 h 457726"/>
                      <a:gd name="connsiteX1" fmla="*/ 0 w 187957"/>
                      <a:gd name="connsiteY1" fmla="*/ 359730 h 457726"/>
                      <a:gd name="connsiteX2" fmla="*/ 0 w 187957"/>
                      <a:gd name="connsiteY2" fmla="*/ 0 h 457726"/>
                      <a:gd name="connsiteX3" fmla="*/ 187957 w 187957"/>
                      <a:gd name="connsiteY3" fmla="*/ 0 h 457726"/>
                      <a:gd name="connsiteX4" fmla="*/ 187957 w 187957"/>
                      <a:gd name="connsiteY4" fmla="*/ 359730 h 457726"/>
                      <a:gd name="connsiteX0" fmla="*/ 0 w 187957"/>
                      <a:gd name="connsiteY0" fmla="*/ 359730 h 359730"/>
                      <a:gd name="connsiteX1" fmla="*/ 0 w 187957"/>
                      <a:gd name="connsiteY1" fmla="*/ 0 h 359730"/>
                      <a:gd name="connsiteX2" fmla="*/ 187957 w 187957"/>
                      <a:gd name="connsiteY2" fmla="*/ 0 h 359730"/>
                      <a:gd name="connsiteX3" fmla="*/ 187957 w 187957"/>
                      <a:gd name="connsiteY3" fmla="*/ 359730 h 3597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87957" h="359730">
                        <a:moveTo>
                          <a:pt x="0" y="359730"/>
                        </a:moveTo>
                        <a:lnTo>
                          <a:pt x="0" y="0"/>
                        </a:lnTo>
                        <a:lnTo>
                          <a:pt x="187957" y="0"/>
                        </a:lnTo>
                        <a:lnTo>
                          <a:pt x="187957" y="359730"/>
                        </a:lnTo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79" name="Freeform 223">
                    <a:extLst>
                      <a:ext uri="{FF2B5EF4-FFF2-40B4-BE49-F238E27FC236}">
                        <a16:creationId xmlns:a16="http://schemas.microsoft.com/office/drawing/2014/main" xmlns="" id="{91B9EC87-B02C-4F98-9A3B-6D78D327A57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83532" y="2619006"/>
                    <a:ext cx="81354" cy="1768"/>
                  </a:xfrm>
                  <a:custGeom>
                    <a:avLst/>
                    <a:gdLst/>
                    <a:ahLst/>
                    <a:cxnLst>
                      <a:cxn ang="0">
                        <a:pos x="46" y="0"/>
                      </a:cxn>
                      <a:cxn ang="0">
                        <a:pos x="0" y="0"/>
                      </a:cxn>
                      <a:cxn ang="0">
                        <a:pos x="46" y="0"/>
                      </a:cxn>
                    </a:cxnLst>
                    <a:rect l="0" t="0" r="r" b="b"/>
                    <a:pathLst>
                      <a:path w="46">
                        <a:moveTo>
                          <a:pt x="46" y="0"/>
                        </a:moveTo>
                        <a:lnTo>
                          <a:pt x="0" y="0"/>
                        </a:ln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80" name="Line 224">
                    <a:extLst>
                      <a:ext uri="{FF2B5EF4-FFF2-40B4-BE49-F238E27FC236}">
                        <a16:creationId xmlns:a16="http://schemas.microsoft.com/office/drawing/2014/main" xmlns="" id="{1BB5E464-3B7C-467F-B212-3C95FD9C32C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983532" y="2619006"/>
                    <a:ext cx="81354" cy="1768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81" name="Freeform 225">
                    <a:extLst>
                      <a:ext uri="{FF2B5EF4-FFF2-40B4-BE49-F238E27FC236}">
                        <a16:creationId xmlns:a16="http://schemas.microsoft.com/office/drawing/2014/main" xmlns="" id="{EC470DAC-7DEF-4F4D-8F2E-68C1D04C33D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83532" y="2668527"/>
                    <a:ext cx="81354" cy="1768"/>
                  </a:xfrm>
                  <a:custGeom>
                    <a:avLst/>
                    <a:gdLst/>
                    <a:ahLst/>
                    <a:cxnLst>
                      <a:cxn ang="0">
                        <a:pos x="46" y="0"/>
                      </a:cxn>
                      <a:cxn ang="0">
                        <a:pos x="0" y="0"/>
                      </a:cxn>
                      <a:cxn ang="0">
                        <a:pos x="46" y="0"/>
                      </a:cxn>
                    </a:cxnLst>
                    <a:rect l="0" t="0" r="r" b="b"/>
                    <a:pathLst>
                      <a:path w="46">
                        <a:moveTo>
                          <a:pt x="46" y="0"/>
                        </a:moveTo>
                        <a:lnTo>
                          <a:pt x="0" y="0"/>
                        </a:ln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82" name="Line 226">
                    <a:extLst>
                      <a:ext uri="{FF2B5EF4-FFF2-40B4-BE49-F238E27FC236}">
                        <a16:creationId xmlns:a16="http://schemas.microsoft.com/office/drawing/2014/main" xmlns="" id="{5F87384D-207E-44CF-959A-9E00F96B85E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983532" y="2668527"/>
                    <a:ext cx="81354" cy="1768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83" name="Freeform 227">
                    <a:extLst>
                      <a:ext uri="{FF2B5EF4-FFF2-40B4-BE49-F238E27FC236}">
                        <a16:creationId xmlns:a16="http://schemas.microsoft.com/office/drawing/2014/main" xmlns="" id="{E2907FE9-ED54-4ACE-8CEE-BBECAA0647F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83532" y="2719813"/>
                    <a:ext cx="81354" cy="1768"/>
                  </a:xfrm>
                  <a:custGeom>
                    <a:avLst/>
                    <a:gdLst/>
                    <a:ahLst/>
                    <a:cxnLst>
                      <a:cxn ang="0">
                        <a:pos x="46" y="0"/>
                      </a:cxn>
                      <a:cxn ang="0">
                        <a:pos x="0" y="0"/>
                      </a:cxn>
                      <a:cxn ang="0">
                        <a:pos x="46" y="0"/>
                      </a:cxn>
                    </a:cxnLst>
                    <a:rect l="0" t="0" r="r" b="b"/>
                    <a:pathLst>
                      <a:path w="46">
                        <a:moveTo>
                          <a:pt x="46" y="0"/>
                        </a:moveTo>
                        <a:lnTo>
                          <a:pt x="0" y="0"/>
                        </a:ln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84" name="Line 228">
                    <a:extLst>
                      <a:ext uri="{FF2B5EF4-FFF2-40B4-BE49-F238E27FC236}">
                        <a16:creationId xmlns:a16="http://schemas.microsoft.com/office/drawing/2014/main" xmlns="" id="{5A4EF369-55B8-4ADF-A269-4D8E0DF6312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983532" y="2719813"/>
                    <a:ext cx="81354" cy="1768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85" name="Freeform 229">
                    <a:extLst>
                      <a:ext uri="{FF2B5EF4-FFF2-40B4-BE49-F238E27FC236}">
                        <a16:creationId xmlns:a16="http://schemas.microsoft.com/office/drawing/2014/main" xmlns="" id="{0DC685F3-F008-40D5-9F88-6883AE9A5CD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83532" y="2771103"/>
                    <a:ext cx="81354" cy="1768"/>
                  </a:xfrm>
                  <a:custGeom>
                    <a:avLst/>
                    <a:gdLst/>
                    <a:ahLst/>
                    <a:cxnLst>
                      <a:cxn ang="0">
                        <a:pos x="46" y="0"/>
                      </a:cxn>
                      <a:cxn ang="0">
                        <a:pos x="0" y="0"/>
                      </a:cxn>
                      <a:cxn ang="0">
                        <a:pos x="46" y="0"/>
                      </a:cxn>
                    </a:cxnLst>
                    <a:rect l="0" t="0" r="r" b="b"/>
                    <a:pathLst>
                      <a:path w="46">
                        <a:moveTo>
                          <a:pt x="46" y="0"/>
                        </a:moveTo>
                        <a:lnTo>
                          <a:pt x="0" y="0"/>
                        </a:ln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86" name="Line 230">
                    <a:extLst>
                      <a:ext uri="{FF2B5EF4-FFF2-40B4-BE49-F238E27FC236}">
                        <a16:creationId xmlns:a16="http://schemas.microsoft.com/office/drawing/2014/main" xmlns="" id="{681B8FF5-B764-424E-93A6-BF2E6A80043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983532" y="2771103"/>
                    <a:ext cx="81354" cy="1768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87" name="Freeform 231">
                    <a:extLst>
                      <a:ext uri="{FF2B5EF4-FFF2-40B4-BE49-F238E27FC236}">
                        <a16:creationId xmlns:a16="http://schemas.microsoft.com/office/drawing/2014/main" xmlns="" id="{71C2CBE5-E4EA-4D3F-BE48-C2F87D9B7B3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83532" y="2820622"/>
                    <a:ext cx="81354" cy="1768"/>
                  </a:xfrm>
                  <a:custGeom>
                    <a:avLst/>
                    <a:gdLst/>
                    <a:ahLst/>
                    <a:cxnLst>
                      <a:cxn ang="0">
                        <a:pos x="46" y="0"/>
                      </a:cxn>
                      <a:cxn ang="0">
                        <a:pos x="0" y="0"/>
                      </a:cxn>
                      <a:cxn ang="0">
                        <a:pos x="46" y="0"/>
                      </a:cxn>
                    </a:cxnLst>
                    <a:rect l="0" t="0" r="r" b="b"/>
                    <a:pathLst>
                      <a:path w="46">
                        <a:moveTo>
                          <a:pt x="46" y="0"/>
                        </a:moveTo>
                        <a:lnTo>
                          <a:pt x="0" y="0"/>
                        </a:ln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88" name="Line 232">
                    <a:extLst>
                      <a:ext uri="{FF2B5EF4-FFF2-40B4-BE49-F238E27FC236}">
                        <a16:creationId xmlns:a16="http://schemas.microsoft.com/office/drawing/2014/main" xmlns="" id="{7FECCE1A-C862-4A77-B257-58F4086A199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983532" y="2820622"/>
                    <a:ext cx="81354" cy="1768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89" name="Freeform 233">
                    <a:extLst>
                      <a:ext uri="{FF2B5EF4-FFF2-40B4-BE49-F238E27FC236}">
                        <a16:creationId xmlns:a16="http://schemas.microsoft.com/office/drawing/2014/main" xmlns="" id="{9D24CA73-1688-46D2-BF40-16445866522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83532" y="2871909"/>
                    <a:ext cx="81354" cy="1768"/>
                  </a:xfrm>
                  <a:custGeom>
                    <a:avLst/>
                    <a:gdLst/>
                    <a:ahLst/>
                    <a:cxnLst>
                      <a:cxn ang="0">
                        <a:pos x="46" y="0"/>
                      </a:cxn>
                      <a:cxn ang="0">
                        <a:pos x="0" y="0"/>
                      </a:cxn>
                      <a:cxn ang="0">
                        <a:pos x="46" y="0"/>
                      </a:cxn>
                    </a:cxnLst>
                    <a:rect l="0" t="0" r="r" b="b"/>
                    <a:pathLst>
                      <a:path w="46">
                        <a:moveTo>
                          <a:pt x="46" y="0"/>
                        </a:moveTo>
                        <a:lnTo>
                          <a:pt x="0" y="0"/>
                        </a:ln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90" name="Line 234">
                    <a:extLst>
                      <a:ext uri="{FF2B5EF4-FFF2-40B4-BE49-F238E27FC236}">
                        <a16:creationId xmlns:a16="http://schemas.microsoft.com/office/drawing/2014/main" xmlns="" id="{A1E07E1B-20FF-4F8A-98CD-4E72D4618C0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983532" y="2871909"/>
                    <a:ext cx="81354" cy="1768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</p:grpSp>
            <p:grpSp>
              <p:nvGrpSpPr>
                <p:cNvPr id="351" name="Gruppieren 350">
                  <a:extLst>
                    <a:ext uri="{FF2B5EF4-FFF2-40B4-BE49-F238E27FC236}">
                      <a16:creationId xmlns:a16="http://schemas.microsoft.com/office/drawing/2014/main" xmlns="" id="{5FB13C9A-0F2C-4A93-B83A-92F91148E020}"/>
                    </a:ext>
                  </a:extLst>
                </p:cNvPr>
                <p:cNvGrpSpPr/>
                <p:nvPr/>
              </p:nvGrpSpPr>
              <p:grpSpPr>
                <a:xfrm>
                  <a:off x="939940" y="2968635"/>
                  <a:ext cx="277578" cy="253402"/>
                  <a:chOff x="1367189" y="2751770"/>
                  <a:chExt cx="394389" cy="360039"/>
                </a:xfrm>
              </p:grpSpPr>
              <p:sp>
                <p:nvSpPr>
                  <p:cNvPr id="474" name="Rectangle 155">
                    <a:extLst>
                      <a:ext uri="{FF2B5EF4-FFF2-40B4-BE49-F238E27FC236}">
                        <a16:creationId xmlns:a16="http://schemas.microsoft.com/office/drawing/2014/main" xmlns="" id="{C26EE3C6-14BE-4196-A826-075670A15F9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409635" y="2910193"/>
                    <a:ext cx="309501" cy="201616"/>
                  </a:xfrm>
                  <a:custGeom>
                    <a:avLst/>
                    <a:gdLst>
                      <a:gd name="connsiteX0" fmla="*/ 0 w 217831"/>
                      <a:gd name="connsiteY0" fmla="*/ 0 h 141901"/>
                      <a:gd name="connsiteX1" fmla="*/ 217831 w 217831"/>
                      <a:gd name="connsiteY1" fmla="*/ 0 h 141901"/>
                      <a:gd name="connsiteX2" fmla="*/ 217831 w 217831"/>
                      <a:gd name="connsiteY2" fmla="*/ 141901 h 141901"/>
                      <a:gd name="connsiteX3" fmla="*/ 0 w 217831"/>
                      <a:gd name="connsiteY3" fmla="*/ 141901 h 141901"/>
                      <a:gd name="connsiteX4" fmla="*/ 0 w 217831"/>
                      <a:gd name="connsiteY4" fmla="*/ 0 h 141901"/>
                      <a:gd name="connsiteX0" fmla="*/ 0 w 217831"/>
                      <a:gd name="connsiteY0" fmla="*/ 0 h 232189"/>
                      <a:gd name="connsiteX1" fmla="*/ 217831 w 217831"/>
                      <a:gd name="connsiteY1" fmla="*/ 0 h 232189"/>
                      <a:gd name="connsiteX2" fmla="*/ 217831 w 217831"/>
                      <a:gd name="connsiteY2" fmla="*/ 141901 h 232189"/>
                      <a:gd name="connsiteX3" fmla="*/ 32692 w 217831"/>
                      <a:gd name="connsiteY3" fmla="*/ 232189 h 232189"/>
                      <a:gd name="connsiteX4" fmla="*/ 0 w 217831"/>
                      <a:gd name="connsiteY4" fmla="*/ 141901 h 232189"/>
                      <a:gd name="connsiteX5" fmla="*/ 0 w 217831"/>
                      <a:gd name="connsiteY5" fmla="*/ 0 h 232189"/>
                      <a:gd name="connsiteX0" fmla="*/ 0 w 256530"/>
                      <a:gd name="connsiteY0" fmla="*/ 0 h 280131"/>
                      <a:gd name="connsiteX1" fmla="*/ 217831 w 256530"/>
                      <a:gd name="connsiteY1" fmla="*/ 0 h 280131"/>
                      <a:gd name="connsiteX2" fmla="*/ 217831 w 256530"/>
                      <a:gd name="connsiteY2" fmla="*/ 141901 h 280131"/>
                      <a:gd name="connsiteX3" fmla="*/ 249386 w 256530"/>
                      <a:gd name="connsiteY3" fmla="*/ 277431 h 280131"/>
                      <a:gd name="connsiteX4" fmla="*/ 32692 w 256530"/>
                      <a:gd name="connsiteY4" fmla="*/ 232189 h 280131"/>
                      <a:gd name="connsiteX5" fmla="*/ 0 w 256530"/>
                      <a:gd name="connsiteY5" fmla="*/ 141901 h 280131"/>
                      <a:gd name="connsiteX6" fmla="*/ 0 w 256530"/>
                      <a:gd name="connsiteY6" fmla="*/ 0 h 280131"/>
                      <a:gd name="connsiteX0" fmla="*/ 32692 w 340826"/>
                      <a:gd name="connsiteY0" fmla="*/ 232189 h 368871"/>
                      <a:gd name="connsiteX1" fmla="*/ 0 w 340826"/>
                      <a:gd name="connsiteY1" fmla="*/ 141901 h 368871"/>
                      <a:gd name="connsiteX2" fmla="*/ 0 w 340826"/>
                      <a:gd name="connsiteY2" fmla="*/ 0 h 368871"/>
                      <a:gd name="connsiteX3" fmla="*/ 217831 w 340826"/>
                      <a:gd name="connsiteY3" fmla="*/ 0 h 368871"/>
                      <a:gd name="connsiteX4" fmla="*/ 217831 w 340826"/>
                      <a:gd name="connsiteY4" fmla="*/ 141901 h 368871"/>
                      <a:gd name="connsiteX5" fmla="*/ 340826 w 340826"/>
                      <a:gd name="connsiteY5" fmla="*/ 368871 h 368871"/>
                      <a:gd name="connsiteX0" fmla="*/ 32692 w 217831"/>
                      <a:gd name="connsiteY0" fmla="*/ 232189 h 232189"/>
                      <a:gd name="connsiteX1" fmla="*/ 0 w 217831"/>
                      <a:gd name="connsiteY1" fmla="*/ 141901 h 232189"/>
                      <a:gd name="connsiteX2" fmla="*/ 0 w 217831"/>
                      <a:gd name="connsiteY2" fmla="*/ 0 h 232189"/>
                      <a:gd name="connsiteX3" fmla="*/ 217831 w 217831"/>
                      <a:gd name="connsiteY3" fmla="*/ 0 h 232189"/>
                      <a:gd name="connsiteX4" fmla="*/ 217831 w 217831"/>
                      <a:gd name="connsiteY4" fmla="*/ 141901 h 232189"/>
                      <a:gd name="connsiteX0" fmla="*/ 0 w 217831"/>
                      <a:gd name="connsiteY0" fmla="*/ 141901 h 141901"/>
                      <a:gd name="connsiteX1" fmla="*/ 0 w 217831"/>
                      <a:gd name="connsiteY1" fmla="*/ 0 h 141901"/>
                      <a:gd name="connsiteX2" fmla="*/ 217831 w 217831"/>
                      <a:gd name="connsiteY2" fmla="*/ 0 h 141901"/>
                      <a:gd name="connsiteX3" fmla="*/ 217831 w 217831"/>
                      <a:gd name="connsiteY3" fmla="*/ 141901 h 1419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17831" h="141901">
                        <a:moveTo>
                          <a:pt x="0" y="141901"/>
                        </a:moveTo>
                        <a:lnTo>
                          <a:pt x="0" y="0"/>
                        </a:lnTo>
                        <a:lnTo>
                          <a:pt x="217831" y="0"/>
                        </a:lnTo>
                        <a:lnTo>
                          <a:pt x="217831" y="141901"/>
                        </a:lnTo>
                      </a:path>
                    </a:pathLst>
                  </a:custGeom>
                  <a:solidFill>
                    <a:schemeClr val="accent2">
                      <a:lumMod val="20000"/>
                      <a:lumOff val="80000"/>
                    </a:schemeClr>
                  </a:solidFill>
                  <a:ln w="9525">
                    <a:solidFill>
                      <a:srgbClr val="98A2AE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75" name="Freeform 156">
                    <a:extLst>
                      <a:ext uri="{FF2B5EF4-FFF2-40B4-BE49-F238E27FC236}">
                        <a16:creationId xmlns:a16="http://schemas.microsoft.com/office/drawing/2014/main" xmlns="" id="{46A4A499-23DF-4163-B7D7-F9143745511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09635" y="2872274"/>
                    <a:ext cx="309499" cy="201616"/>
                  </a:xfrm>
                  <a:custGeom>
                    <a:avLst/>
                    <a:gdLst/>
                    <a:ahLst/>
                    <a:cxnLst>
                      <a:cxn ang="0">
                        <a:pos x="0" y="114"/>
                      </a:cxn>
                      <a:cxn ang="0">
                        <a:pos x="0" y="0"/>
                      </a:cxn>
                      <a:cxn ang="0">
                        <a:pos x="175" y="0"/>
                      </a:cxn>
                      <a:cxn ang="0">
                        <a:pos x="175" y="114"/>
                      </a:cxn>
                    </a:cxnLst>
                    <a:rect l="0" t="0" r="r" b="b"/>
                    <a:pathLst>
                      <a:path w="175" h="114">
                        <a:moveTo>
                          <a:pt x="0" y="114"/>
                        </a:moveTo>
                        <a:lnTo>
                          <a:pt x="0" y="0"/>
                        </a:lnTo>
                        <a:lnTo>
                          <a:pt x="175" y="0"/>
                        </a:lnTo>
                        <a:lnTo>
                          <a:pt x="175" y="114"/>
                        </a:ln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76" name="Freeform 157">
                    <a:extLst>
                      <a:ext uri="{FF2B5EF4-FFF2-40B4-BE49-F238E27FC236}">
                        <a16:creationId xmlns:a16="http://schemas.microsoft.com/office/drawing/2014/main" xmlns="" id="{29743487-3B2B-4D3E-9281-EDFA97E98971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1367189" y="2751770"/>
                    <a:ext cx="394389" cy="173319"/>
                  </a:xfrm>
                  <a:custGeom>
                    <a:avLst/>
                    <a:gdLst/>
                    <a:ahLst/>
                    <a:cxnLst>
                      <a:cxn ang="0">
                        <a:pos x="223" y="98"/>
                      </a:cxn>
                      <a:cxn ang="0">
                        <a:pos x="194" y="39"/>
                      </a:cxn>
                      <a:cxn ang="0">
                        <a:pos x="184" y="0"/>
                      </a:cxn>
                      <a:cxn ang="0">
                        <a:pos x="38" y="0"/>
                      </a:cxn>
                      <a:cxn ang="0">
                        <a:pos x="28" y="39"/>
                      </a:cxn>
                      <a:cxn ang="0">
                        <a:pos x="0" y="98"/>
                      </a:cxn>
                      <a:cxn ang="0">
                        <a:pos x="223" y="98"/>
                      </a:cxn>
                    </a:cxnLst>
                    <a:rect l="0" t="0" r="r" b="b"/>
                    <a:pathLst>
                      <a:path w="223" h="98">
                        <a:moveTo>
                          <a:pt x="223" y="98"/>
                        </a:moveTo>
                        <a:lnTo>
                          <a:pt x="194" y="39"/>
                        </a:lnTo>
                        <a:lnTo>
                          <a:pt x="184" y="0"/>
                        </a:lnTo>
                        <a:lnTo>
                          <a:pt x="38" y="0"/>
                        </a:lnTo>
                        <a:lnTo>
                          <a:pt x="28" y="39"/>
                        </a:lnTo>
                        <a:lnTo>
                          <a:pt x="0" y="98"/>
                        </a:lnTo>
                        <a:lnTo>
                          <a:pt x="223" y="9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77" name="Freeform 158">
                    <a:extLst>
                      <a:ext uri="{FF2B5EF4-FFF2-40B4-BE49-F238E27FC236}">
                        <a16:creationId xmlns:a16="http://schemas.microsoft.com/office/drawing/2014/main" xmlns="" id="{88656EB4-0CB6-441C-8067-9E4C442E08A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67189" y="2751770"/>
                    <a:ext cx="394389" cy="173319"/>
                  </a:xfrm>
                  <a:custGeom>
                    <a:avLst/>
                    <a:gdLst/>
                    <a:ahLst/>
                    <a:cxnLst>
                      <a:cxn ang="0">
                        <a:pos x="223" y="98"/>
                      </a:cxn>
                      <a:cxn ang="0">
                        <a:pos x="194" y="39"/>
                      </a:cxn>
                      <a:cxn ang="0">
                        <a:pos x="184" y="0"/>
                      </a:cxn>
                      <a:cxn ang="0">
                        <a:pos x="38" y="0"/>
                      </a:cxn>
                      <a:cxn ang="0">
                        <a:pos x="28" y="39"/>
                      </a:cxn>
                      <a:cxn ang="0">
                        <a:pos x="0" y="98"/>
                      </a:cxn>
                      <a:cxn ang="0">
                        <a:pos x="223" y="98"/>
                      </a:cxn>
                    </a:cxnLst>
                    <a:rect l="0" t="0" r="r" b="b"/>
                    <a:pathLst>
                      <a:path w="223" h="98">
                        <a:moveTo>
                          <a:pt x="223" y="98"/>
                        </a:moveTo>
                        <a:lnTo>
                          <a:pt x="194" y="39"/>
                        </a:lnTo>
                        <a:lnTo>
                          <a:pt x="184" y="0"/>
                        </a:lnTo>
                        <a:lnTo>
                          <a:pt x="38" y="0"/>
                        </a:lnTo>
                        <a:lnTo>
                          <a:pt x="28" y="39"/>
                        </a:lnTo>
                        <a:lnTo>
                          <a:pt x="0" y="98"/>
                        </a:lnTo>
                        <a:lnTo>
                          <a:pt x="223" y="98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20000"/>
                      <a:lumOff val="80000"/>
                    </a:schemeClr>
                  </a:solidFill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</p:grpSp>
            <p:sp>
              <p:nvSpPr>
                <p:cNvPr id="352" name="Ellipse 26">
                  <a:extLst>
                    <a:ext uri="{FF2B5EF4-FFF2-40B4-BE49-F238E27FC236}">
                      <a16:creationId xmlns:a16="http://schemas.microsoft.com/office/drawing/2014/main" xmlns="" id="{5E362DDD-373E-4219-A041-44D9EA5FF184}"/>
                    </a:ext>
                  </a:extLst>
                </p:cNvPr>
                <p:cNvSpPr/>
                <p:nvPr/>
              </p:nvSpPr>
              <p:spPr>
                <a:xfrm>
                  <a:off x="821552" y="3079208"/>
                  <a:ext cx="327587" cy="5530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5442" h="785802">
                      <a:moveTo>
                        <a:pt x="178456" y="0"/>
                      </a:moveTo>
                      <a:cubicBezTo>
                        <a:pt x="209704" y="0"/>
                        <a:pt x="238118" y="12129"/>
                        <a:pt x="258781" y="32434"/>
                      </a:cubicBezTo>
                      <a:cubicBezTo>
                        <a:pt x="277069" y="16463"/>
                        <a:pt x="301143" y="8039"/>
                        <a:pt x="327183" y="8039"/>
                      </a:cubicBezTo>
                      <a:cubicBezTo>
                        <a:pt x="392441" y="8039"/>
                        <a:pt x="445344" y="60943"/>
                        <a:pt x="445344" y="126201"/>
                      </a:cubicBezTo>
                      <a:lnTo>
                        <a:pt x="436245" y="171266"/>
                      </a:lnTo>
                      <a:cubicBezTo>
                        <a:pt x="454875" y="190930"/>
                        <a:pt x="465442" y="217626"/>
                        <a:pt x="465442" y="246792"/>
                      </a:cubicBezTo>
                      <a:cubicBezTo>
                        <a:pt x="465442" y="285368"/>
                        <a:pt x="446956" y="319627"/>
                        <a:pt x="417139" y="339578"/>
                      </a:cubicBezTo>
                      <a:cubicBezTo>
                        <a:pt x="417027" y="404682"/>
                        <a:pt x="364191" y="457406"/>
                        <a:pt x="299045" y="457406"/>
                      </a:cubicBezTo>
                      <a:lnTo>
                        <a:pt x="232722" y="433341"/>
                      </a:lnTo>
                      <a:lnTo>
                        <a:pt x="232722" y="766812"/>
                      </a:lnTo>
                      <a:cubicBezTo>
                        <a:pt x="232722" y="777301"/>
                        <a:pt x="224221" y="785802"/>
                        <a:pt x="213732" y="785802"/>
                      </a:cubicBezTo>
                      <a:cubicBezTo>
                        <a:pt x="203243" y="785802"/>
                        <a:pt x="194741" y="777301"/>
                        <a:pt x="194741" y="766812"/>
                      </a:cubicBezTo>
                      <a:lnTo>
                        <a:pt x="194741" y="442047"/>
                      </a:lnTo>
                      <a:cubicBezTo>
                        <a:pt x="187660" y="448419"/>
                        <a:pt x="179150" y="449367"/>
                        <a:pt x="170416" y="449367"/>
                      </a:cubicBezTo>
                      <a:cubicBezTo>
                        <a:pt x="109546" y="449367"/>
                        <a:pt x="59423" y="403338"/>
                        <a:pt x="54836" y="343981"/>
                      </a:cubicBezTo>
                      <a:cubicBezTo>
                        <a:pt x="21347" y="324712"/>
                        <a:pt x="0" y="288244"/>
                        <a:pt x="0" y="246792"/>
                      </a:cubicBezTo>
                      <a:cubicBezTo>
                        <a:pt x="0" y="200803"/>
                        <a:pt x="26274" y="160948"/>
                        <a:pt x="65228" y="142594"/>
                      </a:cubicBezTo>
                      <a:cubicBezTo>
                        <a:pt x="61204" y="135053"/>
                        <a:pt x="60295" y="126714"/>
                        <a:pt x="60295" y="118162"/>
                      </a:cubicBezTo>
                      <a:cubicBezTo>
                        <a:pt x="60295" y="52904"/>
                        <a:pt x="113198" y="0"/>
                        <a:pt x="178456" y="0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tIns="90000" bIns="90000" rtlCol="0" anchor="t" anchorCtr="0"/>
                <a:lstStyle/>
                <a:p>
                  <a:pPr marL="0" marR="0" lvl="0" indent="0" algn="ctr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11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  <a:ea typeface="+mn-ea"/>
                    <a:cs typeface="+mn-cs"/>
                  </a:endParaRPr>
                </a:p>
              </p:txBody>
            </p:sp>
            <p:grpSp>
              <p:nvGrpSpPr>
                <p:cNvPr id="353" name="Group 956">
                  <a:extLst>
                    <a:ext uri="{FF2B5EF4-FFF2-40B4-BE49-F238E27FC236}">
                      <a16:creationId xmlns:a16="http://schemas.microsoft.com/office/drawing/2014/main" xmlns="" id="{4F12219C-889B-4C1E-8B85-694105DA6BA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322878" y="3318582"/>
                  <a:ext cx="216761" cy="380061"/>
                  <a:chOff x="2657" y="1228"/>
                  <a:chExt cx="446" cy="782"/>
                </a:xfrm>
              </p:grpSpPr>
              <p:sp>
                <p:nvSpPr>
                  <p:cNvPr id="460" name="Oval 957">
                    <a:extLst>
                      <a:ext uri="{FF2B5EF4-FFF2-40B4-BE49-F238E27FC236}">
                        <a16:creationId xmlns:a16="http://schemas.microsoft.com/office/drawing/2014/main" xmlns="" id="{8F16EFB2-03D3-4ACD-8B1A-57D31ECF23A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885" y="1233"/>
                    <a:ext cx="144" cy="143"/>
                  </a:xfrm>
                  <a:prstGeom prst="ellipse">
                    <a:avLst/>
                  </a:pr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61" name="Freeform 958">
                    <a:extLst>
                      <a:ext uri="{FF2B5EF4-FFF2-40B4-BE49-F238E27FC236}">
                        <a16:creationId xmlns:a16="http://schemas.microsoft.com/office/drawing/2014/main" xmlns="" id="{9802F80B-2997-4358-8756-33DF726AAED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18" y="1366"/>
                    <a:ext cx="44" cy="45"/>
                  </a:xfrm>
                  <a:custGeom>
                    <a:avLst/>
                    <a:gdLst>
                      <a:gd name="T0" fmla="*/ 1 w 18"/>
                      <a:gd name="T1" fmla="*/ 0 h 19"/>
                      <a:gd name="T2" fmla="*/ 0 w 18"/>
                      <a:gd name="T3" fmla="*/ 13 h 19"/>
                      <a:gd name="T4" fmla="*/ 11 w 18"/>
                      <a:gd name="T5" fmla="*/ 18 h 19"/>
                      <a:gd name="T6" fmla="*/ 18 w 18"/>
                      <a:gd name="T7" fmla="*/ 16 h 19"/>
                      <a:gd name="T8" fmla="*/ 18 w 18"/>
                      <a:gd name="T9" fmla="*/ 4 h 19"/>
                      <a:gd name="T10" fmla="*/ 1 w 18"/>
                      <a:gd name="T11" fmla="*/ 0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8" h="19">
                        <a:moveTo>
                          <a:pt x="1" y="0"/>
                        </a:move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0" y="13"/>
                          <a:pt x="4" y="17"/>
                          <a:pt x="11" y="18"/>
                        </a:cubicBezTo>
                        <a:cubicBezTo>
                          <a:pt x="17" y="19"/>
                          <a:pt x="18" y="16"/>
                          <a:pt x="18" y="16"/>
                        </a:cubicBezTo>
                        <a:cubicBezTo>
                          <a:pt x="18" y="4"/>
                          <a:pt x="18" y="4"/>
                          <a:pt x="18" y="4"/>
                        </a:cubicBez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62" name="Freeform 959">
                    <a:extLst>
                      <a:ext uri="{FF2B5EF4-FFF2-40B4-BE49-F238E27FC236}">
                        <a16:creationId xmlns:a16="http://schemas.microsoft.com/office/drawing/2014/main" xmlns="" id="{CDC67D6D-2DB0-4666-9B5C-7163BE03DFF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66" y="1492"/>
                    <a:ext cx="130" cy="79"/>
                  </a:xfrm>
                  <a:custGeom>
                    <a:avLst/>
                    <a:gdLst>
                      <a:gd name="T0" fmla="*/ 2 w 54"/>
                      <a:gd name="T1" fmla="*/ 30 h 33"/>
                      <a:gd name="T2" fmla="*/ 8 w 54"/>
                      <a:gd name="T3" fmla="*/ 19 h 33"/>
                      <a:gd name="T4" fmla="*/ 43 w 54"/>
                      <a:gd name="T5" fmla="*/ 2 h 33"/>
                      <a:gd name="T6" fmla="*/ 51 w 54"/>
                      <a:gd name="T7" fmla="*/ 1 h 33"/>
                      <a:gd name="T8" fmla="*/ 51 w 54"/>
                      <a:gd name="T9" fmla="*/ 10 h 33"/>
                      <a:gd name="T10" fmla="*/ 9 w 54"/>
                      <a:gd name="T11" fmla="*/ 32 h 33"/>
                      <a:gd name="T12" fmla="*/ 2 w 54"/>
                      <a:gd name="T13" fmla="*/ 30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4" h="33">
                        <a:moveTo>
                          <a:pt x="2" y="30"/>
                        </a:moveTo>
                        <a:cubicBezTo>
                          <a:pt x="0" y="28"/>
                          <a:pt x="6" y="21"/>
                          <a:pt x="8" y="19"/>
                        </a:cubicBezTo>
                        <a:cubicBezTo>
                          <a:pt x="43" y="2"/>
                          <a:pt x="43" y="2"/>
                          <a:pt x="43" y="2"/>
                        </a:cubicBezTo>
                        <a:cubicBezTo>
                          <a:pt x="46" y="0"/>
                          <a:pt x="49" y="0"/>
                          <a:pt x="51" y="1"/>
                        </a:cubicBezTo>
                        <a:cubicBezTo>
                          <a:pt x="53" y="3"/>
                          <a:pt x="54" y="8"/>
                          <a:pt x="51" y="10"/>
                        </a:cubicBezTo>
                        <a:cubicBezTo>
                          <a:pt x="9" y="32"/>
                          <a:pt x="9" y="32"/>
                          <a:pt x="9" y="32"/>
                        </a:cubicBezTo>
                        <a:cubicBezTo>
                          <a:pt x="7" y="33"/>
                          <a:pt x="2" y="30"/>
                          <a:pt x="2" y="30"/>
                        </a:cubicBezTo>
                      </a:path>
                    </a:pathLst>
                  </a:cu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63" name="Freeform 960">
                    <a:extLst>
                      <a:ext uri="{FF2B5EF4-FFF2-40B4-BE49-F238E27FC236}">
                        <a16:creationId xmlns:a16="http://schemas.microsoft.com/office/drawing/2014/main" xmlns="" id="{B085413D-7CB5-45D0-AF02-4124C6DC1A8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791" y="1404"/>
                    <a:ext cx="139" cy="146"/>
                  </a:xfrm>
                  <a:custGeom>
                    <a:avLst/>
                    <a:gdLst>
                      <a:gd name="T0" fmla="*/ 34 w 58"/>
                      <a:gd name="T1" fmla="*/ 44 h 61"/>
                      <a:gd name="T2" fmla="*/ 16 w 58"/>
                      <a:gd name="T3" fmla="*/ 59 h 61"/>
                      <a:gd name="T4" fmla="*/ 27 w 58"/>
                      <a:gd name="T5" fmla="*/ 18 h 61"/>
                      <a:gd name="T6" fmla="*/ 50 w 58"/>
                      <a:gd name="T7" fmla="*/ 6 h 61"/>
                      <a:gd name="T8" fmla="*/ 34 w 58"/>
                      <a:gd name="T9" fmla="*/ 44 h 6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8" h="61">
                        <a:moveTo>
                          <a:pt x="34" y="44"/>
                        </a:moveTo>
                        <a:cubicBezTo>
                          <a:pt x="27" y="52"/>
                          <a:pt x="20" y="59"/>
                          <a:pt x="16" y="59"/>
                        </a:cubicBezTo>
                        <a:cubicBezTo>
                          <a:pt x="0" y="61"/>
                          <a:pt x="12" y="40"/>
                          <a:pt x="27" y="18"/>
                        </a:cubicBezTo>
                        <a:cubicBezTo>
                          <a:pt x="41" y="0"/>
                          <a:pt x="46" y="8"/>
                          <a:pt x="50" y="6"/>
                        </a:cubicBezTo>
                        <a:cubicBezTo>
                          <a:pt x="58" y="3"/>
                          <a:pt x="51" y="24"/>
                          <a:pt x="34" y="44"/>
                        </a:cubicBezTo>
                      </a:path>
                    </a:pathLst>
                  </a:cu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64" name="Freeform 961">
                    <a:extLst>
                      <a:ext uri="{FF2B5EF4-FFF2-40B4-BE49-F238E27FC236}">
                        <a16:creationId xmlns:a16="http://schemas.microsoft.com/office/drawing/2014/main" xmlns="" id="{ABA84CB7-8368-4E21-AE34-41C1AA77B1B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39" y="1388"/>
                    <a:ext cx="173" cy="283"/>
                  </a:xfrm>
                  <a:custGeom>
                    <a:avLst/>
                    <a:gdLst>
                      <a:gd name="T0" fmla="*/ 9 w 72"/>
                      <a:gd name="T1" fmla="*/ 98 h 119"/>
                      <a:gd name="T2" fmla="*/ 54 w 72"/>
                      <a:gd name="T3" fmla="*/ 114 h 119"/>
                      <a:gd name="T4" fmla="*/ 67 w 72"/>
                      <a:gd name="T5" fmla="*/ 29 h 119"/>
                      <a:gd name="T6" fmla="*/ 51 w 72"/>
                      <a:gd name="T7" fmla="*/ 7 h 119"/>
                      <a:gd name="T8" fmla="*/ 26 w 72"/>
                      <a:gd name="T9" fmla="*/ 7 h 119"/>
                      <a:gd name="T10" fmla="*/ 0 w 72"/>
                      <a:gd name="T11" fmla="*/ 37 h 119"/>
                      <a:gd name="T12" fmla="*/ 15 w 72"/>
                      <a:gd name="T13" fmla="*/ 55 h 119"/>
                      <a:gd name="T14" fmla="*/ 23 w 72"/>
                      <a:gd name="T15" fmla="*/ 52 h 119"/>
                      <a:gd name="T16" fmla="*/ 9 w 72"/>
                      <a:gd name="T17" fmla="*/ 98 h 1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72" h="119">
                        <a:moveTo>
                          <a:pt x="9" y="98"/>
                        </a:moveTo>
                        <a:cubicBezTo>
                          <a:pt x="9" y="98"/>
                          <a:pt x="43" y="119"/>
                          <a:pt x="54" y="114"/>
                        </a:cubicBezTo>
                        <a:cubicBezTo>
                          <a:pt x="54" y="114"/>
                          <a:pt x="72" y="46"/>
                          <a:pt x="67" y="29"/>
                        </a:cubicBezTo>
                        <a:cubicBezTo>
                          <a:pt x="63" y="12"/>
                          <a:pt x="51" y="7"/>
                          <a:pt x="51" y="7"/>
                        </a:cubicBezTo>
                        <a:cubicBezTo>
                          <a:pt x="51" y="7"/>
                          <a:pt x="36" y="0"/>
                          <a:pt x="26" y="7"/>
                        </a:cubicBezTo>
                        <a:cubicBezTo>
                          <a:pt x="15" y="14"/>
                          <a:pt x="0" y="37"/>
                          <a:pt x="0" y="37"/>
                        </a:cubicBezTo>
                        <a:cubicBezTo>
                          <a:pt x="15" y="55"/>
                          <a:pt x="15" y="55"/>
                          <a:pt x="15" y="55"/>
                        </a:cubicBezTo>
                        <a:cubicBezTo>
                          <a:pt x="23" y="52"/>
                          <a:pt x="23" y="52"/>
                          <a:pt x="23" y="52"/>
                        </a:cubicBezTo>
                        <a:cubicBezTo>
                          <a:pt x="23" y="52"/>
                          <a:pt x="5" y="96"/>
                          <a:pt x="9" y="98"/>
                        </a:cubicBezTo>
                      </a:path>
                    </a:pathLst>
                  </a:custGeom>
                  <a:solidFill>
                    <a:schemeClr val="bg2">
                      <a:lumMod val="5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11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65" name="Freeform 962">
                    <a:extLst>
                      <a:ext uri="{FF2B5EF4-FFF2-40B4-BE49-F238E27FC236}">
                        <a16:creationId xmlns:a16="http://schemas.microsoft.com/office/drawing/2014/main" xmlns="" id="{75AA89CA-73DF-4D3C-9D3A-FF3F9D0BDEC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08" y="1521"/>
                    <a:ext cx="96" cy="98"/>
                  </a:xfrm>
                  <a:custGeom>
                    <a:avLst/>
                    <a:gdLst>
                      <a:gd name="T0" fmla="*/ 2 w 40"/>
                      <a:gd name="T1" fmla="*/ 3 h 41"/>
                      <a:gd name="T2" fmla="*/ 2 w 40"/>
                      <a:gd name="T3" fmla="*/ 3 h 41"/>
                      <a:gd name="T4" fmla="*/ 10 w 40"/>
                      <a:gd name="T5" fmla="*/ 1 h 41"/>
                      <a:gd name="T6" fmla="*/ 36 w 40"/>
                      <a:gd name="T7" fmla="*/ 30 h 41"/>
                      <a:gd name="T8" fmla="*/ 39 w 40"/>
                      <a:gd name="T9" fmla="*/ 37 h 41"/>
                      <a:gd name="T10" fmla="*/ 33 w 40"/>
                      <a:gd name="T11" fmla="*/ 40 h 41"/>
                      <a:gd name="T12" fmla="*/ 3 w 40"/>
                      <a:gd name="T13" fmla="*/ 10 h 41"/>
                      <a:gd name="T14" fmla="*/ 2 w 40"/>
                      <a:gd name="T15" fmla="*/ 3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40" h="41">
                        <a:moveTo>
                          <a:pt x="2" y="3"/>
                        </a:moveTo>
                        <a:cubicBezTo>
                          <a:pt x="2" y="3"/>
                          <a:pt x="2" y="3"/>
                          <a:pt x="2" y="3"/>
                        </a:cubicBezTo>
                        <a:cubicBezTo>
                          <a:pt x="4" y="0"/>
                          <a:pt x="7" y="0"/>
                          <a:pt x="10" y="1"/>
                        </a:cubicBezTo>
                        <a:cubicBezTo>
                          <a:pt x="36" y="30"/>
                          <a:pt x="36" y="30"/>
                          <a:pt x="36" y="30"/>
                        </a:cubicBezTo>
                        <a:cubicBezTo>
                          <a:pt x="39" y="32"/>
                          <a:pt x="40" y="35"/>
                          <a:pt x="39" y="37"/>
                        </a:cubicBezTo>
                        <a:cubicBezTo>
                          <a:pt x="38" y="40"/>
                          <a:pt x="36" y="41"/>
                          <a:pt x="33" y="40"/>
                        </a:cubicBezTo>
                        <a:cubicBezTo>
                          <a:pt x="3" y="10"/>
                          <a:pt x="3" y="10"/>
                          <a:pt x="3" y="10"/>
                        </a:cubicBezTo>
                        <a:cubicBezTo>
                          <a:pt x="1" y="9"/>
                          <a:pt x="0" y="5"/>
                          <a:pt x="2" y="3"/>
                        </a:cubicBezTo>
                      </a:path>
                    </a:pathLst>
                  </a:cu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66" name="Freeform 963">
                    <a:extLst>
                      <a:ext uri="{FF2B5EF4-FFF2-40B4-BE49-F238E27FC236}">
                        <a16:creationId xmlns:a16="http://schemas.microsoft.com/office/drawing/2014/main" xmlns="" id="{9C15A9E2-85A7-4C87-A883-919411A2EC4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64" y="1786"/>
                    <a:ext cx="209" cy="172"/>
                  </a:xfrm>
                  <a:custGeom>
                    <a:avLst/>
                    <a:gdLst>
                      <a:gd name="T0" fmla="*/ 161 w 209"/>
                      <a:gd name="T1" fmla="*/ 0 h 172"/>
                      <a:gd name="T2" fmla="*/ 134 w 209"/>
                      <a:gd name="T3" fmla="*/ 48 h 172"/>
                      <a:gd name="T4" fmla="*/ 0 w 209"/>
                      <a:gd name="T5" fmla="*/ 145 h 172"/>
                      <a:gd name="T6" fmla="*/ 15 w 209"/>
                      <a:gd name="T7" fmla="*/ 172 h 172"/>
                      <a:gd name="T8" fmla="*/ 163 w 209"/>
                      <a:gd name="T9" fmla="*/ 79 h 172"/>
                      <a:gd name="T10" fmla="*/ 209 w 209"/>
                      <a:gd name="T11" fmla="*/ 19 h 172"/>
                      <a:gd name="T12" fmla="*/ 161 w 209"/>
                      <a:gd name="T13" fmla="*/ 0 h 1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9" h="172">
                        <a:moveTo>
                          <a:pt x="161" y="0"/>
                        </a:moveTo>
                        <a:lnTo>
                          <a:pt x="134" y="48"/>
                        </a:lnTo>
                        <a:lnTo>
                          <a:pt x="0" y="145"/>
                        </a:lnTo>
                        <a:lnTo>
                          <a:pt x="15" y="172"/>
                        </a:lnTo>
                        <a:lnTo>
                          <a:pt x="163" y="79"/>
                        </a:lnTo>
                        <a:lnTo>
                          <a:pt x="209" y="19"/>
                        </a:lnTo>
                        <a:lnTo>
                          <a:pt x="161" y="0"/>
                        </a:lnTo>
                        <a:close/>
                      </a:path>
                    </a:pathLst>
                  </a:cu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67" name="Freeform 964">
                    <a:extLst>
                      <a:ext uri="{FF2B5EF4-FFF2-40B4-BE49-F238E27FC236}">
                        <a16:creationId xmlns:a16="http://schemas.microsoft.com/office/drawing/2014/main" xmlns="" id="{7963D1FC-186C-4E65-A41A-8AFE8769389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71" y="1762"/>
                    <a:ext cx="89" cy="241"/>
                  </a:xfrm>
                  <a:custGeom>
                    <a:avLst/>
                    <a:gdLst>
                      <a:gd name="T0" fmla="*/ 0 w 89"/>
                      <a:gd name="T1" fmla="*/ 33 h 241"/>
                      <a:gd name="T2" fmla="*/ 31 w 89"/>
                      <a:gd name="T3" fmla="*/ 79 h 241"/>
                      <a:gd name="T4" fmla="*/ 58 w 89"/>
                      <a:gd name="T5" fmla="*/ 241 h 241"/>
                      <a:gd name="T6" fmla="*/ 89 w 89"/>
                      <a:gd name="T7" fmla="*/ 241 h 241"/>
                      <a:gd name="T8" fmla="*/ 72 w 89"/>
                      <a:gd name="T9" fmla="*/ 67 h 241"/>
                      <a:gd name="T10" fmla="*/ 41 w 89"/>
                      <a:gd name="T11" fmla="*/ 0 h 241"/>
                      <a:gd name="T12" fmla="*/ 0 w 89"/>
                      <a:gd name="T13" fmla="*/ 33 h 2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9" h="241">
                        <a:moveTo>
                          <a:pt x="0" y="33"/>
                        </a:moveTo>
                        <a:lnTo>
                          <a:pt x="31" y="79"/>
                        </a:lnTo>
                        <a:lnTo>
                          <a:pt x="58" y="241"/>
                        </a:lnTo>
                        <a:lnTo>
                          <a:pt x="89" y="241"/>
                        </a:lnTo>
                        <a:lnTo>
                          <a:pt x="72" y="67"/>
                        </a:lnTo>
                        <a:lnTo>
                          <a:pt x="41" y="0"/>
                        </a:lnTo>
                        <a:lnTo>
                          <a:pt x="0" y="33"/>
                        </a:lnTo>
                        <a:close/>
                      </a:path>
                    </a:pathLst>
                  </a:cu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68" name="Freeform 965">
                    <a:extLst>
                      <a:ext uri="{FF2B5EF4-FFF2-40B4-BE49-F238E27FC236}">
                        <a16:creationId xmlns:a16="http://schemas.microsoft.com/office/drawing/2014/main" xmlns="" id="{9196045A-73AF-4A2D-BB15-55416C1D50C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78" y="1228"/>
                    <a:ext cx="148" cy="126"/>
                  </a:xfrm>
                  <a:custGeom>
                    <a:avLst/>
                    <a:gdLst>
                      <a:gd name="T0" fmla="*/ 15 w 62"/>
                      <a:gd name="T1" fmla="*/ 53 h 53"/>
                      <a:gd name="T2" fmla="*/ 1 w 62"/>
                      <a:gd name="T3" fmla="*/ 31 h 53"/>
                      <a:gd name="T4" fmla="*/ 32 w 62"/>
                      <a:gd name="T5" fmla="*/ 0 h 53"/>
                      <a:gd name="T6" fmla="*/ 62 w 62"/>
                      <a:gd name="T7" fmla="*/ 31 h 53"/>
                      <a:gd name="T8" fmla="*/ 32 w 62"/>
                      <a:gd name="T9" fmla="*/ 31 h 53"/>
                      <a:gd name="T10" fmla="*/ 15 w 62"/>
                      <a:gd name="T11" fmla="*/ 53 h 5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62" h="53">
                        <a:moveTo>
                          <a:pt x="15" y="53"/>
                        </a:moveTo>
                        <a:cubicBezTo>
                          <a:pt x="7" y="53"/>
                          <a:pt x="2" y="34"/>
                          <a:pt x="1" y="31"/>
                        </a:cubicBezTo>
                        <a:cubicBezTo>
                          <a:pt x="0" y="14"/>
                          <a:pt x="15" y="0"/>
                          <a:pt x="32" y="0"/>
                        </a:cubicBezTo>
                        <a:cubicBezTo>
                          <a:pt x="49" y="0"/>
                          <a:pt x="62" y="14"/>
                          <a:pt x="62" y="31"/>
                        </a:cubicBezTo>
                        <a:cubicBezTo>
                          <a:pt x="32" y="31"/>
                          <a:pt x="32" y="31"/>
                          <a:pt x="32" y="31"/>
                        </a:cubicBezTo>
                        <a:lnTo>
                          <a:pt x="15" y="53"/>
                        </a:lnTo>
                        <a:close/>
                      </a:path>
                    </a:pathLst>
                  </a:custGeom>
                  <a:solidFill>
                    <a:srgbClr val="4D576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69" name="Freeform 968">
                    <a:extLst>
                      <a:ext uri="{FF2B5EF4-FFF2-40B4-BE49-F238E27FC236}">
                        <a16:creationId xmlns:a16="http://schemas.microsoft.com/office/drawing/2014/main" xmlns="" id="{F50AEBD4-C65A-4988-9F9F-D4DA575DF13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25" y="1612"/>
                    <a:ext cx="199" cy="200"/>
                  </a:xfrm>
                  <a:custGeom>
                    <a:avLst/>
                    <a:gdLst>
                      <a:gd name="T0" fmla="*/ 16 w 83"/>
                      <a:gd name="T1" fmla="*/ 0 h 84"/>
                      <a:gd name="T2" fmla="*/ 2 w 83"/>
                      <a:gd name="T3" fmla="*/ 46 h 84"/>
                      <a:gd name="T4" fmla="*/ 0 w 83"/>
                      <a:gd name="T5" fmla="*/ 73 h 84"/>
                      <a:gd name="T6" fmla="*/ 27 w 83"/>
                      <a:gd name="T7" fmla="*/ 84 h 84"/>
                      <a:gd name="T8" fmla="*/ 46 w 83"/>
                      <a:gd name="T9" fmla="*/ 64 h 84"/>
                      <a:gd name="T10" fmla="*/ 62 w 83"/>
                      <a:gd name="T11" fmla="*/ 82 h 84"/>
                      <a:gd name="T12" fmla="*/ 83 w 83"/>
                      <a:gd name="T13" fmla="*/ 61 h 84"/>
                      <a:gd name="T14" fmla="*/ 60 w 83"/>
                      <a:gd name="T15" fmla="*/ 20 h 84"/>
                      <a:gd name="T16" fmla="*/ 16 w 83"/>
                      <a:gd name="T17" fmla="*/ 0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3" h="84">
                        <a:moveTo>
                          <a:pt x="16" y="0"/>
                        </a:moveTo>
                        <a:cubicBezTo>
                          <a:pt x="16" y="0"/>
                          <a:pt x="1" y="24"/>
                          <a:pt x="2" y="46"/>
                        </a:cubicBezTo>
                        <a:cubicBezTo>
                          <a:pt x="3" y="68"/>
                          <a:pt x="0" y="73"/>
                          <a:pt x="0" y="73"/>
                        </a:cubicBezTo>
                        <a:cubicBezTo>
                          <a:pt x="27" y="84"/>
                          <a:pt x="27" y="84"/>
                          <a:pt x="27" y="84"/>
                        </a:cubicBezTo>
                        <a:cubicBezTo>
                          <a:pt x="46" y="64"/>
                          <a:pt x="46" y="64"/>
                          <a:pt x="46" y="64"/>
                        </a:cubicBezTo>
                        <a:cubicBezTo>
                          <a:pt x="62" y="82"/>
                          <a:pt x="62" y="82"/>
                          <a:pt x="62" y="82"/>
                        </a:cubicBezTo>
                        <a:cubicBezTo>
                          <a:pt x="83" y="61"/>
                          <a:pt x="83" y="61"/>
                          <a:pt x="83" y="61"/>
                        </a:cubicBezTo>
                        <a:cubicBezTo>
                          <a:pt x="60" y="20"/>
                          <a:pt x="60" y="20"/>
                          <a:pt x="60" y="20"/>
                        </a:cubicBezTo>
                        <a:cubicBezTo>
                          <a:pt x="60" y="20"/>
                          <a:pt x="16" y="7"/>
                          <a:pt x="16" y="0"/>
                        </a:cubicBezTo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70" name="Freeform 969">
                    <a:extLst>
                      <a:ext uri="{FF2B5EF4-FFF2-40B4-BE49-F238E27FC236}">
                        <a16:creationId xmlns:a16="http://schemas.microsoft.com/office/drawing/2014/main" xmlns="" id="{16DE7E76-7A5D-4E5D-97E0-FE07ED5C36B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029" y="1977"/>
                    <a:ext cx="67" cy="33"/>
                  </a:xfrm>
                  <a:custGeom>
                    <a:avLst/>
                    <a:gdLst>
                      <a:gd name="T0" fmla="*/ 0 w 28"/>
                      <a:gd name="T1" fmla="*/ 14 h 14"/>
                      <a:gd name="T2" fmla="*/ 14 w 28"/>
                      <a:gd name="T3" fmla="*/ 0 h 14"/>
                      <a:gd name="T4" fmla="*/ 28 w 28"/>
                      <a:gd name="T5" fmla="*/ 14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8" h="14">
                        <a:moveTo>
                          <a:pt x="0" y="14"/>
                        </a:moveTo>
                        <a:cubicBezTo>
                          <a:pt x="0" y="7"/>
                          <a:pt x="6" y="0"/>
                          <a:pt x="14" y="0"/>
                        </a:cubicBezTo>
                        <a:cubicBezTo>
                          <a:pt x="22" y="0"/>
                          <a:pt x="28" y="7"/>
                          <a:pt x="28" y="14"/>
                        </a:cubicBezTo>
                      </a:path>
                    </a:pathLst>
                  </a:custGeom>
                  <a:solidFill>
                    <a:schemeClr val="tx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71" name="Freeform 970">
                    <a:extLst>
                      <a:ext uri="{FF2B5EF4-FFF2-40B4-BE49-F238E27FC236}">
                        <a16:creationId xmlns:a16="http://schemas.microsoft.com/office/drawing/2014/main" xmlns="" id="{191ACABA-0792-441F-9494-5FFA0D80C17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57" y="1924"/>
                    <a:ext cx="55" cy="67"/>
                  </a:xfrm>
                  <a:custGeom>
                    <a:avLst/>
                    <a:gdLst>
                      <a:gd name="T0" fmla="*/ 0 w 23"/>
                      <a:gd name="T1" fmla="*/ 4 h 28"/>
                      <a:gd name="T2" fmla="*/ 19 w 23"/>
                      <a:gd name="T3" fmla="*/ 8 h 28"/>
                      <a:gd name="T4" fmla="*/ 15 w 23"/>
                      <a:gd name="T5" fmla="*/ 28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3" h="28">
                        <a:moveTo>
                          <a:pt x="0" y="4"/>
                        </a:moveTo>
                        <a:cubicBezTo>
                          <a:pt x="6" y="0"/>
                          <a:pt x="15" y="2"/>
                          <a:pt x="19" y="8"/>
                        </a:cubicBezTo>
                        <a:cubicBezTo>
                          <a:pt x="23" y="15"/>
                          <a:pt x="21" y="24"/>
                          <a:pt x="15" y="28"/>
                        </a:cubicBezTo>
                      </a:path>
                    </a:pathLst>
                  </a:custGeom>
                  <a:solidFill>
                    <a:schemeClr val="tx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72" name="Oval 972">
                    <a:extLst>
                      <a:ext uri="{FF2B5EF4-FFF2-40B4-BE49-F238E27FC236}">
                        <a16:creationId xmlns:a16="http://schemas.microsoft.com/office/drawing/2014/main" xmlns="" id="{41F11D8E-60BC-40DE-8CE8-384A7405A7A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065" y="1492"/>
                    <a:ext cx="38" cy="41"/>
                  </a:xfrm>
                  <a:prstGeom prst="ellipse">
                    <a:avLst/>
                  </a:pr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473" name="Oval 973">
                    <a:extLst>
                      <a:ext uri="{FF2B5EF4-FFF2-40B4-BE49-F238E27FC236}">
                        <a16:creationId xmlns:a16="http://schemas.microsoft.com/office/drawing/2014/main" xmlns="" id="{C97A5D16-0F1A-4448-8740-16ADEEF063B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882" y="1583"/>
                    <a:ext cx="41" cy="41"/>
                  </a:xfrm>
                  <a:prstGeom prst="ellipse">
                    <a:avLst/>
                  </a:prstGeom>
                  <a:solidFill>
                    <a:srgbClr val="BEC8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N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</p:grpSp>
            <p:sp>
              <p:nvSpPr>
                <p:cNvPr id="354" name="Ellipse 353">
                  <a:extLst>
                    <a:ext uri="{FF2B5EF4-FFF2-40B4-BE49-F238E27FC236}">
                      <a16:creationId xmlns:a16="http://schemas.microsoft.com/office/drawing/2014/main" xmlns="" id="{EACC42DB-2F46-4508-AEFC-2FCA741BC87F}"/>
                    </a:ext>
                  </a:extLst>
                </p:cNvPr>
                <p:cNvSpPr/>
                <p:nvPr/>
              </p:nvSpPr>
              <p:spPr>
                <a:xfrm>
                  <a:off x="1202560" y="2939866"/>
                  <a:ext cx="49640" cy="80585"/>
                </a:xfrm>
                <a:prstGeom prst="ellipse">
                  <a:avLst/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Headline Light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Träne 763">
                  <a:extLst>
                    <a:ext uri="{FF2B5EF4-FFF2-40B4-BE49-F238E27FC236}">
                      <a16:creationId xmlns:a16="http://schemas.microsoft.com/office/drawing/2014/main" xmlns="" id="{9171542B-F77A-46EF-9F29-C1FA6F1F6593}"/>
                    </a:ext>
                  </a:extLst>
                </p:cNvPr>
                <p:cNvSpPr/>
                <p:nvPr/>
              </p:nvSpPr>
              <p:spPr>
                <a:xfrm rot="10642868">
                  <a:off x="1520429" y="3165354"/>
                  <a:ext cx="291363" cy="308847"/>
                </a:xfrm>
                <a:custGeom>
                  <a:avLst/>
                  <a:gdLst>
                    <a:gd name="connsiteX0" fmla="*/ 0 w 551406"/>
                    <a:gd name="connsiteY0" fmla="*/ 275703 h 551406"/>
                    <a:gd name="connsiteX1" fmla="*/ 275703 w 551406"/>
                    <a:gd name="connsiteY1" fmla="*/ 0 h 551406"/>
                    <a:gd name="connsiteX2" fmla="*/ 551406 w 551406"/>
                    <a:gd name="connsiteY2" fmla="*/ 0 h 551406"/>
                    <a:gd name="connsiteX3" fmla="*/ 551406 w 551406"/>
                    <a:gd name="connsiteY3" fmla="*/ 275703 h 551406"/>
                    <a:gd name="connsiteX4" fmla="*/ 275703 w 551406"/>
                    <a:gd name="connsiteY4" fmla="*/ 551406 h 551406"/>
                    <a:gd name="connsiteX5" fmla="*/ 0 w 551406"/>
                    <a:gd name="connsiteY5" fmla="*/ 275703 h 551406"/>
                    <a:gd name="connsiteX0" fmla="*/ 0 w 599092"/>
                    <a:gd name="connsiteY0" fmla="*/ 359337 h 635040"/>
                    <a:gd name="connsiteX1" fmla="*/ 275703 w 599092"/>
                    <a:gd name="connsiteY1" fmla="*/ 83634 h 635040"/>
                    <a:gd name="connsiteX2" fmla="*/ 599092 w 599092"/>
                    <a:gd name="connsiteY2" fmla="*/ 0 h 635040"/>
                    <a:gd name="connsiteX3" fmla="*/ 551406 w 599092"/>
                    <a:gd name="connsiteY3" fmla="*/ 359337 h 635040"/>
                    <a:gd name="connsiteX4" fmla="*/ 275703 w 599092"/>
                    <a:gd name="connsiteY4" fmla="*/ 635040 h 635040"/>
                    <a:gd name="connsiteX5" fmla="*/ 0 w 599092"/>
                    <a:gd name="connsiteY5" fmla="*/ 359337 h 635040"/>
                    <a:gd name="connsiteX0" fmla="*/ 0 w 599092"/>
                    <a:gd name="connsiteY0" fmla="*/ 359337 h 635040"/>
                    <a:gd name="connsiteX1" fmla="*/ 275703 w 599092"/>
                    <a:gd name="connsiteY1" fmla="*/ 83634 h 635040"/>
                    <a:gd name="connsiteX2" fmla="*/ 599092 w 599092"/>
                    <a:gd name="connsiteY2" fmla="*/ 0 h 635040"/>
                    <a:gd name="connsiteX3" fmla="*/ 551406 w 599092"/>
                    <a:gd name="connsiteY3" fmla="*/ 359337 h 635040"/>
                    <a:gd name="connsiteX4" fmla="*/ 275703 w 599092"/>
                    <a:gd name="connsiteY4" fmla="*/ 635040 h 635040"/>
                    <a:gd name="connsiteX5" fmla="*/ 0 w 599092"/>
                    <a:gd name="connsiteY5" fmla="*/ 359337 h 635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99092" h="635040">
                      <a:moveTo>
                        <a:pt x="0" y="359337"/>
                      </a:moveTo>
                      <a:cubicBezTo>
                        <a:pt x="0" y="207070"/>
                        <a:pt x="123436" y="83634"/>
                        <a:pt x="275703" y="83634"/>
                      </a:cubicBezTo>
                      <a:lnTo>
                        <a:pt x="599092" y="0"/>
                      </a:lnTo>
                      <a:lnTo>
                        <a:pt x="551406" y="359337"/>
                      </a:lnTo>
                      <a:cubicBezTo>
                        <a:pt x="551406" y="511604"/>
                        <a:pt x="427970" y="635040"/>
                        <a:pt x="275703" y="635040"/>
                      </a:cubicBezTo>
                      <a:cubicBezTo>
                        <a:pt x="123436" y="635040"/>
                        <a:pt x="0" y="511604"/>
                        <a:pt x="0" y="35933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Headline Light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Träne 763">
                  <a:extLst>
                    <a:ext uri="{FF2B5EF4-FFF2-40B4-BE49-F238E27FC236}">
                      <a16:creationId xmlns:a16="http://schemas.microsoft.com/office/drawing/2014/main" xmlns="" id="{872A19FA-4AA6-4C9A-A2E2-A021A125360A}"/>
                    </a:ext>
                  </a:extLst>
                </p:cNvPr>
                <p:cNvSpPr/>
                <p:nvPr/>
              </p:nvSpPr>
              <p:spPr>
                <a:xfrm rot="10642868">
                  <a:off x="1532871" y="3181434"/>
                  <a:ext cx="263879" cy="279714"/>
                </a:xfrm>
                <a:custGeom>
                  <a:avLst/>
                  <a:gdLst>
                    <a:gd name="connsiteX0" fmla="*/ 0 w 551406"/>
                    <a:gd name="connsiteY0" fmla="*/ 275703 h 551406"/>
                    <a:gd name="connsiteX1" fmla="*/ 275703 w 551406"/>
                    <a:gd name="connsiteY1" fmla="*/ 0 h 551406"/>
                    <a:gd name="connsiteX2" fmla="*/ 551406 w 551406"/>
                    <a:gd name="connsiteY2" fmla="*/ 0 h 551406"/>
                    <a:gd name="connsiteX3" fmla="*/ 551406 w 551406"/>
                    <a:gd name="connsiteY3" fmla="*/ 275703 h 551406"/>
                    <a:gd name="connsiteX4" fmla="*/ 275703 w 551406"/>
                    <a:gd name="connsiteY4" fmla="*/ 551406 h 551406"/>
                    <a:gd name="connsiteX5" fmla="*/ 0 w 551406"/>
                    <a:gd name="connsiteY5" fmla="*/ 275703 h 551406"/>
                    <a:gd name="connsiteX0" fmla="*/ 0 w 599092"/>
                    <a:gd name="connsiteY0" fmla="*/ 359337 h 635040"/>
                    <a:gd name="connsiteX1" fmla="*/ 275703 w 599092"/>
                    <a:gd name="connsiteY1" fmla="*/ 83634 h 635040"/>
                    <a:gd name="connsiteX2" fmla="*/ 599092 w 599092"/>
                    <a:gd name="connsiteY2" fmla="*/ 0 h 635040"/>
                    <a:gd name="connsiteX3" fmla="*/ 551406 w 599092"/>
                    <a:gd name="connsiteY3" fmla="*/ 359337 h 635040"/>
                    <a:gd name="connsiteX4" fmla="*/ 275703 w 599092"/>
                    <a:gd name="connsiteY4" fmla="*/ 635040 h 635040"/>
                    <a:gd name="connsiteX5" fmla="*/ 0 w 599092"/>
                    <a:gd name="connsiteY5" fmla="*/ 359337 h 635040"/>
                    <a:gd name="connsiteX0" fmla="*/ 0 w 599092"/>
                    <a:gd name="connsiteY0" fmla="*/ 359337 h 635040"/>
                    <a:gd name="connsiteX1" fmla="*/ 275703 w 599092"/>
                    <a:gd name="connsiteY1" fmla="*/ 83634 h 635040"/>
                    <a:gd name="connsiteX2" fmla="*/ 599092 w 599092"/>
                    <a:gd name="connsiteY2" fmla="*/ 0 h 635040"/>
                    <a:gd name="connsiteX3" fmla="*/ 551406 w 599092"/>
                    <a:gd name="connsiteY3" fmla="*/ 359337 h 635040"/>
                    <a:gd name="connsiteX4" fmla="*/ 275703 w 599092"/>
                    <a:gd name="connsiteY4" fmla="*/ 635040 h 635040"/>
                    <a:gd name="connsiteX5" fmla="*/ 0 w 599092"/>
                    <a:gd name="connsiteY5" fmla="*/ 359337 h 635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99092" h="635040">
                      <a:moveTo>
                        <a:pt x="0" y="359337"/>
                      </a:moveTo>
                      <a:cubicBezTo>
                        <a:pt x="0" y="207070"/>
                        <a:pt x="123436" y="83634"/>
                        <a:pt x="275703" y="83634"/>
                      </a:cubicBezTo>
                      <a:lnTo>
                        <a:pt x="599092" y="0"/>
                      </a:lnTo>
                      <a:lnTo>
                        <a:pt x="551406" y="359337"/>
                      </a:lnTo>
                      <a:cubicBezTo>
                        <a:pt x="551406" y="511604"/>
                        <a:pt x="427970" y="635040"/>
                        <a:pt x="275703" y="635040"/>
                      </a:cubicBezTo>
                      <a:cubicBezTo>
                        <a:pt x="123436" y="635040"/>
                        <a:pt x="0" y="511604"/>
                        <a:pt x="0" y="359337"/>
                      </a:cubicBez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  <a:alpha val="3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Headline Light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Freeform 880">
                  <a:extLst>
                    <a:ext uri="{FF2B5EF4-FFF2-40B4-BE49-F238E27FC236}">
                      <a16:creationId xmlns:a16="http://schemas.microsoft.com/office/drawing/2014/main" xmlns="" id="{601BCB46-E47E-40DE-803E-8FB0EC27FE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9043" y="3503209"/>
                  <a:ext cx="40996" cy="44184"/>
                </a:xfrm>
                <a:custGeom>
                  <a:avLst/>
                  <a:gdLst>
                    <a:gd name="T0" fmla="*/ 35 w 37"/>
                    <a:gd name="T1" fmla="*/ 38 h 41"/>
                    <a:gd name="T2" fmla="*/ 35 w 37"/>
                    <a:gd name="T3" fmla="*/ 38 h 41"/>
                    <a:gd name="T4" fmla="*/ 28 w 37"/>
                    <a:gd name="T5" fmla="*/ 39 h 41"/>
                    <a:gd name="T6" fmla="*/ 2 w 37"/>
                    <a:gd name="T7" fmla="*/ 10 h 41"/>
                    <a:gd name="T8" fmla="*/ 1 w 37"/>
                    <a:gd name="T9" fmla="*/ 3 h 41"/>
                    <a:gd name="T10" fmla="*/ 5 w 37"/>
                    <a:gd name="T11" fmla="*/ 2 h 41"/>
                    <a:gd name="T12" fmla="*/ 34 w 37"/>
                    <a:gd name="T13" fmla="*/ 31 h 41"/>
                    <a:gd name="T14" fmla="*/ 35 w 37"/>
                    <a:gd name="T15" fmla="*/ 38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7" h="41">
                      <a:moveTo>
                        <a:pt x="35" y="38"/>
                      </a:moveTo>
                      <a:cubicBezTo>
                        <a:pt x="35" y="38"/>
                        <a:pt x="35" y="38"/>
                        <a:pt x="35" y="38"/>
                      </a:cubicBezTo>
                      <a:cubicBezTo>
                        <a:pt x="33" y="40"/>
                        <a:pt x="30" y="41"/>
                        <a:pt x="28" y="39"/>
                      </a:cubicBezTo>
                      <a:cubicBezTo>
                        <a:pt x="2" y="10"/>
                        <a:pt x="2" y="10"/>
                        <a:pt x="2" y="10"/>
                      </a:cubicBezTo>
                      <a:cubicBezTo>
                        <a:pt x="0" y="7"/>
                        <a:pt x="0" y="4"/>
                        <a:pt x="1" y="3"/>
                      </a:cubicBezTo>
                      <a:cubicBezTo>
                        <a:pt x="1" y="0"/>
                        <a:pt x="3" y="0"/>
                        <a:pt x="5" y="2"/>
                      </a:cubicBezTo>
                      <a:cubicBezTo>
                        <a:pt x="34" y="31"/>
                        <a:pt x="34" y="31"/>
                        <a:pt x="34" y="31"/>
                      </a:cubicBezTo>
                      <a:cubicBezTo>
                        <a:pt x="36" y="33"/>
                        <a:pt x="37" y="36"/>
                        <a:pt x="35" y="38"/>
                      </a:cubicBezTo>
                    </a:path>
                  </a:pathLst>
                </a:cu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58" name="Rectangle 881">
                  <a:extLst>
                    <a:ext uri="{FF2B5EF4-FFF2-40B4-BE49-F238E27FC236}">
                      <a16:creationId xmlns:a16="http://schemas.microsoft.com/office/drawing/2014/main" xmlns="" id="{9A8F6ECF-4576-4FAC-9138-BA907D96D8B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7369" y="3469501"/>
                  <a:ext cx="20043" cy="14120"/>
                </a:xfrm>
                <a:prstGeom prst="rect">
                  <a:avLst/>
                </a:pr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59" name="Freeform 882">
                  <a:extLst>
                    <a:ext uri="{FF2B5EF4-FFF2-40B4-BE49-F238E27FC236}">
                      <a16:creationId xmlns:a16="http://schemas.microsoft.com/office/drawing/2014/main" xmlns="" id="{3B15A965-23B8-4CCB-A0C4-9558044DF7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9604" y="3602964"/>
                  <a:ext cx="60583" cy="205887"/>
                </a:xfrm>
                <a:custGeom>
                  <a:avLst/>
                  <a:gdLst>
                    <a:gd name="T0" fmla="*/ 0 w 55"/>
                    <a:gd name="T1" fmla="*/ 10 h 190"/>
                    <a:gd name="T2" fmla="*/ 11 w 55"/>
                    <a:gd name="T3" fmla="*/ 186 h 190"/>
                    <a:gd name="T4" fmla="*/ 24 w 55"/>
                    <a:gd name="T5" fmla="*/ 185 h 190"/>
                    <a:gd name="T6" fmla="*/ 24 w 55"/>
                    <a:gd name="T7" fmla="*/ 38 h 190"/>
                    <a:gd name="T8" fmla="*/ 34 w 55"/>
                    <a:gd name="T9" fmla="*/ 54 h 190"/>
                    <a:gd name="T10" fmla="*/ 30 w 55"/>
                    <a:gd name="T11" fmla="*/ 188 h 190"/>
                    <a:gd name="T12" fmla="*/ 43 w 55"/>
                    <a:gd name="T13" fmla="*/ 190 h 190"/>
                    <a:gd name="T14" fmla="*/ 55 w 55"/>
                    <a:gd name="T15" fmla="*/ 0 h 190"/>
                    <a:gd name="T16" fmla="*/ 0 w 55"/>
                    <a:gd name="T17" fmla="*/ 1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5" h="190">
                      <a:moveTo>
                        <a:pt x="0" y="10"/>
                      </a:moveTo>
                      <a:cubicBezTo>
                        <a:pt x="0" y="10"/>
                        <a:pt x="5" y="172"/>
                        <a:pt x="11" y="186"/>
                      </a:cubicBezTo>
                      <a:cubicBezTo>
                        <a:pt x="24" y="185"/>
                        <a:pt x="24" y="185"/>
                        <a:pt x="24" y="185"/>
                      </a:cubicBezTo>
                      <a:cubicBezTo>
                        <a:pt x="24" y="185"/>
                        <a:pt x="16" y="40"/>
                        <a:pt x="24" y="38"/>
                      </a:cubicBezTo>
                      <a:cubicBezTo>
                        <a:pt x="32" y="36"/>
                        <a:pt x="34" y="36"/>
                        <a:pt x="34" y="54"/>
                      </a:cubicBezTo>
                      <a:cubicBezTo>
                        <a:pt x="34" y="72"/>
                        <a:pt x="30" y="188"/>
                        <a:pt x="30" y="188"/>
                      </a:cubicBezTo>
                      <a:cubicBezTo>
                        <a:pt x="43" y="190"/>
                        <a:pt x="43" y="190"/>
                        <a:pt x="43" y="190"/>
                      </a:cubicBezTo>
                      <a:cubicBezTo>
                        <a:pt x="55" y="0"/>
                        <a:pt x="55" y="0"/>
                        <a:pt x="55" y="0"/>
                      </a:cubicBezTo>
                      <a:lnTo>
                        <a:pt x="0" y="10"/>
                      </a:lnTo>
                      <a:close/>
                    </a:path>
                  </a:pathLst>
                </a:custGeom>
                <a:solidFill>
                  <a:srgbClr val="BBBD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60" name="Freeform 883">
                  <a:extLst>
                    <a:ext uri="{FF2B5EF4-FFF2-40B4-BE49-F238E27FC236}">
                      <a16:creationId xmlns:a16="http://schemas.microsoft.com/office/drawing/2014/main" xmlns="" id="{4600CFB8-2AB7-43F9-A6E3-D7CCA9875B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6416" y="3480433"/>
                  <a:ext cx="65138" cy="135285"/>
                </a:xfrm>
                <a:custGeom>
                  <a:avLst/>
                  <a:gdLst>
                    <a:gd name="T0" fmla="*/ 0 w 59"/>
                    <a:gd name="T1" fmla="*/ 125 h 125"/>
                    <a:gd name="T2" fmla="*/ 0 w 59"/>
                    <a:gd name="T3" fmla="*/ 40 h 125"/>
                    <a:gd name="T4" fmla="*/ 30 w 59"/>
                    <a:gd name="T5" fmla="*/ 0 h 125"/>
                    <a:gd name="T6" fmla="*/ 59 w 59"/>
                    <a:gd name="T7" fmla="*/ 29 h 125"/>
                    <a:gd name="T8" fmla="*/ 59 w 59"/>
                    <a:gd name="T9" fmla="*/ 125 h 125"/>
                    <a:gd name="T10" fmla="*/ 0 w 59"/>
                    <a:gd name="T11" fmla="*/ 125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9" h="125">
                      <a:moveTo>
                        <a:pt x="0" y="125"/>
                      </a:move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23"/>
                        <a:pt x="13" y="0"/>
                        <a:pt x="30" y="0"/>
                      </a:cubicBezTo>
                      <a:cubicBezTo>
                        <a:pt x="46" y="0"/>
                        <a:pt x="59" y="13"/>
                        <a:pt x="59" y="29"/>
                      </a:cubicBezTo>
                      <a:cubicBezTo>
                        <a:pt x="59" y="125"/>
                        <a:pt x="59" y="125"/>
                        <a:pt x="59" y="125"/>
                      </a:cubicBezTo>
                      <a:lnTo>
                        <a:pt x="0" y="125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61" name="Oval 884">
                  <a:extLst>
                    <a:ext uri="{FF2B5EF4-FFF2-40B4-BE49-F238E27FC236}">
                      <a16:creationId xmlns:a16="http://schemas.microsoft.com/office/drawing/2014/main" xmlns="" id="{1C9A7F7D-ED6B-4FCE-B7A7-C365FDC31A3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8694" y="3413930"/>
                  <a:ext cx="65138" cy="63315"/>
                </a:xfrm>
                <a:prstGeom prst="ellipse">
                  <a:avLst/>
                </a:pr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62" name="Freeform 886">
                  <a:extLst>
                    <a:ext uri="{FF2B5EF4-FFF2-40B4-BE49-F238E27FC236}">
                      <a16:creationId xmlns:a16="http://schemas.microsoft.com/office/drawing/2014/main" xmlns="" id="{E9AD606B-790D-459B-B72D-CEFE20FA9F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0289071">
                  <a:off x="699022" y="3528261"/>
                  <a:ext cx="36441" cy="47828"/>
                </a:xfrm>
                <a:custGeom>
                  <a:avLst/>
                  <a:gdLst>
                    <a:gd name="T0" fmla="*/ 31 w 33"/>
                    <a:gd name="T1" fmla="*/ 42 h 44"/>
                    <a:gd name="T2" fmla="*/ 31 w 33"/>
                    <a:gd name="T3" fmla="*/ 42 h 44"/>
                    <a:gd name="T4" fmla="*/ 24 w 33"/>
                    <a:gd name="T5" fmla="*/ 42 h 44"/>
                    <a:gd name="T6" fmla="*/ 2 w 33"/>
                    <a:gd name="T7" fmla="*/ 10 h 44"/>
                    <a:gd name="T8" fmla="*/ 2 w 33"/>
                    <a:gd name="T9" fmla="*/ 2 h 44"/>
                    <a:gd name="T10" fmla="*/ 6 w 33"/>
                    <a:gd name="T11" fmla="*/ 2 h 44"/>
                    <a:gd name="T12" fmla="*/ 31 w 33"/>
                    <a:gd name="T13" fmla="*/ 35 h 44"/>
                    <a:gd name="T14" fmla="*/ 31 w 33"/>
                    <a:gd name="T15" fmla="*/ 42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3" h="44">
                      <a:moveTo>
                        <a:pt x="31" y="42"/>
                      </a:moveTo>
                      <a:cubicBezTo>
                        <a:pt x="31" y="42"/>
                        <a:pt x="31" y="42"/>
                        <a:pt x="31" y="42"/>
                      </a:cubicBezTo>
                      <a:cubicBezTo>
                        <a:pt x="29" y="44"/>
                        <a:pt x="26" y="44"/>
                        <a:pt x="24" y="42"/>
                      </a:cubicBezTo>
                      <a:cubicBezTo>
                        <a:pt x="2" y="10"/>
                        <a:pt x="2" y="10"/>
                        <a:pt x="2" y="10"/>
                      </a:cubicBezTo>
                      <a:cubicBezTo>
                        <a:pt x="0" y="7"/>
                        <a:pt x="1" y="3"/>
                        <a:pt x="2" y="2"/>
                      </a:cubicBezTo>
                      <a:cubicBezTo>
                        <a:pt x="3" y="0"/>
                        <a:pt x="4" y="0"/>
                        <a:pt x="6" y="2"/>
                      </a:cubicBezTo>
                      <a:cubicBezTo>
                        <a:pt x="31" y="35"/>
                        <a:pt x="31" y="35"/>
                        <a:pt x="31" y="35"/>
                      </a:cubicBezTo>
                      <a:cubicBezTo>
                        <a:pt x="33" y="37"/>
                        <a:pt x="33" y="40"/>
                        <a:pt x="31" y="42"/>
                      </a:cubicBezTo>
                    </a:path>
                  </a:pathLst>
                </a:cu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63" name="Freeform 887">
                  <a:extLst>
                    <a:ext uri="{FF2B5EF4-FFF2-40B4-BE49-F238E27FC236}">
                      <a16:creationId xmlns:a16="http://schemas.microsoft.com/office/drawing/2014/main" xmlns="" id="{A8F3B0AA-E584-45B3-8533-B37968F783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7782" y="3406642"/>
                  <a:ext cx="67871" cy="60582"/>
                </a:xfrm>
                <a:custGeom>
                  <a:avLst/>
                  <a:gdLst>
                    <a:gd name="T0" fmla="*/ 62 w 62"/>
                    <a:gd name="T1" fmla="*/ 56 h 56"/>
                    <a:gd name="T2" fmla="*/ 62 w 62"/>
                    <a:gd name="T3" fmla="*/ 29 h 56"/>
                    <a:gd name="T4" fmla="*/ 62 w 62"/>
                    <a:gd name="T5" fmla="*/ 29 h 56"/>
                    <a:gd name="T6" fmla="*/ 31 w 62"/>
                    <a:gd name="T7" fmla="*/ 0 h 56"/>
                    <a:gd name="T8" fmla="*/ 0 w 62"/>
                    <a:gd name="T9" fmla="*/ 30 h 56"/>
                    <a:gd name="T10" fmla="*/ 1 w 62"/>
                    <a:gd name="T11" fmla="*/ 35 h 56"/>
                    <a:gd name="T12" fmla="*/ 2 w 62"/>
                    <a:gd name="T13" fmla="*/ 35 h 56"/>
                    <a:gd name="T14" fmla="*/ 24 w 62"/>
                    <a:gd name="T15" fmla="*/ 55 h 56"/>
                    <a:gd name="T16" fmla="*/ 62 w 62"/>
                    <a:gd name="T17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2" h="56">
                      <a:moveTo>
                        <a:pt x="62" y="56"/>
                      </a:moveTo>
                      <a:cubicBezTo>
                        <a:pt x="62" y="29"/>
                        <a:pt x="62" y="29"/>
                        <a:pt x="62" y="29"/>
                      </a:cubicBezTo>
                      <a:cubicBezTo>
                        <a:pt x="62" y="29"/>
                        <a:pt x="62" y="29"/>
                        <a:pt x="62" y="29"/>
                      </a:cubicBezTo>
                      <a:cubicBezTo>
                        <a:pt x="61" y="13"/>
                        <a:pt x="47" y="0"/>
                        <a:pt x="31" y="0"/>
                      </a:cubicBezTo>
                      <a:cubicBezTo>
                        <a:pt x="14" y="0"/>
                        <a:pt x="0" y="13"/>
                        <a:pt x="0" y="30"/>
                      </a:cubicBezTo>
                      <a:cubicBezTo>
                        <a:pt x="0" y="32"/>
                        <a:pt x="0" y="34"/>
                        <a:pt x="1" y="35"/>
                      </a:cubicBezTo>
                      <a:cubicBezTo>
                        <a:pt x="1" y="35"/>
                        <a:pt x="1" y="35"/>
                        <a:pt x="2" y="35"/>
                      </a:cubicBezTo>
                      <a:cubicBezTo>
                        <a:pt x="11" y="35"/>
                        <a:pt x="24" y="45"/>
                        <a:pt x="24" y="55"/>
                      </a:cubicBezTo>
                      <a:lnTo>
                        <a:pt x="62" y="56"/>
                      </a:lnTo>
                      <a:close/>
                    </a:path>
                  </a:pathLst>
                </a:custGeom>
                <a:solidFill>
                  <a:srgbClr val="BBBDB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64" name="Freeform 888">
                  <a:extLst>
                    <a:ext uri="{FF2B5EF4-FFF2-40B4-BE49-F238E27FC236}">
                      <a16:creationId xmlns:a16="http://schemas.microsoft.com/office/drawing/2014/main" xmlns="" id="{0B7FADDA-8AA7-45F2-8F0C-2EEB0E3523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7719" y="3482255"/>
                  <a:ext cx="71515" cy="91101"/>
                </a:xfrm>
                <a:custGeom>
                  <a:avLst/>
                  <a:gdLst>
                    <a:gd name="T0" fmla="*/ 0 w 65"/>
                    <a:gd name="T1" fmla="*/ 72 h 84"/>
                    <a:gd name="T2" fmla="*/ 40 w 65"/>
                    <a:gd name="T3" fmla="*/ 7 h 84"/>
                    <a:gd name="T4" fmla="*/ 9 w 65"/>
                    <a:gd name="T5" fmla="*/ 80 h 84"/>
                    <a:gd name="T6" fmla="*/ 0 w 65"/>
                    <a:gd name="T7" fmla="*/ 72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5" h="84">
                      <a:moveTo>
                        <a:pt x="0" y="72"/>
                      </a:moveTo>
                      <a:cubicBezTo>
                        <a:pt x="0" y="72"/>
                        <a:pt x="27" y="10"/>
                        <a:pt x="40" y="7"/>
                      </a:cubicBezTo>
                      <a:cubicBezTo>
                        <a:pt x="65" y="0"/>
                        <a:pt x="16" y="77"/>
                        <a:pt x="9" y="80"/>
                      </a:cubicBezTo>
                      <a:cubicBezTo>
                        <a:pt x="3" y="84"/>
                        <a:pt x="0" y="72"/>
                        <a:pt x="0" y="72"/>
                      </a:cubicBezTo>
                    </a:path>
                  </a:pathLst>
                </a:cu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65" name="Freeform 889">
                  <a:extLst>
                    <a:ext uri="{FF2B5EF4-FFF2-40B4-BE49-F238E27FC236}">
                      <a16:creationId xmlns:a16="http://schemas.microsoft.com/office/drawing/2014/main" xmlns="" id="{653DEF57-35A0-4F1F-ACBA-57922BC1F0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9043" y="3507308"/>
                  <a:ext cx="10932" cy="7744"/>
                </a:xfrm>
                <a:custGeom>
                  <a:avLst/>
                  <a:gdLst>
                    <a:gd name="T0" fmla="*/ 6 w 10"/>
                    <a:gd name="T1" fmla="*/ 2 h 7"/>
                    <a:gd name="T2" fmla="*/ 9 w 10"/>
                    <a:gd name="T3" fmla="*/ 6 h 7"/>
                    <a:gd name="T4" fmla="*/ 4 w 10"/>
                    <a:gd name="T5" fmla="*/ 5 h 7"/>
                    <a:gd name="T6" fmla="*/ 1 w 10"/>
                    <a:gd name="T7" fmla="*/ 1 h 7"/>
                    <a:gd name="T8" fmla="*/ 6 w 10"/>
                    <a:gd name="T9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7">
                      <a:moveTo>
                        <a:pt x="6" y="2"/>
                      </a:moveTo>
                      <a:cubicBezTo>
                        <a:pt x="8" y="3"/>
                        <a:pt x="10" y="5"/>
                        <a:pt x="9" y="6"/>
                      </a:cubicBezTo>
                      <a:cubicBezTo>
                        <a:pt x="9" y="7"/>
                        <a:pt x="7" y="7"/>
                        <a:pt x="4" y="5"/>
                      </a:cubicBezTo>
                      <a:cubicBezTo>
                        <a:pt x="2" y="4"/>
                        <a:pt x="0" y="2"/>
                        <a:pt x="1" y="1"/>
                      </a:cubicBezTo>
                      <a:cubicBezTo>
                        <a:pt x="1" y="0"/>
                        <a:pt x="4" y="1"/>
                        <a:pt x="6" y="2"/>
                      </a:cubicBezTo>
                    </a:path>
                  </a:pathLst>
                </a:cu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66" name="Freeform 890">
                  <a:extLst>
                    <a:ext uri="{FF2B5EF4-FFF2-40B4-BE49-F238E27FC236}">
                      <a16:creationId xmlns:a16="http://schemas.microsoft.com/office/drawing/2014/main" xmlns="" id="{B1130B34-A323-4C1C-9035-0B922C1AB8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3206" y="3801564"/>
                  <a:ext cx="41907" cy="10476"/>
                </a:xfrm>
                <a:custGeom>
                  <a:avLst/>
                  <a:gdLst>
                    <a:gd name="T0" fmla="*/ 0 w 38"/>
                    <a:gd name="T1" fmla="*/ 10 h 10"/>
                    <a:gd name="T2" fmla="*/ 19 w 38"/>
                    <a:gd name="T3" fmla="*/ 0 h 10"/>
                    <a:gd name="T4" fmla="*/ 38 w 38"/>
                    <a:gd name="T5" fmla="*/ 10 h 10"/>
                    <a:gd name="T6" fmla="*/ 0 w 38"/>
                    <a:gd name="T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8" h="10">
                      <a:moveTo>
                        <a:pt x="0" y="10"/>
                      </a:moveTo>
                      <a:cubicBezTo>
                        <a:pt x="0" y="4"/>
                        <a:pt x="8" y="0"/>
                        <a:pt x="19" y="0"/>
                      </a:cubicBezTo>
                      <a:cubicBezTo>
                        <a:pt x="29" y="0"/>
                        <a:pt x="38" y="4"/>
                        <a:pt x="38" y="10"/>
                      </a:cubicBezTo>
                      <a:lnTo>
                        <a:pt x="0" y="1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67" name="Freeform 891">
                  <a:extLst>
                    <a:ext uri="{FF2B5EF4-FFF2-40B4-BE49-F238E27FC236}">
                      <a16:creationId xmlns:a16="http://schemas.microsoft.com/office/drawing/2014/main" xmlns="" id="{0D443E99-37A6-4289-9614-B15FA27A72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0992" y="3802474"/>
                  <a:ext cx="37352" cy="9566"/>
                </a:xfrm>
                <a:custGeom>
                  <a:avLst/>
                  <a:gdLst>
                    <a:gd name="T0" fmla="*/ 0 w 34"/>
                    <a:gd name="T1" fmla="*/ 9 h 9"/>
                    <a:gd name="T2" fmla="*/ 17 w 34"/>
                    <a:gd name="T3" fmla="*/ 0 h 9"/>
                    <a:gd name="T4" fmla="*/ 34 w 34"/>
                    <a:gd name="T5" fmla="*/ 9 h 9"/>
                    <a:gd name="T6" fmla="*/ 0 w 34"/>
                    <a:gd name="T7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9">
                      <a:moveTo>
                        <a:pt x="0" y="9"/>
                      </a:moveTo>
                      <a:cubicBezTo>
                        <a:pt x="0" y="4"/>
                        <a:pt x="7" y="0"/>
                        <a:pt x="17" y="0"/>
                      </a:cubicBezTo>
                      <a:cubicBezTo>
                        <a:pt x="26" y="0"/>
                        <a:pt x="34" y="4"/>
                        <a:pt x="34" y="9"/>
                      </a:cubicBezTo>
                      <a:lnTo>
                        <a:pt x="0" y="9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68" name="Freeform 892">
                  <a:extLst>
                    <a:ext uri="{FF2B5EF4-FFF2-40B4-BE49-F238E27FC236}">
                      <a16:creationId xmlns:a16="http://schemas.microsoft.com/office/drawing/2014/main" xmlns="" id="{62FE56DB-0163-469C-A645-A84F7B60CF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3206" y="3480433"/>
                  <a:ext cx="59672" cy="61493"/>
                </a:xfrm>
                <a:custGeom>
                  <a:avLst/>
                  <a:gdLst>
                    <a:gd name="T0" fmla="*/ 0 w 54"/>
                    <a:gd name="T1" fmla="*/ 34 h 57"/>
                    <a:gd name="T2" fmla="*/ 21 w 54"/>
                    <a:gd name="T3" fmla="*/ 57 h 57"/>
                    <a:gd name="T4" fmla="*/ 34 w 54"/>
                    <a:gd name="T5" fmla="*/ 2 h 57"/>
                    <a:gd name="T6" fmla="*/ 0 w 54"/>
                    <a:gd name="T7" fmla="*/ 34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" h="57">
                      <a:moveTo>
                        <a:pt x="0" y="34"/>
                      </a:moveTo>
                      <a:cubicBezTo>
                        <a:pt x="21" y="57"/>
                        <a:pt x="21" y="57"/>
                        <a:pt x="21" y="57"/>
                      </a:cubicBezTo>
                      <a:cubicBezTo>
                        <a:pt x="21" y="57"/>
                        <a:pt x="54" y="7"/>
                        <a:pt x="34" y="2"/>
                      </a:cubicBezTo>
                      <a:cubicBezTo>
                        <a:pt x="24" y="0"/>
                        <a:pt x="0" y="34"/>
                        <a:pt x="0" y="34"/>
                      </a:cubicBezTo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69" name="Freeform 889">
                  <a:extLst>
                    <a:ext uri="{FF2B5EF4-FFF2-40B4-BE49-F238E27FC236}">
                      <a16:creationId xmlns:a16="http://schemas.microsoft.com/office/drawing/2014/main" xmlns="" id="{319C4974-E87F-42CB-A230-89515F6205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2189" y="3541015"/>
                  <a:ext cx="10932" cy="7744"/>
                </a:xfrm>
                <a:custGeom>
                  <a:avLst/>
                  <a:gdLst>
                    <a:gd name="T0" fmla="*/ 6 w 10"/>
                    <a:gd name="T1" fmla="*/ 2 h 7"/>
                    <a:gd name="T2" fmla="*/ 9 w 10"/>
                    <a:gd name="T3" fmla="*/ 6 h 7"/>
                    <a:gd name="T4" fmla="*/ 4 w 10"/>
                    <a:gd name="T5" fmla="*/ 5 h 7"/>
                    <a:gd name="T6" fmla="*/ 1 w 10"/>
                    <a:gd name="T7" fmla="*/ 1 h 7"/>
                    <a:gd name="T8" fmla="*/ 6 w 10"/>
                    <a:gd name="T9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7">
                      <a:moveTo>
                        <a:pt x="6" y="2"/>
                      </a:moveTo>
                      <a:cubicBezTo>
                        <a:pt x="8" y="3"/>
                        <a:pt x="10" y="5"/>
                        <a:pt x="9" y="6"/>
                      </a:cubicBezTo>
                      <a:cubicBezTo>
                        <a:pt x="9" y="7"/>
                        <a:pt x="7" y="7"/>
                        <a:pt x="4" y="5"/>
                      </a:cubicBezTo>
                      <a:cubicBezTo>
                        <a:pt x="2" y="4"/>
                        <a:pt x="0" y="2"/>
                        <a:pt x="1" y="1"/>
                      </a:cubicBezTo>
                      <a:cubicBezTo>
                        <a:pt x="1" y="0"/>
                        <a:pt x="4" y="1"/>
                        <a:pt x="6" y="2"/>
                      </a:cubicBezTo>
                    </a:path>
                  </a:pathLst>
                </a:cu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70" name="Freeform 889">
                  <a:extLst>
                    <a:ext uri="{FF2B5EF4-FFF2-40B4-BE49-F238E27FC236}">
                      <a16:creationId xmlns:a16="http://schemas.microsoft.com/office/drawing/2014/main" xmlns="" id="{9A70DE31-49A2-4B68-8108-5D2DA6B95D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556" y="3534639"/>
                  <a:ext cx="10932" cy="7744"/>
                </a:xfrm>
                <a:custGeom>
                  <a:avLst/>
                  <a:gdLst>
                    <a:gd name="T0" fmla="*/ 6 w 10"/>
                    <a:gd name="T1" fmla="*/ 2 h 7"/>
                    <a:gd name="T2" fmla="*/ 9 w 10"/>
                    <a:gd name="T3" fmla="*/ 6 h 7"/>
                    <a:gd name="T4" fmla="*/ 4 w 10"/>
                    <a:gd name="T5" fmla="*/ 5 h 7"/>
                    <a:gd name="T6" fmla="*/ 1 w 10"/>
                    <a:gd name="T7" fmla="*/ 1 h 7"/>
                    <a:gd name="T8" fmla="*/ 6 w 10"/>
                    <a:gd name="T9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7">
                      <a:moveTo>
                        <a:pt x="6" y="2"/>
                      </a:moveTo>
                      <a:cubicBezTo>
                        <a:pt x="8" y="3"/>
                        <a:pt x="10" y="5"/>
                        <a:pt x="9" y="6"/>
                      </a:cubicBezTo>
                      <a:cubicBezTo>
                        <a:pt x="9" y="7"/>
                        <a:pt x="7" y="7"/>
                        <a:pt x="4" y="5"/>
                      </a:cubicBezTo>
                      <a:cubicBezTo>
                        <a:pt x="2" y="4"/>
                        <a:pt x="0" y="2"/>
                        <a:pt x="1" y="1"/>
                      </a:cubicBezTo>
                      <a:cubicBezTo>
                        <a:pt x="1" y="0"/>
                        <a:pt x="4" y="1"/>
                        <a:pt x="6" y="2"/>
                      </a:cubicBezTo>
                    </a:path>
                  </a:pathLst>
                </a:cu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71" name="Freeform 889">
                  <a:extLst>
                    <a:ext uri="{FF2B5EF4-FFF2-40B4-BE49-F238E27FC236}">
                      <a16:creationId xmlns:a16="http://schemas.microsoft.com/office/drawing/2014/main" xmlns="" id="{9DC40E0E-A96C-4011-9ED4-490D6A53EC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1734" y="3533727"/>
                  <a:ext cx="10932" cy="7744"/>
                </a:xfrm>
                <a:custGeom>
                  <a:avLst/>
                  <a:gdLst>
                    <a:gd name="T0" fmla="*/ 6 w 10"/>
                    <a:gd name="T1" fmla="*/ 2 h 7"/>
                    <a:gd name="T2" fmla="*/ 9 w 10"/>
                    <a:gd name="T3" fmla="*/ 6 h 7"/>
                    <a:gd name="T4" fmla="*/ 4 w 10"/>
                    <a:gd name="T5" fmla="*/ 5 h 7"/>
                    <a:gd name="T6" fmla="*/ 1 w 10"/>
                    <a:gd name="T7" fmla="*/ 1 h 7"/>
                    <a:gd name="T8" fmla="*/ 6 w 10"/>
                    <a:gd name="T9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7">
                      <a:moveTo>
                        <a:pt x="6" y="2"/>
                      </a:moveTo>
                      <a:cubicBezTo>
                        <a:pt x="8" y="3"/>
                        <a:pt x="10" y="5"/>
                        <a:pt x="9" y="6"/>
                      </a:cubicBezTo>
                      <a:cubicBezTo>
                        <a:pt x="9" y="7"/>
                        <a:pt x="7" y="7"/>
                        <a:pt x="4" y="5"/>
                      </a:cubicBezTo>
                      <a:cubicBezTo>
                        <a:pt x="2" y="4"/>
                        <a:pt x="0" y="2"/>
                        <a:pt x="1" y="1"/>
                      </a:cubicBezTo>
                      <a:cubicBezTo>
                        <a:pt x="1" y="0"/>
                        <a:pt x="4" y="1"/>
                        <a:pt x="6" y="2"/>
                      </a:cubicBezTo>
                    </a:path>
                  </a:pathLst>
                </a:cu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sp>
              <p:nvSpPr>
                <p:cNvPr id="372" name="Freeform 889">
                  <a:extLst>
                    <a:ext uri="{FF2B5EF4-FFF2-40B4-BE49-F238E27FC236}">
                      <a16:creationId xmlns:a16="http://schemas.microsoft.com/office/drawing/2014/main" xmlns="" id="{09640B70-A30E-4108-8D4B-6FBB1381C6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1734" y="3534183"/>
                  <a:ext cx="10932" cy="7744"/>
                </a:xfrm>
                <a:custGeom>
                  <a:avLst/>
                  <a:gdLst>
                    <a:gd name="T0" fmla="*/ 6 w 10"/>
                    <a:gd name="T1" fmla="*/ 2 h 7"/>
                    <a:gd name="T2" fmla="*/ 9 w 10"/>
                    <a:gd name="T3" fmla="*/ 6 h 7"/>
                    <a:gd name="T4" fmla="*/ 4 w 10"/>
                    <a:gd name="T5" fmla="*/ 5 h 7"/>
                    <a:gd name="T6" fmla="*/ 1 w 10"/>
                    <a:gd name="T7" fmla="*/ 1 h 7"/>
                    <a:gd name="T8" fmla="*/ 6 w 10"/>
                    <a:gd name="T9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7">
                      <a:moveTo>
                        <a:pt x="6" y="2"/>
                      </a:moveTo>
                      <a:cubicBezTo>
                        <a:pt x="8" y="3"/>
                        <a:pt x="10" y="5"/>
                        <a:pt x="9" y="6"/>
                      </a:cubicBezTo>
                      <a:cubicBezTo>
                        <a:pt x="9" y="7"/>
                        <a:pt x="7" y="7"/>
                        <a:pt x="4" y="5"/>
                      </a:cubicBezTo>
                      <a:cubicBezTo>
                        <a:pt x="2" y="4"/>
                        <a:pt x="0" y="2"/>
                        <a:pt x="1" y="1"/>
                      </a:cubicBezTo>
                      <a:cubicBezTo>
                        <a:pt x="1" y="0"/>
                        <a:pt x="4" y="1"/>
                        <a:pt x="6" y="2"/>
                      </a:cubicBezTo>
                    </a:path>
                  </a:pathLst>
                </a:custGeom>
                <a:solidFill>
                  <a:srgbClr val="D9DAD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11" b="0" i="0" u="none" strike="noStrike" kern="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Headline Light"/>
                  </a:endParaRPr>
                </a:p>
              </p:txBody>
            </p:sp>
            <p:grpSp>
              <p:nvGrpSpPr>
                <p:cNvPr id="373" name="Gruppieren 372">
                  <a:extLst>
                    <a:ext uri="{FF2B5EF4-FFF2-40B4-BE49-F238E27FC236}">
                      <a16:creationId xmlns:a16="http://schemas.microsoft.com/office/drawing/2014/main" xmlns="" id="{48CBF5FC-96A3-43C5-8381-7E760FCDDDE9}"/>
                    </a:ext>
                  </a:extLst>
                </p:cNvPr>
                <p:cNvGrpSpPr/>
                <p:nvPr/>
              </p:nvGrpSpPr>
              <p:grpSpPr>
                <a:xfrm>
                  <a:off x="2260520" y="2569928"/>
                  <a:ext cx="296246" cy="946629"/>
                  <a:chOff x="4820148" y="752979"/>
                  <a:chExt cx="658665" cy="2104706"/>
                </a:xfrm>
              </p:grpSpPr>
              <p:sp>
                <p:nvSpPr>
                  <p:cNvPr id="427" name="Rectangle 193">
                    <a:extLst>
                      <a:ext uri="{FF2B5EF4-FFF2-40B4-BE49-F238E27FC236}">
                        <a16:creationId xmlns:a16="http://schemas.microsoft.com/office/drawing/2014/main" xmlns="" id="{EB4DAE1E-86DB-43F6-9AFC-490856E0209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820148" y="752979"/>
                    <a:ext cx="658665" cy="2104706"/>
                  </a:xfrm>
                  <a:custGeom>
                    <a:avLst/>
                    <a:gdLst>
                      <a:gd name="connsiteX0" fmla="*/ 0 w 296246"/>
                      <a:gd name="connsiteY0" fmla="*/ 0 h 946629"/>
                      <a:gd name="connsiteX1" fmla="*/ 296246 w 296246"/>
                      <a:gd name="connsiteY1" fmla="*/ 0 h 946629"/>
                      <a:gd name="connsiteX2" fmla="*/ 296246 w 296246"/>
                      <a:gd name="connsiteY2" fmla="*/ 946629 h 946629"/>
                      <a:gd name="connsiteX3" fmla="*/ 0 w 296246"/>
                      <a:gd name="connsiteY3" fmla="*/ 946629 h 946629"/>
                      <a:gd name="connsiteX4" fmla="*/ 0 w 296246"/>
                      <a:gd name="connsiteY4" fmla="*/ 0 h 946629"/>
                      <a:gd name="connsiteX0" fmla="*/ 0 w 296246"/>
                      <a:gd name="connsiteY0" fmla="*/ 0 h 1032903"/>
                      <a:gd name="connsiteX1" fmla="*/ 296246 w 296246"/>
                      <a:gd name="connsiteY1" fmla="*/ 0 h 1032903"/>
                      <a:gd name="connsiteX2" fmla="*/ 296246 w 296246"/>
                      <a:gd name="connsiteY2" fmla="*/ 946629 h 1032903"/>
                      <a:gd name="connsiteX3" fmla="*/ 54055 w 296246"/>
                      <a:gd name="connsiteY3" fmla="*/ 1032903 h 1032903"/>
                      <a:gd name="connsiteX4" fmla="*/ 0 w 296246"/>
                      <a:gd name="connsiteY4" fmla="*/ 946629 h 1032903"/>
                      <a:gd name="connsiteX5" fmla="*/ 0 w 296246"/>
                      <a:gd name="connsiteY5" fmla="*/ 0 h 1032903"/>
                      <a:gd name="connsiteX0" fmla="*/ 0 w 296246"/>
                      <a:gd name="connsiteY0" fmla="*/ 0 h 1115449"/>
                      <a:gd name="connsiteX1" fmla="*/ 296246 w 296246"/>
                      <a:gd name="connsiteY1" fmla="*/ 0 h 1115449"/>
                      <a:gd name="connsiteX2" fmla="*/ 296246 w 296246"/>
                      <a:gd name="connsiteY2" fmla="*/ 946629 h 1115449"/>
                      <a:gd name="connsiteX3" fmla="*/ 251699 w 296246"/>
                      <a:gd name="connsiteY3" fmla="*/ 1113866 h 1115449"/>
                      <a:gd name="connsiteX4" fmla="*/ 54055 w 296246"/>
                      <a:gd name="connsiteY4" fmla="*/ 1032903 h 1115449"/>
                      <a:gd name="connsiteX5" fmla="*/ 0 w 296246"/>
                      <a:gd name="connsiteY5" fmla="*/ 946629 h 1115449"/>
                      <a:gd name="connsiteX6" fmla="*/ 0 w 296246"/>
                      <a:gd name="connsiteY6" fmla="*/ 0 h 1115449"/>
                      <a:gd name="connsiteX0" fmla="*/ 54055 w 343139"/>
                      <a:gd name="connsiteY0" fmla="*/ 1032903 h 1205306"/>
                      <a:gd name="connsiteX1" fmla="*/ 0 w 343139"/>
                      <a:gd name="connsiteY1" fmla="*/ 946629 h 1205306"/>
                      <a:gd name="connsiteX2" fmla="*/ 0 w 343139"/>
                      <a:gd name="connsiteY2" fmla="*/ 0 h 1205306"/>
                      <a:gd name="connsiteX3" fmla="*/ 296246 w 343139"/>
                      <a:gd name="connsiteY3" fmla="*/ 0 h 1205306"/>
                      <a:gd name="connsiteX4" fmla="*/ 296246 w 343139"/>
                      <a:gd name="connsiteY4" fmla="*/ 946629 h 1205306"/>
                      <a:gd name="connsiteX5" fmla="*/ 343139 w 343139"/>
                      <a:gd name="connsiteY5" fmla="*/ 1205306 h 1205306"/>
                      <a:gd name="connsiteX0" fmla="*/ 54055 w 296246"/>
                      <a:gd name="connsiteY0" fmla="*/ 1032903 h 1032903"/>
                      <a:gd name="connsiteX1" fmla="*/ 0 w 296246"/>
                      <a:gd name="connsiteY1" fmla="*/ 946629 h 1032903"/>
                      <a:gd name="connsiteX2" fmla="*/ 0 w 296246"/>
                      <a:gd name="connsiteY2" fmla="*/ 0 h 1032903"/>
                      <a:gd name="connsiteX3" fmla="*/ 296246 w 296246"/>
                      <a:gd name="connsiteY3" fmla="*/ 0 h 1032903"/>
                      <a:gd name="connsiteX4" fmla="*/ 296246 w 296246"/>
                      <a:gd name="connsiteY4" fmla="*/ 946629 h 1032903"/>
                      <a:gd name="connsiteX0" fmla="*/ 0 w 296246"/>
                      <a:gd name="connsiteY0" fmla="*/ 946629 h 946629"/>
                      <a:gd name="connsiteX1" fmla="*/ 0 w 296246"/>
                      <a:gd name="connsiteY1" fmla="*/ 0 h 946629"/>
                      <a:gd name="connsiteX2" fmla="*/ 296246 w 296246"/>
                      <a:gd name="connsiteY2" fmla="*/ 0 h 946629"/>
                      <a:gd name="connsiteX3" fmla="*/ 296246 w 296246"/>
                      <a:gd name="connsiteY3" fmla="*/ 946629 h 9466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96246" h="946629">
                        <a:moveTo>
                          <a:pt x="0" y="946629"/>
                        </a:moveTo>
                        <a:lnTo>
                          <a:pt x="0" y="0"/>
                        </a:lnTo>
                        <a:lnTo>
                          <a:pt x="296246" y="0"/>
                        </a:lnTo>
                        <a:lnTo>
                          <a:pt x="296246" y="946629"/>
                        </a:lnTo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grpSp>
                <p:nvGrpSpPr>
                  <p:cNvPr id="428" name="Gruppieren 427">
                    <a:extLst>
                      <a:ext uri="{FF2B5EF4-FFF2-40B4-BE49-F238E27FC236}">
                        <a16:creationId xmlns:a16="http://schemas.microsoft.com/office/drawing/2014/main" xmlns="" id="{1C25103A-A75E-471C-A9B3-5E461282254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927119" y="820064"/>
                    <a:ext cx="483193" cy="114107"/>
                    <a:chOff x="4927119" y="820064"/>
                    <a:chExt cx="483193" cy="114107"/>
                  </a:xfrm>
                </p:grpSpPr>
                <p:sp>
                  <p:nvSpPr>
                    <p:cNvPr id="457" name="Rectangle 220">
                      <a:extLst>
                        <a:ext uri="{FF2B5EF4-FFF2-40B4-BE49-F238E27FC236}">
                          <a16:creationId xmlns:a16="http://schemas.microsoft.com/office/drawing/2014/main" xmlns="" id="{7C38F802-A4A3-4564-8C76-C315A06E7485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927119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58" name="Rectangle 220">
                      <a:extLst>
                        <a:ext uri="{FF2B5EF4-FFF2-40B4-BE49-F238E27FC236}">
                          <a16:creationId xmlns:a16="http://schemas.microsoft.com/office/drawing/2014/main" xmlns="" id="{A8263620-E508-4D48-B529-1374BB4352DE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15929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59" name="Rectangle 220">
                      <a:extLst>
                        <a:ext uri="{FF2B5EF4-FFF2-40B4-BE49-F238E27FC236}">
                          <a16:creationId xmlns:a16="http://schemas.microsoft.com/office/drawing/2014/main" xmlns="" id="{B90ABD28-5863-4A18-8D8B-D8CB3CCF5E95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33282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429" name="Gruppieren 428">
                    <a:extLst>
                      <a:ext uri="{FF2B5EF4-FFF2-40B4-BE49-F238E27FC236}">
                        <a16:creationId xmlns:a16="http://schemas.microsoft.com/office/drawing/2014/main" xmlns="" id="{4CA9E357-D3B1-40FC-98B3-FF9FA8CFE2D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927119" y="1064598"/>
                    <a:ext cx="483193" cy="114107"/>
                    <a:chOff x="4927119" y="820064"/>
                    <a:chExt cx="483193" cy="114107"/>
                  </a:xfrm>
                </p:grpSpPr>
                <p:sp>
                  <p:nvSpPr>
                    <p:cNvPr id="454" name="Rectangle 220">
                      <a:extLst>
                        <a:ext uri="{FF2B5EF4-FFF2-40B4-BE49-F238E27FC236}">
                          <a16:creationId xmlns:a16="http://schemas.microsoft.com/office/drawing/2014/main" xmlns="" id="{88732740-7A30-4A7C-81A0-C90871B233EF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927119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55" name="Rectangle 220">
                      <a:extLst>
                        <a:ext uri="{FF2B5EF4-FFF2-40B4-BE49-F238E27FC236}">
                          <a16:creationId xmlns:a16="http://schemas.microsoft.com/office/drawing/2014/main" xmlns="" id="{1218FCCF-C3CC-4501-8B26-EC8832D92EC9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15929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56" name="Rectangle 220">
                      <a:extLst>
                        <a:ext uri="{FF2B5EF4-FFF2-40B4-BE49-F238E27FC236}">
                          <a16:creationId xmlns:a16="http://schemas.microsoft.com/office/drawing/2014/main" xmlns="" id="{8BDD54AD-4E24-4C71-B9D6-0534D4B8B3DC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33282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430" name="Gruppieren 429">
                    <a:extLst>
                      <a:ext uri="{FF2B5EF4-FFF2-40B4-BE49-F238E27FC236}">
                        <a16:creationId xmlns:a16="http://schemas.microsoft.com/office/drawing/2014/main" xmlns="" id="{F0D289C1-01CD-41DA-8078-C37359F4CD8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927119" y="1309132"/>
                    <a:ext cx="483193" cy="114107"/>
                    <a:chOff x="4927119" y="820064"/>
                    <a:chExt cx="483193" cy="114107"/>
                  </a:xfrm>
                </p:grpSpPr>
                <p:sp>
                  <p:nvSpPr>
                    <p:cNvPr id="451" name="Rectangle 220">
                      <a:extLst>
                        <a:ext uri="{FF2B5EF4-FFF2-40B4-BE49-F238E27FC236}">
                          <a16:creationId xmlns:a16="http://schemas.microsoft.com/office/drawing/2014/main" xmlns="" id="{C98B38CA-B1DE-41F4-8513-9F9ADA603A6F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927119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52" name="Rectangle 220">
                      <a:extLst>
                        <a:ext uri="{FF2B5EF4-FFF2-40B4-BE49-F238E27FC236}">
                          <a16:creationId xmlns:a16="http://schemas.microsoft.com/office/drawing/2014/main" xmlns="" id="{780BC936-6BA8-468C-A983-0B64A9B342F9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15929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53" name="Rectangle 220">
                      <a:extLst>
                        <a:ext uri="{FF2B5EF4-FFF2-40B4-BE49-F238E27FC236}">
                          <a16:creationId xmlns:a16="http://schemas.microsoft.com/office/drawing/2014/main" xmlns="" id="{1AF81913-2FC0-430D-9270-21C27C21CD1E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33282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431" name="Gruppieren 430">
                    <a:extLst>
                      <a:ext uri="{FF2B5EF4-FFF2-40B4-BE49-F238E27FC236}">
                        <a16:creationId xmlns:a16="http://schemas.microsoft.com/office/drawing/2014/main" xmlns="" id="{CDC83F59-828A-46E1-BBA9-FEE37CE8D1A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927119" y="1553666"/>
                    <a:ext cx="483193" cy="114107"/>
                    <a:chOff x="4927119" y="820064"/>
                    <a:chExt cx="483193" cy="114107"/>
                  </a:xfrm>
                </p:grpSpPr>
                <p:sp>
                  <p:nvSpPr>
                    <p:cNvPr id="448" name="Rectangle 220">
                      <a:extLst>
                        <a:ext uri="{FF2B5EF4-FFF2-40B4-BE49-F238E27FC236}">
                          <a16:creationId xmlns:a16="http://schemas.microsoft.com/office/drawing/2014/main" xmlns="" id="{8F518071-E072-40CD-B38B-A167407579F7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927119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49" name="Rectangle 220">
                      <a:extLst>
                        <a:ext uri="{FF2B5EF4-FFF2-40B4-BE49-F238E27FC236}">
                          <a16:creationId xmlns:a16="http://schemas.microsoft.com/office/drawing/2014/main" xmlns="" id="{E04DB150-11D3-46D1-AEE4-2C7335438282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15929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50" name="Rectangle 220">
                      <a:extLst>
                        <a:ext uri="{FF2B5EF4-FFF2-40B4-BE49-F238E27FC236}">
                          <a16:creationId xmlns:a16="http://schemas.microsoft.com/office/drawing/2014/main" xmlns="" id="{8295CA09-C647-4212-A3F0-A41D8D4DC963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33282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432" name="Gruppieren 431">
                    <a:extLst>
                      <a:ext uri="{FF2B5EF4-FFF2-40B4-BE49-F238E27FC236}">
                        <a16:creationId xmlns:a16="http://schemas.microsoft.com/office/drawing/2014/main" xmlns="" id="{BAE1EA79-5CB0-4BB5-82FD-BBFA15371D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927119" y="1798200"/>
                    <a:ext cx="483193" cy="114107"/>
                    <a:chOff x="4927119" y="820064"/>
                    <a:chExt cx="483193" cy="114107"/>
                  </a:xfrm>
                </p:grpSpPr>
                <p:sp>
                  <p:nvSpPr>
                    <p:cNvPr id="445" name="Rectangle 220">
                      <a:extLst>
                        <a:ext uri="{FF2B5EF4-FFF2-40B4-BE49-F238E27FC236}">
                          <a16:creationId xmlns:a16="http://schemas.microsoft.com/office/drawing/2014/main" xmlns="" id="{D0D6775C-B3E3-46B7-8C94-9B354B194F39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927119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46" name="Rectangle 220">
                      <a:extLst>
                        <a:ext uri="{FF2B5EF4-FFF2-40B4-BE49-F238E27FC236}">
                          <a16:creationId xmlns:a16="http://schemas.microsoft.com/office/drawing/2014/main" xmlns="" id="{CE7166B8-0D2F-4D9B-B1E9-41A965E7E23F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15929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47" name="Rectangle 220">
                      <a:extLst>
                        <a:ext uri="{FF2B5EF4-FFF2-40B4-BE49-F238E27FC236}">
                          <a16:creationId xmlns:a16="http://schemas.microsoft.com/office/drawing/2014/main" xmlns="" id="{35BE9DED-2D7D-4F18-B6F6-FD7A6FCFA6D1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33282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433" name="Gruppieren 432">
                    <a:extLst>
                      <a:ext uri="{FF2B5EF4-FFF2-40B4-BE49-F238E27FC236}">
                        <a16:creationId xmlns:a16="http://schemas.microsoft.com/office/drawing/2014/main" xmlns="" id="{4F0B44DD-8BDE-4342-BE0E-BAAD371CB6A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927119" y="2042734"/>
                    <a:ext cx="483193" cy="114107"/>
                    <a:chOff x="4927119" y="820064"/>
                    <a:chExt cx="483193" cy="114107"/>
                  </a:xfrm>
                </p:grpSpPr>
                <p:sp>
                  <p:nvSpPr>
                    <p:cNvPr id="442" name="Rectangle 220">
                      <a:extLst>
                        <a:ext uri="{FF2B5EF4-FFF2-40B4-BE49-F238E27FC236}">
                          <a16:creationId xmlns:a16="http://schemas.microsoft.com/office/drawing/2014/main" xmlns="" id="{C4F922FE-CF10-43CD-88E2-0F10411971A8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927119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43" name="Rectangle 220">
                      <a:extLst>
                        <a:ext uri="{FF2B5EF4-FFF2-40B4-BE49-F238E27FC236}">
                          <a16:creationId xmlns:a16="http://schemas.microsoft.com/office/drawing/2014/main" xmlns="" id="{A8007F04-C429-499D-83FC-C9C26DC97A73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15929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44" name="Rectangle 220">
                      <a:extLst>
                        <a:ext uri="{FF2B5EF4-FFF2-40B4-BE49-F238E27FC236}">
                          <a16:creationId xmlns:a16="http://schemas.microsoft.com/office/drawing/2014/main" xmlns="" id="{FB27C724-B094-4E6E-8AB1-2ABB31ED388C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33282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434" name="Gruppieren 433">
                    <a:extLst>
                      <a:ext uri="{FF2B5EF4-FFF2-40B4-BE49-F238E27FC236}">
                        <a16:creationId xmlns:a16="http://schemas.microsoft.com/office/drawing/2014/main" xmlns="" id="{5A5C63FD-0A38-432A-AC72-16239A75175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927119" y="2287268"/>
                    <a:ext cx="483193" cy="114107"/>
                    <a:chOff x="4927119" y="820064"/>
                    <a:chExt cx="483193" cy="114107"/>
                  </a:xfrm>
                </p:grpSpPr>
                <p:sp>
                  <p:nvSpPr>
                    <p:cNvPr id="439" name="Rectangle 220">
                      <a:extLst>
                        <a:ext uri="{FF2B5EF4-FFF2-40B4-BE49-F238E27FC236}">
                          <a16:creationId xmlns:a16="http://schemas.microsoft.com/office/drawing/2014/main" xmlns="" id="{025318C3-2397-49E3-997A-65D594219D11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927119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40" name="Rectangle 220">
                      <a:extLst>
                        <a:ext uri="{FF2B5EF4-FFF2-40B4-BE49-F238E27FC236}">
                          <a16:creationId xmlns:a16="http://schemas.microsoft.com/office/drawing/2014/main" xmlns="" id="{8B853F7D-5D8D-419A-8273-7D747EBE68AB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15929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41" name="Rectangle 220">
                      <a:extLst>
                        <a:ext uri="{FF2B5EF4-FFF2-40B4-BE49-F238E27FC236}">
                          <a16:creationId xmlns:a16="http://schemas.microsoft.com/office/drawing/2014/main" xmlns="" id="{25A239C6-6B47-4923-8658-C50B2621E1FE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33282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435" name="Gruppieren 434">
                    <a:extLst>
                      <a:ext uri="{FF2B5EF4-FFF2-40B4-BE49-F238E27FC236}">
                        <a16:creationId xmlns:a16="http://schemas.microsoft.com/office/drawing/2014/main" xmlns="" id="{B6F7BEBF-08F4-40E6-9766-B8F888EED80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927119" y="2531799"/>
                    <a:ext cx="483193" cy="114107"/>
                    <a:chOff x="4927119" y="820064"/>
                    <a:chExt cx="483193" cy="114107"/>
                  </a:xfrm>
                </p:grpSpPr>
                <p:sp>
                  <p:nvSpPr>
                    <p:cNvPr id="436" name="Rectangle 220">
                      <a:extLst>
                        <a:ext uri="{FF2B5EF4-FFF2-40B4-BE49-F238E27FC236}">
                          <a16:creationId xmlns:a16="http://schemas.microsoft.com/office/drawing/2014/main" xmlns="" id="{5ED24B4C-B40E-4059-9A38-3FA3F0F39761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927119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37" name="Rectangle 220">
                      <a:extLst>
                        <a:ext uri="{FF2B5EF4-FFF2-40B4-BE49-F238E27FC236}">
                          <a16:creationId xmlns:a16="http://schemas.microsoft.com/office/drawing/2014/main" xmlns="" id="{97208DF1-44C7-48D7-AA82-C5DA28877455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15929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38" name="Rectangle 220">
                      <a:extLst>
                        <a:ext uri="{FF2B5EF4-FFF2-40B4-BE49-F238E27FC236}">
                          <a16:creationId xmlns:a16="http://schemas.microsoft.com/office/drawing/2014/main" xmlns="" id="{D75C2AF0-E89E-44C4-9A00-40D24332F7F9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332822" y="820064"/>
                      <a:ext cx="77490" cy="114107"/>
                    </a:xfrm>
                    <a:custGeom>
                      <a:avLst/>
                      <a:gdLst>
                        <a:gd name="connsiteX0" fmla="*/ 0 w 77490"/>
                        <a:gd name="connsiteY0" fmla="*/ 0 h 114107"/>
                        <a:gd name="connsiteX1" fmla="*/ 77490 w 77490"/>
                        <a:gd name="connsiteY1" fmla="*/ 0 h 114107"/>
                        <a:gd name="connsiteX2" fmla="*/ 77490 w 77490"/>
                        <a:gd name="connsiteY2" fmla="*/ 114107 h 114107"/>
                        <a:gd name="connsiteX3" fmla="*/ 0 w 77490"/>
                        <a:gd name="connsiteY3" fmla="*/ 114107 h 114107"/>
                        <a:gd name="connsiteX4" fmla="*/ 0 w 77490"/>
                        <a:gd name="connsiteY4" fmla="*/ 0 h 114107"/>
                        <a:gd name="connsiteX0" fmla="*/ 0 w 77490"/>
                        <a:gd name="connsiteY0" fmla="*/ 0 h 213406"/>
                        <a:gd name="connsiteX1" fmla="*/ 77490 w 77490"/>
                        <a:gd name="connsiteY1" fmla="*/ 0 h 213406"/>
                        <a:gd name="connsiteX2" fmla="*/ 77490 w 77490"/>
                        <a:gd name="connsiteY2" fmla="*/ 114107 h 213406"/>
                        <a:gd name="connsiteX3" fmla="*/ 23500 w 77490"/>
                        <a:gd name="connsiteY3" fmla="*/ 213399 h 213406"/>
                        <a:gd name="connsiteX4" fmla="*/ 0 w 77490"/>
                        <a:gd name="connsiteY4" fmla="*/ 114107 h 213406"/>
                        <a:gd name="connsiteX5" fmla="*/ 0 w 77490"/>
                        <a:gd name="connsiteY5" fmla="*/ 0 h 213406"/>
                        <a:gd name="connsiteX0" fmla="*/ 23500 w 168930"/>
                        <a:gd name="connsiteY0" fmla="*/ 213399 h 213399"/>
                        <a:gd name="connsiteX1" fmla="*/ 0 w 168930"/>
                        <a:gd name="connsiteY1" fmla="*/ 114107 h 213399"/>
                        <a:gd name="connsiteX2" fmla="*/ 0 w 168930"/>
                        <a:gd name="connsiteY2" fmla="*/ 0 h 213399"/>
                        <a:gd name="connsiteX3" fmla="*/ 77490 w 168930"/>
                        <a:gd name="connsiteY3" fmla="*/ 0 h 213399"/>
                        <a:gd name="connsiteX4" fmla="*/ 168930 w 168930"/>
                        <a:gd name="connsiteY4" fmla="*/ 205547 h 213399"/>
                        <a:gd name="connsiteX0" fmla="*/ 23500 w 77490"/>
                        <a:gd name="connsiteY0" fmla="*/ 213399 h 213399"/>
                        <a:gd name="connsiteX1" fmla="*/ 0 w 77490"/>
                        <a:gd name="connsiteY1" fmla="*/ 114107 h 213399"/>
                        <a:gd name="connsiteX2" fmla="*/ 0 w 77490"/>
                        <a:gd name="connsiteY2" fmla="*/ 0 h 213399"/>
                        <a:gd name="connsiteX3" fmla="*/ 77490 w 77490"/>
                        <a:gd name="connsiteY3" fmla="*/ 0 h 213399"/>
                        <a:gd name="connsiteX0" fmla="*/ 0 w 77490"/>
                        <a:gd name="connsiteY0" fmla="*/ 114107 h 114107"/>
                        <a:gd name="connsiteX1" fmla="*/ 0 w 77490"/>
                        <a:gd name="connsiteY1" fmla="*/ 0 h 114107"/>
                        <a:gd name="connsiteX2" fmla="*/ 77490 w 77490"/>
                        <a:gd name="connsiteY2" fmla="*/ 0 h 1141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77490" h="114107">
                          <a:moveTo>
                            <a:pt x="0" y="114107"/>
                          </a:moveTo>
                          <a:lnTo>
                            <a:pt x="0" y="0"/>
                          </a:lnTo>
                          <a:lnTo>
                            <a:pt x="77490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</p:grpSp>
            <p:grpSp>
              <p:nvGrpSpPr>
                <p:cNvPr id="374" name="Gruppieren 373">
                  <a:extLst>
                    <a:ext uri="{FF2B5EF4-FFF2-40B4-BE49-F238E27FC236}">
                      <a16:creationId xmlns:a16="http://schemas.microsoft.com/office/drawing/2014/main" xmlns="" id="{2B302ED0-B05D-4573-BDE2-DB46FDEB7CF1}"/>
                    </a:ext>
                  </a:extLst>
                </p:cNvPr>
                <p:cNvGrpSpPr/>
                <p:nvPr/>
              </p:nvGrpSpPr>
              <p:grpSpPr>
                <a:xfrm>
                  <a:off x="2021531" y="2804237"/>
                  <a:ext cx="238988" cy="509181"/>
                  <a:chOff x="4288786" y="1273934"/>
                  <a:chExt cx="531360" cy="1132096"/>
                </a:xfrm>
              </p:grpSpPr>
              <p:sp>
                <p:nvSpPr>
                  <p:cNvPr id="410" name="Rectangle 195">
                    <a:extLst>
                      <a:ext uri="{FF2B5EF4-FFF2-40B4-BE49-F238E27FC236}">
                        <a16:creationId xmlns:a16="http://schemas.microsoft.com/office/drawing/2014/main" xmlns="" id="{A2DC67D6-80A7-42B2-94EF-EA5E7055800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88786" y="1273934"/>
                    <a:ext cx="531360" cy="1132096"/>
                  </a:xfrm>
                  <a:custGeom>
                    <a:avLst/>
                    <a:gdLst>
                      <a:gd name="connsiteX0" fmla="*/ 0 w 238988"/>
                      <a:gd name="connsiteY0" fmla="*/ 0 h 509181"/>
                      <a:gd name="connsiteX1" fmla="*/ 238988 w 238988"/>
                      <a:gd name="connsiteY1" fmla="*/ 0 h 509181"/>
                      <a:gd name="connsiteX2" fmla="*/ 238988 w 238988"/>
                      <a:gd name="connsiteY2" fmla="*/ 509181 h 509181"/>
                      <a:gd name="connsiteX3" fmla="*/ 0 w 238988"/>
                      <a:gd name="connsiteY3" fmla="*/ 509181 h 509181"/>
                      <a:gd name="connsiteX4" fmla="*/ 0 w 238988"/>
                      <a:gd name="connsiteY4" fmla="*/ 0 h 509181"/>
                      <a:gd name="connsiteX0" fmla="*/ 0 w 238988"/>
                      <a:gd name="connsiteY0" fmla="*/ 0 h 572391"/>
                      <a:gd name="connsiteX1" fmla="*/ 238988 w 238988"/>
                      <a:gd name="connsiteY1" fmla="*/ 0 h 572391"/>
                      <a:gd name="connsiteX2" fmla="*/ 238988 w 238988"/>
                      <a:gd name="connsiteY2" fmla="*/ 509181 h 572391"/>
                      <a:gd name="connsiteX3" fmla="*/ 76350 w 238988"/>
                      <a:gd name="connsiteY3" fmla="*/ 572376 h 572391"/>
                      <a:gd name="connsiteX4" fmla="*/ 0 w 238988"/>
                      <a:gd name="connsiteY4" fmla="*/ 509181 h 572391"/>
                      <a:gd name="connsiteX5" fmla="*/ 0 w 238988"/>
                      <a:gd name="connsiteY5" fmla="*/ 0 h 572391"/>
                      <a:gd name="connsiteX0" fmla="*/ 0 w 238988"/>
                      <a:gd name="connsiteY0" fmla="*/ 0 h 578614"/>
                      <a:gd name="connsiteX1" fmla="*/ 238988 w 238988"/>
                      <a:gd name="connsiteY1" fmla="*/ 0 h 578614"/>
                      <a:gd name="connsiteX2" fmla="*/ 238988 w 238988"/>
                      <a:gd name="connsiteY2" fmla="*/ 509181 h 578614"/>
                      <a:gd name="connsiteX3" fmla="*/ 181125 w 238988"/>
                      <a:gd name="connsiteY3" fmla="*/ 572376 h 578614"/>
                      <a:gd name="connsiteX4" fmla="*/ 76350 w 238988"/>
                      <a:gd name="connsiteY4" fmla="*/ 572376 h 578614"/>
                      <a:gd name="connsiteX5" fmla="*/ 0 w 238988"/>
                      <a:gd name="connsiteY5" fmla="*/ 509181 h 578614"/>
                      <a:gd name="connsiteX6" fmla="*/ 0 w 238988"/>
                      <a:gd name="connsiteY6" fmla="*/ 0 h 578614"/>
                      <a:gd name="connsiteX0" fmla="*/ 76350 w 272565"/>
                      <a:gd name="connsiteY0" fmla="*/ 572376 h 663816"/>
                      <a:gd name="connsiteX1" fmla="*/ 0 w 272565"/>
                      <a:gd name="connsiteY1" fmla="*/ 509181 h 663816"/>
                      <a:gd name="connsiteX2" fmla="*/ 0 w 272565"/>
                      <a:gd name="connsiteY2" fmla="*/ 0 h 663816"/>
                      <a:gd name="connsiteX3" fmla="*/ 238988 w 272565"/>
                      <a:gd name="connsiteY3" fmla="*/ 0 h 663816"/>
                      <a:gd name="connsiteX4" fmla="*/ 238988 w 272565"/>
                      <a:gd name="connsiteY4" fmla="*/ 509181 h 663816"/>
                      <a:gd name="connsiteX5" fmla="*/ 272565 w 272565"/>
                      <a:gd name="connsiteY5" fmla="*/ 663816 h 663816"/>
                      <a:gd name="connsiteX0" fmla="*/ 76350 w 238988"/>
                      <a:gd name="connsiteY0" fmla="*/ 572376 h 572376"/>
                      <a:gd name="connsiteX1" fmla="*/ 0 w 238988"/>
                      <a:gd name="connsiteY1" fmla="*/ 509181 h 572376"/>
                      <a:gd name="connsiteX2" fmla="*/ 0 w 238988"/>
                      <a:gd name="connsiteY2" fmla="*/ 0 h 572376"/>
                      <a:gd name="connsiteX3" fmla="*/ 238988 w 238988"/>
                      <a:gd name="connsiteY3" fmla="*/ 0 h 572376"/>
                      <a:gd name="connsiteX4" fmla="*/ 238988 w 238988"/>
                      <a:gd name="connsiteY4" fmla="*/ 509181 h 572376"/>
                      <a:gd name="connsiteX0" fmla="*/ 0 w 238988"/>
                      <a:gd name="connsiteY0" fmla="*/ 509181 h 509181"/>
                      <a:gd name="connsiteX1" fmla="*/ 0 w 238988"/>
                      <a:gd name="connsiteY1" fmla="*/ 0 h 509181"/>
                      <a:gd name="connsiteX2" fmla="*/ 238988 w 238988"/>
                      <a:gd name="connsiteY2" fmla="*/ 0 h 509181"/>
                      <a:gd name="connsiteX3" fmla="*/ 238988 w 238988"/>
                      <a:gd name="connsiteY3" fmla="*/ 509181 h 5091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8988" h="509181">
                        <a:moveTo>
                          <a:pt x="0" y="509181"/>
                        </a:moveTo>
                        <a:lnTo>
                          <a:pt x="0" y="0"/>
                        </a:lnTo>
                        <a:lnTo>
                          <a:pt x="238988" y="0"/>
                        </a:lnTo>
                        <a:lnTo>
                          <a:pt x="238988" y="509181"/>
                        </a:lnTo>
                      </a:path>
                    </a:pathLst>
                  </a:custGeom>
                  <a:solidFill>
                    <a:schemeClr val="accent1">
                      <a:lumMod val="40000"/>
                      <a:lumOff val="60000"/>
                    </a:schemeClr>
                  </a:solidFill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grpSp>
                <p:nvGrpSpPr>
                  <p:cNvPr id="411" name="Gruppieren 410">
                    <a:extLst>
                      <a:ext uri="{FF2B5EF4-FFF2-40B4-BE49-F238E27FC236}">
                        <a16:creationId xmlns:a16="http://schemas.microsoft.com/office/drawing/2014/main" xmlns="" id="{155F0168-B143-4F2A-A345-0F760EDBCD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366165" y="1361113"/>
                    <a:ext cx="395305" cy="142621"/>
                    <a:chOff x="4366165" y="1361113"/>
                    <a:chExt cx="395305" cy="142621"/>
                  </a:xfrm>
                </p:grpSpPr>
                <p:sp>
                  <p:nvSpPr>
                    <p:cNvPr id="424" name="Rectangle 221">
                      <a:extLst>
                        <a:ext uri="{FF2B5EF4-FFF2-40B4-BE49-F238E27FC236}">
                          <a16:creationId xmlns:a16="http://schemas.microsoft.com/office/drawing/2014/main" xmlns="" id="{AA76A31C-3DC5-471E-ABAA-C4C4A0764194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66165" y="1361113"/>
                      <a:ext cx="56334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25" name="Rectangle 221">
                      <a:extLst>
                        <a:ext uri="{FF2B5EF4-FFF2-40B4-BE49-F238E27FC236}">
                          <a16:creationId xmlns:a16="http://schemas.microsoft.com/office/drawing/2014/main" xmlns="" id="{59FD8496-AE5E-4D4E-80BE-2D14B5D609CB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476394" y="1361113"/>
                      <a:ext cx="56334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26" name="Rectangle 221">
                      <a:extLst>
                        <a:ext uri="{FF2B5EF4-FFF2-40B4-BE49-F238E27FC236}">
                          <a16:creationId xmlns:a16="http://schemas.microsoft.com/office/drawing/2014/main" xmlns="" id="{406EC4D9-D9FB-4BD3-9840-6D736EEDDA9A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648801" y="1361113"/>
                      <a:ext cx="112669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412" name="Gruppieren 411">
                    <a:extLst>
                      <a:ext uri="{FF2B5EF4-FFF2-40B4-BE49-F238E27FC236}">
                        <a16:creationId xmlns:a16="http://schemas.microsoft.com/office/drawing/2014/main" xmlns="" id="{E7D9D2EA-26FB-4BDE-86CA-BF128AB8B4A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366165" y="1600685"/>
                    <a:ext cx="395305" cy="142621"/>
                    <a:chOff x="4366165" y="1361113"/>
                    <a:chExt cx="395305" cy="142621"/>
                  </a:xfrm>
                </p:grpSpPr>
                <p:sp>
                  <p:nvSpPr>
                    <p:cNvPr id="421" name="Rectangle 221">
                      <a:extLst>
                        <a:ext uri="{FF2B5EF4-FFF2-40B4-BE49-F238E27FC236}">
                          <a16:creationId xmlns:a16="http://schemas.microsoft.com/office/drawing/2014/main" xmlns="" id="{CA695233-9595-4D9E-A7F6-8714589AD3E3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66165" y="1361113"/>
                      <a:ext cx="56334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22" name="Rectangle 221">
                      <a:extLst>
                        <a:ext uri="{FF2B5EF4-FFF2-40B4-BE49-F238E27FC236}">
                          <a16:creationId xmlns:a16="http://schemas.microsoft.com/office/drawing/2014/main" xmlns="" id="{F1C92A18-9975-43E5-B584-2E5235EA835D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476394" y="1361113"/>
                      <a:ext cx="56334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23" name="Rectangle 221">
                      <a:extLst>
                        <a:ext uri="{FF2B5EF4-FFF2-40B4-BE49-F238E27FC236}">
                          <a16:creationId xmlns:a16="http://schemas.microsoft.com/office/drawing/2014/main" xmlns="" id="{D56C7CD2-E7C7-4CC5-B451-DDF40CACD405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648801" y="1361113"/>
                      <a:ext cx="112669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413" name="Gruppieren 412">
                    <a:extLst>
                      <a:ext uri="{FF2B5EF4-FFF2-40B4-BE49-F238E27FC236}">
                        <a16:creationId xmlns:a16="http://schemas.microsoft.com/office/drawing/2014/main" xmlns="" id="{292EF0DE-76CB-4C66-9DB6-2F6D8BA1FC4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366165" y="1840257"/>
                    <a:ext cx="395305" cy="142621"/>
                    <a:chOff x="4366165" y="1361113"/>
                    <a:chExt cx="395305" cy="142621"/>
                  </a:xfrm>
                </p:grpSpPr>
                <p:sp>
                  <p:nvSpPr>
                    <p:cNvPr id="418" name="Rectangle 221">
                      <a:extLst>
                        <a:ext uri="{FF2B5EF4-FFF2-40B4-BE49-F238E27FC236}">
                          <a16:creationId xmlns:a16="http://schemas.microsoft.com/office/drawing/2014/main" xmlns="" id="{375591CA-B1E4-47D3-B771-9339AC7184D5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66165" y="1361113"/>
                      <a:ext cx="56334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19" name="Rectangle 221">
                      <a:extLst>
                        <a:ext uri="{FF2B5EF4-FFF2-40B4-BE49-F238E27FC236}">
                          <a16:creationId xmlns:a16="http://schemas.microsoft.com/office/drawing/2014/main" xmlns="" id="{82A070FA-93AE-4FB1-8661-69F5E3842E39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476394" y="1361113"/>
                      <a:ext cx="56334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20" name="Rectangle 221">
                      <a:extLst>
                        <a:ext uri="{FF2B5EF4-FFF2-40B4-BE49-F238E27FC236}">
                          <a16:creationId xmlns:a16="http://schemas.microsoft.com/office/drawing/2014/main" xmlns="" id="{D02A995B-DC9D-406F-8C94-E3DCE5B57E40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648801" y="1361113"/>
                      <a:ext cx="112669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  <p:grpSp>
                <p:nvGrpSpPr>
                  <p:cNvPr id="414" name="Gruppieren 413">
                    <a:extLst>
                      <a:ext uri="{FF2B5EF4-FFF2-40B4-BE49-F238E27FC236}">
                        <a16:creationId xmlns:a16="http://schemas.microsoft.com/office/drawing/2014/main" xmlns="" id="{DD50E18C-1528-4EDD-BD14-A5E5A947472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4366165" y="2079829"/>
                    <a:ext cx="395305" cy="142621"/>
                    <a:chOff x="4366165" y="1361113"/>
                    <a:chExt cx="395305" cy="142621"/>
                  </a:xfrm>
                </p:grpSpPr>
                <p:sp>
                  <p:nvSpPr>
                    <p:cNvPr id="415" name="Rectangle 221">
                      <a:extLst>
                        <a:ext uri="{FF2B5EF4-FFF2-40B4-BE49-F238E27FC236}">
                          <a16:creationId xmlns:a16="http://schemas.microsoft.com/office/drawing/2014/main" xmlns="" id="{DD66A5C1-7391-4BDC-8887-E4EA42711D6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366165" y="1361113"/>
                      <a:ext cx="56334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16" name="Rectangle 221">
                      <a:extLst>
                        <a:ext uri="{FF2B5EF4-FFF2-40B4-BE49-F238E27FC236}">
                          <a16:creationId xmlns:a16="http://schemas.microsoft.com/office/drawing/2014/main" xmlns="" id="{60934390-C7EF-4D29-A494-8875C40668D2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476394" y="1361113"/>
                      <a:ext cx="56334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  <p:sp>
                  <p:nvSpPr>
                    <p:cNvPr id="417" name="Rectangle 221">
                      <a:extLst>
                        <a:ext uri="{FF2B5EF4-FFF2-40B4-BE49-F238E27FC236}">
                          <a16:creationId xmlns:a16="http://schemas.microsoft.com/office/drawing/2014/main" xmlns="" id="{73EC588C-9E30-426A-9D81-8B8412DFBC4A}"/>
                        </a:ext>
                      </a:extLst>
                    </p:cNvPr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648801" y="1361113"/>
                      <a:ext cx="112669" cy="142621"/>
                    </a:xfrm>
                    <a:custGeom>
                      <a:avLst/>
                      <a:gdLst>
                        <a:gd name="connsiteX0" fmla="*/ 0 w 56334"/>
                        <a:gd name="connsiteY0" fmla="*/ 0 h 142621"/>
                        <a:gd name="connsiteX1" fmla="*/ 56334 w 56334"/>
                        <a:gd name="connsiteY1" fmla="*/ 0 h 142621"/>
                        <a:gd name="connsiteX2" fmla="*/ 56334 w 56334"/>
                        <a:gd name="connsiteY2" fmla="*/ 142621 h 142621"/>
                        <a:gd name="connsiteX3" fmla="*/ 0 w 56334"/>
                        <a:gd name="connsiteY3" fmla="*/ 142621 h 142621"/>
                        <a:gd name="connsiteX4" fmla="*/ 0 w 56334"/>
                        <a:gd name="connsiteY4" fmla="*/ 0 h 142621"/>
                        <a:gd name="connsiteX0" fmla="*/ 0 w 105837"/>
                        <a:gd name="connsiteY0" fmla="*/ 0 h 142621"/>
                        <a:gd name="connsiteX1" fmla="*/ 56334 w 105837"/>
                        <a:gd name="connsiteY1" fmla="*/ 0 h 142621"/>
                        <a:gd name="connsiteX2" fmla="*/ 105824 w 105837"/>
                        <a:gd name="connsiteY2" fmla="*/ 74781 h 142621"/>
                        <a:gd name="connsiteX3" fmla="*/ 56334 w 105837"/>
                        <a:gd name="connsiteY3" fmla="*/ 142621 h 142621"/>
                        <a:gd name="connsiteX4" fmla="*/ 0 w 105837"/>
                        <a:gd name="connsiteY4" fmla="*/ 142621 h 142621"/>
                        <a:gd name="connsiteX5" fmla="*/ 0 w 105837"/>
                        <a:gd name="connsiteY5" fmla="*/ 0 h 142621"/>
                        <a:gd name="connsiteX0" fmla="*/ 56334 w 197264"/>
                        <a:gd name="connsiteY0" fmla="*/ 142621 h 166221"/>
                        <a:gd name="connsiteX1" fmla="*/ 0 w 197264"/>
                        <a:gd name="connsiteY1" fmla="*/ 142621 h 166221"/>
                        <a:gd name="connsiteX2" fmla="*/ 0 w 197264"/>
                        <a:gd name="connsiteY2" fmla="*/ 0 h 166221"/>
                        <a:gd name="connsiteX3" fmla="*/ 56334 w 197264"/>
                        <a:gd name="connsiteY3" fmla="*/ 0 h 166221"/>
                        <a:gd name="connsiteX4" fmla="*/ 197264 w 197264"/>
                        <a:gd name="connsiteY4" fmla="*/ 166221 h 166221"/>
                        <a:gd name="connsiteX0" fmla="*/ 0 w 197264"/>
                        <a:gd name="connsiteY0" fmla="*/ 142621 h 166221"/>
                        <a:gd name="connsiteX1" fmla="*/ 0 w 197264"/>
                        <a:gd name="connsiteY1" fmla="*/ 0 h 166221"/>
                        <a:gd name="connsiteX2" fmla="*/ 56334 w 197264"/>
                        <a:gd name="connsiteY2" fmla="*/ 0 h 166221"/>
                        <a:gd name="connsiteX3" fmla="*/ 197264 w 197264"/>
                        <a:gd name="connsiteY3" fmla="*/ 166221 h 166221"/>
                        <a:gd name="connsiteX0" fmla="*/ 0 w 56334"/>
                        <a:gd name="connsiteY0" fmla="*/ 142621 h 142621"/>
                        <a:gd name="connsiteX1" fmla="*/ 0 w 56334"/>
                        <a:gd name="connsiteY1" fmla="*/ 0 h 142621"/>
                        <a:gd name="connsiteX2" fmla="*/ 56334 w 56334"/>
                        <a:gd name="connsiteY2" fmla="*/ 0 h 1426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56334" h="142621">
                          <a:moveTo>
                            <a:pt x="0" y="142621"/>
                          </a:moveTo>
                          <a:lnTo>
                            <a:pt x="0" y="0"/>
                          </a:lnTo>
                          <a:lnTo>
                            <a:pt x="56334" y="0"/>
                          </a:lnTo>
                        </a:path>
                      </a:pathLst>
                    </a:custGeom>
                    <a:noFill/>
                    <a:ln w="9525" cap="rnd">
                      <a:solidFill>
                        <a:srgbClr val="98A2AE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20069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11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124191"/>
                        </a:solidFill>
                        <a:effectLst/>
                        <a:uLnTx/>
                        <a:uFillTx/>
                        <a:latin typeface="Nokia Pure Headline Light"/>
                      </a:endParaRPr>
                    </a:p>
                  </p:txBody>
                </p:sp>
              </p:grpSp>
            </p:grpSp>
            <p:sp>
              <p:nvSpPr>
                <p:cNvPr id="375" name="Ellipse 374">
                  <a:extLst>
                    <a:ext uri="{FF2B5EF4-FFF2-40B4-BE49-F238E27FC236}">
                      <a16:creationId xmlns:a16="http://schemas.microsoft.com/office/drawing/2014/main" xmlns="" id="{B62AD228-50CF-4C87-B8E3-ACB584AF56D7}"/>
                    </a:ext>
                  </a:extLst>
                </p:cNvPr>
                <p:cNvSpPr/>
                <p:nvPr/>
              </p:nvSpPr>
              <p:spPr>
                <a:xfrm>
                  <a:off x="2173362" y="3035560"/>
                  <a:ext cx="49640" cy="80585"/>
                </a:xfrm>
                <a:prstGeom prst="ellipse">
                  <a:avLst/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2006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Headline Light"/>
                    <a:ea typeface="+mn-ea"/>
                    <a:cs typeface="+mn-cs"/>
                  </a:endParaRPr>
                </a:p>
              </p:txBody>
            </p:sp>
            <p:grpSp>
              <p:nvGrpSpPr>
                <p:cNvPr id="376" name="Gruppieren 375">
                  <a:extLst>
                    <a:ext uri="{FF2B5EF4-FFF2-40B4-BE49-F238E27FC236}">
                      <a16:creationId xmlns:a16="http://schemas.microsoft.com/office/drawing/2014/main" xmlns="" id="{5A727C3F-B6A6-4FF8-98AE-12E5893D29D9}"/>
                    </a:ext>
                  </a:extLst>
                </p:cNvPr>
                <p:cNvGrpSpPr/>
                <p:nvPr/>
              </p:nvGrpSpPr>
              <p:grpSpPr>
                <a:xfrm>
                  <a:off x="322459" y="2404047"/>
                  <a:ext cx="2301986" cy="965433"/>
                  <a:chOff x="511121" y="384165"/>
                  <a:chExt cx="5118159" cy="2146512"/>
                </a:xfrm>
              </p:grpSpPr>
              <p:sp>
                <p:nvSpPr>
                  <p:cNvPr id="380" name="Ellipse 379">
                    <a:extLst>
                      <a:ext uri="{FF2B5EF4-FFF2-40B4-BE49-F238E27FC236}">
                        <a16:creationId xmlns:a16="http://schemas.microsoft.com/office/drawing/2014/main" xmlns="" id="{46F64666-C71F-4AD7-81DB-5C5AC4ECF88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4544767" y="2045915"/>
                    <a:ext cx="275426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1" name="Ellipse 380">
                    <a:extLst>
                      <a:ext uri="{FF2B5EF4-FFF2-40B4-BE49-F238E27FC236}">
                        <a16:creationId xmlns:a16="http://schemas.microsoft.com/office/drawing/2014/main" xmlns="" id="{4A026CFD-6338-49DF-B0DB-360FDC05243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2391267" y="1840720"/>
                    <a:ext cx="275426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2" name="Rectangle 160">
                    <a:extLst>
                      <a:ext uri="{FF2B5EF4-FFF2-40B4-BE49-F238E27FC236}">
                        <a16:creationId xmlns:a16="http://schemas.microsoft.com/office/drawing/2014/main" xmlns="" id="{9FACD1EA-A8D4-41FE-AE3B-1148F181C1F8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655235" y="1480834"/>
                    <a:ext cx="929885" cy="1049707"/>
                  </a:xfrm>
                  <a:custGeom>
                    <a:avLst/>
                    <a:gdLst>
                      <a:gd name="connsiteX0" fmla="*/ 0 w 418233"/>
                      <a:gd name="connsiteY0" fmla="*/ 0 h 472125"/>
                      <a:gd name="connsiteX1" fmla="*/ 418233 w 418233"/>
                      <a:gd name="connsiteY1" fmla="*/ 0 h 472125"/>
                      <a:gd name="connsiteX2" fmla="*/ 418233 w 418233"/>
                      <a:gd name="connsiteY2" fmla="*/ 472125 h 472125"/>
                      <a:gd name="connsiteX3" fmla="*/ 0 w 418233"/>
                      <a:gd name="connsiteY3" fmla="*/ 472125 h 472125"/>
                      <a:gd name="connsiteX4" fmla="*/ 0 w 418233"/>
                      <a:gd name="connsiteY4" fmla="*/ 0 h 472125"/>
                      <a:gd name="connsiteX0" fmla="*/ 0 w 418233"/>
                      <a:gd name="connsiteY0" fmla="*/ 0 h 519800"/>
                      <a:gd name="connsiteX1" fmla="*/ 418233 w 418233"/>
                      <a:gd name="connsiteY1" fmla="*/ 0 h 519800"/>
                      <a:gd name="connsiteX2" fmla="*/ 418233 w 418233"/>
                      <a:gd name="connsiteY2" fmla="*/ 472125 h 519800"/>
                      <a:gd name="connsiteX3" fmla="*/ 122311 w 418233"/>
                      <a:gd name="connsiteY3" fmla="*/ 519800 h 519800"/>
                      <a:gd name="connsiteX4" fmla="*/ 0 w 418233"/>
                      <a:gd name="connsiteY4" fmla="*/ 472125 h 519800"/>
                      <a:gd name="connsiteX5" fmla="*/ 0 w 418233"/>
                      <a:gd name="connsiteY5" fmla="*/ 0 h 519800"/>
                      <a:gd name="connsiteX0" fmla="*/ 0 w 418233"/>
                      <a:gd name="connsiteY0" fmla="*/ 0 h 540526"/>
                      <a:gd name="connsiteX1" fmla="*/ 418233 w 418233"/>
                      <a:gd name="connsiteY1" fmla="*/ 0 h 540526"/>
                      <a:gd name="connsiteX2" fmla="*/ 418233 w 418233"/>
                      <a:gd name="connsiteY2" fmla="*/ 472125 h 540526"/>
                      <a:gd name="connsiteX3" fmla="*/ 308048 w 418233"/>
                      <a:gd name="connsiteY3" fmla="*/ 538849 h 540526"/>
                      <a:gd name="connsiteX4" fmla="*/ 122311 w 418233"/>
                      <a:gd name="connsiteY4" fmla="*/ 519800 h 540526"/>
                      <a:gd name="connsiteX5" fmla="*/ 0 w 418233"/>
                      <a:gd name="connsiteY5" fmla="*/ 472125 h 540526"/>
                      <a:gd name="connsiteX6" fmla="*/ 0 w 418233"/>
                      <a:gd name="connsiteY6" fmla="*/ 0 h 540526"/>
                      <a:gd name="connsiteX0" fmla="*/ 122311 w 418233"/>
                      <a:gd name="connsiteY0" fmla="*/ 519800 h 630289"/>
                      <a:gd name="connsiteX1" fmla="*/ 0 w 418233"/>
                      <a:gd name="connsiteY1" fmla="*/ 472125 h 630289"/>
                      <a:gd name="connsiteX2" fmla="*/ 0 w 418233"/>
                      <a:gd name="connsiteY2" fmla="*/ 0 h 630289"/>
                      <a:gd name="connsiteX3" fmla="*/ 418233 w 418233"/>
                      <a:gd name="connsiteY3" fmla="*/ 0 h 630289"/>
                      <a:gd name="connsiteX4" fmla="*/ 418233 w 418233"/>
                      <a:gd name="connsiteY4" fmla="*/ 472125 h 630289"/>
                      <a:gd name="connsiteX5" fmla="*/ 399488 w 418233"/>
                      <a:gd name="connsiteY5" fmla="*/ 630289 h 630289"/>
                      <a:gd name="connsiteX0" fmla="*/ 0 w 418233"/>
                      <a:gd name="connsiteY0" fmla="*/ 472125 h 630289"/>
                      <a:gd name="connsiteX1" fmla="*/ 0 w 418233"/>
                      <a:gd name="connsiteY1" fmla="*/ 0 h 630289"/>
                      <a:gd name="connsiteX2" fmla="*/ 418233 w 418233"/>
                      <a:gd name="connsiteY2" fmla="*/ 0 h 630289"/>
                      <a:gd name="connsiteX3" fmla="*/ 418233 w 418233"/>
                      <a:gd name="connsiteY3" fmla="*/ 472125 h 630289"/>
                      <a:gd name="connsiteX4" fmla="*/ 399488 w 418233"/>
                      <a:gd name="connsiteY4" fmla="*/ 630289 h 630289"/>
                      <a:gd name="connsiteX0" fmla="*/ 0 w 418233"/>
                      <a:gd name="connsiteY0" fmla="*/ 472125 h 472125"/>
                      <a:gd name="connsiteX1" fmla="*/ 0 w 418233"/>
                      <a:gd name="connsiteY1" fmla="*/ 0 h 472125"/>
                      <a:gd name="connsiteX2" fmla="*/ 418233 w 418233"/>
                      <a:gd name="connsiteY2" fmla="*/ 0 h 472125"/>
                      <a:gd name="connsiteX3" fmla="*/ 418233 w 418233"/>
                      <a:gd name="connsiteY3" fmla="*/ 472125 h 4721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18233" h="472125">
                        <a:moveTo>
                          <a:pt x="0" y="472125"/>
                        </a:moveTo>
                        <a:lnTo>
                          <a:pt x="0" y="0"/>
                        </a:lnTo>
                        <a:lnTo>
                          <a:pt x="418233" y="0"/>
                        </a:lnTo>
                        <a:lnTo>
                          <a:pt x="418233" y="472125"/>
                        </a:lnTo>
                      </a:path>
                    </a:pathLst>
                  </a:custGeom>
                  <a:solidFill>
                    <a:schemeClr val="accent2">
                      <a:lumMod val="20000"/>
                      <a:lumOff val="80000"/>
                    </a:schemeClr>
                  </a:solidFill>
                  <a:ln w="9525">
                    <a:solidFill>
                      <a:srgbClr val="98A2AE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383" name="Freeform 165">
                    <a:extLst>
                      <a:ext uri="{FF2B5EF4-FFF2-40B4-BE49-F238E27FC236}">
                        <a16:creationId xmlns:a16="http://schemas.microsoft.com/office/drawing/2014/main" xmlns="" id="{0F6AB974-2B4E-43F4-919A-FE4E08309D6D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732723" y="1603270"/>
                    <a:ext cx="77490" cy="121770"/>
                  </a:xfrm>
                  <a:custGeom>
                    <a:avLst/>
                    <a:gdLst/>
                    <a:ahLst/>
                    <a:cxnLst>
                      <a:cxn ang="0">
                        <a:pos x="0" y="44"/>
                      </a:cxn>
                      <a:cxn ang="0">
                        <a:pos x="0" y="16"/>
                      </a:cxn>
                      <a:cxn ang="0">
                        <a:pos x="14" y="0"/>
                      </a:cxn>
                      <a:cxn ang="0">
                        <a:pos x="28" y="16"/>
                      </a:cxn>
                      <a:cxn ang="0">
                        <a:pos x="28" y="44"/>
                      </a:cxn>
                    </a:cxnLst>
                    <a:rect l="0" t="0" r="r" b="b"/>
                    <a:pathLst>
                      <a:path w="28" h="44">
                        <a:moveTo>
                          <a:pt x="0" y="44"/>
                        </a:move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7"/>
                          <a:pt x="6" y="0"/>
                          <a:pt x="14" y="0"/>
                        </a:cubicBezTo>
                        <a:cubicBezTo>
                          <a:pt x="23" y="0"/>
                          <a:pt x="28" y="7"/>
                          <a:pt x="28" y="16"/>
                        </a:cubicBezTo>
                        <a:cubicBezTo>
                          <a:pt x="28" y="44"/>
                          <a:pt x="28" y="44"/>
                          <a:pt x="28" y="44"/>
                        </a:cubicBezTo>
                      </a:path>
                    </a:pathLst>
                  </a:custGeom>
                  <a:noFill/>
                  <a:ln w="9525" cap="rnd">
                    <a:solidFill>
                      <a:srgbClr val="98A2A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384" name="Freeform 166">
                    <a:extLst>
                      <a:ext uri="{FF2B5EF4-FFF2-40B4-BE49-F238E27FC236}">
                        <a16:creationId xmlns:a16="http://schemas.microsoft.com/office/drawing/2014/main" xmlns="" id="{5DF4D67C-6899-4328-B92D-4422D46A727E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860031" y="1603270"/>
                    <a:ext cx="88561" cy="121770"/>
                  </a:xfrm>
                  <a:custGeom>
                    <a:avLst/>
                    <a:gdLst/>
                    <a:ahLst/>
                    <a:cxnLst>
                      <a:cxn ang="0">
                        <a:pos x="0" y="44"/>
                      </a:cxn>
                      <a:cxn ang="0">
                        <a:pos x="0" y="16"/>
                      </a:cxn>
                      <a:cxn ang="0">
                        <a:pos x="16" y="0"/>
                      </a:cxn>
                      <a:cxn ang="0">
                        <a:pos x="32" y="16"/>
                      </a:cxn>
                      <a:cxn ang="0">
                        <a:pos x="32" y="44"/>
                      </a:cxn>
                    </a:cxnLst>
                    <a:rect l="0" t="0" r="r" b="b"/>
                    <a:pathLst>
                      <a:path w="32" h="44">
                        <a:moveTo>
                          <a:pt x="0" y="44"/>
                        </a:move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7"/>
                          <a:pt x="8" y="0"/>
                          <a:pt x="16" y="0"/>
                        </a:cubicBezTo>
                        <a:cubicBezTo>
                          <a:pt x="25" y="0"/>
                          <a:pt x="32" y="7"/>
                          <a:pt x="32" y="16"/>
                        </a:cubicBezTo>
                        <a:cubicBezTo>
                          <a:pt x="32" y="44"/>
                          <a:pt x="32" y="44"/>
                          <a:pt x="32" y="44"/>
                        </a:cubicBezTo>
                      </a:path>
                    </a:pathLst>
                  </a:custGeom>
                  <a:noFill/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385" name="Freeform 168">
                    <a:extLst>
                      <a:ext uri="{FF2B5EF4-FFF2-40B4-BE49-F238E27FC236}">
                        <a16:creationId xmlns:a16="http://schemas.microsoft.com/office/drawing/2014/main" xmlns="" id="{33ADB8B8-0B9C-4A52-BF3D-64C4A017974A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992871" y="1603270"/>
                    <a:ext cx="88561" cy="121770"/>
                  </a:xfrm>
                  <a:custGeom>
                    <a:avLst/>
                    <a:gdLst/>
                    <a:ahLst/>
                    <a:cxnLst>
                      <a:cxn ang="0">
                        <a:pos x="0" y="44"/>
                      </a:cxn>
                      <a:cxn ang="0">
                        <a:pos x="0" y="16"/>
                      </a:cxn>
                      <a:cxn ang="0">
                        <a:pos x="16" y="0"/>
                      </a:cxn>
                      <a:cxn ang="0">
                        <a:pos x="32" y="16"/>
                      </a:cxn>
                      <a:cxn ang="0">
                        <a:pos x="32" y="44"/>
                      </a:cxn>
                    </a:cxnLst>
                    <a:rect l="0" t="0" r="r" b="b"/>
                    <a:pathLst>
                      <a:path w="32" h="44">
                        <a:moveTo>
                          <a:pt x="0" y="44"/>
                        </a:move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7"/>
                          <a:pt x="8" y="0"/>
                          <a:pt x="16" y="0"/>
                        </a:cubicBezTo>
                        <a:cubicBezTo>
                          <a:pt x="25" y="0"/>
                          <a:pt x="32" y="7"/>
                          <a:pt x="32" y="16"/>
                        </a:cubicBezTo>
                        <a:cubicBezTo>
                          <a:pt x="32" y="44"/>
                          <a:pt x="32" y="44"/>
                          <a:pt x="32" y="44"/>
                        </a:cubicBezTo>
                      </a:path>
                    </a:pathLst>
                  </a:custGeom>
                  <a:noFill/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386" name="Freeform 164">
                    <a:extLst>
                      <a:ext uri="{FF2B5EF4-FFF2-40B4-BE49-F238E27FC236}">
                        <a16:creationId xmlns:a16="http://schemas.microsoft.com/office/drawing/2014/main" xmlns="" id="{BFD02ADB-DF03-404D-A740-DAE2DF059615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1149085" y="1603270"/>
                    <a:ext cx="88561" cy="121770"/>
                  </a:xfrm>
                  <a:custGeom>
                    <a:avLst/>
                    <a:gdLst/>
                    <a:ahLst/>
                    <a:cxnLst>
                      <a:cxn ang="0">
                        <a:pos x="0" y="44"/>
                      </a:cxn>
                      <a:cxn ang="0">
                        <a:pos x="0" y="16"/>
                      </a:cxn>
                      <a:cxn ang="0">
                        <a:pos x="16" y="0"/>
                      </a:cxn>
                      <a:cxn ang="0">
                        <a:pos x="32" y="16"/>
                      </a:cxn>
                      <a:cxn ang="0">
                        <a:pos x="32" y="44"/>
                      </a:cxn>
                    </a:cxnLst>
                    <a:rect l="0" t="0" r="r" b="b"/>
                    <a:pathLst>
                      <a:path w="32" h="44">
                        <a:moveTo>
                          <a:pt x="0" y="44"/>
                        </a:move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7"/>
                          <a:pt x="8" y="0"/>
                          <a:pt x="16" y="0"/>
                        </a:cubicBezTo>
                        <a:cubicBezTo>
                          <a:pt x="25" y="0"/>
                          <a:pt x="32" y="7"/>
                          <a:pt x="32" y="16"/>
                        </a:cubicBezTo>
                        <a:cubicBezTo>
                          <a:pt x="32" y="44"/>
                          <a:pt x="32" y="44"/>
                          <a:pt x="32" y="44"/>
                        </a:cubicBezTo>
                      </a:path>
                    </a:pathLst>
                  </a:custGeom>
                  <a:noFill/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387" name="Freeform 166">
                    <a:extLst>
                      <a:ext uri="{FF2B5EF4-FFF2-40B4-BE49-F238E27FC236}">
                        <a16:creationId xmlns:a16="http://schemas.microsoft.com/office/drawing/2014/main" xmlns="" id="{5FFDE950-1CC2-4337-BD15-0471E8503A90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1281926" y="1603270"/>
                    <a:ext cx="88561" cy="121770"/>
                  </a:xfrm>
                  <a:custGeom>
                    <a:avLst/>
                    <a:gdLst/>
                    <a:ahLst/>
                    <a:cxnLst>
                      <a:cxn ang="0">
                        <a:pos x="0" y="44"/>
                      </a:cxn>
                      <a:cxn ang="0">
                        <a:pos x="0" y="16"/>
                      </a:cxn>
                      <a:cxn ang="0">
                        <a:pos x="16" y="0"/>
                      </a:cxn>
                      <a:cxn ang="0">
                        <a:pos x="32" y="16"/>
                      </a:cxn>
                      <a:cxn ang="0">
                        <a:pos x="32" y="44"/>
                      </a:cxn>
                    </a:cxnLst>
                    <a:rect l="0" t="0" r="r" b="b"/>
                    <a:pathLst>
                      <a:path w="32" h="44">
                        <a:moveTo>
                          <a:pt x="0" y="44"/>
                        </a:move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7"/>
                          <a:pt x="8" y="0"/>
                          <a:pt x="16" y="0"/>
                        </a:cubicBezTo>
                        <a:cubicBezTo>
                          <a:pt x="25" y="0"/>
                          <a:pt x="32" y="7"/>
                          <a:pt x="32" y="16"/>
                        </a:cubicBezTo>
                        <a:cubicBezTo>
                          <a:pt x="32" y="44"/>
                          <a:pt x="32" y="44"/>
                          <a:pt x="32" y="44"/>
                        </a:cubicBezTo>
                      </a:path>
                    </a:pathLst>
                  </a:custGeom>
                  <a:noFill/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sp>
                <p:nvSpPr>
                  <p:cNvPr id="388" name="Freeform 168">
                    <a:extLst>
                      <a:ext uri="{FF2B5EF4-FFF2-40B4-BE49-F238E27FC236}">
                        <a16:creationId xmlns:a16="http://schemas.microsoft.com/office/drawing/2014/main" xmlns="" id="{10057836-6BE5-47AB-803E-37E8A55BC381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1414766" y="1603270"/>
                    <a:ext cx="88561" cy="121770"/>
                  </a:xfrm>
                  <a:custGeom>
                    <a:avLst/>
                    <a:gdLst/>
                    <a:ahLst/>
                    <a:cxnLst>
                      <a:cxn ang="0">
                        <a:pos x="0" y="44"/>
                      </a:cxn>
                      <a:cxn ang="0">
                        <a:pos x="0" y="16"/>
                      </a:cxn>
                      <a:cxn ang="0">
                        <a:pos x="16" y="0"/>
                      </a:cxn>
                      <a:cxn ang="0">
                        <a:pos x="32" y="16"/>
                      </a:cxn>
                      <a:cxn ang="0">
                        <a:pos x="32" y="44"/>
                      </a:cxn>
                    </a:cxnLst>
                    <a:rect l="0" t="0" r="r" b="b"/>
                    <a:pathLst>
                      <a:path w="32" h="44">
                        <a:moveTo>
                          <a:pt x="0" y="44"/>
                        </a:moveTo>
                        <a:cubicBezTo>
                          <a:pt x="0" y="16"/>
                          <a:pt x="0" y="16"/>
                          <a:pt x="0" y="16"/>
                        </a:cubicBezTo>
                        <a:cubicBezTo>
                          <a:pt x="0" y="7"/>
                          <a:pt x="8" y="0"/>
                          <a:pt x="16" y="0"/>
                        </a:cubicBezTo>
                        <a:cubicBezTo>
                          <a:pt x="25" y="0"/>
                          <a:pt x="32" y="7"/>
                          <a:pt x="32" y="16"/>
                        </a:cubicBezTo>
                        <a:cubicBezTo>
                          <a:pt x="32" y="44"/>
                          <a:pt x="32" y="44"/>
                          <a:pt x="32" y="44"/>
                        </a:cubicBezTo>
                      </a:path>
                    </a:pathLst>
                  </a:custGeom>
                  <a:noFill/>
                  <a:ln w="9525">
                    <a:solidFill>
                      <a:srgbClr val="98A2AE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</a:endParaRPr>
                  </a:p>
                </p:txBody>
              </p:sp>
              <p:grpSp>
                <p:nvGrpSpPr>
                  <p:cNvPr id="389" name="Gruppieren 388">
                    <a:extLst>
                      <a:ext uri="{FF2B5EF4-FFF2-40B4-BE49-F238E27FC236}">
                        <a16:creationId xmlns:a16="http://schemas.microsoft.com/office/drawing/2014/main" xmlns="" id="{2097A743-C9BB-4754-902D-9C34DF19EE7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734461" y="1776316"/>
                    <a:ext cx="767947" cy="701279"/>
                    <a:chOff x="1587718" y="627641"/>
                    <a:chExt cx="462428" cy="588167"/>
                  </a:xfrm>
                </p:grpSpPr>
                <p:grpSp>
                  <p:nvGrpSpPr>
                    <p:cNvPr id="395" name="Gruppieren 394">
                      <a:extLst>
                        <a:ext uri="{FF2B5EF4-FFF2-40B4-BE49-F238E27FC236}">
                          <a16:creationId xmlns:a16="http://schemas.microsoft.com/office/drawing/2014/main" xmlns="" id="{7EF9F2AC-28BE-48C8-B3DC-24B356657B8D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587718" y="627641"/>
                      <a:ext cx="116404" cy="588167"/>
                      <a:chOff x="1587718" y="627641"/>
                      <a:chExt cx="77489" cy="588167"/>
                    </a:xfrm>
                  </p:grpSpPr>
                  <p:sp>
                    <p:nvSpPr>
                      <p:cNvPr id="406" name="Rectangle 220">
                        <a:extLst>
                          <a:ext uri="{FF2B5EF4-FFF2-40B4-BE49-F238E27FC236}">
                            <a16:creationId xmlns:a16="http://schemas.microsoft.com/office/drawing/2014/main" xmlns="" id="{25E4DDA3-29F6-4216-840C-8294901B9FFC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627641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407" name="Rectangle 220">
                        <a:extLst>
                          <a:ext uri="{FF2B5EF4-FFF2-40B4-BE49-F238E27FC236}">
                            <a16:creationId xmlns:a16="http://schemas.microsoft.com/office/drawing/2014/main" xmlns="" id="{3767D701-7FE1-4041-ADAF-47B895856627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79369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408" name="Rectangle 220">
                        <a:extLst>
                          <a:ext uri="{FF2B5EF4-FFF2-40B4-BE49-F238E27FC236}">
                            <a16:creationId xmlns:a16="http://schemas.microsoft.com/office/drawing/2014/main" xmlns="" id="{5540B5D2-83BF-4555-BA56-E0C6E912A37D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95975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409" name="Rectangle 220">
                        <a:extLst>
                          <a:ext uri="{FF2B5EF4-FFF2-40B4-BE49-F238E27FC236}">
                            <a16:creationId xmlns:a16="http://schemas.microsoft.com/office/drawing/2014/main" xmlns="" id="{596CE9D8-EC35-46C6-8153-3304211F50E8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12580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</p:grpSp>
                <p:grpSp>
                  <p:nvGrpSpPr>
                    <p:cNvPr id="396" name="Gruppieren 395">
                      <a:extLst>
                        <a:ext uri="{FF2B5EF4-FFF2-40B4-BE49-F238E27FC236}">
                          <a16:creationId xmlns:a16="http://schemas.microsoft.com/office/drawing/2014/main" xmlns="" id="{8A82E825-2A29-4EA0-89B3-5A92898824D8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760730" y="627641"/>
                      <a:ext cx="116404" cy="588167"/>
                      <a:chOff x="1587718" y="627641"/>
                      <a:chExt cx="77489" cy="588167"/>
                    </a:xfrm>
                  </p:grpSpPr>
                  <p:sp>
                    <p:nvSpPr>
                      <p:cNvPr id="402" name="Rectangle 220">
                        <a:extLst>
                          <a:ext uri="{FF2B5EF4-FFF2-40B4-BE49-F238E27FC236}">
                            <a16:creationId xmlns:a16="http://schemas.microsoft.com/office/drawing/2014/main" xmlns="" id="{C03FEFA5-DAB4-4262-A1F5-2A972131E536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627641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403" name="Rectangle 220">
                        <a:extLst>
                          <a:ext uri="{FF2B5EF4-FFF2-40B4-BE49-F238E27FC236}">
                            <a16:creationId xmlns:a16="http://schemas.microsoft.com/office/drawing/2014/main" xmlns="" id="{01FC0FAF-B59F-4172-A6CB-9742355BCB11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79369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404" name="Rectangle 220">
                        <a:extLst>
                          <a:ext uri="{FF2B5EF4-FFF2-40B4-BE49-F238E27FC236}">
                            <a16:creationId xmlns:a16="http://schemas.microsoft.com/office/drawing/2014/main" xmlns="" id="{D40F41EE-F023-4163-8B9B-A51CEE703AE2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95975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405" name="Rectangle 220">
                        <a:extLst>
                          <a:ext uri="{FF2B5EF4-FFF2-40B4-BE49-F238E27FC236}">
                            <a16:creationId xmlns:a16="http://schemas.microsoft.com/office/drawing/2014/main" xmlns="" id="{22ABF2E4-1B7D-43D2-A816-D07B678B46C7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12580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</p:grpSp>
                <p:grpSp>
                  <p:nvGrpSpPr>
                    <p:cNvPr id="397" name="Gruppieren 396">
                      <a:extLst>
                        <a:ext uri="{FF2B5EF4-FFF2-40B4-BE49-F238E27FC236}">
                          <a16:creationId xmlns:a16="http://schemas.microsoft.com/office/drawing/2014/main" xmlns="" id="{3CF11709-D594-41B8-8D5E-55B82989D0DC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933742" y="627641"/>
                      <a:ext cx="116404" cy="588167"/>
                      <a:chOff x="1587718" y="627641"/>
                      <a:chExt cx="77489" cy="588167"/>
                    </a:xfrm>
                  </p:grpSpPr>
                  <p:sp>
                    <p:nvSpPr>
                      <p:cNvPr id="398" name="Rectangle 220">
                        <a:extLst>
                          <a:ext uri="{FF2B5EF4-FFF2-40B4-BE49-F238E27FC236}">
                            <a16:creationId xmlns:a16="http://schemas.microsoft.com/office/drawing/2014/main" xmlns="" id="{C9FD6A52-5884-4991-8901-A07BC647E4A6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627641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399" name="Rectangle 220">
                        <a:extLst>
                          <a:ext uri="{FF2B5EF4-FFF2-40B4-BE49-F238E27FC236}">
                            <a16:creationId xmlns:a16="http://schemas.microsoft.com/office/drawing/2014/main" xmlns="" id="{8C04D384-8A45-43D2-B408-C590EFEE86E6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79369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400" name="Rectangle 220">
                        <a:extLst>
                          <a:ext uri="{FF2B5EF4-FFF2-40B4-BE49-F238E27FC236}">
                            <a16:creationId xmlns:a16="http://schemas.microsoft.com/office/drawing/2014/main" xmlns="" id="{6A195571-DB7C-43FF-A94E-494EF1B1C224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959755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  <p:sp>
                    <p:nvSpPr>
                      <p:cNvPr id="401" name="Rectangle 220">
                        <a:extLst>
                          <a:ext uri="{FF2B5EF4-FFF2-40B4-BE49-F238E27FC236}">
                            <a16:creationId xmlns:a16="http://schemas.microsoft.com/office/drawing/2014/main" xmlns="" id="{58D76597-92A4-4671-BA85-B325DBD5235E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1587718" y="1125808"/>
                        <a:ext cx="77489" cy="90000"/>
                      </a:xfrm>
                      <a:custGeom>
                        <a:avLst/>
                        <a:gdLst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28417 w 28417"/>
                          <a:gd name="connsiteY2" fmla="*/ 27223 h 27223"/>
                          <a:gd name="connsiteX3" fmla="*/ 0 w 28417"/>
                          <a:gd name="connsiteY3" fmla="*/ 27223 h 27223"/>
                          <a:gd name="connsiteX4" fmla="*/ 0 w 28417"/>
                          <a:gd name="connsiteY4" fmla="*/ 0 h 27223"/>
                          <a:gd name="connsiteX0" fmla="*/ 0 w 28417"/>
                          <a:gd name="connsiteY0" fmla="*/ 0 h 27223"/>
                          <a:gd name="connsiteX1" fmla="*/ 28417 w 28417"/>
                          <a:gd name="connsiteY1" fmla="*/ 0 h 27223"/>
                          <a:gd name="connsiteX2" fmla="*/ 0 w 28417"/>
                          <a:gd name="connsiteY2" fmla="*/ 27223 h 27223"/>
                          <a:gd name="connsiteX3" fmla="*/ 0 w 28417"/>
                          <a:gd name="connsiteY3" fmla="*/ 0 h 27223"/>
                          <a:gd name="connsiteX0" fmla="*/ 0 w 132887"/>
                          <a:gd name="connsiteY0" fmla="*/ 0 h 33158"/>
                          <a:gd name="connsiteX1" fmla="*/ 28417 w 132887"/>
                          <a:gd name="connsiteY1" fmla="*/ 0 h 33158"/>
                          <a:gd name="connsiteX2" fmla="*/ 132814 w 132887"/>
                          <a:gd name="connsiteY2" fmla="*/ 33158 h 33158"/>
                          <a:gd name="connsiteX3" fmla="*/ 0 w 132887"/>
                          <a:gd name="connsiteY3" fmla="*/ 27223 h 33158"/>
                          <a:gd name="connsiteX4" fmla="*/ 0 w 132887"/>
                          <a:gd name="connsiteY4" fmla="*/ 0 h 33158"/>
                          <a:gd name="connsiteX0" fmla="*/ 0 w 132887"/>
                          <a:gd name="connsiteY0" fmla="*/ 0 h 88199"/>
                          <a:gd name="connsiteX1" fmla="*/ 28417 w 132887"/>
                          <a:gd name="connsiteY1" fmla="*/ 0 h 88199"/>
                          <a:gd name="connsiteX2" fmla="*/ 132814 w 132887"/>
                          <a:gd name="connsiteY2" fmla="*/ 33158 h 88199"/>
                          <a:gd name="connsiteX3" fmla="*/ 70812 w 132887"/>
                          <a:gd name="connsiteY3" fmla="*/ 88173 h 88199"/>
                          <a:gd name="connsiteX4" fmla="*/ 0 w 132887"/>
                          <a:gd name="connsiteY4" fmla="*/ 27223 h 88199"/>
                          <a:gd name="connsiteX5" fmla="*/ 0 w 132887"/>
                          <a:gd name="connsiteY5" fmla="*/ 0 h 88199"/>
                          <a:gd name="connsiteX0" fmla="*/ 70812 w 166347"/>
                          <a:gd name="connsiteY0" fmla="*/ 88173 h 88173"/>
                          <a:gd name="connsiteX1" fmla="*/ 0 w 166347"/>
                          <a:gd name="connsiteY1" fmla="*/ 27223 h 88173"/>
                          <a:gd name="connsiteX2" fmla="*/ 0 w 166347"/>
                          <a:gd name="connsiteY2" fmla="*/ 0 h 88173"/>
                          <a:gd name="connsiteX3" fmla="*/ 28417 w 166347"/>
                          <a:gd name="connsiteY3" fmla="*/ 0 h 88173"/>
                          <a:gd name="connsiteX4" fmla="*/ 166347 w 166347"/>
                          <a:gd name="connsiteY4" fmla="*/ 66691 h 88173"/>
                          <a:gd name="connsiteX0" fmla="*/ 70812 w 70812"/>
                          <a:gd name="connsiteY0" fmla="*/ 88173 h 88173"/>
                          <a:gd name="connsiteX1" fmla="*/ 0 w 70812"/>
                          <a:gd name="connsiteY1" fmla="*/ 27223 h 88173"/>
                          <a:gd name="connsiteX2" fmla="*/ 0 w 70812"/>
                          <a:gd name="connsiteY2" fmla="*/ 0 h 88173"/>
                          <a:gd name="connsiteX3" fmla="*/ 28417 w 70812"/>
                          <a:gd name="connsiteY3" fmla="*/ 0 h 88173"/>
                          <a:gd name="connsiteX0" fmla="*/ 0 w 28417"/>
                          <a:gd name="connsiteY0" fmla="*/ 27223 h 27223"/>
                          <a:gd name="connsiteX1" fmla="*/ 0 w 28417"/>
                          <a:gd name="connsiteY1" fmla="*/ 0 h 27223"/>
                          <a:gd name="connsiteX2" fmla="*/ 28417 w 28417"/>
                          <a:gd name="connsiteY2" fmla="*/ 0 h 2722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8417" h="27223">
                            <a:moveTo>
                              <a:pt x="0" y="27223"/>
                            </a:moveTo>
                            <a:lnTo>
                              <a:pt x="0" y="0"/>
                            </a:lnTo>
                            <a:lnTo>
                              <a:pt x="28417" y="0"/>
                            </a:lnTo>
                          </a:path>
                        </a:pathLst>
                      </a:custGeom>
                      <a:noFill/>
                      <a:ln w="9525" cap="sq">
                        <a:solidFill>
                          <a:srgbClr val="98A2AE"/>
                        </a:solidFill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defTabSz="920069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11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124191"/>
                          </a:solidFill>
                          <a:effectLst/>
                          <a:uLnTx/>
                          <a:uFillTx/>
                          <a:latin typeface="Nokia Pure Headline Light"/>
                        </a:endParaRPr>
                      </a:p>
                    </p:txBody>
                  </p:sp>
                </p:grpSp>
              </p:grpSp>
              <p:sp>
                <p:nvSpPr>
                  <p:cNvPr id="390" name="Ellipse 389">
                    <a:extLst>
                      <a:ext uri="{FF2B5EF4-FFF2-40B4-BE49-F238E27FC236}">
                        <a16:creationId xmlns:a16="http://schemas.microsoft.com/office/drawing/2014/main" xmlns="" id="{3695040A-F084-4EB2-93C7-A0E00F1E1DCC}"/>
                      </a:ext>
                    </a:extLst>
                  </p:cNvPr>
                  <p:cNvSpPr>
                    <a:spLocks noChangeAspect="1"/>
                  </p:cNvSpPr>
                  <p:nvPr userDrawn="1"/>
                </p:nvSpPr>
                <p:spPr>
                  <a:xfrm>
                    <a:off x="886853" y="2152796"/>
                    <a:ext cx="275427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1" name="Ellipse 390">
                    <a:extLst>
                      <a:ext uri="{FF2B5EF4-FFF2-40B4-BE49-F238E27FC236}">
                        <a16:creationId xmlns:a16="http://schemas.microsoft.com/office/drawing/2014/main" xmlns="" id="{C831778D-AD94-438D-BF08-772CFAC40CA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2834649" y="1587153"/>
                    <a:ext cx="275426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2" name="Ellipse 391">
                    <a:extLst>
                      <a:ext uri="{FF2B5EF4-FFF2-40B4-BE49-F238E27FC236}">
                        <a16:creationId xmlns:a16="http://schemas.microsoft.com/office/drawing/2014/main" xmlns="" id="{846804E4-6E28-46EF-8D2E-81CC7C874D5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511121" y="2003610"/>
                    <a:ext cx="275426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3" name="Ellipse 392">
                    <a:extLst>
                      <a:ext uri="{FF2B5EF4-FFF2-40B4-BE49-F238E27FC236}">
                        <a16:creationId xmlns:a16="http://schemas.microsoft.com/office/drawing/2014/main" xmlns="" id="{FFBB3857-9A2F-4E24-9463-FD275DFCAE3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4159433" y="1769988"/>
                    <a:ext cx="275426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4" name="Ellipse 393">
                    <a:extLst>
                      <a:ext uri="{FF2B5EF4-FFF2-40B4-BE49-F238E27FC236}">
                        <a16:creationId xmlns:a16="http://schemas.microsoft.com/office/drawing/2014/main" xmlns="" id="{DD586644-CC38-4BC1-B958-2F71D4A75E7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5353854" y="2255251"/>
                    <a:ext cx="275426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3" name="Ellipse 582">
                    <a:extLst>
                      <a:ext uri="{FF2B5EF4-FFF2-40B4-BE49-F238E27FC236}">
                        <a16:creationId xmlns:a16="http://schemas.microsoft.com/office/drawing/2014/main" xmlns="" id="{1A787F44-AC94-4276-8656-06C3F73155C0}"/>
                      </a:ext>
                    </a:extLst>
                  </p:cNvPr>
                  <p:cNvSpPr>
                    <a:spLocks noChangeAspect="1"/>
                  </p:cNvSpPr>
                  <p:nvPr userDrawn="1"/>
                </p:nvSpPr>
                <p:spPr>
                  <a:xfrm>
                    <a:off x="3321381" y="527654"/>
                    <a:ext cx="275426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8" name="Ellipse 587">
                    <a:extLst>
                      <a:ext uri="{FF2B5EF4-FFF2-40B4-BE49-F238E27FC236}">
                        <a16:creationId xmlns:a16="http://schemas.microsoft.com/office/drawing/2014/main" xmlns="" id="{C23E5791-D34E-4919-A889-F97A88F9D59C}"/>
                      </a:ext>
                    </a:extLst>
                  </p:cNvPr>
                  <p:cNvSpPr>
                    <a:spLocks noChangeAspect="1"/>
                  </p:cNvSpPr>
                  <p:nvPr userDrawn="1"/>
                </p:nvSpPr>
                <p:spPr>
                  <a:xfrm>
                    <a:off x="2539356" y="384165"/>
                    <a:ext cx="275426" cy="2754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377" name="Gruppieren 376">
                  <a:extLst>
                    <a:ext uri="{FF2B5EF4-FFF2-40B4-BE49-F238E27FC236}">
                      <a16:creationId xmlns:a16="http://schemas.microsoft.com/office/drawing/2014/main" xmlns="" id="{3C4A85DB-155C-4BEC-B8A0-5FC420E1B7BF}"/>
                    </a:ext>
                  </a:extLst>
                </p:cNvPr>
                <p:cNvGrpSpPr/>
                <p:nvPr/>
              </p:nvGrpSpPr>
              <p:grpSpPr>
                <a:xfrm>
                  <a:off x="520494" y="3072728"/>
                  <a:ext cx="71462" cy="477807"/>
                  <a:chOff x="805680" y="2827844"/>
                  <a:chExt cx="101535" cy="678881"/>
                </a:xfrm>
              </p:grpSpPr>
              <p:sp>
                <p:nvSpPr>
                  <p:cNvPr id="378" name="Ellipse 377">
                    <a:extLst>
                      <a:ext uri="{FF2B5EF4-FFF2-40B4-BE49-F238E27FC236}">
                        <a16:creationId xmlns:a16="http://schemas.microsoft.com/office/drawing/2014/main" xmlns="" id="{02E31D45-10B4-4C96-9AD4-80423B63474A}"/>
                      </a:ext>
                    </a:extLst>
                  </p:cNvPr>
                  <p:cNvSpPr/>
                  <p:nvPr/>
                </p:nvSpPr>
                <p:spPr>
                  <a:xfrm>
                    <a:off x="819151" y="2842260"/>
                    <a:ext cx="70530" cy="114498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7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9" name="Abgerundetes Rechteck 71">
                    <a:extLst>
                      <a:ext uri="{FF2B5EF4-FFF2-40B4-BE49-F238E27FC236}">
                        <a16:creationId xmlns:a16="http://schemas.microsoft.com/office/drawing/2014/main" xmlns="" id="{AAF8DCFB-C3D7-4B76-B0E9-F6F09D760B1F}"/>
                      </a:ext>
                    </a:extLst>
                  </p:cNvPr>
                  <p:cNvSpPr/>
                  <p:nvPr/>
                </p:nvSpPr>
                <p:spPr>
                  <a:xfrm>
                    <a:off x="805680" y="2827844"/>
                    <a:ext cx="101535" cy="6788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11366" h="3419086">
                        <a:moveTo>
                          <a:pt x="94199" y="3360696"/>
                        </a:moveTo>
                        <a:lnTo>
                          <a:pt x="417168" y="3360696"/>
                        </a:lnTo>
                        <a:cubicBezTo>
                          <a:pt x="433292" y="3360696"/>
                          <a:pt x="446363" y="3373767"/>
                          <a:pt x="446363" y="3389891"/>
                        </a:cubicBezTo>
                        <a:cubicBezTo>
                          <a:pt x="446363" y="3406015"/>
                          <a:pt x="433292" y="3419086"/>
                          <a:pt x="417168" y="3419086"/>
                        </a:cubicBezTo>
                        <a:cubicBezTo>
                          <a:pt x="309512" y="3419086"/>
                          <a:pt x="201854" y="3419085"/>
                          <a:pt x="94198" y="3419085"/>
                        </a:cubicBezTo>
                        <a:cubicBezTo>
                          <a:pt x="78074" y="3419085"/>
                          <a:pt x="65003" y="3406014"/>
                          <a:pt x="65003" y="3389890"/>
                        </a:cubicBezTo>
                        <a:lnTo>
                          <a:pt x="65004" y="3389891"/>
                        </a:lnTo>
                        <a:cubicBezTo>
                          <a:pt x="65004" y="3373767"/>
                          <a:pt x="78075" y="3360696"/>
                          <a:pt x="94199" y="3360696"/>
                        </a:cubicBezTo>
                        <a:close/>
                        <a:moveTo>
                          <a:pt x="94199" y="3301324"/>
                        </a:moveTo>
                        <a:lnTo>
                          <a:pt x="417168" y="3301324"/>
                        </a:lnTo>
                        <a:cubicBezTo>
                          <a:pt x="433292" y="3301324"/>
                          <a:pt x="446363" y="3314395"/>
                          <a:pt x="446363" y="3330519"/>
                        </a:cubicBezTo>
                        <a:cubicBezTo>
                          <a:pt x="446363" y="3346643"/>
                          <a:pt x="433292" y="3359714"/>
                          <a:pt x="417168" y="3359714"/>
                        </a:cubicBezTo>
                        <a:cubicBezTo>
                          <a:pt x="309512" y="3359714"/>
                          <a:pt x="201854" y="3359713"/>
                          <a:pt x="94198" y="3359713"/>
                        </a:cubicBezTo>
                        <a:cubicBezTo>
                          <a:pt x="78074" y="3359713"/>
                          <a:pt x="65003" y="3346642"/>
                          <a:pt x="65003" y="3330518"/>
                        </a:cubicBezTo>
                        <a:lnTo>
                          <a:pt x="65004" y="3330519"/>
                        </a:lnTo>
                        <a:cubicBezTo>
                          <a:pt x="65004" y="3314395"/>
                          <a:pt x="78075" y="3301324"/>
                          <a:pt x="94199" y="3301324"/>
                        </a:cubicBezTo>
                        <a:close/>
                        <a:moveTo>
                          <a:pt x="87362" y="269553"/>
                        </a:moveTo>
                        <a:lnTo>
                          <a:pt x="79360" y="333499"/>
                        </a:lnTo>
                        <a:cubicBezTo>
                          <a:pt x="79360" y="470262"/>
                          <a:pt x="139184" y="584483"/>
                          <a:pt x="218978" y="611594"/>
                        </a:cubicBezTo>
                        <a:lnTo>
                          <a:pt x="292388" y="611594"/>
                        </a:lnTo>
                        <a:cubicBezTo>
                          <a:pt x="372182" y="584483"/>
                          <a:pt x="432006" y="470262"/>
                          <a:pt x="432006" y="333499"/>
                        </a:cubicBezTo>
                        <a:lnTo>
                          <a:pt x="424004" y="269553"/>
                        </a:lnTo>
                        <a:close/>
                        <a:moveTo>
                          <a:pt x="255684" y="0"/>
                        </a:moveTo>
                        <a:cubicBezTo>
                          <a:pt x="268309" y="0"/>
                          <a:pt x="278544" y="10235"/>
                          <a:pt x="278544" y="22860"/>
                        </a:cubicBezTo>
                        <a:cubicBezTo>
                          <a:pt x="278544" y="34799"/>
                          <a:pt x="269391" y="44601"/>
                          <a:pt x="257655" y="44904"/>
                        </a:cubicBezTo>
                        <a:cubicBezTo>
                          <a:pt x="327103" y="45319"/>
                          <a:pt x="388286" y="80432"/>
                          <a:pt x="421913" y="135842"/>
                        </a:cubicBezTo>
                        <a:lnTo>
                          <a:pt x="426301" y="135842"/>
                        </a:lnTo>
                        <a:lnTo>
                          <a:pt x="453218" y="214309"/>
                        </a:lnTo>
                        <a:lnTo>
                          <a:pt x="483744" y="214309"/>
                        </a:lnTo>
                        <a:cubicBezTo>
                          <a:pt x="498999" y="214309"/>
                          <a:pt x="511366" y="226676"/>
                          <a:pt x="511366" y="241931"/>
                        </a:cubicBezTo>
                        <a:cubicBezTo>
                          <a:pt x="511366" y="257186"/>
                          <a:pt x="498999" y="269553"/>
                          <a:pt x="483744" y="269553"/>
                        </a:cubicBezTo>
                        <a:lnTo>
                          <a:pt x="461167" y="269553"/>
                        </a:lnTo>
                        <a:cubicBezTo>
                          <a:pt x="466580" y="289933"/>
                          <a:pt x="468054" y="311456"/>
                          <a:pt x="468054" y="333499"/>
                        </a:cubicBezTo>
                        <a:cubicBezTo>
                          <a:pt x="468054" y="453165"/>
                          <a:pt x="424600" y="557513"/>
                          <a:pt x="359376" y="611594"/>
                        </a:cubicBezTo>
                        <a:lnTo>
                          <a:pt x="360287" y="611594"/>
                        </a:lnTo>
                        <a:lnTo>
                          <a:pt x="341000" y="667819"/>
                        </a:lnTo>
                        <a:lnTo>
                          <a:pt x="341000" y="758186"/>
                        </a:lnTo>
                        <a:lnTo>
                          <a:pt x="340785" y="758186"/>
                        </a:lnTo>
                        <a:lnTo>
                          <a:pt x="314331" y="835306"/>
                        </a:lnTo>
                        <a:cubicBezTo>
                          <a:pt x="322560" y="837558"/>
                          <a:pt x="327684" y="845295"/>
                          <a:pt x="327684" y="854228"/>
                        </a:cubicBezTo>
                        <a:cubicBezTo>
                          <a:pt x="327684" y="866853"/>
                          <a:pt x="317449" y="877088"/>
                          <a:pt x="304824" y="877088"/>
                        </a:cubicBezTo>
                        <a:lnTo>
                          <a:pt x="291683" y="877087"/>
                        </a:lnTo>
                        <a:lnTo>
                          <a:pt x="291683" y="2677287"/>
                        </a:lnTo>
                        <a:lnTo>
                          <a:pt x="309683" y="2677287"/>
                        </a:lnTo>
                        <a:cubicBezTo>
                          <a:pt x="319624" y="2677287"/>
                          <a:pt x="327683" y="2685346"/>
                          <a:pt x="327683" y="2695287"/>
                        </a:cubicBezTo>
                        <a:cubicBezTo>
                          <a:pt x="327683" y="2704864"/>
                          <a:pt x="320204" y="2712694"/>
                          <a:pt x="310744" y="2712848"/>
                        </a:cubicBezTo>
                        <a:cubicBezTo>
                          <a:pt x="320204" y="2713001"/>
                          <a:pt x="327683" y="2720832"/>
                          <a:pt x="327683" y="2730408"/>
                        </a:cubicBezTo>
                        <a:cubicBezTo>
                          <a:pt x="327683" y="2740349"/>
                          <a:pt x="319624" y="2748408"/>
                          <a:pt x="309683" y="2748408"/>
                        </a:cubicBezTo>
                        <a:lnTo>
                          <a:pt x="291683" y="2748408"/>
                        </a:lnTo>
                        <a:lnTo>
                          <a:pt x="291683" y="2749071"/>
                        </a:lnTo>
                        <a:lnTo>
                          <a:pt x="291567" y="2749351"/>
                        </a:lnTo>
                        <a:cubicBezTo>
                          <a:pt x="313374" y="2759321"/>
                          <a:pt x="327683" y="2779569"/>
                          <a:pt x="327683" y="2802740"/>
                        </a:cubicBezTo>
                        <a:cubicBezTo>
                          <a:pt x="327683" y="2821144"/>
                          <a:pt x="318656" y="2837704"/>
                          <a:pt x="303951" y="2848827"/>
                        </a:cubicBezTo>
                        <a:lnTo>
                          <a:pt x="391139" y="3301323"/>
                        </a:lnTo>
                        <a:lnTo>
                          <a:pt x="120228" y="3301323"/>
                        </a:lnTo>
                        <a:lnTo>
                          <a:pt x="207416" y="2848827"/>
                        </a:lnTo>
                        <a:cubicBezTo>
                          <a:pt x="192710" y="2837705"/>
                          <a:pt x="183683" y="2821144"/>
                          <a:pt x="183683" y="2802740"/>
                        </a:cubicBezTo>
                        <a:cubicBezTo>
                          <a:pt x="183683" y="2779569"/>
                          <a:pt x="197992" y="2759321"/>
                          <a:pt x="219799" y="2749351"/>
                        </a:cubicBezTo>
                        <a:cubicBezTo>
                          <a:pt x="219684" y="2749259"/>
                          <a:pt x="219683" y="2749165"/>
                          <a:pt x="219683" y="2749071"/>
                        </a:cubicBezTo>
                        <a:lnTo>
                          <a:pt x="219683" y="2748408"/>
                        </a:lnTo>
                        <a:lnTo>
                          <a:pt x="201683" y="2748408"/>
                        </a:lnTo>
                        <a:cubicBezTo>
                          <a:pt x="191742" y="2748408"/>
                          <a:pt x="183683" y="2740349"/>
                          <a:pt x="183683" y="2730408"/>
                        </a:cubicBezTo>
                        <a:cubicBezTo>
                          <a:pt x="183683" y="2720832"/>
                          <a:pt x="191162" y="2713001"/>
                          <a:pt x="200622" y="2712848"/>
                        </a:cubicBezTo>
                        <a:cubicBezTo>
                          <a:pt x="191162" y="2712694"/>
                          <a:pt x="183683" y="2704864"/>
                          <a:pt x="183683" y="2695287"/>
                        </a:cubicBezTo>
                        <a:cubicBezTo>
                          <a:pt x="183683" y="2685346"/>
                          <a:pt x="191742" y="2677287"/>
                          <a:pt x="201683" y="2677287"/>
                        </a:cubicBezTo>
                        <a:lnTo>
                          <a:pt x="219683" y="2677287"/>
                        </a:lnTo>
                        <a:lnTo>
                          <a:pt x="219683" y="877087"/>
                        </a:lnTo>
                        <a:cubicBezTo>
                          <a:pt x="215303" y="877087"/>
                          <a:pt x="210922" y="877087"/>
                          <a:pt x="206542" y="877087"/>
                        </a:cubicBezTo>
                        <a:cubicBezTo>
                          <a:pt x="193917" y="877087"/>
                          <a:pt x="183682" y="866852"/>
                          <a:pt x="183682" y="854227"/>
                        </a:cubicBezTo>
                        <a:lnTo>
                          <a:pt x="183683" y="854228"/>
                        </a:lnTo>
                        <a:cubicBezTo>
                          <a:pt x="183683" y="845295"/>
                          <a:pt x="188807" y="837558"/>
                          <a:pt x="197036" y="835306"/>
                        </a:cubicBezTo>
                        <a:lnTo>
                          <a:pt x="170582" y="758186"/>
                        </a:lnTo>
                        <a:lnTo>
                          <a:pt x="170367" y="758186"/>
                        </a:lnTo>
                        <a:lnTo>
                          <a:pt x="170367" y="667822"/>
                        </a:lnTo>
                        <a:lnTo>
                          <a:pt x="151079" y="611594"/>
                        </a:lnTo>
                        <a:lnTo>
                          <a:pt x="151990" y="611594"/>
                        </a:lnTo>
                        <a:cubicBezTo>
                          <a:pt x="86766" y="557513"/>
                          <a:pt x="43312" y="453165"/>
                          <a:pt x="43312" y="333499"/>
                        </a:cubicBezTo>
                        <a:lnTo>
                          <a:pt x="50200" y="269553"/>
                        </a:lnTo>
                        <a:cubicBezTo>
                          <a:pt x="42674" y="269552"/>
                          <a:pt x="35148" y="269552"/>
                          <a:pt x="27622" y="269552"/>
                        </a:cubicBezTo>
                        <a:cubicBezTo>
                          <a:pt x="12367" y="269552"/>
                          <a:pt x="0" y="257185"/>
                          <a:pt x="0" y="241930"/>
                        </a:cubicBezTo>
                        <a:lnTo>
                          <a:pt x="1" y="241931"/>
                        </a:lnTo>
                        <a:cubicBezTo>
                          <a:pt x="1" y="226676"/>
                          <a:pt x="12368" y="214309"/>
                          <a:pt x="27623" y="214309"/>
                        </a:cubicBezTo>
                        <a:lnTo>
                          <a:pt x="58148" y="214309"/>
                        </a:lnTo>
                        <a:lnTo>
                          <a:pt x="85065" y="135842"/>
                        </a:lnTo>
                        <a:lnTo>
                          <a:pt x="89453" y="135842"/>
                        </a:lnTo>
                        <a:cubicBezTo>
                          <a:pt x="123081" y="80432"/>
                          <a:pt x="184264" y="45318"/>
                          <a:pt x="253713" y="44903"/>
                        </a:cubicBezTo>
                        <a:cubicBezTo>
                          <a:pt x="241977" y="44601"/>
                          <a:pt x="232824" y="34799"/>
                          <a:pt x="232824" y="22860"/>
                        </a:cubicBezTo>
                        <a:cubicBezTo>
                          <a:pt x="232824" y="10235"/>
                          <a:pt x="243059" y="0"/>
                          <a:pt x="255684" y="0"/>
                        </a:cubicBezTo>
                        <a:close/>
                      </a:path>
                    </a:pathLst>
                  </a:custGeom>
                  <a:solidFill>
                    <a:schemeClr val="bg2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tIns="90000" bIns="90000" rtlCol="0" anchor="t" anchorCtr="0"/>
                  <a:lstStyle/>
                  <a:p>
                    <a:pPr marL="0" marR="0" lvl="0" indent="0" algn="ctr" defTabSz="920069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11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124191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336" name="Abgerundetes Rechteck 71">
                <a:extLst>
                  <a:ext uri="{FF2B5EF4-FFF2-40B4-BE49-F238E27FC236}">
                    <a16:creationId xmlns:a16="http://schemas.microsoft.com/office/drawing/2014/main" xmlns="" id="{1116F40D-E30B-4B58-B433-E1244B0746A1}"/>
                  </a:ext>
                </a:extLst>
              </p:cNvPr>
              <p:cNvSpPr/>
              <p:nvPr/>
            </p:nvSpPr>
            <p:spPr>
              <a:xfrm>
                <a:off x="2163883" y="3025426"/>
                <a:ext cx="71462" cy="477807"/>
              </a:xfrm>
              <a:custGeom>
                <a:avLst/>
                <a:gdLst/>
                <a:ahLst/>
                <a:cxnLst/>
                <a:rect l="l" t="t" r="r" b="b"/>
                <a:pathLst>
                  <a:path w="511366" h="3419086">
                    <a:moveTo>
                      <a:pt x="94199" y="3360696"/>
                    </a:moveTo>
                    <a:lnTo>
                      <a:pt x="417168" y="3360696"/>
                    </a:lnTo>
                    <a:cubicBezTo>
                      <a:pt x="433292" y="3360696"/>
                      <a:pt x="446363" y="3373767"/>
                      <a:pt x="446363" y="3389891"/>
                    </a:cubicBezTo>
                    <a:cubicBezTo>
                      <a:pt x="446363" y="3406015"/>
                      <a:pt x="433292" y="3419086"/>
                      <a:pt x="417168" y="3419086"/>
                    </a:cubicBezTo>
                    <a:cubicBezTo>
                      <a:pt x="309512" y="3419086"/>
                      <a:pt x="201854" y="3419085"/>
                      <a:pt x="94198" y="3419085"/>
                    </a:cubicBezTo>
                    <a:cubicBezTo>
                      <a:pt x="78074" y="3419085"/>
                      <a:pt x="65003" y="3406014"/>
                      <a:pt x="65003" y="3389890"/>
                    </a:cubicBezTo>
                    <a:lnTo>
                      <a:pt x="65004" y="3389891"/>
                    </a:lnTo>
                    <a:cubicBezTo>
                      <a:pt x="65004" y="3373767"/>
                      <a:pt x="78075" y="3360696"/>
                      <a:pt x="94199" y="3360696"/>
                    </a:cubicBezTo>
                    <a:close/>
                    <a:moveTo>
                      <a:pt x="94199" y="3301324"/>
                    </a:moveTo>
                    <a:lnTo>
                      <a:pt x="417168" y="3301324"/>
                    </a:lnTo>
                    <a:cubicBezTo>
                      <a:pt x="433292" y="3301324"/>
                      <a:pt x="446363" y="3314395"/>
                      <a:pt x="446363" y="3330519"/>
                    </a:cubicBezTo>
                    <a:cubicBezTo>
                      <a:pt x="446363" y="3346643"/>
                      <a:pt x="433292" y="3359714"/>
                      <a:pt x="417168" y="3359714"/>
                    </a:cubicBezTo>
                    <a:cubicBezTo>
                      <a:pt x="309512" y="3359714"/>
                      <a:pt x="201854" y="3359713"/>
                      <a:pt x="94198" y="3359713"/>
                    </a:cubicBezTo>
                    <a:cubicBezTo>
                      <a:pt x="78074" y="3359713"/>
                      <a:pt x="65003" y="3346642"/>
                      <a:pt x="65003" y="3330518"/>
                    </a:cubicBezTo>
                    <a:lnTo>
                      <a:pt x="65004" y="3330519"/>
                    </a:lnTo>
                    <a:cubicBezTo>
                      <a:pt x="65004" y="3314395"/>
                      <a:pt x="78075" y="3301324"/>
                      <a:pt x="94199" y="3301324"/>
                    </a:cubicBezTo>
                    <a:close/>
                    <a:moveTo>
                      <a:pt x="87362" y="269553"/>
                    </a:moveTo>
                    <a:lnTo>
                      <a:pt x="79360" y="333499"/>
                    </a:lnTo>
                    <a:cubicBezTo>
                      <a:pt x="79360" y="470262"/>
                      <a:pt x="139184" y="584483"/>
                      <a:pt x="218978" y="611594"/>
                    </a:cubicBezTo>
                    <a:lnTo>
                      <a:pt x="292388" y="611594"/>
                    </a:lnTo>
                    <a:cubicBezTo>
                      <a:pt x="372182" y="584483"/>
                      <a:pt x="432006" y="470262"/>
                      <a:pt x="432006" y="333499"/>
                    </a:cubicBezTo>
                    <a:lnTo>
                      <a:pt x="424004" y="269553"/>
                    </a:lnTo>
                    <a:close/>
                    <a:moveTo>
                      <a:pt x="255684" y="0"/>
                    </a:moveTo>
                    <a:cubicBezTo>
                      <a:pt x="268309" y="0"/>
                      <a:pt x="278544" y="10235"/>
                      <a:pt x="278544" y="22860"/>
                    </a:cubicBezTo>
                    <a:cubicBezTo>
                      <a:pt x="278544" y="34799"/>
                      <a:pt x="269391" y="44601"/>
                      <a:pt x="257655" y="44904"/>
                    </a:cubicBezTo>
                    <a:cubicBezTo>
                      <a:pt x="327103" y="45319"/>
                      <a:pt x="388286" y="80432"/>
                      <a:pt x="421913" y="135842"/>
                    </a:cubicBezTo>
                    <a:lnTo>
                      <a:pt x="426301" y="135842"/>
                    </a:lnTo>
                    <a:lnTo>
                      <a:pt x="453218" y="214309"/>
                    </a:lnTo>
                    <a:lnTo>
                      <a:pt x="483744" y="214309"/>
                    </a:lnTo>
                    <a:cubicBezTo>
                      <a:pt x="498999" y="214309"/>
                      <a:pt x="511366" y="226676"/>
                      <a:pt x="511366" y="241931"/>
                    </a:cubicBezTo>
                    <a:cubicBezTo>
                      <a:pt x="511366" y="257186"/>
                      <a:pt x="498999" y="269553"/>
                      <a:pt x="483744" y="269553"/>
                    </a:cubicBezTo>
                    <a:lnTo>
                      <a:pt x="461167" y="269553"/>
                    </a:lnTo>
                    <a:cubicBezTo>
                      <a:pt x="466580" y="289933"/>
                      <a:pt x="468054" y="311456"/>
                      <a:pt x="468054" y="333499"/>
                    </a:cubicBezTo>
                    <a:cubicBezTo>
                      <a:pt x="468054" y="453165"/>
                      <a:pt x="424600" y="557513"/>
                      <a:pt x="359376" y="611594"/>
                    </a:cubicBezTo>
                    <a:lnTo>
                      <a:pt x="360287" y="611594"/>
                    </a:lnTo>
                    <a:lnTo>
                      <a:pt x="341000" y="667819"/>
                    </a:lnTo>
                    <a:lnTo>
                      <a:pt x="341000" y="758186"/>
                    </a:lnTo>
                    <a:lnTo>
                      <a:pt x="340785" y="758186"/>
                    </a:lnTo>
                    <a:lnTo>
                      <a:pt x="314331" y="835306"/>
                    </a:lnTo>
                    <a:cubicBezTo>
                      <a:pt x="322560" y="837558"/>
                      <a:pt x="327684" y="845295"/>
                      <a:pt x="327684" y="854228"/>
                    </a:cubicBezTo>
                    <a:cubicBezTo>
                      <a:pt x="327684" y="866853"/>
                      <a:pt x="317449" y="877088"/>
                      <a:pt x="304824" y="877088"/>
                    </a:cubicBezTo>
                    <a:lnTo>
                      <a:pt x="291683" y="877087"/>
                    </a:lnTo>
                    <a:lnTo>
                      <a:pt x="291683" y="2677287"/>
                    </a:lnTo>
                    <a:lnTo>
                      <a:pt x="309683" y="2677287"/>
                    </a:lnTo>
                    <a:cubicBezTo>
                      <a:pt x="319624" y="2677287"/>
                      <a:pt x="327683" y="2685346"/>
                      <a:pt x="327683" y="2695287"/>
                    </a:cubicBezTo>
                    <a:cubicBezTo>
                      <a:pt x="327683" y="2704864"/>
                      <a:pt x="320204" y="2712694"/>
                      <a:pt x="310744" y="2712848"/>
                    </a:cubicBezTo>
                    <a:cubicBezTo>
                      <a:pt x="320204" y="2713001"/>
                      <a:pt x="327683" y="2720832"/>
                      <a:pt x="327683" y="2730408"/>
                    </a:cubicBezTo>
                    <a:cubicBezTo>
                      <a:pt x="327683" y="2740349"/>
                      <a:pt x="319624" y="2748408"/>
                      <a:pt x="309683" y="2748408"/>
                    </a:cubicBezTo>
                    <a:lnTo>
                      <a:pt x="291683" y="2748408"/>
                    </a:lnTo>
                    <a:lnTo>
                      <a:pt x="291683" y="2749071"/>
                    </a:lnTo>
                    <a:lnTo>
                      <a:pt x="291567" y="2749351"/>
                    </a:lnTo>
                    <a:cubicBezTo>
                      <a:pt x="313374" y="2759321"/>
                      <a:pt x="327683" y="2779569"/>
                      <a:pt x="327683" y="2802740"/>
                    </a:cubicBezTo>
                    <a:cubicBezTo>
                      <a:pt x="327683" y="2821144"/>
                      <a:pt x="318656" y="2837704"/>
                      <a:pt x="303951" y="2848827"/>
                    </a:cubicBezTo>
                    <a:lnTo>
                      <a:pt x="391139" y="3301323"/>
                    </a:lnTo>
                    <a:lnTo>
                      <a:pt x="120228" y="3301323"/>
                    </a:lnTo>
                    <a:lnTo>
                      <a:pt x="207416" y="2848827"/>
                    </a:lnTo>
                    <a:cubicBezTo>
                      <a:pt x="192710" y="2837705"/>
                      <a:pt x="183683" y="2821144"/>
                      <a:pt x="183683" y="2802740"/>
                    </a:cubicBezTo>
                    <a:cubicBezTo>
                      <a:pt x="183683" y="2779569"/>
                      <a:pt x="197992" y="2759321"/>
                      <a:pt x="219799" y="2749351"/>
                    </a:cubicBezTo>
                    <a:cubicBezTo>
                      <a:pt x="219684" y="2749259"/>
                      <a:pt x="219683" y="2749165"/>
                      <a:pt x="219683" y="2749071"/>
                    </a:cubicBezTo>
                    <a:lnTo>
                      <a:pt x="219683" y="2748408"/>
                    </a:lnTo>
                    <a:lnTo>
                      <a:pt x="201683" y="2748408"/>
                    </a:lnTo>
                    <a:cubicBezTo>
                      <a:pt x="191742" y="2748408"/>
                      <a:pt x="183683" y="2740349"/>
                      <a:pt x="183683" y="2730408"/>
                    </a:cubicBezTo>
                    <a:cubicBezTo>
                      <a:pt x="183683" y="2720832"/>
                      <a:pt x="191162" y="2713001"/>
                      <a:pt x="200622" y="2712848"/>
                    </a:cubicBezTo>
                    <a:cubicBezTo>
                      <a:pt x="191162" y="2712694"/>
                      <a:pt x="183683" y="2704864"/>
                      <a:pt x="183683" y="2695287"/>
                    </a:cubicBezTo>
                    <a:cubicBezTo>
                      <a:pt x="183683" y="2685346"/>
                      <a:pt x="191742" y="2677287"/>
                      <a:pt x="201683" y="2677287"/>
                    </a:cubicBezTo>
                    <a:lnTo>
                      <a:pt x="219683" y="2677287"/>
                    </a:lnTo>
                    <a:lnTo>
                      <a:pt x="219683" y="877087"/>
                    </a:lnTo>
                    <a:cubicBezTo>
                      <a:pt x="215303" y="877087"/>
                      <a:pt x="210922" y="877087"/>
                      <a:pt x="206542" y="877087"/>
                    </a:cubicBezTo>
                    <a:cubicBezTo>
                      <a:pt x="193917" y="877087"/>
                      <a:pt x="183682" y="866852"/>
                      <a:pt x="183682" y="854227"/>
                    </a:cubicBezTo>
                    <a:lnTo>
                      <a:pt x="183683" y="854228"/>
                    </a:lnTo>
                    <a:cubicBezTo>
                      <a:pt x="183683" y="845295"/>
                      <a:pt x="188807" y="837558"/>
                      <a:pt x="197036" y="835306"/>
                    </a:cubicBezTo>
                    <a:lnTo>
                      <a:pt x="170582" y="758186"/>
                    </a:lnTo>
                    <a:lnTo>
                      <a:pt x="170367" y="758186"/>
                    </a:lnTo>
                    <a:lnTo>
                      <a:pt x="170367" y="667822"/>
                    </a:lnTo>
                    <a:lnTo>
                      <a:pt x="151079" y="611594"/>
                    </a:lnTo>
                    <a:lnTo>
                      <a:pt x="151990" y="611594"/>
                    </a:lnTo>
                    <a:cubicBezTo>
                      <a:pt x="86766" y="557513"/>
                      <a:pt x="43312" y="453165"/>
                      <a:pt x="43312" y="333499"/>
                    </a:cubicBezTo>
                    <a:lnTo>
                      <a:pt x="50200" y="269553"/>
                    </a:lnTo>
                    <a:cubicBezTo>
                      <a:pt x="42674" y="269552"/>
                      <a:pt x="35148" y="269552"/>
                      <a:pt x="27622" y="269552"/>
                    </a:cubicBezTo>
                    <a:cubicBezTo>
                      <a:pt x="12367" y="269552"/>
                      <a:pt x="0" y="257185"/>
                      <a:pt x="0" y="241930"/>
                    </a:cubicBezTo>
                    <a:lnTo>
                      <a:pt x="1" y="241931"/>
                    </a:lnTo>
                    <a:cubicBezTo>
                      <a:pt x="1" y="226676"/>
                      <a:pt x="12368" y="214309"/>
                      <a:pt x="27623" y="214309"/>
                    </a:cubicBezTo>
                    <a:lnTo>
                      <a:pt x="58148" y="214309"/>
                    </a:lnTo>
                    <a:lnTo>
                      <a:pt x="85065" y="135842"/>
                    </a:lnTo>
                    <a:lnTo>
                      <a:pt x="89453" y="135842"/>
                    </a:lnTo>
                    <a:cubicBezTo>
                      <a:pt x="123081" y="80432"/>
                      <a:pt x="184264" y="45318"/>
                      <a:pt x="253713" y="44903"/>
                    </a:cubicBezTo>
                    <a:cubicBezTo>
                      <a:pt x="241977" y="44601"/>
                      <a:pt x="232824" y="34799"/>
                      <a:pt x="232824" y="22860"/>
                    </a:cubicBezTo>
                    <a:cubicBezTo>
                      <a:pt x="232824" y="10235"/>
                      <a:pt x="243059" y="0"/>
                      <a:pt x="255684" y="0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90000" bIns="90000" rtlCol="0" anchor="t" anchorCtr="0"/>
              <a:lstStyle/>
              <a:p>
                <a:pPr marL="0" marR="0" lvl="0" indent="0" algn="ctr" defTabSz="92006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  <p:sp>
            <p:nvSpPr>
              <p:cNvPr id="337" name="Abgerundetes Rechteck 71">
                <a:extLst>
                  <a:ext uri="{FF2B5EF4-FFF2-40B4-BE49-F238E27FC236}">
                    <a16:creationId xmlns:a16="http://schemas.microsoft.com/office/drawing/2014/main" xmlns="" id="{8345FABE-46DF-488D-BC61-0F813C218348}"/>
                  </a:ext>
                </a:extLst>
              </p:cNvPr>
              <p:cNvSpPr/>
              <p:nvPr/>
            </p:nvSpPr>
            <p:spPr>
              <a:xfrm>
                <a:off x="1193081" y="2929732"/>
                <a:ext cx="71462" cy="477807"/>
              </a:xfrm>
              <a:custGeom>
                <a:avLst/>
                <a:gdLst/>
                <a:ahLst/>
                <a:cxnLst/>
                <a:rect l="l" t="t" r="r" b="b"/>
                <a:pathLst>
                  <a:path w="511366" h="3419086">
                    <a:moveTo>
                      <a:pt x="94199" y="3360696"/>
                    </a:moveTo>
                    <a:lnTo>
                      <a:pt x="417168" y="3360696"/>
                    </a:lnTo>
                    <a:cubicBezTo>
                      <a:pt x="433292" y="3360696"/>
                      <a:pt x="446363" y="3373767"/>
                      <a:pt x="446363" y="3389891"/>
                    </a:cubicBezTo>
                    <a:cubicBezTo>
                      <a:pt x="446363" y="3406015"/>
                      <a:pt x="433292" y="3419086"/>
                      <a:pt x="417168" y="3419086"/>
                    </a:cubicBezTo>
                    <a:cubicBezTo>
                      <a:pt x="309512" y="3419086"/>
                      <a:pt x="201854" y="3419085"/>
                      <a:pt x="94198" y="3419085"/>
                    </a:cubicBezTo>
                    <a:cubicBezTo>
                      <a:pt x="78074" y="3419085"/>
                      <a:pt x="65003" y="3406014"/>
                      <a:pt x="65003" y="3389890"/>
                    </a:cubicBezTo>
                    <a:lnTo>
                      <a:pt x="65004" y="3389891"/>
                    </a:lnTo>
                    <a:cubicBezTo>
                      <a:pt x="65004" y="3373767"/>
                      <a:pt x="78075" y="3360696"/>
                      <a:pt x="94199" y="3360696"/>
                    </a:cubicBezTo>
                    <a:close/>
                    <a:moveTo>
                      <a:pt x="94199" y="3301324"/>
                    </a:moveTo>
                    <a:lnTo>
                      <a:pt x="417168" y="3301324"/>
                    </a:lnTo>
                    <a:cubicBezTo>
                      <a:pt x="433292" y="3301324"/>
                      <a:pt x="446363" y="3314395"/>
                      <a:pt x="446363" y="3330519"/>
                    </a:cubicBezTo>
                    <a:cubicBezTo>
                      <a:pt x="446363" y="3346643"/>
                      <a:pt x="433292" y="3359714"/>
                      <a:pt x="417168" y="3359714"/>
                    </a:cubicBezTo>
                    <a:cubicBezTo>
                      <a:pt x="309512" y="3359714"/>
                      <a:pt x="201854" y="3359713"/>
                      <a:pt x="94198" y="3359713"/>
                    </a:cubicBezTo>
                    <a:cubicBezTo>
                      <a:pt x="78074" y="3359713"/>
                      <a:pt x="65003" y="3346642"/>
                      <a:pt x="65003" y="3330518"/>
                    </a:cubicBezTo>
                    <a:lnTo>
                      <a:pt x="65004" y="3330519"/>
                    </a:lnTo>
                    <a:cubicBezTo>
                      <a:pt x="65004" y="3314395"/>
                      <a:pt x="78075" y="3301324"/>
                      <a:pt x="94199" y="3301324"/>
                    </a:cubicBezTo>
                    <a:close/>
                    <a:moveTo>
                      <a:pt x="87362" y="269553"/>
                    </a:moveTo>
                    <a:lnTo>
                      <a:pt x="79360" y="333499"/>
                    </a:lnTo>
                    <a:cubicBezTo>
                      <a:pt x="79360" y="470262"/>
                      <a:pt x="139184" y="584483"/>
                      <a:pt x="218978" y="611594"/>
                    </a:cubicBezTo>
                    <a:lnTo>
                      <a:pt x="292388" y="611594"/>
                    </a:lnTo>
                    <a:cubicBezTo>
                      <a:pt x="372182" y="584483"/>
                      <a:pt x="432006" y="470262"/>
                      <a:pt x="432006" y="333499"/>
                    </a:cubicBezTo>
                    <a:lnTo>
                      <a:pt x="424004" y="269553"/>
                    </a:lnTo>
                    <a:close/>
                    <a:moveTo>
                      <a:pt x="255684" y="0"/>
                    </a:moveTo>
                    <a:cubicBezTo>
                      <a:pt x="268309" y="0"/>
                      <a:pt x="278544" y="10235"/>
                      <a:pt x="278544" y="22860"/>
                    </a:cubicBezTo>
                    <a:cubicBezTo>
                      <a:pt x="278544" y="34799"/>
                      <a:pt x="269391" y="44601"/>
                      <a:pt x="257655" y="44904"/>
                    </a:cubicBezTo>
                    <a:cubicBezTo>
                      <a:pt x="327103" y="45319"/>
                      <a:pt x="388286" y="80432"/>
                      <a:pt x="421913" y="135842"/>
                    </a:cubicBezTo>
                    <a:lnTo>
                      <a:pt x="426301" y="135842"/>
                    </a:lnTo>
                    <a:lnTo>
                      <a:pt x="453218" y="214309"/>
                    </a:lnTo>
                    <a:lnTo>
                      <a:pt x="483744" y="214309"/>
                    </a:lnTo>
                    <a:cubicBezTo>
                      <a:pt x="498999" y="214309"/>
                      <a:pt x="511366" y="226676"/>
                      <a:pt x="511366" y="241931"/>
                    </a:cubicBezTo>
                    <a:cubicBezTo>
                      <a:pt x="511366" y="257186"/>
                      <a:pt x="498999" y="269553"/>
                      <a:pt x="483744" y="269553"/>
                    </a:cubicBezTo>
                    <a:lnTo>
                      <a:pt x="461167" y="269553"/>
                    </a:lnTo>
                    <a:cubicBezTo>
                      <a:pt x="466580" y="289933"/>
                      <a:pt x="468054" y="311456"/>
                      <a:pt x="468054" y="333499"/>
                    </a:cubicBezTo>
                    <a:cubicBezTo>
                      <a:pt x="468054" y="453165"/>
                      <a:pt x="424600" y="557513"/>
                      <a:pt x="359376" y="611594"/>
                    </a:cubicBezTo>
                    <a:lnTo>
                      <a:pt x="360287" y="611594"/>
                    </a:lnTo>
                    <a:lnTo>
                      <a:pt x="341000" y="667819"/>
                    </a:lnTo>
                    <a:lnTo>
                      <a:pt x="341000" y="758186"/>
                    </a:lnTo>
                    <a:lnTo>
                      <a:pt x="340785" y="758186"/>
                    </a:lnTo>
                    <a:lnTo>
                      <a:pt x="314331" y="835306"/>
                    </a:lnTo>
                    <a:cubicBezTo>
                      <a:pt x="322560" y="837558"/>
                      <a:pt x="327684" y="845295"/>
                      <a:pt x="327684" y="854228"/>
                    </a:cubicBezTo>
                    <a:cubicBezTo>
                      <a:pt x="327684" y="866853"/>
                      <a:pt x="317449" y="877088"/>
                      <a:pt x="304824" y="877088"/>
                    </a:cubicBezTo>
                    <a:lnTo>
                      <a:pt x="291683" y="877087"/>
                    </a:lnTo>
                    <a:lnTo>
                      <a:pt x="291683" y="2677287"/>
                    </a:lnTo>
                    <a:lnTo>
                      <a:pt x="309683" y="2677287"/>
                    </a:lnTo>
                    <a:cubicBezTo>
                      <a:pt x="319624" y="2677287"/>
                      <a:pt x="327683" y="2685346"/>
                      <a:pt x="327683" y="2695287"/>
                    </a:cubicBezTo>
                    <a:cubicBezTo>
                      <a:pt x="327683" y="2704864"/>
                      <a:pt x="320204" y="2712694"/>
                      <a:pt x="310744" y="2712848"/>
                    </a:cubicBezTo>
                    <a:cubicBezTo>
                      <a:pt x="320204" y="2713001"/>
                      <a:pt x="327683" y="2720832"/>
                      <a:pt x="327683" y="2730408"/>
                    </a:cubicBezTo>
                    <a:cubicBezTo>
                      <a:pt x="327683" y="2740349"/>
                      <a:pt x="319624" y="2748408"/>
                      <a:pt x="309683" y="2748408"/>
                    </a:cubicBezTo>
                    <a:lnTo>
                      <a:pt x="291683" y="2748408"/>
                    </a:lnTo>
                    <a:lnTo>
                      <a:pt x="291683" y="2749071"/>
                    </a:lnTo>
                    <a:lnTo>
                      <a:pt x="291567" y="2749351"/>
                    </a:lnTo>
                    <a:cubicBezTo>
                      <a:pt x="313374" y="2759321"/>
                      <a:pt x="327683" y="2779569"/>
                      <a:pt x="327683" y="2802740"/>
                    </a:cubicBezTo>
                    <a:cubicBezTo>
                      <a:pt x="327683" y="2821144"/>
                      <a:pt x="318656" y="2837704"/>
                      <a:pt x="303951" y="2848827"/>
                    </a:cubicBezTo>
                    <a:lnTo>
                      <a:pt x="391139" y="3301323"/>
                    </a:lnTo>
                    <a:lnTo>
                      <a:pt x="120228" y="3301323"/>
                    </a:lnTo>
                    <a:lnTo>
                      <a:pt x="207416" y="2848827"/>
                    </a:lnTo>
                    <a:cubicBezTo>
                      <a:pt x="192710" y="2837705"/>
                      <a:pt x="183683" y="2821144"/>
                      <a:pt x="183683" y="2802740"/>
                    </a:cubicBezTo>
                    <a:cubicBezTo>
                      <a:pt x="183683" y="2779569"/>
                      <a:pt x="197992" y="2759321"/>
                      <a:pt x="219799" y="2749351"/>
                    </a:cubicBezTo>
                    <a:cubicBezTo>
                      <a:pt x="219684" y="2749259"/>
                      <a:pt x="219683" y="2749165"/>
                      <a:pt x="219683" y="2749071"/>
                    </a:cubicBezTo>
                    <a:lnTo>
                      <a:pt x="219683" y="2748408"/>
                    </a:lnTo>
                    <a:lnTo>
                      <a:pt x="201683" y="2748408"/>
                    </a:lnTo>
                    <a:cubicBezTo>
                      <a:pt x="191742" y="2748408"/>
                      <a:pt x="183683" y="2740349"/>
                      <a:pt x="183683" y="2730408"/>
                    </a:cubicBezTo>
                    <a:cubicBezTo>
                      <a:pt x="183683" y="2720832"/>
                      <a:pt x="191162" y="2713001"/>
                      <a:pt x="200622" y="2712848"/>
                    </a:cubicBezTo>
                    <a:cubicBezTo>
                      <a:pt x="191162" y="2712694"/>
                      <a:pt x="183683" y="2704864"/>
                      <a:pt x="183683" y="2695287"/>
                    </a:cubicBezTo>
                    <a:cubicBezTo>
                      <a:pt x="183683" y="2685346"/>
                      <a:pt x="191742" y="2677287"/>
                      <a:pt x="201683" y="2677287"/>
                    </a:cubicBezTo>
                    <a:lnTo>
                      <a:pt x="219683" y="2677287"/>
                    </a:lnTo>
                    <a:lnTo>
                      <a:pt x="219683" y="877087"/>
                    </a:lnTo>
                    <a:cubicBezTo>
                      <a:pt x="215303" y="877087"/>
                      <a:pt x="210922" y="877087"/>
                      <a:pt x="206542" y="877087"/>
                    </a:cubicBezTo>
                    <a:cubicBezTo>
                      <a:pt x="193917" y="877087"/>
                      <a:pt x="183682" y="866852"/>
                      <a:pt x="183682" y="854227"/>
                    </a:cubicBezTo>
                    <a:lnTo>
                      <a:pt x="183683" y="854228"/>
                    </a:lnTo>
                    <a:cubicBezTo>
                      <a:pt x="183683" y="845295"/>
                      <a:pt x="188807" y="837558"/>
                      <a:pt x="197036" y="835306"/>
                    </a:cubicBezTo>
                    <a:lnTo>
                      <a:pt x="170582" y="758186"/>
                    </a:lnTo>
                    <a:lnTo>
                      <a:pt x="170367" y="758186"/>
                    </a:lnTo>
                    <a:lnTo>
                      <a:pt x="170367" y="667822"/>
                    </a:lnTo>
                    <a:lnTo>
                      <a:pt x="151079" y="611594"/>
                    </a:lnTo>
                    <a:lnTo>
                      <a:pt x="151990" y="611594"/>
                    </a:lnTo>
                    <a:cubicBezTo>
                      <a:pt x="86766" y="557513"/>
                      <a:pt x="43312" y="453165"/>
                      <a:pt x="43312" y="333499"/>
                    </a:cubicBezTo>
                    <a:lnTo>
                      <a:pt x="50200" y="269553"/>
                    </a:lnTo>
                    <a:cubicBezTo>
                      <a:pt x="42674" y="269552"/>
                      <a:pt x="35148" y="269552"/>
                      <a:pt x="27622" y="269552"/>
                    </a:cubicBezTo>
                    <a:cubicBezTo>
                      <a:pt x="12367" y="269552"/>
                      <a:pt x="0" y="257185"/>
                      <a:pt x="0" y="241930"/>
                    </a:cubicBezTo>
                    <a:lnTo>
                      <a:pt x="1" y="241931"/>
                    </a:lnTo>
                    <a:cubicBezTo>
                      <a:pt x="1" y="226676"/>
                      <a:pt x="12368" y="214309"/>
                      <a:pt x="27623" y="214309"/>
                    </a:cubicBezTo>
                    <a:lnTo>
                      <a:pt x="58148" y="214309"/>
                    </a:lnTo>
                    <a:lnTo>
                      <a:pt x="85065" y="135842"/>
                    </a:lnTo>
                    <a:lnTo>
                      <a:pt x="89453" y="135842"/>
                    </a:lnTo>
                    <a:cubicBezTo>
                      <a:pt x="123081" y="80432"/>
                      <a:pt x="184264" y="45318"/>
                      <a:pt x="253713" y="44903"/>
                    </a:cubicBezTo>
                    <a:cubicBezTo>
                      <a:pt x="241977" y="44601"/>
                      <a:pt x="232824" y="34799"/>
                      <a:pt x="232824" y="22860"/>
                    </a:cubicBezTo>
                    <a:cubicBezTo>
                      <a:pt x="232824" y="10235"/>
                      <a:pt x="243059" y="0"/>
                      <a:pt x="255684" y="0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90000" bIns="90000" rtlCol="0" anchor="t" anchorCtr="0"/>
              <a:lstStyle/>
              <a:p>
                <a:pPr marL="0" marR="0" lvl="0" indent="0" algn="ctr" defTabSz="92006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08" name="Gruppieren 332">
            <a:extLst>
              <a:ext uri="{FF2B5EF4-FFF2-40B4-BE49-F238E27FC236}">
                <a16:creationId xmlns:a16="http://schemas.microsoft.com/office/drawing/2014/main" xmlns="" id="{E911D6E3-3C31-4CBD-AE53-139F7D5FEA09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2367102" y="2189448"/>
            <a:ext cx="181132" cy="80913"/>
            <a:chOff x="5713966" y="1777233"/>
            <a:chExt cx="366858" cy="163390"/>
          </a:xfrm>
          <a:solidFill>
            <a:schemeClr val="bg1"/>
          </a:solidFill>
        </p:grpSpPr>
        <p:sp>
          <p:nvSpPr>
            <p:cNvPr id="309" name="Freeform 146">
              <a:extLst>
                <a:ext uri="{FF2B5EF4-FFF2-40B4-BE49-F238E27FC236}">
                  <a16:creationId xmlns:a16="http://schemas.microsoft.com/office/drawing/2014/main" xmlns="" id="{6D6706F3-36C6-4D1F-8FDF-A5572C1FC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0999" y="1808061"/>
              <a:ext cx="252793" cy="132562"/>
            </a:xfrm>
            <a:custGeom>
              <a:avLst/>
              <a:gdLst>
                <a:gd name="T0" fmla="*/ 0 w 328"/>
                <a:gd name="T1" fmla="*/ 0 h 172"/>
                <a:gd name="T2" fmla="*/ 0 w 328"/>
                <a:gd name="T3" fmla="*/ 83 h 172"/>
                <a:gd name="T4" fmla="*/ 34 w 328"/>
                <a:gd name="T5" fmla="*/ 83 h 172"/>
                <a:gd name="T6" fmla="*/ 34 w 328"/>
                <a:gd name="T7" fmla="*/ 54 h 172"/>
                <a:gd name="T8" fmla="*/ 127 w 328"/>
                <a:gd name="T9" fmla="*/ 54 h 172"/>
                <a:gd name="T10" fmla="*/ 157 w 328"/>
                <a:gd name="T11" fmla="*/ 172 h 172"/>
                <a:gd name="T12" fmla="*/ 176 w 328"/>
                <a:gd name="T13" fmla="*/ 172 h 172"/>
                <a:gd name="T14" fmla="*/ 201 w 328"/>
                <a:gd name="T15" fmla="*/ 54 h 172"/>
                <a:gd name="T16" fmla="*/ 294 w 328"/>
                <a:gd name="T17" fmla="*/ 54 h 172"/>
                <a:gd name="T18" fmla="*/ 294 w 328"/>
                <a:gd name="T19" fmla="*/ 83 h 172"/>
                <a:gd name="T20" fmla="*/ 328 w 328"/>
                <a:gd name="T21" fmla="*/ 83 h 172"/>
                <a:gd name="T22" fmla="*/ 328 w 328"/>
                <a:gd name="T23" fmla="*/ 0 h 172"/>
                <a:gd name="T24" fmla="*/ 294 w 328"/>
                <a:gd name="T25" fmla="*/ 0 h 172"/>
                <a:gd name="T26" fmla="*/ 294 w 328"/>
                <a:gd name="T27" fmla="*/ 29 h 172"/>
                <a:gd name="T28" fmla="*/ 162 w 328"/>
                <a:gd name="T29" fmla="*/ 0 h 172"/>
                <a:gd name="T30" fmla="*/ 34 w 328"/>
                <a:gd name="T31" fmla="*/ 29 h 172"/>
                <a:gd name="T32" fmla="*/ 34 w 328"/>
                <a:gd name="T33" fmla="*/ 0 h 172"/>
                <a:gd name="T34" fmla="*/ 0 w 328"/>
                <a:gd name="T35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8" h="172">
                  <a:moveTo>
                    <a:pt x="0" y="0"/>
                  </a:moveTo>
                  <a:lnTo>
                    <a:pt x="0" y="83"/>
                  </a:lnTo>
                  <a:lnTo>
                    <a:pt x="34" y="83"/>
                  </a:lnTo>
                  <a:lnTo>
                    <a:pt x="34" y="54"/>
                  </a:lnTo>
                  <a:lnTo>
                    <a:pt x="127" y="54"/>
                  </a:lnTo>
                  <a:lnTo>
                    <a:pt x="157" y="172"/>
                  </a:lnTo>
                  <a:lnTo>
                    <a:pt x="176" y="172"/>
                  </a:lnTo>
                  <a:lnTo>
                    <a:pt x="201" y="54"/>
                  </a:lnTo>
                  <a:lnTo>
                    <a:pt x="294" y="54"/>
                  </a:lnTo>
                  <a:lnTo>
                    <a:pt x="294" y="83"/>
                  </a:lnTo>
                  <a:lnTo>
                    <a:pt x="328" y="83"/>
                  </a:lnTo>
                  <a:lnTo>
                    <a:pt x="328" y="0"/>
                  </a:lnTo>
                  <a:lnTo>
                    <a:pt x="294" y="0"/>
                  </a:lnTo>
                  <a:lnTo>
                    <a:pt x="294" y="29"/>
                  </a:lnTo>
                  <a:lnTo>
                    <a:pt x="162" y="0"/>
                  </a:lnTo>
                  <a:lnTo>
                    <a:pt x="34" y="29"/>
                  </a:lnTo>
                  <a:lnTo>
                    <a:pt x="3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5080" cap="flat">
              <a:solidFill>
                <a:schemeClr val="accent2">
                  <a:lumMod val="75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7731" tIns="33866" rIns="67731" bIns="33866" numCol="1" anchor="t" anchorCtr="0" compatLnSpc="1">
              <a:prstTxWarp prst="textNoShape">
                <a:avLst/>
              </a:prstTxWarp>
            </a:bodyPr>
            <a:lstStyle/>
            <a:p>
              <a:pPr defTabSz="685693">
                <a:defRPr/>
              </a:pPr>
              <a:endParaRPr lang="en-US" sz="1800">
                <a:solidFill>
                  <a:srgbClr val="124191"/>
                </a:solidFill>
                <a:latin typeface="Nokia Pure Text Light"/>
              </a:endParaRPr>
            </a:p>
          </p:txBody>
        </p:sp>
        <p:sp>
          <p:nvSpPr>
            <p:cNvPr id="310" name="Line 147">
              <a:extLst>
                <a:ext uri="{FF2B5EF4-FFF2-40B4-BE49-F238E27FC236}">
                  <a16:creationId xmlns:a16="http://schemas.microsoft.com/office/drawing/2014/main" xmlns="" id="{71286B1A-A512-413D-AE9C-7D5959CE92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13966" y="1792647"/>
              <a:ext cx="140269" cy="0"/>
            </a:xfrm>
            <a:prstGeom prst="line">
              <a:avLst/>
            </a:prstGeom>
            <a:grpFill/>
            <a:ln w="5080" cap="flat">
              <a:solidFill>
                <a:schemeClr val="accent2">
                  <a:lumMod val="75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7731" tIns="33866" rIns="67731" bIns="33866" numCol="1" anchor="t" anchorCtr="0" compatLnSpc="1">
              <a:prstTxWarp prst="textNoShape">
                <a:avLst/>
              </a:prstTxWarp>
            </a:bodyPr>
            <a:lstStyle/>
            <a:p>
              <a:pPr defTabSz="685693">
                <a:defRPr/>
              </a:pPr>
              <a:endParaRPr lang="en-US" sz="1800">
                <a:solidFill>
                  <a:srgbClr val="124191"/>
                </a:solidFill>
                <a:latin typeface="Nokia Pure Text Light"/>
              </a:endParaRPr>
            </a:p>
          </p:txBody>
        </p:sp>
        <p:sp>
          <p:nvSpPr>
            <p:cNvPr id="311" name="Line 148">
              <a:extLst>
                <a:ext uri="{FF2B5EF4-FFF2-40B4-BE49-F238E27FC236}">
                  <a16:creationId xmlns:a16="http://schemas.microsoft.com/office/drawing/2014/main" xmlns="" id="{33462DC8-5C92-41B1-9A70-B5C27469D2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67145" y="1777233"/>
              <a:ext cx="33911" cy="0"/>
            </a:xfrm>
            <a:prstGeom prst="line">
              <a:avLst/>
            </a:prstGeom>
            <a:grpFill/>
            <a:ln w="5080" cap="flat">
              <a:solidFill>
                <a:schemeClr val="accent2">
                  <a:lumMod val="75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7731" tIns="33866" rIns="67731" bIns="33866" numCol="1" anchor="t" anchorCtr="0" compatLnSpc="1">
              <a:prstTxWarp prst="textNoShape">
                <a:avLst/>
              </a:prstTxWarp>
            </a:bodyPr>
            <a:lstStyle/>
            <a:p>
              <a:pPr defTabSz="685693">
                <a:defRPr/>
              </a:pPr>
              <a:endParaRPr lang="en-US" sz="1800">
                <a:solidFill>
                  <a:srgbClr val="124191"/>
                </a:solidFill>
                <a:latin typeface="Nokia Pure Text Light"/>
              </a:endParaRPr>
            </a:p>
          </p:txBody>
        </p:sp>
        <p:sp>
          <p:nvSpPr>
            <p:cNvPr id="312" name="Line 149">
              <a:extLst>
                <a:ext uri="{FF2B5EF4-FFF2-40B4-BE49-F238E27FC236}">
                  <a16:creationId xmlns:a16="http://schemas.microsoft.com/office/drawing/2014/main" xmlns="" id="{C1154D63-97FA-4634-9F09-8A26509E31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40555" y="1792647"/>
              <a:ext cx="140269" cy="0"/>
            </a:xfrm>
            <a:prstGeom prst="line">
              <a:avLst/>
            </a:prstGeom>
            <a:grpFill/>
            <a:ln w="5080" cap="flat">
              <a:solidFill>
                <a:schemeClr val="accent2">
                  <a:lumMod val="75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7731" tIns="33866" rIns="67731" bIns="33866" numCol="1" anchor="t" anchorCtr="0" compatLnSpc="1">
              <a:prstTxWarp prst="textNoShape">
                <a:avLst/>
              </a:prstTxWarp>
            </a:bodyPr>
            <a:lstStyle/>
            <a:p>
              <a:pPr defTabSz="685693">
                <a:defRPr/>
              </a:pPr>
              <a:endParaRPr lang="en-US" sz="1800">
                <a:solidFill>
                  <a:srgbClr val="124191"/>
                </a:solidFill>
                <a:latin typeface="Nokia Pure Text Light"/>
              </a:endParaRPr>
            </a:p>
          </p:txBody>
        </p:sp>
        <p:sp>
          <p:nvSpPr>
            <p:cNvPr id="313" name="Line 150">
              <a:extLst>
                <a:ext uri="{FF2B5EF4-FFF2-40B4-BE49-F238E27FC236}">
                  <a16:creationId xmlns:a16="http://schemas.microsoft.com/office/drawing/2014/main" xmlns="" id="{94F6DE7E-20C3-4089-9057-F0A17082E8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3734" y="1777233"/>
              <a:ext cx="30058" cy="0"/>
            </a:xfrm>
            <a:prstGeom prst="line">
              <a:avLst/>
            </a:prstGeom>
            <a:grpFill/>
            <a:ln w="5080" cap="flat">
              <a:solidFill>
                <a:schemeClr val="accent2">
                  <a:lumMod val="75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7731" tIns="33866" rIns="67731" bIns="33866" numCol="1" anchor="t" anchorCtr="0" compatLnSpc="1">
              <a:prstTxWarp prst="textNoShape">
                <a:avLst/>
              </a:prstTxWarp>
            </a:bodyPr>
            <a:lstStyle/>
            <a:p>
              <a:pPr defTabSz="685693">
                <a:defRPr/>
              </a:pPr>
              <a:endParaRPr lang="en-US" sz="1800">
                <a:solidFill>
                  <a:srgbClr val="124191"/>
                </a:solidFill>
                <a:latin typeface="Nokia Pure Text Light"/>
              </a:endParaRPr>
            </a:p>
          </p:txBody>
        </p:sp>
      </p:grpSp>
      <p:sp>
        <p:nvSpPr>
          <p:cNvPr id="13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17600" y="590402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12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5" name="Footer Placeholder 27"/>
          <p:cNvSpPr>
            <a:spLocks noGrp="1"/>
          </p:cNvSpPr>
          <p:nvPr userDrawn="1"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Ultra-optimized solution to de-risk your 5G deployment</a:t>
            </a:r>
            <a:endParaRPr lang="en-US" dirty="0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xmlns="" id="{7D25F2F2-2F02-4CBD-BA0D-BD1CF51E8F4F}"/>
              </a:ext>
            </a:extLst>
          </p:cNvPr>
          <p:cNvSpPr/>
          <p:nvPr userDrawn="1"/>
        </p:nvSpPr>
        <p:spPr>
          <a:xfrm>
            <a:off x="434595" y="1303783"/>
            <a:ext cx="601927" cy="398460"/>
          </a:xfrm>
          <a:prstGeom prst="roundRect">
            <a:avLst>
              <a:gd name="adj" fmla="val 0"/>
            </a:avLst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224" tIns="72447" rIns="0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r>
              <a:rPr lang="en-GB" sz="906" dirty="0">
                <a:solidFill>
                  <a:schemeClr val="bg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rPr>
              <a:t>Emerging devices &amp; sensors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xmlns="" id="{300E7262-C8DF-4743-8D74-FBCE5C32FE93}"/>
              </a:ext>
            </a:extLst>
          </p:cNvPr>
          <p:cNvSpPr/>
          <p:nvPr userDrawn="1"/>
        </p:nvSpPr>
        <p:spPr>
          <a:xfrm>
            <a:off x="1937570" y="1231561"/>
            <a:ext cx="7018037" cy="32601"/>
          </a:xfrm>
          <a:custGeom>
            <a:avLst/>
            <a:gdLst>
              <a:gd name="connsiteX0" fmla="*/ 25507 w 6974174"/>
              <a:gd name="connsiteY0" fmla="*/ 0 h 32400"/>
              <a:gd name="connsiteX1" fmla="*/ 6974174 w 6974174"/>
              <a:gd name="connsiteY1" fmla="*/ 0 h 32400"/>
              <a:gd name="connsiteX2" fmla="*/ 6974174 w 6974174"/>
              <a:gd name="connsiteY2" fmla="*/ 32400 h 32400"/>
              <a:gd name="connsiteX3" fmla="*/ 0 w 6974174"/>
              <a:gd name="connsiteY3" fmla="*/ 32400 h 32400"/>
              <a:gd name="connsiteX4" fmla="*/ 25507 w 6974174"/>
              <a:gd name="connsiteY4" fmla="*/ 31112 h 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74174" h="32400">
                <a:moveTo>
                  <a:pt x="25507" y="0"/>
                </a:moveTo>
                <a:lnTo>
                  <a:pt x="6974174" y="0"/>
                </a:lnTo>
                <a:lnTo>
                  <a:pt x="6974174" y="32400"/>
                </a:lnTo>
                <a:lnTo>
                  <a:pt x="0" y="32400"/>
                </a:lnTo>
                <a:lnTo>
                  <a:pt x="25507" y="31112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60000"/>
            </a:schemeClr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224" tIns="36224" rIns="36224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lang="en-GB" sz="906" dirty="0">
              <a:solidFill>
                <a:schemeClr val="bg2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sp>
        <p:nvSpPr>
          <p:cNvPr id="251" name="Rectangle 170">
            <a:extLst>
              <a:ext uri="{FF2B5EF4-FFF2-40B4-BE49-F238E27FC236}">
                <a16:creationId xmlns:a16="http://schemas.microsoft.com/office/drawing/2014/main" xmlns="" id="{38547BA0-ED63-413E-B36E-1E4F7EFEAE59}"/>
              </a:ext>
            </a:extLst>
          </p:cNvPr>
          <p:cNvSpPr/>
          <p:nvPr userDrawn="1"/>
        </p:nvSpPr>
        <p:spPr>
          <a:xfrm>
            <a:off x="4189807" y="3586124"/>
            <a:ext cx="303261" cy="140263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457182"/>
            <a:r>
              <a:rPr lang="en-US" sz="906" dirty="0">
                <a:solidFill>
                  <a:schemeClr val="bg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rPr>
              <a:t>Edge </a:t>
            </a:r>
          </a:p>
        </p:txBody>
      </p:sp>
      <p:sp>
        <p:nvSpPr>
          <p:cNvPr id="252" name="Rectangle 170">
            <a:extLst>
              <a:ext uri="{FF2B5EF4-FFF2-40B4-BE49-F238E27FC236}">
                <a16:creationId xmlns:a16="http://schemas.microsoft.com/office/drawing/2014/main" xmlns="" id="{B054271C-EAFC-4F7A-B724-37C600994009}"/>
              </a:ext>
            </a:extLst>
          </p:cNvPr>
          <p:cNvSpPr/>
          <p:nvPr userDrawn="1"/>
        </p:nvSpPr>
        <p:spPr>
          <a:xfrm>
            <a:off x="6632843" y="3586124"/>
            <a:ext cx="646848" cy="140263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457182"/>
            <a:r>
              <a:rPr lang="en-US" sz="906" dirty="0">
                <a:solidFill>
                  <a:schemeClr val="bg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rPr>
              <a:t>Central core</a:t>
            </a:r>
          </a:p>
        </p:txBody>
      </p:sp>
      <p:sp>
        <p:nvSpPr>
          <p:cNvPr id="253" name="Rectangle 170">
            <a:extLst>
              <a:ext uri="{FF2B5EF4-FFF2-40B4-BE49-F238E27FC236}">
                <a16:creationId xmlns:a16="http://schemas.microsoft.com/office/drawing/2014/main" xmlns="" id="{4E8DCD5F-34E5-4856-AFA6-499AE9D68448}"/>
              </a:ext>
            </a:extLst>
          </p:cNvPr>
          <p:cNvSpPr/>
          <p:nvPr userDrawn="1"/>
        </p:nvSpPr>
        <p:spPr>
          <a:xfrm>
            <a:off x="1637769" y="3586124"/>
            <a:ext cx="558127" cy="139359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457182"/>
            <a:r>
              <a:rPr lang="en-US" sz="906" dirty="0">
                <a:solidFill>
                  <a:schemeClr val="bg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rPr>
              <a:t>Radio sites</a:t>
            </a:r>
          </a:p>
        </p:txBody>
      </p:sp>
      <p:sp>
        <p:nvSpPr>
          <p:cNvPr id="254" name="Titel 1">
            <a:extLst>
              <a:ext uri="{FF2B5EF4-FFF2-40B4-BE49-F238E27FC236}">
                <a16:creationId xmlns:a16="http://schemas.microsoft.com/office/drawing/2014/main" xmlns="" id="{9B6EE272-3454-47C7-9F35-10D556A60E2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17600" y="280989"/>
            <a:ext cx="8308800" cy="30935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headline</a:t>
            </a:r>
            <a:endParaRPr lang="en-GB" dirty="0"/>
          </a:p>
        </p:txBody>
      </p:sp>
      <p:sp>
        <p:nvSpPr>
          <p:cNvPr id="266" name="Freihandform: Form 265">
            <a:extLst>
              <a:ext uri="{FF2B5EF4-FFF2-40B4-BE49-F238E27FC236}">
                <a16:creationId xmlns:a16="http://schemas.microsoft.com/office/drawing/2014/main" xmlns="" id="{CD420392-82F0-48D7-A350-5B0E737FDFF3}"/>
              </a:ext>
            </a:extLst>
          </p:cNvPr>
          <p:cNvSpPr/>
          <p:nvPr userDrawn="1"/>
        </p:nvSpPr>
        <p:spPr>
          <a:xfrm>
            <a:off x="1963239" y="3867172"/>
            <a:ext cx="6992369" cy="32601"/>
          </a:xfrm>
          <a:custGeom>
            <a:avLst/>
            <a:gdLst>
              <a:gd name="connsiteX0" fmla="*/ 0 w 6948667"/>
              <a:gd name="connsiteY0" fmla="*/ 0 h 32400"/>
              <a:gd name="connsiteX1" fmla="*/ 6948667 w 6948667"/>
              <a:gd name="connsiteY1" fmla="*/ 0 h 32400"/>
              <a:gd name="connsiteX2" fmla="*/ 6948667 w 6948667"/>
              <a:gd name="connsiteY2" fmla="*/ 32400 h 32400"/>
              <a:gd name="connsiteX3" fmla="*/ 1140 w 6948667"/>
              <a:gd name="connsiteY3" fmla="*/ 32400 h 32400"/>
              <a:gd name="connsiteX4" fmla="*/ 1140 w 6948667"/>
              <a:gd name="connsiteY4" fmla="*/ 6396 h 32400"/>
              <a:gd name="connsiteX5" fmla="*/ 0 w 6948667"/>
              <a:gd name="connsiteY5" fmla="*/ 6396 h 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948667" h="32400">
                <a:moveTo>
                  <a:pt x="0" y="0"/>
                </a:moveTo>
                <a:lnTo>
                  <a:pt x="6948667" y="0"/>
                </a:lnTo>
                <a:lnTo>
                  <a:pt x="6948667" y="32400"/>
                </a:lnTo>
                <a:lnTo>
                  <a:pt x="1140" y="32400"/>
                </a:lnTo>
                <a:lnTo>
                  <a:pt x="1140" y="6396"/>
                </a:lnTo>
                <a:lnTo>
                  <a:pt x="0" y="639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60000"/>
            </a:schemeClr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224" tIns="36224" rIns="36224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lang="en-GB" sz="906" dirty="0">
              <a:solidFill>
                <a:schemeClr val="bg2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sp>
        <p:nvSpPr>
          <p:cNvPr id="267" name="Freihandform: Form 266">
            <a:extLst>
              <a:ext uri="{FF2B5EF4-FFF2-40B4-BE49-F238E27FC236}">
                <a16:creationId xmlns:a16="http://schemas.microsoft.com/office/drawing/2014/main" xmlns="" id="{B3639453-7E19-4EAE-8AF3-18E52F8A48F6}"/>
              </a:ext>
            </a:extLst>
          </p:cNvPr>
          <p:cNvSpPr/>
          <p:nvPr userDrawn="1"/>
        </p:nvSpPr>
        <p:spPr>
          <a:xfrm>
            <a:off x="1963239" y="4195342"/>
            <a:ext cx="6992369" cy="32601"/>
          </a:xfrm>
          <a:custGeom>
            <a:avLst/>
            <a:gdLst>
              <a:gd name="connsiteX0" fmla="*/ 0 w 6948667"/>
              <a:gd name="connsiteY0" fmla="*/ 0 h 32400"/>
              <a:gd name="connsiteX1" fmla="*/ 6948667 w 6948667"/>
              <a:gd name="connsiteY1" fmla="*/ 0 h 32400"/>
              <a:gd name="connsiteX2" fmla="*/ 6948667 w 6948667"/>
              <a:gd name="connsiteY2" fmla="*/ 32400 h 32400"/>
              <a:gd name="connsiteX3" fmla="*/ 1140 w 6948667"/>
              <a:gd name="connsiteY3" fmla="*/ 32400 h 32400"/>
              <a:gd name="connsiteX4" fmla="*/ 1140 w 6948667"/>
              <a:gd name="connsiteY4" fmla="*/ 6396 h 32400"/>
              <a:gd name="connsiteX5" fmla="*/ 0 w 6948667"/>
              <a:gd name="connsiteY5" fmla="*/ 6396 h 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948667" h="32400">
                <a:moveTo>
                  <a:pt x="0" y="0"/>
                </a:moveTo>
                <a:lnTo>
                  <a:pt x="6948667" y="0"/>
                </a:lnTo>
                <a:lnTo>
                  <a:pt x="6948667" y="32400"/>
                </a:lnTo>
                <a:lnTo>
                  <a:pt x="1140" y="32400"/>
                </a:lnTo>
                <a:lnTo>
                  <a:pt x="1140" y="6396"/>
                </a:lnTo>
                <a:lnTo>
                  <a:pt x="0" y="639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60000"/>
            </a:schemeClr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224" tIns="36224" rIns="36224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lang="en-GB" sz="906" dirty="0">
              <a:solidFill>
                <a:schemeClr val="bg2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sp>
        <p:nvSpPr>
          <p:cNvPr id="268" name="Rectangle 170">
            <a:extLst>
              <a:ext uri="{FF2B5EF4-FFF2-40B4-BE49-F238E27FC236}">
                <a16:creationId xmlns:a16="http://schemas.microsoft.com/office/drawing/2014/main" xmlns="" id="{37AFD170-3F3A-42F1-B10F-F1E97C0328FE}"/>
              </a:ext>
            </a:extLst>
          </p:cNvPr>
          <p:cNvSpPr/>
          <p:nvPr userDrawn="1"/>
        </p:nvSpPr>
        <p:spPr>
          <a:xfrm>
            <a:off x="8382278" y="3883473"/>
            <a:ext cx="511348" cy="139359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457182"/>
            <a:r>
              <a:rPr lang="en-US" sz="906" dirty="0">
                <a:solidFill>
                  <a:schemeClr val="bg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rPr>
              <a:t>Transport</a:t>
            </a:r>
          </a:p>
        </p:txBody>
      </p:sp>
      <p:sp>
        <p:nvSpPr>
          <p:cNvPr id="332" name="Rechteck 111">
            <a:hlinkClick r:id="" action="ppaction://noaction"/>
            <a:extLst>
              <a:ext uri="{FF2B5EF4-FFF2-40B4-BE49-F238E27FC236}">
                <a16:creationId xmlns:a16="http://schemas.microsoft.com/office/drawing/2014/main" xmlns="" id="{93E26C36-0D08-46F0-958E-F6E39089B7F3}"/>
              </a:ext>
            </a:extLst>
          </p:cNvPr>
          <p:cNvSpPr>
            <a:spLocks noChangeAspect="1"/>
          </p:cNvSpPr>
          <p:nvPr userDrawn="1"/>
        </p:nvSpPr>
        <p:spPr>
          <a:xfrm>
            <a:off x="1316998" y="1721158"/>
            <a:ext cx="169196" cy="245546"/>
          </a:xfrm>
          <a:custGeom>
            <a:avLst/>
            <a:gdLst/>
            <a:ahLst/>
            <a:cxnLst/>
            <a:rect l="l" t="t" r="r" b="b"/>
            <a:pathLst>
              <a:path w="791942" h="1149396">
                <a:moveTo>
                  <a:pt x="469657" y="907034"/>
                </a:moveTo>
                <a:lnTo>
                  <a:pt x="419295" y="965578"/>
                </a:lnTo>
                <a:lnTo>
                  <a:pt x="514383" y="1076700"/>
                </a:lnTo>
                <a:cubicBezTo>
                  <a:pt x="510641" y="1062018"/>
                  <a:pt x="505942" y="1043582"/>
                  <a:pt x="500041" y="1020432"/>
                </a:cubicBezTo>
                <a:close/>
                <a:moveTo>
                  <a:pt x="321644" y="907034"/>
                </a:moveTo>
                <a:lnTo>
                  <a:pt x="304383" y="971452"/>
                </a:lnTo>
                <a:cubicBezTo>
                  <a:pt x="296271" y="1003277"/>
                  <a:pt x="287441" y="1037922"/>
                  <a:pt x="277830" y="1075634"/>
                </a:cubicBezTo>
                <a:lnTo>
                  <a:pt x="372006" y="965578"/>
                </a:lnTo>
                <a:close/>
                <a:moveTo>
                  <a:pt x="395581" y="822406"/>
                </a:moveTo>
                <a:lnTo>
                  <a:pt x="337897" y="880090"/>
                </a:lnTo>
                <a:lnTo>
                  <a:pt x="396542" y="938736"/>
                </a:lnTo>
                <a:lnTo>
                  <a:pt x="454227" y="881052"/>
                </a:lnTo>
                <a:close/>
                <a:moveTo>
                  <a:pt x="437632" y="777676"/>
                </a:moveTo>
                <a:lnTo>
                  <a:pt x="418588" y="796116"/>
                </a:lnTo>
                <a:lnTo>
                  <a:pt x="451850" y="831354"/>
                </a:lnTo>
                <a:cubicBezTo>
                  <a:pt x="450789" y="827191"/>
                  <a:pt x="449713" y="822971"/>
                  <a:pt x="448623" y="818693"/>
                </a:cubicBezTo>
                <a:close/>
                <a:moveTo>
                  <a:pt x="353869" y="777676"/>
                </a:moveTo>
                <a:lnTo>
                  <a:pt x="351895" y="785041"/>
                </a:lnTo>
                <a:cubicBezTo>
                  <a:pt x="348313" y="799093"/>
                  <a:pt x="344441" y="814287"/>
                  <a:pt x="340254" y="830716"/>
                </a:cubicBezTo>
                <a:lnTo>
                  <a:pt x="372913" y="796116"/>
                </a:lnTo>
                <a:close/>
                <a:moveTo>
                  <a:pt x="396291" y="613374"/>
                </a:moveTo>
                <a:lnTo>
                  <a:pt x="377521" y="684497"/>
                </a:lnTo>
                <a:cubicBezTo>
                  <a:pt x="373809" y="699064"/>
                  <a:pt x="369349" y="716563"/>
                  <a:pt x="363991" y="737583"/>
                </a:cubicBezTo>
                <a:lnTo>
                  <a:pt x="396542" y="771736"/>
                </a:lnTo>
                <a:lnTo>
                  <a:pt x="428191" y="738530"/>
                </a:lnTo>
                <a:cubicBezTo>
                  <a:pt x="418516" y="700571"/>
                  <a:pt x="407912" y="658968"/>
                  <a:pt x="396291" y="613374"/>
                </a:cubicBezTo>
                <a:close/>
                <a:moveTo>
                  <a:pt x="395971" y="526935"/>
                </a:moveTo>
                <a:cubicBezTo>
                  <a:pt x="399309" y="526935"/>
                  <a:pt x="402443" y="527807"/>
                  <a:pt x="405017" y="529587"/>
                </a:cubicBezTo>
                <a:cubicBezTo>
                  <a:pt x="406431" y="529657"/>
                  <a:pt x="407473" y="530387"/>
                  <a:pt x="408058" y="531637"/>
                </a:cubicBezTo>
                <a:cubicBezTo>
                  <a:pt x="411603" y="534402"/>
                  <a:pt x="413942" y="538535"/>
                  <a:pt x="414230" y="543253"/>
                </a:cubicBezTo>
                <a:cubicBezTo>
                  <a:pt x="416930" y="553950"/>
                  <a:pt x="428618" y="600250"/>
                  <a:pt x="479211" y="800665"/>
                </a:cubicBezTo>
                <a:lnTo>
                  <a:pt x="561228" y="1121552"/>
                </a:lnTo>
                <a:cubicBezTo>
                  <a:pt x="563029" y="1124134"/>
                  <a:pt x="563912" y="1127287"/>
                  <a:pt x="563912" y="1130646"/>
                </a:cubicBezTo>
                <a:cubicBezTo>
                  <a:pt x="563912" y="1141001"/>
                  <a:pt x="555517" y="1149396"/>
                  <a:pt x="545162" y="1149396"/>
                </a:cubicBezTo>
                <a:cubicBezTo>
                  <a:pt x="541021" y="1149396"/>
                  <a:pt x="537194" y="1148054"/>
                  <a:pt x="534288" y="1145512"/>
                </a:cubicBezTo>
                <a:lnTo>
                  <a:pt x="532381" y="1146688"/>
                </a:lnTo>
                <a:lnTo>
                  <a:pt x="395273" y="991298"/>
                </a:lnTo>
                <a:lnTo>
                  <a:pt x="261719" y="1145165"/>
                </a:lnTo>
                <a:lnTo>
                  <a:pt x="261189" y="1144840"/>
                </a:lnTo>
                <a:cubicBezTo>
                  <a:pt x="258091" y="1147755"/>
                  <a:pt x="253896" y="1149396"/>
                  <a:pt x="249318" y="1149396"/>
                </a:cubicBezTo>
                <a:cubicBezTo>
                  <a:pt x="243254" y="1149396"/>
                  <a:pt x="237863" y="1146518"/>
                  <a:pt x="234683" y="1141863"/>
                </a:cubicBezTo>
                <a:cubicBezTo>
                  <a:pt x="230797" y="1138219"/>
                  <a:pt x="228879" y="1132887"/>
                  <a:pt x="230210" y="1127556"/>
                </a:cubicBezTo>
                <a:lnTo>
                  <a:pt x="230235" y="1125868"/>
                </a:lnTo>
                <a:lnTo>
                  <a:pt x="370720" y="575395"/>
                </a:lnTo>
                <a:lnTo>
                  <a:pt x="370898" y="575911"/>
                </a:lnTo>
                <a:lnTo>
                  <a:pt x="381023" y="537044"/>
                </a:lnTo>
                <a:lnTo>
                  <a:pt x="384225" y="531407"/>
                </a:lnTo>
                <a:cubicBezTo>
                  <a:pt x="387298" y="528537"/>
                  <a:pt x="391447" y="526935"/>
                  <a:pt x="395971" y="526935"/>
                </a:cubicBezTo>
                <a:close/>
                <a:moveTo>
                  <a:pt x="394903" y="343591"/>
                </a:moveTo>
                <a:cubicBezTo>
                  <a:pt x="365123" y="343591"/>
                  <a:pt x="340981" y="367733"/>
                  <a:pt x="340981" y="397514"/>
                </a:cubicBezTo>
                <a:cubicBezTo>
                  <a:pt x="340981" y="427294"/>
                  <a:pt x="365123" y="451436"/>
                  <a:pt x="394903" y="451436"/>
                </a:cubicBezTo>
                <a:cubicBezTo>
                  <a:pt x="424684" y="451436"/>
                  <a:pt x="448826" y="427294"/>
                  <a:pt x="448826" y="397514"/>
                </a:cubicBezTo>
                <a:cubicBezTo>
                  <a:pt x="448826" y="367733"/>
                  <a:pt x="424684" y="343591"/>
                  <a:pt x="394903" y="343591"/>
                </a:cubicBezTo>
                <a:close/>
                <a:moveTo>
                  <a:pt x="394903" y="311232"/>
                </a:moveTo>
                <a:cubicBezTo>
                  <a:pt x="442556" y="311232"/>
                  <a:pt x="481185" y="349862"/>
                  <a:pt x="481185" y="397514"/>
                </a:cubicBezTo>
                <a:cubicBezTo>
                  <a:pt x="481185" y="445166"/>
                  <a:pt x="442556" y="483796"/>
                  <a:pt x="394903" y="483796"/>
                </a:cubicBezTo>
                <a:cubicBezTo>
                  <a:pt x="347251" y="483796"/>
                  <a:pt x="308621" y="445166"/>
                  <a:pt x="308621" y="397514"/>
                </a:cubicBezTo>
                <a:cubicBezTo>
                  <a:pt x="308621" y="349862"/>
                  <a:pt x="347251" y="311232"/>
                  <a:pt x="394903" y="311232"/>
                </a:cubicBezTo>
                <a:close/>
                <a:moveTo>
                  <a:pt x="395970" y="160238"/>
                </a:moveTo>
                <a:cubicBezTo>
                  <a:pt x="530113" y="160238"/>
                  <a:pt x="637868" y="269406"/>
                  <a:pt x="637868" y="400409"/>
                </a:cubicBezTo>
                <a:cubicBezTo>
                  <a:pt x="637868" y="474643"/>
                  <a:pt x="604882" y="542328"/>
                  <a:pt x="547706" y="588179"/>
                </a:cubicBezTo>
                <a:cubicBezTo>
                  <a:pt x="538910" y="594729"/>
                  <a:pt x="527914" y="592546"/>
                  <a:pt x="523516" y="585996"/>
                </a:cubicBezTo>
                <a:cubicBezTo>
                  <a:pt x="516919" y="577262"/>
                  <a:pt x="519118" y="568529"/>
                  <a:pt x="525715" y="561978"/>
                </a:cubicBezTo>
                <a:cubicBezTo>
                  <a:pt x="574095" y="522678"/>
                  <a:pt x="602683" y="463726"/>
                  <a:pt x="602683" y="400409"/>
                </a:cubicBezTo>
                <a:cubicBezTo>
                  <a:pt x="602683" y="286873"/>
                  <a:pt x="510322" y="195172"/>
                  <a:pt x="395970" y="195172"/>
                </a:cubicBezTo>
                <a:cubicBezTo>
                  <a:pt x="281619" y="195172"/>
                  <a:pt x="189258" y="286873"/>
                  <a:pt x="189258" y="400409"/>
                </a:cubicBezTo>
                <a:cubicBezTo>
                  <a:pt x="189258" y="463726"/>
                  <a:pt x="217846" y="522678"/>
                  <a:pt x="266226" y="561978"/>
                </a:cubicBezTo>
                <a:cubicBezTo>
                  <a:pt x="272823" y="568529"/>
                  <a:pt x="275022" y="577262"/>
                  <a:pt x="268425" y="585996"/>
                </a:cubicBezTo>
                <a:cubicBezTo>
                  <a:pt x="266226" y="590362"/>
                  <a:pt x="261828" y="592546"/>
                  <a:pt x="255230" y="592546"/>
                </a:cubicBezTo>
                <a:lnTo>
                  <a:pt x="246434" y="588179"/>
                </a:lnTo>
                <a:cubicBezTo>
                  <a:pt x="187059" y="542328"/>
                  <a:pt x="154073" y="474643"/>
                  <a:pt x="154073" y="400409"/>
                </a:cubicBezTo>
                <a:cubicBezTo>
                  <a:pt x="154073" y="269406"/>
                  <a:pt x="261828" y="160238"/>
                  <a:pt x="395970" y="160238"/>
                </a:cubicBezTo>
                <a:close/>
                <a:moveTo>
                  <a:pt x="395971" y="0"/>
                </a:moveTo>
                <a:cubicBezTo>
                  <a:pt x="614740" y="0"/>
                  <a:pt x="791942" y="177527"/>
                  <a:pt x="791942" y="396697"/>
                </a:cubicBezTo>
                <a:cubicBezTo>
                  <a:pt x="791942" y="521624"/>
                  <a:pt x="732875" y="642167"/>
                  <a:pt x="632241" y="716685"/>
                </a:cubicBezTo>
                <a:cubicBezTo>
                  <a:pt x="630054" y="718876"/>
                  <a:pt x="625678" y="718876"/>
                  <a:pt x="621303" y="718876"/>
                </a:cubicBezTo>
                <a:cubicBezTo>
                  <a:pt x="616927" y="718876"/>
                  <a:pt x="612552" y="716685"/>
                  <a:pt x="608177" y="712301"/>
                </a:cubicBezTo>
                <a:cubicBezTo>
                  <a:pt x="603801" y="705726"/>
                  <a:pt x="603801" y="694768"/>
                  <a:pt x="612552" y="688193"/>
                </a:cubicBezTo>
                <a:cubicBezTo>
                  <a:pt x="704435" y="620250"/>
                  <a:pt x="759127" y="512857"/>
                  <a:pt x="759127" y="396697"/>
                </a:cubicBezTo>
                <a:cubicBezTo>
                  <a:pt x="759127" y="197253"/>
                  <a:pt x="595050" y="35067"/>
                  <a:pt x="395971" y="35067"/>
                </a:cubicBezTo>
                <a:cubicBezTo>
                  <a:pt x="196892" y="35067"/>
                  <a:pt x="32815" y="197253"/>
                  <a:pt x="32815" y="396697"/>
                </a:cubicBezTo>
                <a:cubicBezTo>
                  <a:pt x="32815" y="512857"/>
                  <a:pt x="87507" y="620250"/>
                  <a:pt x="179390" y="688193"/>
                </a:cubicBezTo>
                <a:cubicBezTo>
                  <a:pt x="188141" y="694768"/>
                  <a:pt x="188141" y="705726"/>
                  <a:pt x="183766" y="712301"/>
                </a:cubicBezTo>
                <a:cubicBezTo>
                  <a:pt x="177203" y="718876"/>
                  <a:pt x="168452" y="721068"/>
                  <a:pt x="159701" y="716685"/>
                </a:cubicBezTo>
                <a:cubicBezTo>
                  <a:pt x="59067" y="642167"/>
                  <a:pt x="0" y="521624"/>
                  <a:pt x="0" y="396697"/>
                </a:cubicBezTo>
                <a:cubicBezTo>
                  <a:pt x="0" y="177527"/>
                  <a:pt x="177203" y="0"/>
                  <a:pt x="395971" y="0"/>
                </a:cubicBezTo>
                <a:close/>
              </a:path>
            </a:pathLst>
          </a:custGeom>
          <a:solidFill>
            <a:srgbClr val="12419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333" name="Rechteck 111">
            <a:hlinkClick r:id="" action="ppaction://noaction"/>
            <a:extLst>
              <a:ext uri="{FF2B5EF4-FFF2-40B4-BE49-F238E27FC236}">
                <a16:creationId xmlns:a16="http://schemas.microsoft.com/office/drawing/2014/main" xmlns="" id="{367E1790-5482-406B-9CBF-CC47A5E18772}"/>
              </a:ext>
            </a:extLst>
          </p:cNvPr>
          <p:cNvSpPr>
            <a:spLocks noChangeAspect="1"/>
          </p:cNvSpPr>
          <p:nvPr userDrawn="1"/>
        </p:nvSpPr>
        <p:spPr>
          <a:xfrm>
            <a:off x="2771685" y="1819117"/>
            <a:ext cx="169196" cy="245546"/>
          </a:xfrm>
          <a:custGeom>
            <a:avLst/>
            <a:gdLst/>
            <a:ahLst/>
            <a:cxnLst/>
            <a:rect l="l" t="t" r="r" b="b"/>
            <a:pathLst>
              <a:path w="791942" h="1149396">
                <a:moveTo>
                  <a:pt x="469657" y="907034"/>
                </a:moveTo>
                <a:lnTo>
                  <a:pt x="419295" y="965578"/>
                </a:lnTo>
                <a:lnTo>
                  <a:pt x="514383" y="1076700"/>
                </a:lnTo>
                <a:cubicBezTo>
                  <a:pt x="510641" y="1062018"/>
                  <a:pt x="505942" y="1043582"/>
                  <a:pt x="500041" y="1020432"/>
                </a:cubicBezTo>
                <a:close/>
                <a:moveTo>
                  <a:pt x="321644" y="907034"/>
                </a:moveTo>
                <a:lnTo>
                  <a:pt x="304383" y="971452"/>
                </a:lnTo>
                <a:cubicBezTo>
                  <a:pt x="296271" y="1003277"/>
                  <a:pt x="287441" y="1037922"/>
                  <a:pt x="277830" y="1075634"/>
                </a:cubicBezTo>
                <a:lnTo>
                  <a:pt x="372006" y="965578"/>
                </a:lnTo>
                <a:close/>
                <a:moveTo>
                  <a:pt x="395581" y="822406"/>
                </a:moveTo>
                <a:lnTo>
                  <a:pt x="337897" y="880090"/>
                </a:lnTo>
                <a:lnTo>
                  <a:pt x="396542" y="938736"/>
                </a:lnTo>
                <a:lnTo>
                  <a:pt x="454227" y="881052"/>
                </a:lnTo>
                <a:close/>
                <a:moveTo>
                  <a:pt x="437632" y="777676"/>
                </a:moveTo>
                <a:lnTo>
                  <a:pt x="418588" y="796116"/>
                </a:lnTo>
                <a:lnTo>
                  <a:pt x="451850" y="831354"/>
                </a:lnTo>
                <a:cubicBezTo>
                  <a:pt x="450789" y="827191"/>
                  <a:pt x="449713" y="822971"/>
                  <a:pt x="448623" y="818693"/>
                </a:cubicBezTo>
                <a:close/>
                <a:moveTo>
                  <a:pt x="353869" y="777676"/>
                </a:moveTo>
                <a:lnTo>
                  <a:pt x="351895" y="785041"/>
                </a:lnTo>
                <a:cubicBezTo>
                  <a:pt x="348313" y="799093"/>
                  <a:pt x="344441" y="814287"/>
                  <a:pt x="340254" y="830716"/>
                </a:cubicBezTo>
                <a:lnTo>
                  <a:pt x="372913" y="796116"/>
                </a:lnTo>
                <a:close/>
                <a:moveTo>
                  <a:pt x="396291" y="613374"/>
                </a:moveTo>
                <a:lnTo>
                  <a:pt x="377521" y="684497"/>
                </a:lnTo>
                <a:cubicBezTo>
                  <a:pt x="373809" y="699064"/>
                  <a:pt x="369349" y="716563"/>
                  <a:pt x="363991" y="737583"/>
                </a:cubicBezTo>
                <a:lnTo>
                  <a:pt x="396542" y="771736"/>
                </a:lnTo>
                <a:lnTo>
                  <a:pt x="428191" y="738530"/>
                </a:lnTo>
                <a:cubicBezTo>
                  <a:pt x="418516" y="700571"/>
                  <a:pt x="407912" y="658968"/>
                  <a:pt x="396291" y="613374"/>
                </a:cubicBezTo>
                <a:close/>
                <a:moveTo>
                  <a:pt x="395971" y="526935"/>
                </a:moveTo>
                <a:cubicBezTo>
                  <a:pt x="399309" y="526935"/>
                  <a:pt x="402443" y="527807"/>
                  <a:pt x="405017" y="529587"/>
                </a:cubicBezTo>
                <a:cubicBezTo>
                  <a:pt x="406431" y="529657"/>
                  <a:pt x="407473" y="530387"/>
                  <a:pt x="408058" y="531637"/>
                </a:cubicBezTo>
                <a:cubicBezTo>
                  <a:pt x="411603" y="534402"/>
                  <a:pt x="413942" y="538535"/>
                  <a:pt x="414230" y="543253"/>
                </a:cubicBezTo>
                <a:cubicBezTo>
                  <a:pt x="416930" y="553950"/>
                  <a:pt x="428618" y="600250"/>
                  <a:pt x="479211" y="800665"/>
                </a:cubicBezTo>
                <a:lnTo>
                  <a:pt x="561228" y="1121552"/>
                </a:lnTo>
                <a:cubicBezTo>
                  <a:pt x="563029" y="1124134"/>
                  <a:pt x="563912" y="1127287"/>
                  <a:pt x="563912" y="1130646"/>
                </a:cubicBezTo>
                <a:cubicBezTo>
                  <a:pt x="563912" y="1141001"/>
                  <a:pt x="555517" y="1149396"/>
                  <a:pt x="545162" y="1149396"/>
                </a:cubicBezTo>
                <a:cubicBezTo>
                  <a:pt x="541021" y="1149396"/>
                  <a:pt x="537194" y="1148054"/>
                  <a:pt x="534288" y="1145512"/>
                </a:cubicBezTo>
                <a:lnTo>
                  <a:pt x="532381" y="1146688"/>
                </a:lnTo>
                <a:lnTo>
                  <a:pt x="395273" y="991298"/>
                </a:lnTo>
                <a:lnTo>
                  <a:pt x="261719" y="1145165"/>
                </a:lnTo>
                <a:lnTo>
                  <a:pt x="261189" y="1144840"/>
                </a:lnTo>
                <a:cubicBezTo>
                  <a:pt x="258091" y="1147755"/>
                  <a:pt x="253896" y="1149396"/>
                  <a:pt x="249318" y="1149396"/>
                </a:cubicBezTo>
                <a:cubicBezTo>
                  <a:pt x="243254" y="1149396"/>
                  <a:pt x="237863" y="1146518"/>
                  <a:pt x="234683" y="1141863"/>
                </a:cubicBezTo>
                <a:cubicBezTo>
                  <a:pt x="230797" y="1138219"/>
                  <a:pt x="228879" y="1132887"/>
                  <a:pt x="230210" y="1127556"/>
                </a:cubicBezTo>
                <a:lnTo>
                  <a:pt x="230235" y="1125868"/>
                </a:lnTo>
                <a:lnTo>
                  <a:pt x="370720" y="575395"/>
                </a:lnTo>
                <a:lnTo>
                  <a:pt x="370898" y="575911"/>
                </a:lnTo>
                <a:lnTo>
                  <a:pt x="381023" y="537044"/>
                </a:lnTo>
                <a:lnTo>
                  <a:pt x="384225" y="531407"/>
                </a:lnTo>
                <a:cubicBezTo>
                  <a:pt x="387298" y="528537"/>
                  <a:pt x="391447" y="526935"/>
                  <a:pt x="395971" y="526935"/>
                </a:cubicBezTo>
                <a:close/>
                <a:moveTo>
                  <a:pt x="394903" y="343591"/>
                </a:moveTo>
                <a:cubicBezTo>
                  <a:pt x="365123" y="343591"/>
                  <a:pt x="340981" y="367733"/>
                  <a:pt x="340981" y="397514"/>
                </a:cubicBezTo>
                <a:cubicBezTo>
                  <a:pt x="340981" y="427294"/>
                  <a:pt x="365123" y="451436"/>
                  <a:pt x="394903" y="451436"/>
                </a:cubicBezTo>
                <a:cubicBezTo>
                  <a:pt x="424684" y="451436"/>
                  <a:pt x="448826" y="427294"/>
                  <a:pt x="448826" y="397514"/>
                </a:cubicBezTo>
                <a:cubicBezTo>
                  <a:pt x="448826" y="367733"/>
                  <a:pt x="424684" y="343591"/>
                  <a:pt x="394903" y="343591"/>
                </a:cubicBezTo>
                <a:close/>
                <a:moveTo>
                  <a:pt x="394903" y="311232"/>
                </a:moveTo>
                <a:cubicBezTo>
                  <a:pt x="442556" y="311232"/>
                  <a:pt x="481185" y="349862"/>
                  <a:pt x="481185" y="397514"/>
                </a:cubicBezTo>
                <a:cubicBezTo>
                  <a:pt x="481185" y="445166"/>
                  <a:pt x="442556" y="483796"/>
                  <a:pt x="394903" y="483796"/>
                </a:cubicBezTo>
                <a:cubicBezTo>
                  <a:pt x="347251" y="483796"/>
                  <a:pt x="308621" y="445166"/>
                  <a:pt x="308621" y="397514"/>
                </a:cubicBezTo>
                <a:cubicBezTo>
                  <a:pt x="308621" y="349862"/>
                  <a:pt x="347251" y="311232"/>
                  <a:pt x="394903" y="311232"/>
                </a:cubicBezTo>
                <a:close/>
                <a:moveTo>
                  <a:pt x="395970" y="160238"/>
                </a:moveTo>
                <a:cubicBezTo>
                  <a:pt x="530113" y="160238"/>
                  <a:pt x="637868" y="269406"/>
                  <a:pt x="637868" y="400409"/>
                </a:cubicBezTo>
                <a:cubicBezTo>
                  <a:pt x="637868" y="474643"/>
                  <a:pt x="604882" y="542328"/>
                  <a:pt x="547706" y="588179"/>
                </a:cubicBezTo>
                <a:cubicBezTo>
                  <a:pt x="538910" y="594729"/>
                  <a:pt x="527914" y="592546"/>
                  <a:pt x="523516" y="585996"/>
                </a:cubicBezTo>
                <a:cubicBezTo>
                  <a:pt x="516919" y="577262"/>
                  <a:pt x="519118" y="568529"/>
                  <a:pt x="525715" y="561978"/>
                </a:cubicBezTo>
                <a:cubicBezTo>
                  <a:pt x="574095" y="522678"/>
                  <a:pt x="602683" y="463726"/>
                  <a:pt x="602683" y="400409"/>
                </a:cubicBezTo>
                <a:cubicBezTo>
                  <a:pt x="602683" y="286873"/>
                  <a:pt x="510322" y="195172"/>
                  <a:pt x="395970" y="195172"/>
                </a:cubicBezTo>
                <a:cubicBezTo>
                  <a:pt x="281619" y="195172"/>
                  <a:pt x="189258" y="286873"/>
                  <a:pt x="189258" y="400409"/>
                </a:cubicBezTo>
                <a:cubicBezTo>
                  <a:pt x="189258" y="463726"/>
                  <a:pt x="217846" y="522678"/>
                  <a:pt x="266226" y="561978"/>
                </a:cubicBezTo>
                <a:cubicBezTo>
                  <a:pt x="272823" y="568529"/>
                  <a:pt x="275022" y="577262"/>
                  <a:pt x="268425" y="585996"/>
                </a:cubicBezTo>
                <a:cubicBezTo>
                  <a:pt x="266226" y="590362"/>
                  <a:pt x="261828" y="592546"/>
                  <a:pt x="255230" y="592546"/>
                </a:cubicBezTo>
                <a:lnTo>
                  <a:pt x="246434" y="588179"/>
                </a:lnTo>
                <a:cubicBezTo>
                  <a:pt x="187059" y="542328"/>
                  <a:pt x="154073" y="474643"/>
                  <a:pt x="154073" y="400409"/>
                </a:cubicBezTo>
                <a:cubicBezTo>
                  <a:pt x="154073" y="269406"/>
                  <a:pt x="261828" y="160238"/>
                  <a:pt x="395970" y="160238"/>
                </a:cubicBezTo>
                <a:close/>
                <a:moveTo>
                  <a:pt x="395971" y="0"/>
                </a:moveTo>
                <a:cubicBezTo>
                  <a:pt x="614740" y="0"/>
                  <a:pt x="791942" y="177527"/>
                  <a:pt x="791942" y="396697"/>
                </a:cubicBezTo>
                <a:cubicBezTo>
                  <a:pt x="791942" y="521624"/>
                  <a:pt x="732875" y="642167"/>
                  <a:pt x="632241" y="716685"/>
                </a:cubicBezTo>
                <a:cubicBezTo>
                  <a:pt x="630054" y="718876"/>
                  <a:pt x="625678" y="718876"/>
                  <a:pt x="621303" y="718876"/>
                </a:cubicBezTo>
                <a:cubicBezTo>
                  <a:pt x="616927" y="718876"/>
                  <a:pt x="612552" y="716685"/>
                  <a:pt x="608177" y="712301"/>
                </a:cubicBezTo>
                <a:cubicBezTo>
                  <a:pt x="603801" y="705726"/>
                  <a:pt x="603801" y="694768"/>
                  <a:pt x="612552" y="688193"/>
                </a:cubicBezTo>
                <a:cubicBezTo>
                  <a:pt x="704435" y="620250"/>
                  <a:pt x="759127" y="512857"/>
                  <a:pt x="759127" y="396697"/>
                </a:cubicBezTo>
                <a:cubicBezTo>
                  <a:pt x="759127" y="197253"/>
                  <a:pt x="595050" y="35067"/>
                  <a:pt x="395971" y="35067"/>
                </a:cubicBezTo>
                <a:cubicBezTo>
                  <a:pt x="196892" y="35067"/>
                  <a:pt x="32815" y="197253"/>
                  <a:pt x="32815" y="396697"/>
                </a:cubicBezTo>
                <a:cubicBezTo>
                  <a:pt x="32815" y="512857"/>
                  <a:pt x="87507" y="620250"/>
                  <a:pt x="179390" y="688193"/>
                </a:cubicBezTo>
                <a:cubicBezTo>
                  <a:pt x="188141" y="694768"/>
                  <a:pt x="188141" y="705726"/>
                  <a:pt x="183766" y="712301"/>
                </a:cubicBezTo>
                <a:cubicBezTo>
                  <a:pt x="177203" y="718876"/>
                  <a:pt x="168452" y="721068"/>
                  <a:pt x="159701" y="716685"/>
                </a:cubicBezTo>
                <a:cubicBezTo>
                  <a:pt x="59067" y="642167"/>
                  <a:pt x="0" y="521624"/>
                  <a:pt x="0" y="396697"/>
                </a:cubicBezTo>
                <a:cubicBezTo>
                  <a:pt x="0" y="177527"/>
                  <a:pt x="177203" y="0"/>
                  <a:pt x="395971" y="0"/>
                </a:cubicBezTo>
                <a:close/>
              </a:path>
            </a:pathLst>
          </a:custGeom>
          <a:gradFill flip="none" rotWithShape="1">
            <a:gsLst>
              <a:gs pos="0">
                <a:srgbClr val="124191"/>
              </a:gs>
              <a:gs pos="100000">
                <a:srgbClr val="00C9FF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545" name="Abgerundetes Rechteck 18">
            <a:extLst>
              <a:ext uri="{FF2B5EF4-FFF2-40B4-BE49-F238E27FC236}">
                <a16:creationId xmlns:a16="http://schemas.microsoft.com/office/drawing/2014/main" xmlns="" id="{7BD2079E-BEE9-4A53-A186-B74060E5123C}"/>
              </a:ext>
            </a:extLst>
          </p:cNvPr>
          <p:cNvSpPr/>
          <p:nvPr userDrawn="1"/>
        </p:nvSpPr>
        <p:spPr>
          <a:xfrm>
            <a:off x="2122152" y="2752799"/>
            <a:ext cx="112924" cy="84808"/>
          </a:xfrm>
          <a:prstGeom prst="round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546" name="Abgerundetes Rechteck 4">
            <a:extLst>
              <a:ext uri="{FF2B5EF4-FFF2-40B4-BE49-F238E27FC236}">
                <a16:creationId xmlns:a16="http://schemas.microsoft.com/office/drawing/2014/main" xmlns="" id="{A704C22A-1DE7-4302-9EEF-02D6C53B43BE}"/>
              </a:ext>
            </a:extLst>
          </p:cNvPr>
          <p:cNvSpPr>
            <a:spLocks noChangeAspect="1"/>
          </p:cNvSpPr>
          <p:nvPr userDrawn="1"/>
        </p:nvSpPr>
        <p:spPr>
          <a:xfrm>
            <a:off x="2096320" y="2752800"/>
            <a:ext cx="142057" cy="122964"/>
          </a:xfrm>
          <a:custGeom>
            <a:avLst/>
            <a:gdLst/>
            <a:ahLst/>
            <a:cxnLst/>
            <a:rect l="l" t="t" r="r" b="b"/>
            <a:pathLst>
              <a:path w="3514472" h="3042338">
                <a:moveTo>
                  <a:pt x="1944216" y="2232248"/>
                </a:moveTo>
                <a:lnTo>
                  <a:pt x="1944216" y="2520280"/>
                </a:lnTo>
                <a:lnTo>
                  <a:pt x="2071692" y="2520280"/>
                </a:lnTo>
                <a:lnTo>
                  <a:pt x="2071692" y="2232248"/>
                </a:lnTo>
                <a:close/>
                <a:moveTo>
                  <a:pt x="1242138" y="1362522"/>
                </a:moveTo>
                <a:cubicBezTo>
                  <a:pt x="1372942" y="1362522"/>
                  <a:pt x="1478979" y="1468559"/>
                  <a:pt x="1478979" y="1599363"/>
                </a:cubicBezTo>
                <a:cubicBezTo>
                  <a:pt x="1478979" y="1730167"/>
                  <a:pt x="1372942" y="1836204"/>
                  <a:pt x="1242138" y="1836204"/>
                </a:cubicBezTo>
                <a:cubicBezTo>
                  <a:pt x="1111334" y="1836204"/>
                  <a:pt x="1005297" y="1730167"/>
                  <a:pt x="1005297" y="1599363"/>
                </a:cubicBezTo>
                <a:cubicBezTo>
                  <a:pt x="1005297" y="1468559"/>
                  <a:pt x="1111334" y="1362522"/>
                  <a:pt x="1242138" y="1362522"/>
                </a:cubicBezTo>
                <a:close/>
                <a:moveTo>
                  <a:pt x="2619992" y="813247"/>
                </a:moveTo>
                <a:cubicBezTo>
                  <a:pt x="2659761" y="813247"/>
                  <a:pt x="2692000" y="845486"/>
                  <a:pt x="2692000" y="885255"/>
                </a:cubicBezTo>
                <a:cubicBezTo>
                  <a:pt x="2692000" y="925024"/>
                  <a:pt x="2659761" y="957263"/>
                  <a:pt x="2619992" y="957263"/>
                </a:cubicBezTo>
                <a:cubicBezTo>
                  <a:pt x="2580223" y="957263"/>
                  <a:pt x="2547984" y="925024"/>
                  <a:pt x="2547984" y="885255"/>
                </a:cubicBezTo>
                <a:cubicBezTo>
                  <a:pt x="2547984" y="845486"/>
                  <a:pt x="2580223" y="813247"/>
                  <a:pt x="2619992" y="813247"/>
                </a:cubicBezTo>
                <a:close/>
                <a:moveTo>
                  <a:pt x="2619992" y="479889"/>
                </a:moveTo>
                <a:cubicBezTo>
                  <a:pt x="2396114" y="479889"/>
                  <a:pt x="2214625" y="661378"/>
                  <a:pt x="2214625" y="885256"/>
                </a:cubicBezTo>
                <a:cubicBezTo>
                  <a:pt x="2214625" y="1109134"/>
                  <a:pt x="2396114" y="1290623"/>
                  <a:pt x="2619992" y="1290623"/>
                </a:cubicBezTo>
                <a:cubicBezTo>
                  <a:pt x="2843870" y="1290623"/>
                  <a:pt x="3025359" y="1109134"/>
                  <a:pt x="3025359" y="885256"/>
                </a:cubicBezTo>
                <a:cubicBezTo>
                  <a:pt x="3025359" y="661378"/>
                  <a:pt x="2843870" y="479889"/>
                  <a:pt x="2619992" y="479889"/>
                </a:cubicBezTo>
                <a:close/>
                <a:moveTo>
                  <a:pt x="2619993" y="426965"/>
                </a:moveTo>
                <a:cubicBezTo>
                  <a:pt x="2873100" y="426965"/>
                  <a:pt x="3078284" y="632149"/>
                  <a:pt x="3078284" y="885256"/>
                </a:cubicBezTo>
                <a:cubicBezTo>
                  <a:pt x="3078284" y="1138363"/>
                  <a:pt x="2873100" y="1343547"/>
                  <a:pt x="2619993" y="1343547"/>
                </a:cubicBezTo>
                <a:cubicBezTo>
                  <a:pt x="2366886" y="1343547"/>
                  <a:pt x="2161702" y="1138363"/>
                  <a:pt x="2161702" y="885256"/>
                </a:cubicBezTo>
                <a:cubicBezTo>
                  <a:pt x="2161702" y="632149"/>
                  <a:pt x="2366886" y="426965"/>
                  <a:pt x="2619993" y="426965"/>
                </a:cubicBezTo>
                <a:close/>
                <a:moveTo>
                  <a:pt x="909776" y="258011"/>
                </a:moveTo>
                <a:lnTo>
                  <a:pt x="1574500" y="258011"/>
                </a:lnTo>
                <a:cubicBezTo>
                  <a:pt x="1639497" y="258011"/>
                  <a:pt x="1692188" y="310702"/>
                  <a:pt x="1692188" y="375699"/>
                </a:cubicBezTo>
                <a:lnTo>
                  <a:pt x="1692188" y="1069874"/>
                </a:lnTo>
                <a:cubicBezTo>
                  <a:pt x="1692188" y="1134871"/>
                  <a:pt x="1639497" y="1187562"/>
                  <a:pt x="1574500" y="1187562"/>
                </a:cubicBezTo>
                <a:lnTo>
                  <a:pt x="909776" y="1187562"/>
                </a:lnTo>
                <a:cubicBezTo>
                  <a:pt x="844779" y="1187562"/>
                  <a:pt x="792088" y="1134871"/>
                  <a:pt x="792088" y="1069874"/>
                </a:cubicBezTo>
                <a:lnTo>
                  <a:pt x="792088" y="375699"/>
                </a:lnTo>
                <a:cubicBezTo>
                  <a:pt x="792088" y="310702"/>
                  <a:pt x="844779" y="258011"/>
                  <a:pt x="909776" y="258011"/>
                </a:cubicBezTo>
                <a:close/>
                <a:moveTo>
                  <a:pt x="2154737" y="255255"/>
                </a:moveTo>
                <a:cubicBezTo>
                  <a:pt x="2063751" y="255255"/>
                  <a:pt x="1989992" y="329014"/>
                  <a:pt x="1989992" y="420000"/>
                </a:cubicBezTo>
                <a:lnTo>
                  <a:pt x="1989992" y="1350510"/>
                </a:lnTo>
                <a:cubicBezTo>
                  <a:pt x="1989992" y="1441496"/>
                  <a:pt x="2063751" y="1515255"/>
                  <a:pt x="2154737" y="1515255"/>
                </a:cubicBezTo>
                <a:lnTo>
                  <a:pt x="3085247" y="1515255"/>
                </a:lnTo>
                <a:cubicBezTo>
                  <a:pt x="3176233" y="1515255"/>
                  <a:pt x="3249992" y="1441496"/>
                  <a:pt x="3249992" y="1350510"/>
                </a:cubicBezTo>
                <a:lnTo>
                  <a:pt x="3249992" y="420000"/>
                </a:lnTo>
                <a:cubicBezTo>
                  <a:pt x="3249992" y="329014"/>
                  <a:pt x="3176233" y="255255"/>
                  <a:pt x="3085247" y="255255"/>
                </a:cubicBezTo>
                <a:close/>
                <a:moveTo>
                  <a:pt x="2139997" y="165255"/>
                </a:moveTo>
                <a:lnTo>
                  <a:pt x="3099987" y="165255"/>
                </a:lnTo>
                <a:cubicBezTo>
                  <a:pt x="3232538" y="165255"/>
                  <a:pt x="3339992" y="272709"/>
                  <a:pt x="3339992" y="405260"/>
                </a:cubicBezTo>
                <a:lnTo>
                  <a:pt x="3339992" y="1365250"/>
                </a:lnTo>
                <a:cubicBezTo>
                  <a:pt x="3339992" y="1497801"/>
                  <a:pt x="3232538" y="1605255"/>
                  <a:pt x="3099987" y="1605255"/>
                </a:cubicBezTo>
                <a:lnTo>
                  <a:pt x="2139997" y="1605255"/>
                </a:lnTo>
                <a:cubicBezTo>
                  <a:pt x="2007446" y="1605255"/>
                  <a:pt x="1899992" y="1497801"/>
                  <a:pt x="1899992" y="1365250"/>
                </a:cubicBezTo>
                <a:lnTo>
                  <a:pt x="1899992" y="405260"/>
                </a:lnTo>
                <a:cubicBezTo>
                  <a:pt x="1899992" y="272709"/>
                  <a:pt x="2007446" y="165255"/>
                  <a:pt x="2139997" y="165255"/>
                </a:cubicBezTo>
                <a:close/>
                <a:moveTo>
                  <a:pt x="801100" y="108124"/>
                </a:moveTo>
                <a:cubicBezTo>
                  <a:pt x="689192" y="108124"/>
                  <a:pt x="598472" y="198844"/>
                  <a:pt x="598472" y="310752"/>
                </a:cubicBezTo>
                <a:lnTo>
                  <a:pt x="598472" y="1921496"/>
                </a:lnTo>
                <a:cubicBezTo>
                  <a:pt x="598472" y="2033404"/>
                  <a:pt x="689192" y="2124124"/>
                  <a:pt x="801100" y="2124124"/>
                </a:cubicBezTo>
                <a:lnTo>
                  <a:pt x="3203844" y="2124124"/>
                </a:lnTo>
                <a:cubicBezTo>
                  <a:pt x="3315752" y="2124124"/>
                  <a:pt x="3406472" y="2033404"/>
                  <a:pt x="3406472" y="1921496"/>
                </a:cubicBezTo>
                <a:lnTo>
                  <a:pt x="3406472" y="310752"/>
                </a:lnTo>
                <a:cubicBezTo>
                  <a:pt x="3406472" y="198844"/>
                  <a:pt x="3315752" y="108124"/>
                  <a:pt x="3203844" y="108124"/>
                </a:cubicBezTo>
                <a:close/>
                <a:moveTo>
                  <a:pt x="734501" y="0"/>
                </a:moveTo>
                <a:lnTo>
                  <a:pt x="3270443" y="0"/>
                </a:lnTo>
                <a:cubicBezTo>
                  <a:pt x="3405216" y="0"/>
                  <a:pt x="3514472" y="109256"/>
                  <a:pt x="3514472" y="244029"/>
                </a:cubicBezTo>
                <a:lnTo>
                  <a:pt x="3514472" y="1988219"/>
                </a:lnTo>
                <a:cubicBezTo>
                  <a:pt x="3514472" y="2122992"/>
                  <a:pt x="3405216" y="2232248"/>
                  <a:pt x="3270443" y="2232248"/>
                </a:cubicBezTo>
                <a:lnTo>
                  <a:pt x="2251712" y="2232248"/>
                </a:lnTo>
                <a:lnTo>
                  <a:pt x="2251712" y="2520280"/>
                </a:lnTo>
                <a:lnTo>
                  <a:pt x="2692000" y="2520280"/>
                </a:lnTo>
                <a:lnTo>
                  <a:pt x="2692000" y="2880320"/>
                </a:lnTo>
                <a:lnTo>
                  <a:pt x="2251712" y="2880320"/>
                </a:lnTo>
                <a:lnTo>
                  <a:pt x="2071692" y="2880320"/>
                </a:lnTo>
                <a:lnTo>
                  <a:pt x="1944216" y="2880320"/>
                </a:lnTo>
                <a:lnTo>
                  <a:pt x="1764196" y="2880320"/>
                </a:lnTo>
                <a:lnTo>
                  <a:pt x="332658" y="2880320"/>
                </a:lnTo>
                <a:lnTo>
                  <a:pt x="0" y="3042338"/>
                </a:lnTo>
                <a:lnTo>
                  <a:pt x="0" y="2358262"/>
                </a:lnTo>
                <a:lnTo>
                  <a:pt x="332658" y="2520280"/>
                </a:lnTo>
                <a:lnTo>
                  <a:pt x="1764196" y="2520280"/>
                </a:lnTo>
                <a:lnTo>
                  <a:pt x="1764196" y="2232248"/>
                </a:lnTo>
                <a:lnTo>
                  <a:pt x="734501" y="2232248"/>
                </a:lnTo>
                <a:cubicBezTo>
                  <a:pt x="599728" y="2232248"/>
                  <a:pt x="490472" y="2122992"/>
                  <a:pt x="490472" y="1988219"/>
                </a:cubicBezTo>
                <a:lnTo>
                  <a:pt x="490472" y="244029"/>
                </a:lnTo>
                <a:cubicBezTo>
                  <a:pt x="490472" y="109256"/>
                  <a:pt x="599728" y="0"/>
                  <a:pt x="734501" y="0"/>
                </a:cubicBezTo>
                <a:close/>
              </a:path>
            </a:pathLst>
          </a:custGeom>
          <a:solidFill>
            <a:srgbClr val="12419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11" b="0" i="0" u="none" strike="noStrike" kern="0" cap="none" spc="0" normalizeH="0" baseline="0" noProof="0" dirty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Headline Light"/>
            </a:endParaRPr>
          </a:p>
        </p:txBody>
      </p:sp>
      <p:sp>
        <p:nvSpPr>
          <p:cNvPr id="547" name="Freeform 885">
            <a:extLst>
              <a:ext uri="{FF2B5EF4-FFF2-40B4-BE49-F238E27FC236}">
                <a16:creationId xmlns:a16="http://schemas.microsoft.com/office/drawing/2014/main" xmlns="" id="{C34B851F-3323-4A38-AEDA-11598CAE6827}"/>
              </a:ext>
            </a:extLst>
          </p:cNvPr>
          <p:cNvSpPr>
            <a:spLocks/>
          </p:cNvSpPr>
          <p:nvPr userDrawn="1"/>
        </p:nvSpPr>
        <p:spPr bwMode="auto">
          <a:xfrm rot="13810369">
            <a:off x="1188450" y="2999597"/>
            <a:ext cx="25666" cy="37587"/>
          </a:xfrm>
          <a:prstGeom prst="roundRect">
            <a:avLst>
              <a:gd name="adj" fmla="val 11002"/>
            </a:avLst>
          </a:prstGeom>
          <a:solidFill>
            <a:srgbClr val="1D458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2008" tIns="46004" rIns="92008" bIns="4600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11" b="0" i="0" u="none" strike="noStrike" kern="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Headline Light"/>
            </a:endParaRPr>
          </a:p>
        </p:txBody>
      </p:sp>
      <p:sp>
        <p:nvSpPr>
          <p:cNvPr id="548" name="Freihandform: Form 547">
            <a:hlinkClick r:id="" action="ppaction://noaction"/>
            <a:extLst>
              <a:ext uri="{FF2B5EF4-FFF2-40B4-BE49-F238E27FC236}">
                <a16:creationId xmlns:a16="http://schemas.microsoft.com/office/drawing/2014/main" xmlns="" id="{B7FDDA87-E611-492C-85A6-E34D5951A67F}"/>
              </a:ext>
            </a:extLst>
          </p:cNvPr>
          <p:cNvSpPr>
            <a:spLocks noChangeAspect="1"/>
          </p:cNvSpPr>
          <p:nvPr userDrawn="1"/>
        </p:nvSpPr>
        <p:spPr>
          <a:xfrm>
            <a:off x="1005664" y="2713743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rgbClr val="12419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549" name="Freihandform: Form 548">
            <a:hlinkClick r:id="" action="ppaction://noaction"/>
            <a:extLst>
              <a:ext uri="{FF2B5EF4-FFF2-40B4-BE49-F238E27FC236}">
                <a16:creationId xmlns:a16="http://schemas.microsoft.com/office/drawing/2014/main" xmlns="" id="{3F17BED2-4C63-448D-99B4-6AA1C105E840}"/>
              </a:ext>
            </a:extLst>
          </p:cNvPr>
          <p:cNvSpPr>
            <a:spLocks noChangeAspect="1"/>
          </p:cNvSpPr>
          <p:nvPr userDrawn="1"/>
        </p:nvSpPr>
        <p:spPr>
          <a:xfrm>
            <a:off x="828343" y="2646654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550" name="Freihandform: Form 549">
            <a:hlinkClick r:id="" action="ppaction://noaction"/>
            <a:extLst>
              <a:ext uri="{FF2B5EF4-FFF2-40B4-BE49-F238E27FC236}">
                <a16:creationId xmlns:a16="http://schemas.microsoft.com/office/drawing/2014/main" xmlns="" id="{99BE5FA0-3E0B-43D7-8110-053F67F9007A}"/>
              </a:ext>
            </a:extLst>
          </p:cNvPr>
          <p:cNvSpPr>
            <a:spLocks noChangeAspect="1"/>
          </p:cNvSpPr>
          <p:nvPr userDrawn="1"/>
        </p:nvSpPr>
        <p:spPr>
          <a:xfrm>
            <a:off x="1681399" y="2574774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rgbClr val="12419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551" name="Freihandform: Form 550">
            <a:hlinkClick r:id="" action="ppaction://noaction"/>
            <a:extLst>
              <a:ext uri="{FF2B5EF4-FFF2-40B4-BE49-F238E27FC236}">
                <a16:creationId xmlns:a16="http://schemas.microsoft.com/office/drawing/2014/main" xmlns="" id="{236E8BCC-846A-49C3-9BE9-5B3FBE529A33}"/>
              </a:ext>
            </a:extLst>
          </p:cNvPr>
          <p:cNvSpPr>
            <a:spLocks noChangeAspect="1"/>
          </p:cNvSpPr>
          <p:nvPr userDrawn="1"/>
        </p:nvSpPr>
        <p:spPr>
          <a:xfrm>
            <a:off x="1885079" y="2457367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552" name="Freihandform: Form 551">
            <a:hlinkClick r:id="" action="ppaction://noaction"/>
            <a:extLst>
              <a:ext uri="{FF2B5EF4-FFF2-40B4-BE49-F238E27FC236}">
                <a16:creationId xmlns:a16="http://schemas.microsoft.com/office/drawing/2014/main" xmlns="" id="{671CD660-4946-4D67-8B20-E2D844C28B44}"/>
              </a:ext>
            </a:extLst>
          </p:cNvPr>
          <p:cNvSpPr>
            <a:spLocks noChangeAspect="1"/>
          </p:cNvSpPr>
          <p:nvPr userDrawn="1"/>
        </p:nvSpPr>
        <p:spPr>
          <a:xfrm>
            <a:off x="3023977" y="2759871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553" name="Freihandform: Form 552">
            <a:hlinkClick r:id="" action="ppaction://noaction"/>
            <a:extLst>
              <a:ext uri="{FF2B5EF4-FFF2-40B4-BE49-F238E27FC236}">
                <a16:creationId xmlns:a16="http://schemas.microsoft.com/office/drawing/2014/main" xmlns="" id="{91A54045-6388-4D71-B851-5590C6E921CF}"/>
              </a:ext>
            </a:extLst>
          </p:cNvPr>
          <p:cNvSpPr>
            <a:spLocks noChangeAspect="1"/>
          </p:cNvSpPr>
          <p:nvPr userDrawn="1"/>
        </p:nvSpPr>
        <p:spPr>
          <a:xfrm>
            <a:off x="2656217" y="2665965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rgbClr val="12419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554" name="Freihandform: Form 553">
            <a:hlinkClick r:id="" action="ppaction://noaction"/>
            <a:extLst>
              <a:ext uri="{FF2B5EF4-FFF2-40B4-BE49-F238E27FC236}">
                <a16:creationId xmlns:a16="http://schemas.microsoft.com/office/drawing/2014/main" xmlns="" id="{69289628-9373-4DDA-9C13-44F4C659759F}"/>
              </a:ext>
            </a:extLst>
          </p:cNvPr>
          <p:cNvSpPr>
            <a:spLocks noChangeAspect="1"/>
          </p:cNvSpPr>
          <p:nvPr userDrawn="1"/>
        </p:nvSpPr>
        <p:spPr>
          <a:xfrm>
            <a:off x="2481742" y="2539045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555" name="Rechteck 111">
            <a:hlinkClick r:id="" action="ppaction://noaction"/>
            <a:extLst>
              <a:ext uri="{FF2B5EF4-FFF2-40B4-BE49-F238E27FC236}">
                <a16:creationId xmlns:a16="http://schemas.microsoft.com/office/drawing/2014/main" xmlns="" id="{B9B12848-4ACB-44BD-B995-8F7D14FC0711}"/>
              </a:ext>
            </a:extLst>
          </p:cNvPr>
          <p:cNvSpPr>
            <a:spLocks/>
          </p:cNvSpPr>
          <p:nvPr userDrawn="1"/>
        </p:nvSpPr>
        <p:spPr>
          <a:xfrm>
            <a:off x="2005909" y="2930037"/>
            <a:ext cx="36226" cy="36224"/>
          </a:xfrm>
          <a:prstGeom prst="ellipse">
            <a:avLst/>
          </a:prstGeom>
          <a:solidFill>
            <a:srgbClr val="12419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556" name="Abgerundetes Rechteck 18">
            <a:extLst>
              <a:ext uri="{FF2B5EF4-FFF2-40B4-BE49-F238E27FC236}">
                <a16:creationId xmlns:a16="http://schemas.microsoft.com/office/drawing/2014/main" xmlns="" id="{CBC21E19-A6D9-4C8B-814D-7A8A5FC0F4DB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2479061" y="2936980"/>
            <a:ext cx="631049" cy="227182"/>
          </a:xfrm>
          <a:custGeom>
            <a:avLst/>
            <a:gdLst/>
            <a:ahLst/>
            <a:cxnLst/>
            <a:rect l="l" t="t" r="r" b="b"/>
            <a:pathLst>
              <a:path w="10458296" h="3765356">
                <a:moveTo>
                  <a:pt x="4212674" y="730"/>
                </a:moveTo>
                <a:cubicBezTo>
                  <a:pt x="4575894" y="-2572"/>
                  <a:pt x="4933780" y="4794"/>
                  <a:pt x="5302334" y="33496"/>
                </a:cubicBezTo>
                <a:cubicBezTo>
                  <a:pt x="5559890" y="30448"/>
                  <a:pt x="5786966" y="94456"/>
                  <a:pt x="5965274" y="170656"/>
                </a:cubicBezTo>
                <a:lnTo>
                  <a:pt x="7649294" y="1001236"/>
                </a:lnTo>
                <a:cubicBezTo>
                  <a:pt x="8417898" y="1005808"/>
                  <a:pt x="9655894" y="1168876"/>
                  <a:pt x="10430594" y="1892776"/>
                </a:cubicBezTo>
                <a:cubicBezTo>
                  <a:pt x="10482918" y="2047716"/>
                  <a:pt x="10449898" y="2190464"/>
                  <a:pt x="10422974" y="2357596"/>
                </a:cubicBezTo>
                <a:lnTo>
                  <a:pt x="10364266" y="2674623"/>
                </a:lnTo>
                <a:cubicBezTo>
                  <a:pt x="10368528" y="2682213"/>
                  <a:pt x="10369154" y="2690452"/>
                  <a:pt x="10369154" y="2698836"/>
                </a:cubicBezTo>
                <a:lnTo>
                  <a:pt x="10369152" y="2698836"/>
                </a:lnTo>
                <a:cubicBezTo>
                  <a:pt x="10369152" y="2790017"/>
                  <a:pt x="10295234" y="2863934"/>
                  <a:pt x="10204054" y="2863934"/>
                </a:cubicBezTo>
                <a:cubicBezTo>
                  <a:pt x="10025566" y="2897508"/>
                  <a:pt x="9613402" y="2971722"/>
                  <a:pt x="9445074" y="2969736"/>
                </a:cubicBezTo>
                <a:lnTo>
                  <a:pt x="9379034" y="2863057"/>
                </a:lnTo>
                <a:lnTo>
                  <a:pt x="9355416" y="2863059"/>
                </a:lnTo>
                <a:cubicBezTo>
                  <a:pt x="9302658" y="3370097"/>
                  <a:pt x="8873952" y="3765356"/>
                  <a:pt x="8352928" y="3765356"/>
                </a:cubicBezTo>
                <a:cubicBezTo>
                  <a:pt x="7851554" y="3765356"/>
                  <a:pt x="7435664" y="3399347"/>
                  <a:pt x="7359062" y="2919760"/>
                </a:cubicBezTo>
                <a:lnTo>
                  <a:pt x="3082078" y="2919760"/>
                </a:lnTo>
                <a:cubicBezTo>
                  <a:pt x="3005494" y="3399349"/>
                  <a:pt x="2589606" y="3765356"/>
                  <a:pt x="2088232" y="3765356"/>
                </a:cubicBezTo>
                <a:cubicBezTo>
                  <a:pt x="1567488" y="3765356"/>
                  <a:pt x="1138963" y="3370521"/>
                  <a:pt x="1085867" y="2863871"/>
                </a:cubicBezTo>
                <a:lnTo>
                  <a:pt x="453130" y="2863933"/>
                </a:lnTo>
                <a:cubicBezTo>
                  <a:pt x="403354" y="2863933"/>
                  <a:pt x="358723" y="2841905"/>
                  <a:pt x="329838" y="2805862"/>
                </a:cubicBezTo>
                <a:cubicBezTo>
                  <a:pt x="245705" y="2800416"/>
                  <a:pt x="180020" y="2729803"/>
                  <a:pt x="180020" y="2643850"/>
                </a:cubicBezTo>
                <a:lnTo>
                  <a:pt x="180020" y="2643849"/>
                </a:lnTo>
                <a:lnTo>
                  <a:pt x="180020" y="2599814"/>
                </a:lnTo>
                <a:cubicBezTo>
                  <a:pt x="151577" y="2583520"/>
                  <a:pt x="130688" y="2557038"/>
                  <a:pt x="119838" y="2525703"/>
                </a:cubicBezTo>
                <a:cubicBezTo>
                  <a:pt x="48412" y="2492247"/>
                  <a:pt x="0" y="2419145"/>
                  <a:pt x="0" y="2334736"/>
                </a:cubicBezTo>
                <a:lnTo>
                  <a:pt x="0" y="2334735"/>
                </a:lnTo>
                <a:lnTo>
                  <a:pt x="0" y="951662"/>
                </a:lnTo>
                <a:lnTo>
                  <a:pt x="0" y="951660"/>
                </a:lnTo>
                <a:cubicBezTo>
                  <a:pt x="1" y="860480"/>
                  <a:pt x="73918" y="786564"/>
                  <a:pt x="165098" y="786564"/>
                </a:cubicBezTo>
                <a:lnTo>
                  <a:pt x="1367837" y="786564"/>
                </a:lnTo>
                <a:lnTo>
                  <a:pt x="3091010" y="31972"/>
                </a:lnTo>
                <a:cubicBezTo>
                  <a:pt x="3480900" y="18002"/>
                  <a:pt x="3849454" y="4032"/>
                  <a:pt x="4212674" y="73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rot="0" spcFirstLastPara="0" vertOverflow="overflow" horzOverflow="overflow" vert="horz" wrap="square" lIns="92008" tIns="46004" rIns="92008" bIns="460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7" dirty="0">
              <a:solidFill>
                <a:schemeClr val="tx1"/>
              </a:solidFill>
            </a:endParaRPr>
          </a:p>
        </p:txBody>
      </p:sp>
      <p:sp>
        <p:nvSpPr>
          <p:cNvPr id="557" name="Freihandform: Form 556">
            <a:extLst>
              <a:ext uri="{FF2B5EF4-FFF2-40B4-BE49-F238E27FC236}">
                <a16:creationId xmlns:a16="http://schemas.microsoft.com/office/drawing/2014/main" xmlns="" id="{4B1682C2-E384-4FC9-B7FD-D486E524F275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2479180" y="2936980"/>
            <a:ext cx="633325" cy="228002"/>
          </a:xfrm>
          <a:custGeom>
            <a:avLst/>
            <a:gdLst>
              <a:gd name="connsiteX0" fmla="*/ 1639255 w 2028824"/>
              <a:gd name="connsiteY0" fmla="*/ 729497 h 730447"/>
              <a:gd name="connsiteX1" fmla="*/ 1637926 w 2028824"/>
              <a:gd name="connsiteY1" fmla="*/ 729674 h 730447"/>
              <a:gd name="connsiteX2" fmla="*/ 1620431 w 2028824"/>
              <a:gd name="connsiteY2" fmla="*/ 730447 h 730447"/>
              <a:gd name="connsiteX3" fmla="*/ 1601545 w 2028824"/>
              <a:gd name="connsiteY3" fmla="*/ 729497 h 730447"/>
              <a:gd name="connsiteX4" fmla="*/ 1620369 w 2028824"/>
              <a:gd name="connsiteY4" fmla="*/ 730447 h 730447"/>
              <a:gd name="connsiteX5" fmla="*/ 1602874 w 2028824"/>
              <a:gd name="connsiteY5" fmla="*/ 729674 h 730447"/>
              <a:gd name="connsiteX6" fmla="*/ 423955 w 2028824"/>
              <a:gd name="connsiteY6" fmla="*/ 729497 h 730447"/>
              <a:gd name="connsiteX7" fmla="*/ 422626 w 2028824"/>
              <a:gd name="connsiteY7" fmla="*/ 729674 h 730447"/>
              <a:gd name="connsiteX8" fmla="*/ 405131 w 2028824"/>
              <a:gd name="connsiteY8" fmla="*/ 730447 h 730447"/>
              <a:gd name="connsiteX9" fmla="*/ 386245 w 2028824"/>
              <a:gd name="connsiteY9" fmla="*/ 729497 h 730447"/>
              <a:gd name="connsiteX10" fmla="*/ 405069 w 2028824"/>
              <a:gd name="connsiteY10" fmla="*/ 730447 h 730447"/>
              <a:gd name="connsiteX11" fmla="*/ 387574 w 2028824"/>
              <a:gd name="connsiteY11" fmla="*/ 729674 h 730447"/>
              <a:gd name="connsiteX12" fmla="*/ 1656607 w 2028824"/>
              <a:gd name="connsiteY12" fmla="*/ 726965 h 730447"/>
              <a:gd name="connsiteX13" fmla="*/ 1655018 w 2028824"/>
              <a:gd name="connsiteY13" fmla="*/ 727394 h 730447"/>
              <a:gd name="connsiteX14" fmla="*/ 1645312 w 2028824"/>
              <a:gd name="connsiteY14" fmla="*/ 728689 h 730447"/>
              <a:gd name="connsiteX15" fmla="*/ 1584193 w 2028824"/>
              <a:gd name="connsiteY15" fmla="*/ 726965 h 730447"/>
              <a:gd name="connsiteX16" fmla="*/ 1595488 w 2028824"/>
              <a:gd name="connsiteY16" fmla="*/ 728689 h 730447"/>
              <a:gd name="connsiteX17" fmla="*/ 1585782 w 2028824"/>
              <a:gd name="connsiteY17" fmla="*/ 727394 h 730447"/>
              <a:gd name="connsiteX18" fmla="*/ 441307 w 2028824"/>
              <a:gd name="connsiteY18" fmla="*/ 726965 h 730447"/>
              <a:gd name="connsiteX19" fmla="*/ 439718 w 2028824"/>
              <a:gd name="connsiteY19" fmla="*/ 727394 h 730447"/>
              <a:gd name="connsiteX20" fmla="*/ 430012 w 2028824"/>
              <a:gd name="connsiteY20" fmla="*/ 728689 h 730447"/>
              <a:gd name="connsiteX21" fmla="*/ 368893 w 2028824"/>
              <a:gd name="connsiteY21" fmla="*/ 726965 h 730447"/>
              <a:gd name="connsiteX22" fmla="*/ 380188 w 2028824"/>
              <a:gd name="connsiteY22" fmla="*/ 728689 h 730447"/>
              <a:gd name="connsiteX23" fmla="*/ 370482 w 2028824"/>
              <a:gd name="connsiteY23" fmla="*/ 727394 h 730447"/>
              <a:gd name="connsiteX24" fmla="*/ 1690139 w 2028824"/>
              <a:gd name="connsiteY24" fmla="*/ 717417 h 730447"/>
              <a:gd name="connsiteX25" fmla="*/ 1687642 w 2028824"/>
              <a:gd name="connsiteY25" fmla="*/ 718582 h 730447"/>
              <a:gd name="connsiteX26" fmla="*/ 1685024 w 2028824"/>
              <a:gd name="connsiteY26" fmla="*/ 719289 h 730447"/>
              <a:gd name="connsiteX27" fmla="*/ 1550661 w 2028824"/>
              <a:gd name="connsiteY27" fmla="*/ 717417 h 730447"/>
              <a:gd name="connsiteX28" fmla="*/ 1555776 w 2028824"/>
              <a:gd name="connsiteY28" fmla="*/ 719289 h 730447"/>
              <a:gd name="connsiteX29" fmla="*/ 1553158 w 2028824"/>
              <a:gd name="connsiteY29" fmla="*/ 718582 h 730447"/>
              <a:gd name="connsiteX30" fmla="*/ 474839 w 2028824"/>
              <a:gd name="connsiteY30" fmla="*/ 717417 h 730447"/>
              <a:gd name="connsiteX31" fmla="*/ 472342 w 2028824"/>
              <a:gd name="connsiteY31" fmla="*/ 718582 h 730447"/>
              <a:gd name="connsiteX32" fmla="*/ 469724 w 2028824"/>
              <a:gd name="connsiteY32" fmla="*/ 719289 h 730447"/>
              <a:gd name="connsiteX33" fmla="*/ 335361 w 2028824"/>
              <a:gd name="connsiteY33" fmla="*/ 717417 h 730447"/>
              <a:gd name="connsiteX34" fmla="*/ 340476 w 2028824"/>
              <a:gd name="connsiteY34" fmla="*/ 719289 h 730447"/>
              <a:gd name="connsiteX35" fmla="*/ 337858 w 2028824"/>
              <a:gd name="connsiteY35" fmla="*/ 718582 h 730447"/>
              <a:gd name="connsiteX36" fmla="*/ 1720083 w 2028824"/>
              <a:gd name="connsiteY36" fmla="*/ 702917 h 730447"/>
              <a:gd name="connsiteX37" fmla="*/ 1717744 w 2028824"/>
              <a:gd name="connsiteY37" fmla="*/ 704538 h 730447"/>
              <a:gd name="connsiteX38" fmla="*/ 1716326 w 2028824"/>
              <a:gd name="connsiteY38" fmla="*/ 705200 h 730447"/>
              <a:gd name="connsiteX39" fmla="*/ 1520716 w 2028824"/>
              <a:gd name="connsiteY39" fmla="*/ 702917 h 730447"/>
              <a:gd name="connsiteX40" fmla="*/ 1524474 w 2028824"/>
              <a:gd name="connsiteY40" fmla="*/ 705200 h 730447"/>
              <a:gd name="connsiteX41" fmla="*/ 1523056 w 2028824"/>
              <a:gd name="connsiteY41" fmla="*/ 704538 h 730447"/>
              <a:gd name="connsiteX42" fmla="*/ 305417 w 2028824"/>
              <a:gd name="connsiteY42" fmla="*/ 702917 h 730447"/>
              <a:gd name="connsiteX43" fmla="*/ 309174 w 2028824"/>
              <a:gd name="connsiteY43" fmla="*/ 705200 h 730447"/>
              <a:gd name="connsiteX44" fmla="*/ 307756 w 2028824"/>
              <a:gd name="connsiteY44" fmla="*/ 704538 h 730447"/>
              <a:gd name="connsiteX45" fmla="*/ 504784 w 2028824"/>
              <a:gd name="connsiteY45" fmla="*/ 702917 h 730447"/>
              <a:gd name="connsiteX46" fmla="*/ 502444 w 2028824"/>
              <a:gd name="connsiteY46" fmla="*/ 704538 h 730447"/>
              <a:gd name="connsiteX47" fmla="*/ 501026 w 2028824"/>
              <a:gd name="connsiteY47" fmla="*/ 705200 h 730447"/>
              <a:gd name="connsiteX48" fmla="*/ 248941 w 2028824"/>
              <a:gd name="connsiteY48" fmla="*/ 651507 h 730447"/>
              <a:gd name="connsiteX49" fmla="*/ 262831 w 2028824"/>
              <a:gd name="connsiteY49" fmla="*/ 668342 h 730447"/>
              <a:gd name="connsiteX50" fmla="*/ 257224 w 2028824"/>
              <a:gd name="connsiteY50" fmla="*/ 662866 h 730447"/>
              <a:gd name="connsiteX51" fmla="*/ 1776559 w 2028824"/>
              <a:gd name="connsiteY51" fmla="*/ 651506 h 730447"/>
              <a:gd name="connsiteX52" fmla="*/ 1768276 w 2028824"/>
              <a:gd name="connsiteY52" fmla="*/ 662866 h 730447"/>
              <a:gd name="connsiteX53" fmla="*/ 1762669 w 2028824"/>
              <a:gd name="connsiteY53" fmla="*/ 668342 h 730447"/>
              <a:gd name="connsiteX54" fmla="*/ 1464241 w 2028824"/>
              <a:gd name="connsiteY54" fmla="*/ 651506 h 730447"/>
              <a:gd name="connsiteX55" fmla="*/ 1478132 w 2028824"/>
              <a:gd name="connsiteY55" fmla="*/ 668342 h 730447"/>
              <a:gd name="connsiteX56" fmla="*/ 1472524 w 2028824"/>
              <a:gd name="connsiteY56" fmla="*/ 662866 h 730447"/>
              <a:gd name="connsiteX57" fmla="*/ 561260 w 2028824"/>
              <a:gd name="connsiteY57" fmla="*/ 651505 h 730447"/>
              <a:gd name="connsiteX58" fmla="*/ 552977 w 2028824"/>
              <a:gd name="connsiteY58" fmla="*/ 662866 h 730447"/>
              <a:gd name="connsiteX59" fmla="*/ 547368 w 2028824"/>
              <a:gd name="connsiteY59" fmla="*/ 668342 h 730447"/>
              <a:gd name="connsiteX60" fmla="*/ 229467 w 2028824"/>
              <a:gd name="connsiteY60" fmla="*/ 619415 h 730447"/>
              <a:gd name="connsiteX61" fmla="*/ 240899 w 2028824"/>
              <a:gd name="connsiteY61" fmla="*/ 640477 h 730447"/>
              <a:gd name="connsiteX62" fmla="*/ 237847 w 2028824"/>
              <a:gd name="connsiteY62" fmla="*/ 636291 h 730447"/>
              <a:gd name="connsiteX63" fmla="*/ 1796034 w 2028824"/>
              <a:gd name="connsiteY63" fmla="*/ 619413 h 730447"/>
              <a:gd name="connsiteX64" fmla="*/ 1787653 w 2028824"/>
              <a:gd name="connsiteY64" fmla="*/ 636291 h 730447"/>
              <a:gd name="connsiteX65" fmla="*/ 1784601 w 2028824"/>
              <a:gd name="connsiteY65" fmla="*/ 640477 h 730447"/>
              <a:gd name="connsiteX66" fmla="*/ 1444766 w 2028824"/>
              <a:gd name="connsiteY66" fmla="*/ 619413 h 730447"/>
              <a:gd name="connsiteX67" fmla="*/ 1456199 w 2028824"/>
              <a:gd name="connsiteY67" fmla="*/ 640477 h 730447"/>
              <a:gd name="connsiteX68" fmla="*/ 1453147 w 2028824"/>
              <a:gd name="connsiteY68" fmla="*/ 636291 h 730447"/>
              <a:gd name="connsiteX69" fmla="*/ 580735 w 2028824"/>
              <a:gd name="connsiteY69" fmla="*/ 619411 h 730447"/>
              <a:gd name="connsiteX70" fmla="*/ 572353 w 2028824"/>
              <a:gd name="connsiteY70" fmla="*/ 636291 h 730447"/>
              <a:gd name="connsiteX71" fmla="*/ 569301 w 2028824"/>
              <a:gd name="connsiteY71" fmla="*/ 640477 h 730447"/>
              <a:gd name="connsiteX72" fmla="*/ 213512 w 2028824"/>
              <a:gd name="connsiteY72" fmla="*/ 574311 h 730447"/>
              <a:gd name="connsiteX73" fmla="*/ 224255 w 2028824"/>
              <a:gd name="connsiteY73" fmla="*/ 608919 h 730447"/>
              <a:gd name="connsiteX74" fmla="*/ 223100 w 2028824"/>
              <a:gd name="connsiteY74" fmla="*/ 606592 h 730447"/>
              <a:gd name="connsiteX75" fmla="*/ 1811992 w 2028824"/>
              <a:gd name="connsiteY75" fmla="*/ 574298 h 730447"/>
              <a:gd name="connsiteX76" fmla="*/ 1802400 w 2028824"/>
              <a:gd name="connsiteY76" fmla="*/ 606592 h 730447"/>
              <a:gd name="connsiteX77" fmla="*/ 1801245 w 2028824"/>
              <a:gd name="connsiteY77" fmla="*/ 608919 h 730447"/>
              <a:gd name="connsiteX78" fmla="*/ 1428808 w 2028824"/>
              <a:gd name="connsiteY78" fmla="*/ 574298 h 730447"/>
              <a:gd name="connsiteX79" fmla="*/ 1439555 w 2028824"/>
              <a:gd name="connsiteY79" fmla="*/ 608919 h 730447"/>
              <a:gd name="connsiteX80" fmla="*/ 1438399 w 2028824"/>
              <a:gd name="connsiteY80" fmla="*/ 606592 h 730447"/>
              <a:gd name="connsiteX81" fmla="*/ 596692 w 2028824"/>
              <a:gd name="connsiteY81" fmla="*/ 574297 h 730447"/>
              <a:gd name="connsiteX82" fmla="*/ 587100 w 2028824"/>
              <a:gd name="connsiteY82" fmla="*/ 606592 h 730447"/>
              <a:gd name="connsiteX83" fmla="*/ 585945 w 2028824"/>
              <a:gd name="connsiteY83" fmla="*/ 608920 h 730447"/>
              <a:gd name="connsiteX84" fmla="*/ 596798 w 2028824"/>
              <a:gd name="connsiteY84" fmla="*/ 573253 h 730447"/>
              <a:gd name="connsiteX85" fmla="*/ 596692 w 2028824"/>
              <a:gd name="connsiteY85" fmla="*/ 574297 h 730447"/>
              <a:gd name="connsiteX86" fmla="*/ 596692 w 2028824"/>
              <a:gd name="connsiteY86" fmla="*/ 574296 h 730447"/>
              <a:gd name="connsiteX87" fmla="*/ 725426 w 2028824"/>
              <a:gd name="connsiteY87" fmla="*/ 402768 h 730447"/>
              <a:gd name="connsiteX88" fmla="*/ 729179 w 2028824"/>
              <a:gd name="connsiteY88" fmla="*/ 424843 h 730447"/>
              <a:gd name="connsiteX89" fmla="*/ 729214 w 2028824"/>
              <a:gd name="connsiteY89" fmla="*/ 424843 h 730447"/>
              <a:gd name="connsiteX90" fmla="*/ 732068 w 2028824"/>
              <a:gd name="connsiteY90" fmla="*/ 427697 h 730447"/>
              <a:gd name="connsiteX91" fmla="*/ 773153 w 2028824"/>
              <a:gd name="connsiteY91" fmla="*/ 427697 h 730447"/>
              <a:gd name="connsiteX92" fmla="*/ 776006 w 2028824"/>
              <a:gd name="connsiteY92" fmla="*/ 424843 h 730447"/>
              <a:gd name="connsiteX93" fmla="*/ 776042 w 2028824"/>
              <a:gd name="connsiteY93" fmla="*/ 424843 h 730447"/>
              <a:gd name="connsiteX94" fmla="*/ 779794 w 2028824"/>
              <a:gd name="connsiteY94" fmla="*/ 402768 h 730447"/>
              <a:gd name="connsiteX95" fmla="*/ 707975 w 2028824"/>
              <a:gd name="connsiteY95" fmla="*/ 358248 h 730447"/>
              <a:gd name="connsiteX96" fmla="*/ 714136 w 2028824"/>
              <a:gd name="connsiteY96" fmla="*/ 394496 h 730447"/>
              <a:gd name="connsiteX97" fmla="*/ 714195 w 2028824"/>
              <a:gd name="connsiteY97" fmla="*/ 394496 h 730447"/>
              <a:gd name="connsiteX98" fmla="*/ 718880 w 2028824"/>
              <a:gd name="connsiteY98" fmla="*/ 399182 h 730447"/>
              <a:gd name="connsiteX99" fmla="*/ 786340 w 2028824"/>
              <a:gd name="connsiteY99" fmla="*/ 399182 h 730447"/>
              <a:gd name="connsiteX100" fmla="*/ 791026 w 2028824"/>
              <a:gd name="connsiteY100" fmla="*/ 394496 h 730447"/>
              <a:gd name="connsiteX101" fmla="*/ 791084 w 2028824"/>
              <a:gd name="connsiteY101" fmla="*/ 394496 h 730447"/>
              <a:gd name="connsiteX102" fmla="*/ 797246 w 2028824"/>
              <a:gd name="connsiteY102" fmla="*/ 358248 h 730447"/>
              <a:gd name="connsiteX103" fmla="*/ 1620400 w 2028824"/>
              <a:gd name="connsiteY103" fmla="*/ 349843 h 730447"/>
              <a:gd name="connsiteX104" fmla="*/ 1805440 w 2028824"/>
              <a:gd name="connsiteY104" fmla="*/ 534883 h 730447"/>
              <a:gd name="connsiteX105" fmla="*/ 1620400 w 2028824"/>
              <a:gd name="connsiteY105" fmla="*/ 719923 h 730447"/>
              <a:gd name="connsiteX106" fmla="*/ 1435360 w 2028824"/>
              <a:gd name="connsiteY106" fmla="*/ 534883 h 730447"/>
              <a:gd name="connsiteX107" fmla="*/ 1620400 w 2028824"/>
              <a:gd name="connsiteY107" fmla="*/ 349843 h 730447"/>
              <a:gd name="connsiteX108" fmla="*/ 405100 w 2028824"/>
              <a:gd name="connsiteY108" fmla="*/ 349843 h 730447"/>
              <a:gd name="connsiteX109" fmla="*/ 590140 w 2028824"/>
              <a:gd name="connsiteY109" fmla="*/ 534883 h 730447"/>
              <a:gd name="connsiteX110" fmla="*/ 405100 w 2028824"/>
              <a:gd name="connsiteY110" fmla="*/ 719923 h 730447"/>
              <a:gd name="connsiteX111" fmla="*/ 220060 w 2028824"/>
              <a:gd name="connsiteY111" fmla="*/ 534883 h 730447"/>
              <a:gd name="connsiteX112" fmla="*/ 405100 w 2028824"/>
              <a:gd name="connsiteY112" fmla="*/ 349843 h 730447"/>
              <a:gd name="connsiteX113" fmla="*/ 703264 w 2028824"/>
              <a:gd name="connsiteY113" fmla="*/ 345291 h 730447"/>
              <a:gd name="connsiteX114" fmla="*/ 698578 w 2028824"/>
              <a:gd name="connsiteY114" fmla="*/ 349977 h 730447"/>
              <a:gd name="connsiteX115" fmla="*/ 703264 w 2028824"/>
              <a:gd name="connsiteY115" fmla="*/ 354662 h 730447"/>
              <a:gd name="connsiteX116" fmla="*/ 801957 w 2028824"/>
              <a:gd name="connsiteY116" fmla="*/ 354662 h 730447"/>
              <a:gd name="connsiteX117" fmla="*/ 806643 w 2028824"/>
              <a:gd name="connsiteY117" fmla="*/ 349977 h 730447"/>
              <a:gd name="connsiteX118" fmla="*/ 801957 w 2028824"/>
              <a:gd name="connsiteY118" fmla="*/ 345291 h 730447"/>
              <a:gd name="connsiteX119" fmla="*/ 776103 w 2028824"/>
              <a:gd name="connsiteY119" fmla="*/ 316113 h 730447"/>
              <a:gd name="connsiteX120" fmla="*/ 771417 w 2028824"/>
              <a:gd name="connsiteY120" fmla="*/ 320799 h 730447"/>
              <a:gd name="connsiteX121" fmla="*/ 771417 w 2028824"/>
              <a:gd name="connsiteY121" fmla="*/ 341715 h 730447"/>
              <a:gd name="connsiteX122" fmla="*/ 780788 w 2028824"/>
              <a:gd name="connsiteY122" fmla="*/ 341715 h 730447"/>
              <a:gd name="connsiteX123" fmla="*/ 780788 w 2028824"/>
              <a:gd name="connsiteY123" fmla="*/ 320799 h 730447"/>
              <a:gd name="connsiteX124" fmla="*/ 776103 w 2028824"/>
              <a:gd name="connsiteY124" fmla="*/ 316113 h 730447"/>
              <a:gd name="connsiteX125" fmla="*/ 728855 w 2028824"/>
              <a:gd name="connsiteY125" fmla="*/ 316113 h 730447"/>
              <a:gd name="connsiteX126" fmla="*/ 724170 w 2028824"/>
              <a:gd name="connsiteY126" fmla="*/ 320799 h 730447"/>
              <a:gd name="connsiteX127" fmla="*/ 724170 w 2028824"/>
              <a:gd name="connsiteY127" fmla="*/ 341715 h 730447"/>
              <a:gd name="connsiteX128" fmla="*/ 733541 w 2028824"/>
              <a:gd name="connsiteY128" fmla="*/ 341715 h 730447"/>
              <a:gd name="connsiteX129" fmla="*/ 733541 w 2028824"/>
              <a:gd name="connsiteY129" fmla="*/ 320799 h 730447"/>
              <a:gd name="connsiteX130" fmla="*/ 728855 w 2028824"/>
              <a:gd name="connsiteY130" fmla="*/ 316113 h 730447"/>
              <a:gd name="connsiteX131" fmla="*/ 751884 w 2028824"/>
              <a:gd name="connsiteY131" fmla="*/ 274259 h 730447"/>
              <a:gd name="connsiteX132" fmla="*/ 646924 w 2028824"/>
              <a:gd name="connsiteY132" fmla="*/ 379219 h 730447"/>
              <a:gd name="connsiteX133" fmla="*/ 709572 w 2028824"/>
              <a:gd name="connsiteY133" fmla="*/ 475229 h 730447"/>
              <a:gd name="connsiteX134" fmla="*/ 709597 w 2028824"/>
              <a:gd name="connsiteY134" fmla="*/ 475176 h 730447"/>
              <a:gd name="connsiteX135" fmla="*/ 712089 w 2028824"/>
              <a:gd name="connsiteY135" fmla="*/ 475939 h 730447"/>
              <a:gd name="connsiteX136" fmla="*/ 717082 w 2028824"/>
              <a:gd name="connsiteY136" fmla="*/ 470946 h 730447"/>
              <a:gd name="connsiteX137" fmla="*/ 713349 w 2028824"/>
              <a:gd name="connsiteY137" fmla="*/ 466208 h 730447"/>
              <a:gd name="connsiteX138" fmla="*/ 656700 w 2028824"/>
              <a:gd name="connsiteY138" fmla="*/ 379219 h 730447"/>
              <a:gd name="connsiteX139" fmla="*/ 751884 w 2028824"/>
              <a:gd name="connsiteY139" fmla="*/ 284035 h 730447"/>
              <a:gd name="connsiteX140" fmla="*/ 847068 w 2028824"/>
              <a:gd name="connsiteY140" fmla="*/ 379219 h 730447"/>
              <a:gd name="connsiteX141" fmla="*/ 781650 w 2028824"/>
              <a:gd name="connsiteY141" fmla="*/ 469487 h 730447"/>
              <a:gd name="connsiteX142" fmla="*/ 781650 w 2028824"/>
              <a:gd name="connsiteY142" fmla="*/ 469482 h 730447"/>
              <a:gd name="connsiteX143" fmla="*/ 775242 w 2028824"/>
              <a:gd name="connsiteY143" fmla="*/ 470598 h 730447"/>
              <a:gd name="connsiteX144" fmla="*/ 754644 w 2028824"/>
              <a:gd name="connsiteY144" fmla="*/ 450630 h 730447"/>
              <a:gd name="connsiteX145" fmla="*/ 754660 w 2028824"/>
              <a:gd name="connsiteY145" fmla="*/ 450630 h 730447"/>
              <a:gd name="connsiteX146" fmla="*/ 754660 w 2028824"/>
              <a:gd name="connsiteY146" fmla="*/ 433454 h 730447"/>
              <a:gd name="connsiteX147" fmla="*/ 750345 w 2028824"/>
              <a:gd name="connsiteY147" fmla="*/ 429095 h 730447"/>
              <a:gd name="connsiteX148" fmla="*/ 746031 w 2028824"/>
              <a:gd name="connsiteY148" fmla="*/ 433454 h 730447"/>
              <a:gd name="connsiteX149" fmla="*/ 746031 w 2028824"/>
              <a:gd name="connsiteY149" fmla="*/ 450630 h 730447"/>
              <a:gd name="connsiteX150" fmla="*/ 746080 w 2028824"/>
              <a:gd name="connsiteY150" fmla="*/ 450630 h 730447"/>
              <a:gd name="connsiteX151" fmla="*/ 761385 w 2028824"/>
              <a:gd name="connsiteY151" fmla="*/ 475494 h 730447"/>
              <a:gd name="connsiteX152" fmla="*/ 762543 w 2028824"/>
              <a:gd name="connsiteY152" fmla="*/ 476123 h 730447"/>
              <a:gd name="connsiteX153" fmla="*/ 772678 w 2028824"/>
              <a:gd name="connsiteY153" fmla="*/ 479011 h 730447"/>
              <a:gd name="connsiteX154" fmla="*/ 790117 w 2028824"/>
              <a:gd name="connsiteY154" fmla="*/ 476891 h 730447"/>
              <a:gd name="connsiteX155" fmla="*/ 856844 w 2028824"/>
              <a:gd name="connsiteY155" fmla="*/ 379219 h 730447"/>
              <a:gd name="connsiteX156" fmla="*/ 751884 w 2028824"/>
              <a:gd name="connsiteY156" fmla="*/ 274259 h 730447"/>
              <a:gd name="connsiteX157" fmla="*/ 889893 w 2028824"/>
              <a:gd name="connsiteY157" fmla="*/ 15513 h 730447"/>
              <a:gd name="connsiteX158" fmla="*/ 889893 w 2028824"/>
              <a:gd name="connsiteY158" fmla="*/ 195222 h 730447"/>
              <a:gd name="connsiteX159" fmla="*/ 1435391 w 2028824"/>
              <a:gd name="connsiteY159" fmla="*/ 195222 h 730447"/>
              <a:gd name="connsiteX160" fmla="*/ 1136331 w 2028824"/>
              <a:gd name="connsiteY160" fmla="*/ 47722 h 730447"/>
              <a:gd name="connsiteX161" fmla="*/ 1007726 w 2028824"/>
              <a:gd name="connsiteY161" fmla="*/ 21114 h 730447"/>
              <a:gd name="connsiteX162" fmla="*/ 901645 w 2028824"/>
              <a:gd name="connsiteY162" fmla="*/ 15608 h 730447"/>
              <a:gd name="connsiteX163" fmla="*/ 827876 w 2028824"/>
              <a:gd name="connsiteY163" fmla="*/ 14758 h 730447"/>
              <a:gd name="connsiteX164" fmla="*/ 610282 w 2028824"/>
              <a:gd name="connsiteY164" fmla="*/ 20819 h 730447"/>
              <a:gd name="connsiteX165" fmla="*/ 454169 w 2028824"/>
              <a:gd name="connsiteY165" fmla="*/ 89182 h 730447"/>
              <a:gd name="connsiteX166" fmla="*/ 454169 w 2028824"/>
              <a:gd name="connsiteY166" fmla="*/ 195222 h 730447"/>
              <a:gd name="connsiteX167" fmla="*/ 870279 w 2028824"/>
              <a:gd name="connsiteY167" fmla="*/ 195222 h 730447"/>
              <a:gd name="connsiteX168" fmla="*/ 870279 w 2028824"/>
              <a:gd name="connsiteY168" fmla="*/ 15100 h 730447"/>
              <a:gd name="connsiteX169" fmla="*/ 817224 w 2028824"/>
              <a:gd name="connsiteY169" fmla="*/ 142 h 730447"/>
              <a:gd name="connsiteX170" fmla="*/ 1028609 w 2028824"/>
              <a:gd name="connsiteY170" fmla="*/ 6498 h 730447"/>
              <a:gd name="connsiteX171" fmla="*/ 1157214 w 2028824"/>
              <a:gd name="connsiteY171" fmla="*/ 33106 h 730447"/>
              <a:gd name="connsiteX172" fmla="*/ 1483901 w 2028824"/>
              <a:gd name="connsiteY172" fmla="*/ 194232 h 730447"/>
              <a:gd name="connsiteX173" fmla="*/ 2023450 w 2028824"/>
              <a:gd name="connsiteY173" fmla="*/ 367183 h 730447"/>
              <a:gd name="connsiteX174" fmla="*/ 2021972 w 2028824"/>
              <a:gd name="connsiteY174" fmla="*/ 457355 h 730447"/>
              <a:gd name="connsiteX175" fmla="*/ 2010583 w 2028824"/>
              <a:gd name="connsiteY175" fmla="*/ 518856 h 730447"/>
              <a:gd name="connsiteX176" fmla="*/ 2011531 w 2028824"/>
              <a:gd name="connsiteY176" fmla="*/ 523552 h 730447"/>
              <a:gd name="connsiteX177" fmla="*/ 1979503 w 2028824"/>
              <a:gd name="connsiteY177" fmla="*/ 555580 h 730447"/>
              <a:gd name="connsiteX178" fmla="*/ 1832267 w 2028824"/>
              <a:gd name="connsiteY178" fmla="*/ 576105 h 730447"/>
              <a:gd name="connsiteX179" fmla="*/ 1819456 w 2028824"/>
              <a:gd name="connsiteY179" fmla="*/ 555410 h 730447"/>
              <a:gd name="connsiteX180" fmla="*/ 1813896 w 2028824"/>
              <a:gd name="connsiteY180" fmla="*/ 555410 h 730447"/>
              <a:gd name="connsiteX181" fmla="*/ 1815965 w 2028824"/>
              <a:gd name="connsiteY181" fmla="*/ 534883 h 730447"/>
              <a:gd name="connsiteX182" fmla="*/ 1620400 w 2028824"/>
              <a:gd name="connsiteY182" fmla="*/ 339318 h 730447"/>
              <a:gd name="connsiteX183" fmla="*/ 1424834 w 2028824"/>
              <a:gd name="connsiteY183" fmla="*/ 534883 h 730447"/>
              <a:gd name="connsiteX184" fmla="*/ 1428013 w 2028824"/>
              <a:gd name="connsiteY184" fmla="*/ 566410 h 730447"/>
              <a:gd name="connsiteX185" fmla="*/ 597488 w 2028824"/>
              <a:gd name="connsiteY185" fmla="*/ 566410 h 730447"/>
              <a:gd name="connsiteX186" fmla="*/ 596798 w 2028824"/>
              <a:gd name="connsiteY186" fmla="*/ 573253 h 730447"/>
              <a:gd name="connsiteX187" fmla="*/ 600666 w 2028824"/>
              <a:gd name="connsiteY187" fmla="*/ 534883 h 730447"/>
              <a:gd name="connsiteX188" fmla="*/ 405100 w 2028824"/>
              <a:gd name="connsiteY188" fmla="*/ 339318 h 730447"/>
              <a:gd name="connsiteX189" fmla="*/ 209534 w 2028824"/>
              <a:gd name="connsiteY189" fmla="*/ 534883 h 730447"/>
              <a:gd name="connsiteX190" fmla="*/ 211619 w 2028824"/>
              <a:gd name="connsiteY190" fmla="*/ 555568 h 730447"/>
              <a:gd name="connsiteX191" fmla="*/ 87904 w 2028824"/>
              <a:gd name="connsiteY191" fmla="*/ 555580 h 730447"/>
              <a:gd name="connsiteX192" fmla="*/ 69997 w 2028824"/>
              <a:gd name="connsiteY192" fmla="*/ 550110 h 730447"/>
              <a:gd name="connsiteX193" fmla="*/ 63514 w 2028824"/>
              <a:gd name="connsiteY193" fmla="*/ 544219 h 730447"/>
              <a:gd name="connsiteX194" fmla="*/ 54484 w 2028824"/>
              <a:gd name="connsiteY194" fmla="*/ 542396 h 730447"/>
              <a:gd name="connsiteX195" fmla="*/ 37440 w 2028824"/>
              <a:gd name="connsiteY195" fmla="*/ 525352 h 730447"/>
              <a:gd name="connsiteX196" fmla="*/ 34923 w 2028824"/>
              <a:gd name="connsiteY196" fmla="*/ 512885 h 730447"/>
              <a:gd name="connsiteX197" fmla="*/ 34923 w 2028824"/>
              <a:gd name="connsiteY197" fmla="*/ 505022 h 730447"/>
              <a:gd name="connsiteX198" fmla="*/ 28267 w 2028824"/>
              <a:gd name="connsiteY198" fmla="*/ 498975 h 730447"/>
              <a:gd name="connsiteX199" fmla="*/ 23470 w 2028824"/>
              <a:gd name="connsiteY199" fmla="*/ 491069 h 730447"/>
              <a:gd name="connsiteX200" fmla="*/ 23244 w 2028824"/>
              <a:gd name="connsiteY200" fmla="*/ 489949 h 730447"/>
              <a:gd name="connsiteX201" fmla="*/ 12274 w 2028824"/>
              <a:gd name="connsiteY201" fmla="*/ 482553 h 730447"/>
              <a:gd name="connsiteX202" fmla="*/ 0 w 2028824"/>
              <a:gd name="connsiteY202" fmla="*/ 452920 h 730447"/>
              <a:gd name="connsiteX203" fmla="*/ 0 w 2028824"/>
              <a:gd name="connsiteY203" fmla="*/ 452920 h 730447"/>
              <a:gd name="connsiteX204" fmla="*/ 0 w 2028824"/>
              <a:gd name="connsiteY204" fmla="*/ 452920 h 730447"/>
              <a:gd name="connsiteX205" fmla="*/ 0 w 2028824"/>
              <a:gd name="connsiteY205" fmla="*/ 184614 h 730447"/>
              <a:gd name="connsiteX206" fmla="*/ 2517 w 2028824"/>
              <a:gd name="connsiteY206" fmla="*/ 172148 h 730447"/>
              <a:gd name="connsiteX207" fmla="*/ 32028 w 2028824"/>
              <a:gd name="connsiteY207" fmla="*/ 152587 h 730447"/>
              <a:gd name="connsiteX208" fmla="*/ 265349 w 2028824"/>
              <a:gd name="connsiteY208" fmla="*/ 152587 h 730447"/>
              <a:gd name="connsiteX209" fmla="*/ 599631 w 2028824"/>
              <a:gd name="connsiteY209" fmla="*/ 6202 h 730447"/>
              <a:gd name="connsiteX210" fmla="*/ 817224 w 2028824"/>
              <a:gd name="connsiteY210" fmla="*/ 142 h 730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</a:cxnLst>
            <a:rect l="l" t="t" r="r" b="b"/>
            <a:pathLst>
              <a:path w="2028824" h="730447">
                <a:moveTo>
                  <a:pt x="1639255" y="729497"/>
                </a:moveTo>
                <a:lnTo>
                  <a:pt x="1637926" y="729674"/>
                </a:lnTo>
                <a:lnTo>
                  <a:pt x="1620431" y="730447"/>
                </a:lnTo>
                <a:close/>
                <a:moveTo>
                  <a:pt x="1601545" y="729497"/>
                </a:moveTo>
                <a:lnTo>
                  <a:pt x="1620369" y="730447"/>
                </a:lnTo>
                <a:lnTo>
                  <a:pt x="1602874" y="729674"/>
                </a:lnTo>
                <a:close/>
                <a:moveTo>
                  <a:pt x="423955" y="729497"/>
                </a:moveTo>
                <a:lnTo>
                  <a:pt x="422626" y="729674"/>
                </a:lnTo>
                <a:lnTo>
                  <a:pt x="405131" y="730447"/>
                </a:lnTo>
                <a:close/>
                <a:moveTo>
                  <a:pt x="386245" y="729497"/>
                </a:moveTo>
                <a:lnTo>
                  <a:pt x="405069" y="730447"/>
                </a:lnTo>
                <a:lnTo>
                  <a:pt x="387574" y="729674"/>
                </a:lnTo>
                <a:close/>
                <a:moveTo>
                  <a:pt x="1656607" y="726965"/>
                </a:moveTo>
                <a:lnTo>
                  <a:pt x="1655018" y="727394"/>
                </a:lnTo>
                <a:lnTo>
                  <a:pt x="1645312" y="728689"/>
                </a:lnTo>
                <a:close/>
                <a:moveTo>
                  <a:pt x="1584193" y="726965"/>
                </a:moveTo>
                <a:lnTo>
                  <a:pt x="1595488" y="728689"/>
                </a:lnTo>
                <a:lnTo>
                  <a:pt x="1585782" y="727394"/>
                </a:lnTo>
                <a:close/>
                <a:moveTo>
                  <a:pt x="441307" y="726965"/>
                </a:moveTo>
                <a:lnTo>
                  <a:pt x="439718" y="727394"/>
                </a:lnTo>
                <a:lnTo>
                  <a:pt x="430012" y="728689"/>
                </a:lnTo>
                <a:close/>
                <a:moveTo>
                  <a:pt x="368893" y="726965"/>
                </a:moveTo>
                <a:lnTo>
                  <a:pt x="380188" y="728689"/>
                </a:lnTo>
                <a:lnTo>
                  <a:pt x="370482" y="727394"/>
                </a:lnTo>
                <a:close/>
                <a:moveTo>
                  <a:pt x="1690139" y="717417"/>
                </a:moveTo>
                <a:lnTo>
                  <a:pt x="1687642" y="718582"/>
                </a:lnTo>
                <a:lnTo>
                  <a:pt x="1685024" y="719289"/>
                </a:lnTo>
                <a:close/>
                <a:moveTo>
                  <a:pt x="1550661" y="717417"/>
                </a:moveTo>
                <a:lnTo>
                  <a:pt x="1555776" y="719289"/>
                </a:lnTo>
                <a:lnTo>
                  <a:pt x="1553158" y="718582"/>
                </a:lnTo>
                <a:close/>
                <a:moveTo>
                  <a:pt x="474839" y="717417"/>
                </a:moveTo>
                <a:lnTo>
                  <a:pt x="472342" y="718582"/>
                </a:lnTo>
                <a:lnTo>
                  <a:pt x="469724" y="719289"/>
                </a:lnTo>
                <a:close/>
                <a:moveTo>
                  <a:pt x="335361" y="717417"/>
                </a:moveTo>
                <a:lnTo>
                  <a:pt x="340476" y="719289"/>
                </a:lnTo>
                <a:lnTo>
                  <a:pt x="337858" y="718582"/>
                </a:lnTo>
                <a:close/>
                <a:moveTo>
                  <a:pt x="1720083" y="702917"/>
                </a:moveTo>
                <a:lnTo>
                  <a:pt x="1717744" y="704538"/>
                </a:lnTo>
                <a:lnTo>
                  <a:pt x="1716326" y="705200"/>
                </a:lnTo>
                <a:close/>
                <a:moveTo>
                  <a:pt x="1520716" y="702917"/>
                </a:moveTo>
                <a:lnTo>
                  <a:pt x="1524474" y="705200"/>
                </a:lnTo>
                <a:lnTo>
                  <a:pt x="1523056" y="704538"/>
                </a:lnTo>
                <a:close/>
                <a:moveTo>
                  <a:pt x="305417" y="702917"/>
                </a:moveTo>
                <a:lnTo>
                  <a:pt x="309174" y="705200"/>
                </a:lnTo>
                <a:lnTo>
                  <a:pt x="307756" y="704538"/>
                </a:lnTo>
                <a:close/>
                <a:moveTo>
                  <a:pt x="504784" y="702917"/>
                </a:moveTo>
                <a:lnTo>
                  <a:pt x="502444" y="704538"/>
                </a:lnTo>
                <a:lnTo>
                  <a:pt x="501026" y="705200"/>
                </a:lnTo>
                <a:close/>
                <a:moveTo>
                  <a:pt x="248941" y="651507"/>
                </a:moveTo>
                <a:lnTo>
                  <a:pt x="262831" y="668342"/>
                </a:lnTo>
                <a:lnTo>
                  <a:pt x="257224" y="662866"/>
                </a:lnTo>
                <a:close/>
                <a:moveTo>
                  <a:pt x="1776559" y="651506"/>
                </a:moveTo>
                <a:lnTo>
                  <a:pt x="1768276" y="662866"/>
                </a:lnTo>
                <a:lnTo>
                  <a:pt x="1762669" y="668342"/>
                </a:lnTo>
                <a:close/>
                <a:moveTo>
                  <a:pt x="1464241" y="651506"/>
                </a:moveTo>
                <a:lnTo>
                  <a:pt x="1478132" y="668342"/>
                </a:lnTo>
                <a:lnTo>
                  <a:pt x="1472524" y="662866"/>
                </a:lnTo>
                <a:close/>
                <a:moveTo>
                  <a:pt x="561260" y="651505"/>
                </a:moveTo>
                <a:lnTo>
                  <a:pt x="552977" y="662866"/>
                </a:lnTo>
                <a:lnTo>
                  <a:pt x="547368" y="668342"/>
                </a:lnTo>
                <a:close/>
                <a:moveTo>
                  <a:pt x="229467" y="619415"/>
                </a:moveTo>
                <a:lnTo>
                  <a:pt x="240899" y="640477"/>
                </a:lnTo>
                <a:lnTo>
                  <a:pt x="237847" y="636291"/>
                </a:lnTo>
                <a:close/>
                <a:moveTo>
                  <a:pt x="1796034" y="619413"/>
                </a:moveTo>
                <a:lnTo>
                  <a:pt x="1787653" y="636291"/>
                </a:lnTo>
                <a:lnTo>
                  <a:pt x="1784601" y="640477"/>
                </a:lnTo>
                <a:close/>
                <a:moveTo>
                  <a:pt x="1444766" y="619413"/>
                </a:moveTo>
                <a:lnTo>
                  <a:pt x="1456199" y="640477"/>
                </a:lnTo>
                <a:lnTo>
                  <a:pt x="1453147" y="636291"/>
                </a:lnTo>
                <a:close/>
                <a:moveTo>
                  <a:pt x="580735" y="619411"/>
                </a:moveTo>
                <a:lnTo>
                  <a:pt x="572353" y="636291"/>
                </a:lnTo>
                <a:lnTo>
                  <a:pt x="569301" y="640477"/>
                </a:lnTo>
                <a:close/>
                <a:moveTo>
                  <a:pt x="213512" y="574311"/>
                </a:moveTo>
                <a:lnTo>
                  <a:pt x="224255" y="608919"/>
                </a:lnTo>
                <a:lnTo>
                  <a:pt x="223100" y="606592"/>
                </a:lnTo>
                <a:close/>
                <a:moveTo>
                  <a:pt x="1811992" y="574298"/>
                </a:moveTo>
                <a:lnTo>
                  <a:pt x="1802400" y="606592"/>
                </a:lnTo>
                <a:lnTo>
                  <a:pt x="1801245" y="608919"/>
                </a:lnTo>
                <a:close/>
                <a:moveTo>
                  <a:pt x="1428808" y="574298"/>
                </a:moveTo>
                <a:lnTo>
                  <a:pt x="1439555" y="608919"/>
                </a:lnTo>
                <a:lnTo>
                  <a:pt x="1438399" y="606592"/>
                </a:lnTo>
                <a:close/>
                <a:moveTo>
                  <a:pt x="596692" y="574297"/>
                </a:moveTo>
                <a:lnTo>
                  <a:pt x="587100" y="606592"/>
                </a:lnTo>
                <a:lnTo>
                  <a:pt x="585945" y="608920"/>
                </a:lnTo>
                <a:close/>
                <a:moveTo>
                  <a:pt x="596798" y="573253"/>
                </a:moveTo>
                <a:lnTo>
                  <a:pt x="596692" y="574297"/>
                </a:lnTo>
                <a:lnTo>
                  <a:pt x="596692" y="574296"/>
                </a:lnTo>
                <a:close/>
                <a:moveTo>
                  <a:pt x="725426" y="402768"/>
                </a:moveTo>
                <a:lnTo>
                  <a:pt x="729179" y="424843"/>
                </a:lnTo>
                <a:lnTo>
                  <a:pt x="729214" y="424843"/>
                </a:lnTo>
                <a:cubicBezTo>
                  <a:pt x="729214" y="426419"/>
                  <a:pt x="730492" y="427697"/>
                  <a:pt x="732068" y="427697"/>
                </a:cubicBezTo>
                <a:lnTo>
                  <a:pt x="773153" y="427697"/>
                </a:lnTo>
                <a:cubicBezTo>
                  <a:pt x="774729" y="427697"/>
                  <a:pt x="776006" y="426419"/>
                  <a:pt x="776006" y="424843"/>
                </a:cubicBezTo>
                <a:lnTo>
                  <a:pt x="776042" y="424843"/>
                </a:lnTo>
                <a:lnTo>
                  <a:pt x="779794" y="402768"/>
                </a:lnTo>
                <a:close/>
                <a:moveTo>
                  <a:pt x="707975" y="358248"/>
                </a:moveTo>
                <a:lnTo>
                  <a:pt x="714136" y="394496"/>
                </a:lnTo>
                <a:lnTo>
                  <a:pt x="714195" y="394496"/>
                </a:lnTo>
                <a:cubicBezTo>
                  <a:pt x="714195" y="397084"/>
                  <a:pt x="716292" y="399182"/>
                  <a:pt x="718880" y="399182"/>
                </a:cubicBezTo>
                <a:lnTo>
                  <a:pt x="786340" y="399182"/>
                </a:lnTo>
                <a:cubicBezTo>
                  <a:pt x="788928" y="399182"/>
                  <a:pt x="791026" y="397084"/>
                  <a:pt x="791026" y="394496"/>
                </a:cubicBezTo>
                <a:lnTo>
                  <a:pt x="791084" y="394496"/>
                </a:lnTo>
                <a:lnTo>
                  <a:pt x="797246" y="358248"/>
                </a:lnTo>
                <a:close/>
                <a:moveTo>
                  <a:pt x="1620400" y="349843"/>
                </a:moveTo>
                <a:cubicBezTo>
                  <a:pt x="1722595" y="349843"/>
                  <a:pt x="1805440" y="432688"/>
                  <a:pt x="1805440" y="534883"/>
                </a:cubicBezTo>
                <a:cubicBezTo>
                  <a:pt x="1805440" y="637078"/>
                  <a:pt x="1722595" y="719923"/>
                  <a:pt x="1620400" y="719923"/>
                </a:cubicBezTo>
                <a:cubicBezTo>
                  <a:pt x="1518205" y="719923"/>
                  <a:pt x="1435360" y="637078"/>
                  <a:pt x="1435360" y="534883"/>
                </a:cubicBezTo>
                <a:cubicBezTo>
                  <a:pt x="1435360" y="432688"/>
                  <a:pt x="1518205" y="349843"/>
                  <a:pt x="1620400" y="349843"/>
                </a:cubicBezTo>
                <a:close/>
                <a:moveTo>
                  <a:pt x="405100" y="349843"/>
                </a:moveTo>
                <a:cubicBezTo>
                  <a:pt x="507295" y="349843"/>
                  <a:pt x="590140" y="432688"/>
                  <a:pt x="590140" y="534883"/>
                </a:cubicBezTo>
                <a:cubicBezTo>
                  <a:pt x="590140" y="637078"/>
                  <a:pt x="507295" y="719923"/>
                  <a:pt x="405100" y="719923"/>
                </a:cubicBezTo>
                <a:cubicBezTo>
                  <a:pt x="302905" y="719923"/>
                  <a:pt x="220060" y="637078"/>
                  <a:pt x="220060" y="534883"/>
                </a:cubicBezTo>
                <a:cubicBezTo>
                  <a:pt x="220060" y="432688"/>
                  <a:pt x="302905" y="349843"/>
                  <a:pt x="405100" y="349843"/>
                </a:cubicBezTo>
                <a:close/>
                <a:moveTo>
                  <a:pt x="703264" y="345291"/>
                </a:moveTo>
                <a:cubicBezTo>
                  <a:pt x="700676" y="345291"/>
                  <a:pt x="698578" y="347389"/>
                  <a:pt x="698578" y="349977"/>
                </a:cubicBezTo>
                <a:cubicBezTo>
                  <a:pt x="698578" y="352564"/>
                  <a:pt x="700676" y="354662"/>
                  <a:pt x="703264" y="354662"/>
                </a:cubicBezTo>
                <a:lnTo>
                  <a:pt x="801957" y="354662"/>
                </a:lnTo>
                <a:cubicBezTo>
                  <a:pt x="804545" y="354662"/>
                  <a:pt x="806643" y="352564"/>
                  <a:pt x="806643" y="349977"/>
                </a:cubicBezTo>
                <a:cubicBezTo>
                  <a:pt x="806643" y="347389"/>
                  <a:pt x="804545" y="345291"/>
                  <a:pt x="801957" y="345291"/>
                </a:cubicBezTo>
                <a:close/>
                <a:moveTo>
                  <a:pt x="776103" y="316113"/>
                </a:moveTo>
                <a:cubicBezTo>
                  <a:pt x="773515" y="316113"/>
                  <a:pt x="771417" y="318211"/>
                  <a:pt x="771417" y="320799"/>
                </a:cubicBezTo>
                <a:lnTo>
                  <a:pt x="771417" y="341715"/>
                </a:lnTo>
                <a:lnTo>
                  <a:pt x="780788" y="341715"/>
                </a:lnTo>
                <a:lnTo>
                  <a:pt x="780788" y="320799"/>
                </a:lnTo>
                <a:cubicBezTo>
                  <a:pt x="780788" y="318211"/>
                  <a:pt x="778690" y="316113"/>
                  <a:pt x="776103" y="316113"/>
                </a:cubicBezTo>
                <a:close/>
                <a:moveTo>
                  <a:pt x="728855" y="316113"/>
                </a:moveTo>
                <a:cubicBezTo>
                  <a:pt x="726268" y="316113"/>
                  <a:pt x="724170" y="318211"/>
                  <a:pt x="724170" y="320799"/>
                </a:cubicBezTo>
                <a:lnTo>
                  <a:pt x="724170" y="341715"/>
                </a:lnTo>
                <a:lnTo>
                  <a:pt x="733541" y="341715"/>
                </a:lnTo>
                <a:lnTo>
                  <a:pt x="733541" y="320799"/>
                </a:lnTo>
                <a:cubicBezTo>
                  <a:pt x="733541" y="318211"/>
                  <a:pt x="731443" y="316113"/>
                  <a:pt x="728855" y="316113"/>
                </a:cubicBezTo>
                <a:close/>
                <a:moveTo>
                  <a:pt x="751884" y="274259"/>
                </a:moveTo>
                <a:cubicBezTo>
                  <a:pt x="693916" y="274259"/>
                  <a:pt x="646924" y="321251"/>
                  <a:pt x="646924" y="379219"/>
                </a:cubicBezTo>
                <a:cubicBezTo>
                  <a:pt x="646924" y="422122"/>
                  <a:pt x="672665" y="459012"/>
                  <a:pt x="709572" y="475229"/>
                </a:cubicBezTo>
                <a:lnTo>
                  <a:pt x="709597" y="475176"/>
                </a:lnTo>
                <a:cubicBezTo>
                  <a:pt x="710297" y="475687"/>
                  <a:pt x="711164" y="475939"/>
                  <a:pt x="712089" y="475939"/>
                </a:cubicBezTo>
                <a:cubicBezTo>
                  <a:pt x="714846" y="475939"/>
                  <a:pt x="717082" y="473703"/>
                  <a:pt x="717082" y="470946"/>
                </a:cubicBezTo>
                <a:cubicBezTo>
                  <a:pt x="717082" y="468632"/>
                  <a:pt x="715508" y="466686"/>
                  <a:pt x="713349" y="466208"/>
                </a:cubicBezTo>
                <a:cubicBezTo>
                  <a:pt x="679966" y="451470"/>
                  <a:pt x="656700" y="418062"/>
                  <a:pt x="656700" y="379219"/>
                </a:cubicBezTo>
                <a:cubicBezTo>
                  <a:pt x="656700" y="326650"/>
                  <a:pt x="699315" y="284035"/>
                  <a:pt x="751884" y="284035"/>
                </a:cubicBezTo>
                <a:cubicBezTo>
                  <a:pt x="804453" y="284035"/>
                  <a:pt x="847068" y="326650"/>
                  <a:pt x="847068" y="379219"/>
                </a:cubicBezTo>
                <a:cubicBezTo>
                  <a:pt x="847068" y="421379"/>
                  <a:pt x="819658" y="457137"/>
                  <a:pt x="781650" y="469487"/>
                </a:cubicBezTo>
                <a:lnTo>
                  <a:pt x="781650" y="469482"/>
                </a:lnTo>
                <a:cubicBezTo>
                  <a:pt x="779655" y="470239"/>
                  <a:pt x="777490" y="470598"/>
                  <a:pt x="775242" y="470598"/>
                </a:cubicBezTo>
                <a:cubicBezTo>
                  <a:pt x="764062" y="470598"/>
                  <a:pt x="754956" y="461722"/>
                  <a:pt x="754644" y="450630"/>
                </a:cubicBezTo>
                <a:lnTo>
                  <a:pt x="754660" y="450630"/>
                </a:lnTo>
                <a:lnTo>
                  <a:pt x="754660" y="433454"/>
                </a:lnTo>
                <a:cubicBezTo>
                  <a:pt x="754660" y="431047"/>
                  <a:pt x="752728" y="429095"/>
                  <a:pt x="750345" y="429095"/>
                </a:cubicBezTo>
                <a:cubicBezTo>
                  <a:pt x="747963" y="429095"/>
                  <a:pt x="746031" y="431046"/>
                  <a:pt x="746031" y="433454"/>
                </a:cubicBezTo>
                <a:cubicBezTo>
                  <a:pt x="746031" y="439179"/>
                  <a:pt x="746031" y="444905"/>
                  <a:pt x="746031" y="450630"/>
                </a:cubicBezTo>
                <a:lnTo>
                  <a:pt x="746080" y="450630"/>
                </a:lnTo>
                <a:cubicBezTo>
                  <a:pt x="746294" y="461427"/>
                  <a:pt x="752407" y="470771"/>
                  <a:pt x="761385" y="475494"/>
                </a:cubicBezTo>
                <a:cubicBezTo>
                  <a:pt x="761752" y="475745"/>
                  <a:pt x="762143" y="475945"/>
                  <a:pt x="762543" y="476123"/>
                </a:cubicBezTo>
                <a:cubicBezTo>
                  <a:pt x="765619" y="477737"/>
                  <a:pt x="769053" y="478714"/>
                  <a:pt x="772678" y="479011"/>
                </a:cubicBezTo>
                <a:cubicBezTo>
                  <a:pt x="778023" y="479614"/>
                  <a:pt x="783790" y="478866"/>
                  <a:pt x="790117" y="476891"/>
                </a:cubicBezTo>
                <a:cubicBezTo>
                  <a:pt x="829196" y="461689"/>
                  <a:pt x="856844" y="423683"/>
                  <a:pt x="856844" y="379219"/>
                </a:cubicBezTo>
                <a:cubicBezTo>
                  <a:pt x="856844" y="321251"/>
                  <a:pt x="809852" y="274259"/>
                  <a:pt x="751884" y="274259"/>
                </a:cubicBezTo>
                <a:close/>
                <a:moveTo>
                  <a:pt x="889893" y="15513"/>
                </a:moveTo>
                <a:lnTo>
                  <a:pt x="889893" y="195222"/>
                </a:lnTo>
                <a:lnTo>
                  <a:pt x="1435391" y="195222"/>
                </a:lnTo>
                <a:lnTo>
                  <a:pt x="1136331" y="47722"/>
                </a:lnTo>
                <a:cubicBezTo>
                  <a:pt x="1101741" y="32940"/>
                  <a:pt x="1057690" y="20523"/>
                  <a:pt x="1007726" y="21114"/>
                </a:cubicBezTo>
                <a:cubicBezTo>
                  <a:pt x="971978" y="18330"/>
                  <a:pt x="936747" y="16581"/>
                  <a:pt x="901645" y="15608"/>
                </a:cubicBezTo>
                <a:close/>
                <a:moveTo>
                  <a:pt x="827876" y="14758"/>
                </a:moveTo>
                <a:cubicBezTo>
                  <a:pt x="757414" y="15398"/>
                  <a:pt x="685918" y="18108"/>
                  <a:pt x="610282" y="20819"/>
                </a:cubicBezTo>
                <a:lnTo>
                  <a:pt x="454169" y="89182"/>
                </a:lnTo>
                <a:lnTo>
                  <a:pt x="454169" y="195222"/>
                </a:lnTo>
                <a:lnTo>
                  <a:pt x="870279" y="195222"/>
                </a:lnTo>
                <a:lnTo>
                  <a:pt x="870279" y="15100"/>
                </a:lnTo>
                <a:close/>
                <a:moveTo>
                  <a:pt x="817224" y="142"/>
                </a:moveTo>
                <a:cubicBezTo>
                  <a:pt x="887686" y="-499"/>
                  <a:pt x="957113" y="930"/>
                  <a:pt x="1028609" y="6498"/>
                </a:cubicBezTo>
                <a:cubicBezTo>
                  <a:pt x="1078573" y="5907"/>
                  <a:pt x="1122624" y="18324"/>
                  <a:pt x="1157214" y="33106"/>
                </a:cubicBezTo>
                <a:lnTo>
                  <a:pt x="1483901" y="194232"/>
                </a:lnTo>
                <a:cubicBezTo>
                  <a:pt x="1633004" y="195119"/>
                  <a:pt x="1873165" y="226753"/>
                  <a:pt x="2023450" y="367183"/>
                </a:cubicBezTo>
                <a:cubicBezTo>
                  <a:pt x="2033601" y="397240"/>
                  <a:pt x="2027195" y="424932"/>
                  <a:pt x="2021972" y="457355"/>
                </a:cubicBezTo>
                <a:lnTo>
                  <a:pt x="2010583" y="518856"/>
                </a:lnTo>
                <a:lnTo>
                  <a:pt x="2011531" y="523552"/>
                </a:lnTo>
                <a:cubicBezTo>
                  <a:pt x="2011531" y="541241"/>
                  <a:pt x="1997192" y="555580"/>
                  <a:pt x="1979503" y="555580"/>
                </a:cubicBezTo>
                <a:cubicBezTo>
                  <a:pt x="1944878" y="562093"/>
                  <a:pt x="1864921" y="576490"/>
                  <a:pt x="1832267" y="576105"/>
                </a:cubicBezTo>
                <a:lnTo>
                  <a:pt x="1819456" y="555410"/>
                </a:lnTo>
                <a:lnTo>
                  <a:pt x="1813896" y="555410"/>
                </a:lnTo>
                <a:lnTo>
                  <a:pt x="1815965" y="534883"/>
                </a:lnTo>
                <a:cubicBezTo>
                  <a:pt x="1815965" y="426875"/>
                  <a:pt x="1728408" y="339318"/>
                  <a:pt x="1620400" y="339318"/>
                </a:cubicBezTo>
                <a:cubicBezTo>
                  <a:pt x="1512392" y="339318"/>
                  <a:pt x="1424834" y="426875"/>
                  <a:pt x="1424834" y="534883"/>
                </a:cubicBezTo>
                <a:lnTo>
                  <a:pt x="1428013" y="566410"/>
                </a:lnTo>
                <a:lnTo>
                  <a:pt x="597488" y="566410"/>
                </a:lnTo>
                <a:lnTo>
                  <a:pt x="596798" y="573253"/>
                </a:lnTo>
                <a:lnTo>
                  <a:pt x="600666" y="534883"/>
                </a:lnTo>
                <a:cubicBezTo>
                  <a:pt x="600666" y="426875"/>
                  <a:pt x="513108" y="339318"/>
                  <a:pt x="405100" y="339318"/>
                </a:cubicBezTo>
                <a:cubicBezTo>
                  <a:pt x="297092" y="339318"/>
                  <a:pt x="209534" y="426875"/>
                  <a:pt x="209534" y="534883"/>
                </a:cubicBezTo>
                <a:lnTo>
                  <a:pt x="211619" y="555568"/>
                </a:lnTo>
                <a:lnTo>
                  <a:pt x="87904" y="555580"/>
                </a:lnTo>
                <a:cubicBezTo>
                  <a:pt x="81271" y="555580"/>
                  <a:pt x="75108" y="553563"/>
                  <a:pt x="69997" y="550110"/>
                </a:cubicBezTo>
                <a:lnTo>
                  <a:pt x="63514" y="544219"/>
                </a:lnTo>
                <a:lnTo>
                  <a:pt x="54484" y="542396"/>
                </a:lnTo>
                <a:cubicBezTo>
                  <a:pt x="46820" y="539155"/>
                  <a:pt x="40681" y="533015"/>
                  <a:pt x="37440" y="525352"/>
                </a:cubicBezTo>
                <a:lnTo>
                  <a:pt x="34923" y="512885"/>
                </a:lnTo>
                <a:lnTo>
                  <a:pt x="34923" y="505022"/>
                </a:lnTo>
                <a:lnTo>
                  <a:pt x="28267" y="498975"/>
                </a:lnTo>
                <a:cubicBezTo>
                  <a:pt x="26309" y="496602"/>
                  <a:pt x="24686" y="493943"/>
                  <a:pt x="23470" y="491069"/>
                </a:cubicBezTo>
                <a:lnTo>
                  <a:pt x="23244" y="489949"/>
                </a:lnTo>
                <a:lnTo>
                  <a:pt x="12274" y="482553"/>
                </a:lnTo>
                <a:cubicBezTo>
                  <a:pt x="4691" y="474969"/>
                  <a:pt x="0" y="464492"/>
                  <a:pt x="0" y="452920"/>
                </a:cubicBezTo>
                <a:lnTo>
                  <a:pt x="0" y="452920"/>
                </a:lnTo>
                <a:lnTo>
                  <a:pt x="0" y="452920"/>
                </a:lnTo>
                <a:lnTo>
                  <a:pt x="0" y="184614"/>
                </a:lnTo>
                <a:lnTo>
                  <a:pt x="2517" y="172148"/>
                </a:lnTo>
                <a:cubicBezTo>
                  <a:pt x="7379" y="160653"/>
                  <a:pt x="18761" y="152587"/>
                  <a:pt x="32028" y="152587"/>
                </a:cubicBezTo>
                <a:lnTo>
                  <a:pt x="265349" y="152587"/>
                </a:lnTo>
                <a:lnTo>
                  <a:pt x="599631" y="6202"/>
                </a:lnTo>
                <a:cubicBezTo>
                  <a:pt x="675267" y="3492"/>
                  <a:pt x="746763" y="782"/>
                  <a:pt x="817224" y="14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ot="0" spcFirstLastPara="0" vertOverflow="overflow" horzOverflow="overflow" vert="horz" wrap="square" lIns="92008" tIns="46004" rIns="92008" bIns="460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7" dirty="0">
              <a:solidFill>
                <a:schemeClr val="tx1"/>
              </a:solidFill>
            </a:endParaRPr>
          </a:p>
        </p:txBody>
      </p:sp>
      <p:sp>
        <p:nvSpPr>
          <p:cNvPr id="584" name="Freihandform: Form 583">
            <a:hlinkClick r:id="" action="ppaction://noaction"/>
            <a:extLst>
              <a:ext uri="{FF2B5EF4-FFF2-40B4-BE49-F238E27FC236}">
                <a16:creationId xmlns:a16="http://schemas.microsoft.com/office/drawing/2014/main" xmlns="" id="{D2127286-CDB6-4D8A-A3CE-0A9F8095A97A}"/>
              </a:ext>
            </a:extLst>
          </p:cNvPr>
          <p:cNvSpPr>
            <a:spLocks noChangeAspect="1"/>
          </p:cNvSpPr>
          <p:nvPr userDrawn="1"/>
        </p:nvSpPr>
        <p:spPr>
          <a:xfrm>
            <a:off x="946688" y="2115529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585" name="Freihandform: Form 584">
            <a:hlinkClick r:id="" action="ppaction://noaction"/>
            <a:extLst>
              <a:ext uri="{FF2B5EF4-FFF2-40B4-BE49-F238E27FC236}">
                <a16:creationId xmlns:a16="http://schemas.microsoft.com/office/drawing/2014/main" xmlns="" id="{1D5E9E7E-509D-4F93-A921-8248A4CD6786}"/>
              </a:ext>
            </a:extLst>
          </p:cNvPr>
          <p:cNvSpPr>
            <a:spLocks noChangeAspect="1"/>
          </p:cNvSpPr>
          <p:nvPr userDrawn="1"/>
        </p:nvSpPr>
        <p:spPr>
          <a:xfrm>
            <a:off x="2406804" y="2247310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586" name="Freihandform: Form 585">
            <a:hlinkClick r:id="" action="ppaction://noaction"/>
            <a:extLst>
              <a:ext uri="{FF2B5EF4-FFF2-40B4-BE49-F238E27FC236}">
                <a16:creationId xmlns:a16="http://schemas.microsoft.com/office/drawing/2014/main" xmlns="" id="{5090D65B-F442-403D-BCB0-C12122B9C3BA}"/>
              </a:ext>
            </a:extLst>
          </p:cNvPr>
          <p:cNvSpPr>
            <a:spLocks noChangeAspect="1"/>
          </p:cNvSpPr>
          <p:nvPr userDrawn="1"/>
        </p:nvSpPr>
        <p:spPr>
          <a:xfrm>
            <a:off x="1956283" y="2250493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587" name="Freihandform: Form 586">
            <a:hlinkClick r:id="" action="ppaction://noaction"/>
            <a:extLst>
              <a:ext uri="{FF2B5EF4-FFF2-40B4-BE49-F238E27FC236}">
                <a16:creationId xmlns:a16="http://schemas.microsoft.com/office/drawing/2014/main" xmlns="" id="{E07DE07A-9B86-46AC-8080-E28EF446947B}"/>
              </a:ext>
            </a:extLst>
          </p:cNvPr>
          <p:cNvSpPr>
            <a:spLocks noChangeAspect="1"/>
          </p:cNvSpPr>
          <p:nvPr userDrawn="1"/>
        </p:nvSpPr>
        <p:spPr>
          <a:xfrm>
            <a:off x="2102150" y="1977725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42" name="Freihandform: Form 841">
            <a:hlinkClick r:id="" action="ppaction://noaction"/>
            <a:extLst>
              <a:ext uri="{FF2B5EF4-FFF2-40B4-BE49-F238E27FC236}">
                <a16:creationId xmlns:a16="http://schemas.microsoft.com/office/drawing/2014/main" xmlns="" id="{F21CEC7B-A09E-46AE-A44F-F70368531BF2}"/>
              </a:ext>
            </a:extLst>
          </p:cNvPr>
          <p:cNvSpPr>
            <a:spLocks noChangeAspect="1"/>
          </p:cNvSpPr>
          <p:nvPr userDrawn="1"/>
        </p:nvSpPr>
        <p:spPr>
          <a:xfrm>
            <a:off x="1756154" y="1921945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rgbClr val="12419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844" name="Freihandform: Form 843">
            <a:extLst>
              <a:ext uri="{FF2B5EF4-FFF2-40B4-BE49-F238E27FC236}">
                <a16:creationId xmlns:a16="http://schemas.microsoft.com/office/drawing/2014/main" xmlns="" id="{0F43201A-3839-4F96-A921-6C47E31CFD6A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2836261" y="3014779"/>
            <a:ext cx="82343" cy="82336"/>
          </a:xfrm>
          <a:custGeom>
            <a:avLst/>
            <a:gdLst>
              <a:gd name="connsiteX0" fmla="*/ 49214 w 81828"/>
              <a:gd name="connsiteY0" fmla="*/ 47625 h 81828"/>
              <a:gd name="connsiteX1" fmla="*/ 48050 w 81828"/>
              <a:gd name="connsiteY1" fmla="*/ 54473 h 81828"/>
              <a:gd name="connsiteX2" fmla="*/ 48039 w 81828"/>
              <a:gd name="connsiteY2" fmla="*/ 54473 h 81828"/>
              <a:gd name="connsiteX3" fmla="*/ 47154 w 81828"/>
              <a:gd name="connsiteY3" fmla="*/ 55359 h 81828"/>
              <a:gd name="connsiteX4" fmla="*/ 34409 w 81828"/>
              <a:gd name="connsiteY4" fmla="*/ 55359 h 81828"/>
              <a:gd name="connsiteX5" fmla="*/ 33524 w 81828"/>
              <a:gd name="connsiteY5" fmla="*/ 54473 h 81828"/>
              <a:gd name="connsiteX6" fmla="*/ 33513 w 81828"/>
              <a:gd name="connsiteY6" fmla="*/ 54473 h 81828"/>
              <a:gd name="connsiteX7" fmla="*/ 32349 w 81828"/>
              <a:gd name="connsiteY7" fmla="*/ 47625 h 81828"/>
              <a:gd name="connsiteX8" fmla="*/ 54628 w 81828"/>
              <a:gd name="connsiteY8" fmla="*/ 33815 h 81828"/>
              <a:gd name="connsiteX9" fmla="*/ 52716 w 81828"/>
              <a:gd name="connsiteY9" fmla="*/ 45059 h 81828"/>
              <a:gd name="connsiteX10" fmla="*/ 52698 w 81828"/>
              <a:gd name="connsiteY10" fmla="*/ 45059 h 81828"/>
              <a:gd name="connsiteX11" fmla="*/ 51245 w 81828"/>
              <a:gd name="connsiteY11" fmla="*/ 46513 h 81828"/>
              <a:gd name="connsiteX12" fmla="*/ 30318 w 81828"/>
              <a:gd name="connsiteY12" fmla="*/ 46513 h 81828"/>
              <a:gd name="connsiteX13" fmla="*/ 28865 w 81828"/>
              <a:gd name="connsiteY13" fmla="*/ 45059 h 81828"/>
              <a:gd name="connsiteX14" fmla="*/ 28846 w 81828"/>
              <a:gd name="connsiteY14" fmla="*/ 45059 h 81828"/>
              <a:gd name="connsiteX15" fmla="*/ 26935 w 81828"/>
              <a:gd name="connsiteY15" fmla="*/ 33815 h 81828"/>
              <a:gd name="connsiteX16" fmla="*/ 56089 w 81828"/>
              <a:gd name="connsiteY16" fmla="*/ 29795 h 81828"/>
              <a:gd name="connsiteX17" fmla="*/ 57543 w 81828"/>
              <a:gd name="connsiteY17" fmla="*/ 31249 h 81828"/>
              <a:gd name="connsiteX18" fmla="*/ 56089 w 81828"/>
              <a:gd name="connsiteY18" fmla="*/ 32702 h 81828"/>
              <a:gd name="connsiteX19" fmla="*/ 25474 w 81828"/>
              <a:gd name="connsiteY19" fmla="*/ 32702 h 81828"/>
              <a:gd name="connsiteX20" fmla="*/ 24020 w 81828"/>
              <a:gd name="connsiteY20" fmla="*/ 31249 h 81828"/>
              <a:gd name="connsiteX21" fmla="*/ 25474 w 81828"/>
              <a:gd name="connsiteY21" fmla="*/ 29795 h 81828"/>
              <a:gd name="connsiteX22" fmla="*/ 33412 w 81828"/>
              <a:gd name="connsiteY22" fmla="*/ 20744 h 81828"/>
              <a:gd name="connsiteX23" fmla="*/ 34866 w 81828"/>
              <a:gd name="connsiteY23" fmla="*/ 22198 h 81828"/>
              <a:gd name="connsiteX24" fmla="*/ 34866 w 81828"/>
              <a:gd name="connsiteY24" fmla="*/ 28686 h 81828"/>
              <a:gd name="connsiteX25" fmla="*/ 31959 w 81828"/>
              <a:gd name="connsiteY25" fmla="*/ 28686 h 81828"/>
              <a:gd name="connsiteX26" fmla="*/ 31959 w 81828"/>
              <a:gd name="connsiteY26" fmla="*/ 22198 h 81828"/>
              <a:gd name="connsiteX27" fmla="*/ 33412 w 81828"/>
              <a:gd name="connsiteY27" fmla="*/ 20744 h 81828"/>
              <a:gd name="connsiteX28" fmla="*/ 48069 w 81828"/>
              <a:gd name="connsiteY28" fmla="*/ 20744 h 81828"/>
              <a:gd name="connsiteX29" fmla="*/ 49522 w 81828"/>
              <a:gd name="connsiteY29" fmla="*/ 22198 h 81828"/>
              <a:gd name="connsiteX30" fmla="*/ 49522 w 81828"/>
              <a:gd name="connsiteY30" fmla="*/ 28686 h 81828"/>
              <a:gd name="connsiteX31" fmla="*/ 46615 w 81828"/>
              <a:gd name="connsiteY31" fmla="*/ 28686 h 81828"/>
              <a:gd name="connsiteX32" fmla="*/ 46615 w 81828"/>
              <a:gd name="connsiteY32" fmla="*/ 22198 h 81828"/>
              <a:gd name="connsiteX33" fmla="*/ 48069 w 81828"/>
              <a:gd name="connsiteY33" fmla="*/ 20744 h 81828"/>
              <a:gd name="connsiteX34" fmla="*/ 40556 w 81828"/>
              <a:gd name="connsiteY34" fmla="*/ 7760 h 81828"/>
              <a:gd name="connsiteX35" fmla="*/ 73116 w 81828"/>
              <a:gd name="connsiteY35" fmla="*/ 40320 h 81828"/>
              <a:gd name="connsiteX36" fmla="*/ 52416 w 81828"/>
              <a:gd name="connsiteY36" fmla="*/ 70619 h 81828"/>
              <a:gd name="connsiteX37" fmla="*/ 47007 w 81828"/>
              <a:gd name="connsiteY37" fmla="*/ 71277 h 81828"/>
              <a:gd name="connsiteX38" fmla="*/ 43863 w 81828"/>
              <a:gd name="connsiteY38" fmla="*/ 70381 h 81828"/>
              <a:gd name="connsiteX39" fmla="*/ 43503 w 81828"/>
              <a:gd name="connsiteY39" fmla="*/ 70186 h 81828"/>
              <a:gd name="connsiteX40" fmla="*/ 38756 w 81828"/>
              <a:gd name="connsiteY40" fmla="*/ 62473 h 81828"/>
              <a:gd name="connsiteX41" fmla="*/ 38740 w 81828"/>
              <a:gd name="connsiteY41" fmla="*/ 62473 h 81828"/>
              <a:gd name="connsiteX42" fmla="*/ 38740 w 81828"/>
              <a:gd name="connsiteY42" fmla="*/ 57145 h 81828"/>
              <a:gd name="connsiteX43" fmla="*/ 40079 w 81828"/>
              <a:gd name="connsiteY43" fmla="*/ 55792 h 81828"/>
              <a:gd name="connsiteX44" fmla="*/ 41417 w 81828"/>
              <a:gd name="connsiteY44" fmla="*/ 57145 h 81828"/>
              <a:gd name="connsiteX45" fmla="*/ 41417 w 81828"/>
              <a:gd name="connsiteY45" fmla="*/ 62473 h 81828"/>
              <a:gd name="connsiteX46" fmla="*/ 41412 w 81828"/>
              <a:gd name="connsiteY46" fmla="*/ 62473 h 81828"/>
              <a:gd name="connsiteX47" fmla="*/ 47802 w 81828"/>
              <a:gd name="connsiteY47" fmla="*/ 68667 h 81828"/>
              <a:gd name="connsiteX48" fmla="*/ 49790 w 81828"/>
              <a:gd name="connsiteY48" fmla="*/ 68321 h 81828"/>
              <a:gd name="connsiteX49" fmla="*/ 49790 w 81828"/>
              <a:gd name="connsiteY49" fmla="*/ 68323 h 81828"/>
              <a:gd name="connsiteX50" fmla="*/ 70083 w 81828"/>
              <a:gd name="connsiteY50" fmla="*/ 40320 h 81828"/>
              <a:gd name="connsiteX51" fmla="*/ 40556 w 81828"/>
              <a:gd name="connsiteY51" fmla="*/ 10793 h 81828"/>
              <a:gd name="connsiteX52" fmla="*/ 11029 w 81828"/>
              <a:gd name="connsiteY52" fmla="*/ 40320 h 81828"/>
              <a:gd name="connsiteX53" fmla="*/ 28602 w 81828"/>
              <a:gd name="connsiteY53" fmla="*/ 67305 h 81828"/>
              <a:gd name="connsiteX54" fmla="*/ 29760 w 81828"/>
              <a:gd name="connsiteY54" fmla="*/ 68775 h 81828"/>
              <a:gd name="connsiteX55" fmla="*/ 28211 w 81828"/>
              <a:gd name="connsiteY55" fmla="*/ 70324 h 81828"/>
              <a:gd name="connsiteX56" fmla="*/ 27438 w 81828"/>
              <a:gd name="connsiteY56" fmla="*/ 70087 h 81828"/>
              <a:gd name="connsiteX57" fmla="*/ 27430 w 81828"/>
              <a:gd name="connsiteY57" fmla="*/ 70104 h 81828"/>
              <a:gd name="connsiteX58" fmla="*/ 7996 w 81828"/>
              <a:gd name="connsiteY58" fmla="*/ 40320 h 81828"/>
              <a:gd name="connsiteX59" fmla="*/ 40556 w 81828"/>
              <a:gd name="connsiteY59" fmla="*/ 7760 h 81828"/>
              <a:gd name="connsiteX60" fmla="*/ 40914 w 81828"/>
              <a:gd name="connsiteY60" fmla="*/ 0 h 81828"/>
              <a:gd name="connsiteX61" fmla="*/ 0 w 81828"/>
              <a:gd name="connsiteY61" fmla="*/ 40914 h 81828"/>
              <a:gd name="connsiteX62" fmla="*/ 40914 w 81828"/>
              <a:gd name="connsiteY62" fmla="*/ 81828 h 81828"/>
              <a:gd name="connsiteX63" fmla="*/ 81828 w 81828"/>
              <a:gd name="connsiteY63" fmla="*/ 40914 h 81828"/>
              <a:gd name="connsiteX64" fmla="*/ 40914 w 81828"/>
              <a:gd name="connsiteY64" fmla="*/ 0 h 81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81828" h="81828">
                <a:moveTo>
                  <a:pt x="49214" y="47625"/>
                </a:moveTo>
                <a:lnTo>
                  <a:pt x="48050" y="54473"/>
                </a:lnTo>
                <a:lnTo>
                  <a:pt x="48039" y="54473"/>
                </a:lnTo>
                <a:cubicBezTo>
                  <a:pt x="48039" y="54962"/>
                  <a:pt x="47643" y="55359"/>
                  <a:pt x="47154" y="55359"/>
                </a:cubicBezTo>
                <a:lnTo>
                  <a:pt x="34409" y="55359"/>
                </a:lnTo>
                <a:cubicBezTo>
                  <a:pt x="33920" y="55359"/>
                  <a:pt x="33524" y="54962"/>
                  <a:pt x="33524" y="54473"/>
                </a:cubicBezTo>
                <a:lnTo>
                  <a:pt x="33513" y="54473"/>
                </a:lnTo>
                <a:lnTo>
                  <a:pt x="32349" y="47625"/>
                </a:lnTo>
                <a:close/>
                <a:moveTo>
                  <a:pt x="54628" y="33815"/>
                </a:moveTo>
                <a:lnTo>
                  <a:pt x="52716" y="45059"/>
                </a:lnTo>
                <a:lnTo>
                  <a:pt x="52698" y="45059"/>
                </a:lnTo>
                <a:cubicBezTo>
                  <a:pt x="52698" y="45862"/>
                  <a:pt x="52048" y="46513"/>
                  <a:pt x="51245" y="46513"/>
                </a:cubicBezTo>
                <a:lnTo>
                  <a:pt x="30318" y="46513"/>
                </a:lnTo>
                <a:cubicBezTo>
                  <a:pt x="29515" y="46513"/>
                  <a:pt x="28865" y="45862"/>
                  <a:pt x="28865" y="45059"/>
                </a:cubicBezTo>
                <a:lnTo>
                  <a:pt x="28846" y="45059"/>
                </a:lnTo>
                <a:lnTo>
                  <a:pt x="26935" y="33815"/>
                </a:lnTo>
                <a:close/>
                <a:moveTo>
                  <a:pt x="56089" y="29795"/>
                </a:moveTo>
                <a:cubicBezTo>
                  <a:pt x="56892" y="29795"/>
                  <a:pt x="57543" y="30446"/>
                  <a:pt x="57543" y="31249"/>
                </a:cubicBezTo>
                <a:cubicBezTo>
                  <a:pt x="57543" y="32051"/>
                  <a:pt x="56892" y="32702"/>
                  <a:pt x="56089" y="32702"/>
                </a:cubicBezTo>
                <a:lnTo>
                  <a:pt x="25474" y="32702"/>
                </a:lnTo>
                <a:cubicBezTo>
                  <a:pt x="24671" y="32702"/>
                  <a:pt x="24020" y="32051"/>
                  <a:pt x="24020" y="31249"/>
                </a:cubicBezTo>
                <a:cubicBezTo>
                  <a:pt x="24020" y="30446"/>
                  <a:pt x="24671" y="29795"/>
                  <a:pt x="25474" y="29795"/>
                </a:cubicBezTo>
                <a:close/>
                <a:moveTo>
                  <a:pt x="33412" y="20744"/>
                </a:moveTo>
                <a:cubicBezTo>
                  <a:pt x="34215" y="20744"/>
                  <a:pt x="34866" y="21395"/>
                  <a:pt x="34866" y="22198"/>
                </a:cubicBezTo>
                <a:lnTo>
                  <a:pt x="34866" y="28686"/>
                </a:lnTo>
                <a:lnTo>
                  <a:pt x="31959" y="28686"/>
                </a:lnTo>
                <a:lnTo>
                  <a:pt x="31959" y="22198"/>
                </a:lnTo>
                <a:cubicBezTo>
                  <a:pt x="31959" y="21395"/>
                  <a:pt x="32610" y="20744"/>
                  <a:pt x="33412" y="20744"/>
                </a:cubicBezTo>
                <a:close/>
                <a:moveTo>
                  <a:pt x="48069" y="20744"/>
                </a:moveTo>
                <a:cubicBezTo>
                  <a:pt x="48872" y="20744"/>
                  <a:pt x="49522" y="21395"/>
                  <a:pt x="49522" y="22198"/>
                </a:cubicBezTo>
                <a:lnTo>
                  <a:pt x="49522" y="28686"/>
                </a:lnTo>
                <a:lnTo>
                  <a:pt x="46615" y="28686"/>
                </a:lnTo>
                <a:lnTo>
                  <a:pt x="46615" y="22198"/>
                </a:lnTo>
                <a:cubicBezTo>
                  <a:pt x="46615" y="21395"/>
                  <a:pt x="47266" y="20744"/>
                  <a:pt x="48069" y="20744"/>
                </a:cubicBezTo>
                <a:close/>
                <a:moveTo>
                  <a:pt x="40556" y="7760"/>
                </a:moveTo>
                <a:cubicBezTo>
                  <a:pt x="58539" y="7760"/>
                  <a:pt x="73116" y="22338"/>
                  <a:pt x="73116" y="40320"/>
                </a:cubicBezTo>
                <a:cubicBezTo>
                  <a:pt x="73116" y="54114"/>
                  <a:pt x="64539" y="65904"/>
                  <a:pt x="52416" y="70619"/>
                </a:cubicBezTo>
                <a:cubicBezTo>
                  <a:pt x="50454" y="71232"/>
                  <a:pt x="48665" y="71464"/>
                  <a:pt x="47007" y="71277"/>
                </a:cubicBezTo>
                <a:cubicBezTo>
                  <a:pt x="45882" y="71185"/>
                  <a:pt x="44817" y="70882"/>
                  <a:pt x="43863" y="70381"/>
                </a:cubicBezTo>
                <a:cubicBezTo>
                  <a:pt x="43739" y="70326"/>
                  <a:pt x="43617" y="70264"/>
                  <a:pt x="43503" y="70186"/>
                </a:cubicBezTo>
                <a:cubicBezTo>
                  <a:pt x="40718" y="68721"/>
                  <a:pt x="38822" y="65822"/>
                  <a:pt x="38756" y="62473"/>
                </a:cubicBezTo>
                <a:lnTo>
                  <a:pt x="38740" y="62473"/>
                </a:lnTo>
                <a:cubicBezTo>
                  <a:pt x="38740" y="60697"/>
                  <a:pt x="38740" y="58921"/>
                  <a:pt x="38740" y="57145"/>
                </a:cubicBezTo>
                <a:cubicBezTo>
                  <a:pt x="38740" y="56398"/>
                  <a:pt x="39340" y="55792"/>
                  <a:pt x="40079" y="55792"/>
                </a:cubicBezTo>
                <a:cubicBezTo>
                  <a:pt x="40818" y="55792"/>
                  <a:pt x="41417" y="56398"/>
                  <a:pt x="41417" y="57145"/>
                </a:cubicBezTo>
                <a:lnTo>
                  <a:pt x="41417" y="62473"/>
                </a:lnTo>
                <a:lnTo>
                  <a:pt x="41412" y="62473"/>
                </a:lnTo>
                <a:cubicBezTo>
                  <a:pt x="41509" y="65914"/>
                  <a:pt x="44334" y="68667"/>
                  <a:pt x="47802" y="68667"/>
                </a:cubicBezTo>
                <a:cubicBezTo>
                  <a:pt x="48499" y="68667"/>
                  <a:pt x="49171" y="68556"/>
                  <a:pt x="49790" y="68321"/>
                </a:cubicBezTo>
                <a:lnTo>
                  <a:pt x="49790" y="68323"/>
                </a:lnTo>
                <a:cubicBezTo>
                  <a:pt x="61580" y="64492"/>
                  <a:pt x="70083" y="53399"/>
                  <a:pt x="70083" y="40320"/>
                </a:cubicBezTo>
                <a:cubicBezTo>
                  <a:pt x="70083" y="24013"/>
                  <a:pt x="56864" y="10793"/>
                  <a:pt x="40556" y="10793"/>
                </a:cubicBezTo>
                <a:cubicBezTo>
                  <a:pt x="24249" y="10793"/>
                  <a:pt x="11029" y="24013"/>
                  <a:pt x="11029" y="40320"/>
                </a:cubicBezTo>
                <a:cubicBezTo>
                  <a:pt x="11029" y="52370"/>
                  <a:pt x="18246" y="62734"/>
                  <a:pt x="28602" y="67305"/>
                </a:cubicBezTo>
                <a:cubicBezTo>
                  <a:pt x="29272" y="67454"/>
                  <a:pt x="29760" y="68057"/>
                  <a:pt x="29760" y="68775"/>
                </a:cubicBezTo>
                <a:cubicBezTo>
                  <a:pt x="29760" y="69631"/>
                  <a:pt x="29066" y="70324"/>
                  <a:pt x="28211" y="70324"/>
                </a:cubicBezTo>
                <a:cubicBezTo>
                  <a:pt x="27924" y="70324"/>
                  <a:pt x="27655" y="70246"/>
                  <a:pt x="27438" y="70087"/>
                </a:cubicBezTo>
                <a:lnTo>
                  <a:pt x="27430" y="70104"/>
                </a:lnTo>
                <a:cubicBezTo>
                  <a:pt x="15981" y="65073"/>
                  <a:pt x="7996" y="53629"/>
                  <a:pt x="7996" y="40320"/>
                </a:cubicBezTo>
                <a:cubicBezTo>
                  <a:pt x="7996" y="22338"/>
                  <a:pt x="22574" y="7760"/>
                  <a:pt x="40556" y="7760"/>
                </a:cubicBezTo>
                <a:close/>
                <a:moveTo>
                  <a:pt x="40914" y="0"/>
                </a:moveTo>
                <a:cubicBezTo>
                  <a:pt x="18318" y="0"/>
                  <a:pt x="0" y="18318"/>
                  <a:pt x="0" y="40914"/>
                </a:cubicBezTo>
                <a:cubicBezTo>
                  <a:pt x="0" y="63510"/>
                  <a:pt x="18318" y="81828"/>
                  <a:pt x="40914" y="81828"/>
                </a:cubicBezTo>
                <a:cubicBezTo>
                  <a:pt x="63510" y="81828"/>
                  <a:pt x="81828" y="63510"/>
                  <a:pt x="81828" y="40914"/>
                </a:cubicBezTo>
                <a:cubicBezTo>
                  <a:pt x="81828" y="18318"/>
                  <a:pt x="63510" y="0"/>
                  <a:pt x="4091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ot="0" spcFirstLastPara="0" vertOverflow="overflow" horzOverflow="overflow" vert="horz" wrap="square" lIns="92008" tIns="46004" rIns="92008" bIns="460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7" dirty="0">
              <a:solidFill>
                <a:schemeClr val="tx1"/>
              </a:solidFill>
            </a:endParaRPr>
          </a:p>
        </p:txBody>
      </p:sp>
      <p:sp>
        <p:nvSpPr>
          <p:cNvPr id="845" name="Freihandform: Form 844">
            <a:hlinkClick r:id="" action="ppaction://noaction"/>
            <a:extLst>
              <a:ext uri="{FF2B5EF4-FFF2-40B4-BE49-F238E27FC236}">
                <a16:creationId xmlns:a16="http://schemas.microsoft.com/office/drawing/2014/main" xmlns="" id="{18C21402-338A-4B06-B485-42BD08F0BD29}"/>
              </a:ext>
            </a:extLst>
          </p:cNvPr>
          <p:cNvSpPr>
            <a:spLocks noChangeAspect="1"/>
          </p:cNvSpPr>
          <p:nvPr userDrawn="1"/>
        </p:nvSpPr>
        <p:spPr>
          <a:xfrm>
            <a:off x="2458092" y="2976079"/>
            <a:ext cx="104718" cy="84041"/>
          </a:xfrm>
          <a:custGeom>
            <a:avLst/>
            <a:gdLst>
              <a:gd name="connsiteX0" fmla="*/ 83843 w 168139"/>
              <a:gd name="connsiteY0" fmla="*/ 55257 h 134953"/>
              <a:gd name="connsiteX1" fmla="*/ 72394 w 168139"/>
              <a:gd name="connsiteY1" fmla="*/ 66706 h 134953"/>
              <a:gd name="connsiteX2" fmla="*/ 83843 w 168139"/>
              <a:gd name="connsiteY2" fmla="*/ 78154 h 134953"/>
              <a:gd name="connsiteX3" fmla="*/ 95291 w 168139"/>
              <a:gd name="connsiteY3" fmla="*/ 66706 h 134953"/>
              <a:gd name="connsiteX4" fmla="*/ 83843 w 168139"/>
              <a:gd name="connsiteY4" fmla="*/ 55257 h 134953"/>
              <a:gd name="connsiteX5" fmla="*/ 83843 w 168139"/>
              <a:gd name="connsiteY5" fmla="*/ 48387 h 134953"/>
              <a:gd name="connsiteX6" fmla="*/ 102161 w 168139"/>
              <a:gd name="connsiteY6" fmla="*/ 66706 h 134953"/>
              <a:gd name="connsiteX7" fmla="*/ 83843 w 168139"/>
              <a:gd name="connsiteY7" fmla="*/ 85025 h 134953"/>
              <a:gd name="connsiteX8" fmla="*/ 65524 w 168139"/>
              <a:gd name="connsiteY8" fmla="*/ 66706 h 134953"/>
              <a:gd name="connsiteX9" fmla="*/ 83843 w 168139"/>
              <a:gd name="connsiteY9" fmla="*/ 48387 h 134953"/>
              <a:gd name="connsiteX10" fmla="*/ 54842 w 168139"/>
              <a:gd name="connsiteY10" fmla="*/ 28440 h 134953"/>
              <a:gd name="connsiteX11" fmla="*/ 58830 w 168139"/>
              <a:gd name="connsiteY11" fmla="*/ 34109 h 134953"/>
              <a:gd name="connsiteX12" fmla="*/ 53021 w 168139"/>
              <a:gd name="connsiteY12" fmla="*/ 36494 h 134953"/>
              <a:gd name="connsiteX13" fmla="*/ 40182 w 168139"/>
              <a:gd name="connsiteY13" fmla="*/ 67321 h 134953"/>
              <a:gd name="connsiteX14" fmla="*/ 56523 w 168139"/>
              <a:gd name="connsiteY14" fmla="*/ 101624 h 134953"/>
              <a:gd name="connsiteX15" fmla="*/ 56990 w 168139"/>
              <a:gd name="connsiteY15" fmla="*/ 106723 h 134953"/>
              <a:gd name="connsiteX16" fmla="*/ 54188 w 168139"/>
              <a:gd name="connsiteY16" fmla="*/ 108113 h 134953"/>
              <a:gd name="connsiteX17" fmla="*/ 52321 w 168139"/>
              <a:gd name="connsiteY17" fmla="*/ 107186 h 134953"/>
              <a:gd name="connsiteX18" fmla="*/ 32712 w 168139"/>
              <a:gd name="connsiteY18" fmla="*/ 67321 h 134953"/>
              <a:gd name="connsiteX19" fmla="*/ 47710 w 168139"/>
              <a:gd name="connsiteY19" fmla="*/ 31395 h 134953"/>
              <a:gd name="connsiteX20" fmla="*/ 113217 w 168139"/>
              <a:gd name="connsiteY20" fmla="*/ 28407 h 134953"/>
              <a:gd name="connsiteX21" fmla="*/ 120428 w 168139"/>
              <a:gd name="connsiteY21" fmla="*/ 31395 h 134953"/>
              <a:gd name="connsiteX22" fmla="*/ 135427 w 168139"/>
              <a:gd name="connsiteY22" fmla="*/ 67321 h 134953"/>
              <a:gd name="connsiteX23" fmla="*/ 116285 w 168139"/>
              <a:gd name="connsiteY23" fmla="*/ 107186 h 134953"/>
              <a:gd name="connsiteX24" fmla="*/ 111149 w 168139"/>
              <a:gd name="connsiteY24" fmla="*/ 106723 h 134953"/>
              <a:gd name="connsiteX25" fmla="*/ 111616 w 168139"/>
              <a:gd name="connsiteY25" fmla="*/ 101624 h 134953"/>
              <a:gd name="connsiteX26" fmla="*/ 127957 w 168139"/>
              <a:gd name="connsiteY26" fmla="*/ 67321 h 134953"/>
              <a:gd name="connsiteX27" fmla="*/ 115118 w 168139"/>
              <a:gd name="connsiteY27" fmla="*/ 36494 h 134953"/>
              <a:gd name="connsiteX28" fmla="*/ 109229 w 168139"/>
              <a:gd name="connsiteY28" fmla="*/ 34077 h 134953"/>
              <a:gd name="connsiteX29" fmla="*/ 34870 w 168139"/>
              <a:gd name="connsiteY29" fmla="*/ 47 h 134953"/>
              <a:gd name="connsiteX30" fmla="*/ 39038 w 168139"/>
              <a:gd name="connsiteY30" fmla="*/ 5972 h 134953"/>
              <a:gd name="connsiteX31" fmla="*/ 29668 w 168139"/>
              <a:gd name="connsiteY31" fmla="*/ 12264 h 134953"/>
              <a:gd name="connsiteX32" fmla="*/ 6967 w 168139"/>
              <a:gd name="connsiteY32" fmla="*/ 66532 h 134953"/>
              <a:gd name="connsiteX33" fmla="*/ 38087 w 168139"/>
              <a:gd name="connsiteY33" fmla="*/ 128420 h 134953"/>
              <a:gd name="connsiteX34" fmla="*/ 39016 w 168139"/>
              <a:gd name="connsiteY34" fmla="*/ 133539 h 134953"/>
              <a:gd name="connsiteX35" fmla="*/ 33906 w 168139"/>
              <a:gd name="connsiteY35" fmla="*/ 134470 h 134953"/>
              <a:gd name="connsiteX36" fmla="*/ 0 w 168139"/>
              <a:gd name="connsiteY36" fmla="*/ 66532 h 134953"/>
              <a:gd name="connsiteX37" fmla="*/ 24617 w 168139"/>
              <a:gd name="connsiteY37" fmla="*/ 6971 h 134953"/>
              <a:gd name="connsiteX38" fmla="*/ 133199 w 168139"/>
              <a:gd name="connsiteY38" fmla="*/ 0 h 134953"/>
              <a:gd name="connsiteX39" fmla="*/ 143522 w 168139"/>
              <a:gd name="connsiteY39" fmla="*/ 6971 h 134953"/>
              <a:gd name="connsiteX40" fmla="*/ 168139 w 168139"/>
              <a:gd name="connsiteY40" fmla="*/ 66532 h 134953"/>
              <a:gd name="connsiteX41" fmla="*/ 134233 w 168139"/>
              <a:gd name="connsiteY41" fmla="*/ 134470 h 134953"/>
              <a:gd name="connsiteX42" fmla="*/ 131910 w 168139"/>
              <a:gd name="connsiteY42" fmla="*/ 134935 h 134953"/>
              <a:gd name="connsiteX43" fmla="*/ 129123 w 168139"/>
              <a:gd name="connsiteY43" fmla="*/ 133539 h 134953"/>
              <a:gd name="connsiteX44" fmla="*/ 130052 w 168139"/>
              <a:gd name="connsiteY44" fmla="*/ 128420 h 134953"/>
              <a:gd name="connsiteX45" fmla="*/ 161172 w 168139"/>
              <a:gd name="connsiteY45" fmla="*/ 66532 h 134953"/>
              <a:gd name="connsiteX46" fmla="*/ 138471 w 168139"/>
              <a:gd name="connsiteY46" fmla="*/ 12264 h 134953"/>
              <a:gd name="connsiteX47" fmla="*/ 129031 w 168139"/>
              <a:gd name="connsiteY47" fmla="*/ 5925 h 1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68139" h="134953">
                <a:moveTo>
                  <a:pt x="83843" y="55257"/>
                </a:moveTo>
                <a:cubicBezTo>
                  <a:pt x="77520" y="55257"/>
                  <a:pt x="72394" y="60383"/>
                  <a:pt x="72394" y="66706"/>
                </a:cubicBezTo>
                <a:cubicBezTo>
                  <a:pt x="72394" y="73029"/>
                  <a:pt x="77520" y="78154"/>
                  <a:pt x="83843" y="78154"/>
                </a:cubicBezTo>
                <a:cubicBezTo>
                  <a:pt x="90166" y="78154"/>
                  <a:pt x="95291" y="73029"/>
                  <a:pt x="95291" y="66706"/>
                </a:cubicBezTo>
                <a:cubicBezTo>
                  <a:pt x="95291" y="60383"/>
                  <a:pt x="90166" y="55257"/>
                  <a:pt x="83843" y="55257"/>
                </a:cubicBezTo>
                <a:close/>
                <a:moveTo>
                  <a:pt x="83843" y="48387"/>
                </a:moveTo>
                <a:cubicBezTo>
                  <a:pt x="93960" y="48387"/>
                  <a:pt x="102161" y="56589"/>
                  <a:pt x="102161" y="66706"/>
                </a:cubicBezTo>
                <a:cubicBezTo>
                  <a:pt x="102161" y="76823"/>
                  <a:pt x="93960" y="85025"/>
                  <a:pt x="83843" y="85025"/>
                </a:cubicBezTo>
                <a:cubicBezTo>
                  <a:pt x="73726" y="85025"/>
                  <a:pt x="65524" y="76823"/>
                  <a:pt x="65524" y="66706"/>
                </a:cubicBezTo>
                <a:cubicBezTo>
                  <a:pt x="65524" y="56589"/>
                  <a:pt x="73726" y="48387"/>
                  <a:pt x="83843" y="48387"/>
                </a:cubicBezTo>
                <a:close/>
                <a:moveTo>
                  <a:pt x="54842" y="28440"/>
                </a:moveTo>
                <a:lnTo>
                  <a:pt x="58830" y="34109"/>
                </a:lnTo>
                <a:lnTo>
                  <a:pt x="53021" y="36494"/>
                </a:lnTo>
                <a:cubicBezTo>
                  <a:pt x="45084" y="44375"/>
                  <a:pt x="40182" y="55268"/>
                  <a:pt x="40182" y="67321"/>
                </a:cubicBezTo>
                <a:cubicBezTo>
                  <a:pt x="40182" y="80763"/>
                  <a:pt x="46251" y="93280"/>
                  <a:pt x="56523" y="101624"/>
                </a:cubicBezTo>
                <a:cubicBezTo>
                  <a:pt x="57924" y="103014"/>
                  <a:pt x="58391" y="104868"/>
                  <a:pt x="56990" y="106723"/>
                </a:cubicBezTo>
                <a:cubicBezTo>
                  <a:pt x="56523" y="107650"/>
                  <a:pt x="55589" y="108113"/>
                  <a:pt x="54188" y="108113"/>
                </a:cubicBezTo>
                <a:lnTo>
                  <a:pt x="52321" y="107186"/>
                </a:lnTo>
                <a:cubicBezTo>
                  <a:pt x="39715" y="97452"/>
                  <a:pt x="32712" y="83081"/>
                  <a:pt x="32712" y="67321"/>
                </a:cubicBezTo>
                <a:cubicBezTo>
                  <a:pt x="32712" y="53414"/>
                  <a:pt x="38431" y="40666"/>
                  <a:pt x="47710" y="31395"/>
                </a:cubicBezTo>
                <a:close/>
                <a:moveTo>
                  <a:pt x="113217" y="28407"/>
                </a:moveTo>
                <a:lnTo>
                  <a:pt x="120428" y="31395"/>
                </a:lnTo>
                <a:cubicBezTo>
                  <a:pt x="129708" y="40666"/>
                  <a:pt x="135427" y="53414"/>
                  <a:pt x="135427" y="67321"/>
                </a:cubicBezTo>
                <a:cubicBezTo>
                  <a:pt x="135427" y="83081"/>
                  <a:pt x="128424" y="97452"/>
                  <a:pt x="116285" y="107186"/>
                </a:cubicBezTo>
                <a:cubicBezTo>
                  <a:pt x="114417" y="108577"/>
                  <a:pt x="112083" y="108113"/>
                  <a:pt x="111149" y="106723"/>
                </a:cubicBezTo>
                <a:cubicBezTo>
                  <a:pt x="109748" y="104868"/>
                  <a:pt x="110215" y="103014"/>
                  <a:pt x="111616" y="101624"/>
                </a:cubicBezTo>
                <a:cubicBezTo>
                  <a:pt x="121887" y="93280"/>
                  <a:pt x="127957" y="80763"/>
                  <a:pt x="127957" y="67321"/>
                </a:cubicBezTo>
                <a:cubicBezTo>
                  <a:pt x="127957" y="55268"/>
                  <a:pt x="123055" y="44375"/>
                  <a:pt x="115118" y="36494"/>
                </a:cubicBezTo>
                <a:lnTo>
                  <a:pt x="109229" y="34077"/>
                </a:lnTo>
                <a:close/>
                <a:moveTo>
                  <a:pt x="34870" y="47"/>
                </a:moveTo>
                <a:lnTo>
                  <a:pt x="39038" y="5972"/>
                </a:lnTo>
                <a:lnTo>
                  <a:pt x="29668" y="12264"/>
                </a:lnTo>
                <a:cubicBezTo>
                  <a:pt x="15676" y="26166"/>
                  <a:pt x="6967" y="45360"/>
                  <a:pt x="6967" y="66532"/>
                </a:cubicBezTo>
                <a:cubicBezTo>
                  <a:pt x="6967" y="91195"/>
                  <a:pt x="18579" y="113995"/>
                  <a:pt x="38087" y="128420"/>
                </a:cubicBezTo>
                <a:cubicBezTo>
                  <a:pt x="39945" y="129816"/>
                  <a:pt x="39945" y="132143"/>
                  <a:pt x="39016" y="133539"/>
                </a:cubicBezTo>
                <a:cubicBezTo>
                  <a:pt x="37622" y="134935"/>
                  <a:pt x="35764" y="135400"/>
                  <a:pt x="33906" y="134470"/>
                </a:cubicBezTo>
                <a:cubicBezTo>
                  <a:pt x="12541" y="118649"/>
                  <a:pt x="0" y="93056"/>
                  <a:pt x="0" y="66532"/>
                </a:cubicBezTo>
                <a:cubicBezTo>
                  <a:pt x="0" y="43266"/>
                  <a:pt x="9406" y="22210"/>
                  <a:pt x="24617" y="6971"/>
                </a:cubicBezTo>
                <a:close/>
                <a:moveTo>
                  <a:pt x="133199" y="0"/>
                </a:moveTo>
                <a:lnTo>
                  <a:pt x="143522" y="6971"/>
                </a:lnTo>
                <a:cubicBezTo>
                  <a:pt x="158733" y="22210"/>
                  <a:pt x="168139" y="43266"/>
                  <a:pt x="168139" y="66532"/>
                </a:cubicBezTo>
                <a:cubicBezTo>
                  <a:pt x="168139" y="93056"/>
                  <a:pt x="155598" y="118649"/>
                  <a:pt x="134233" y="134470"/>
                </a:cubicBezTo>
                <a:cubicBezTo>
                  <a:pt x="133768" y="134935"/>
                  <a:pt x="132839" y="134935"/>
                  <a:pt x="131910" y="134935"/>
                </a:cubicBezTo>
                <a:cubicBezTo>
                  <a:pt x="130981" y="134935"/>
                  <a:pt x="130052" y="134470"/>
                  <a:pt x="129123" y="133539"/>
                </a:cubicBezTo>
                <a:cubicBezTo>
                  <a:pt x="128194" y="132143"/>
                  <a:pt x="128194" y="129816"/>
                  <a:pt x="130052" y="128420"/>
                </a:cubicBezTo>
                <a:cubicBezTo>
                  <a:pt x="149560" y="113995"/>
                  <a:pt x="161172" y="91195"/>
                  <a:pt x="161172" y="66532"/>
                </a:cubicBezTo>
                <a:cubicBezTo>
                  <a:pt x="161172" y="45360"/>
                  <a:pt x="152463" y="26166"/>
                  <a:pt x="138471" y="12264"/>
                </a:cubicBezTo>
                <a:lnTo>
                  <a:pt x="129031" y="5925"/>
                </a:lnTo>
                <a:close/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20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348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2000" fill="hold"/>
                                        <p:tgtEl>
                                          <p:spTgt spid="33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7" dur="2000" fill="hold"/>
                                        <p:tgtEl>
                                          <p:spTgt spid="33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2000" fill="hold"/>
                                        <p:tgtEl>
                                          <p:spTgt spid="33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" dur="2000" fill="hold"/>
                                        <p:tgtEl>
                                          <p:spTgt spid="33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11" dur="2000" fill="hold"/>
                                        <p:tgtEl>
                                          <p:spTgt spid="33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2" dur="2000" fill="hold"/>
                                        <p:tgtEl>
                                          <p:spTgt spid="33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" dur="2000" fill="hold"/>
                                        <p:tgtEl>
                                          <p:spTgt spid="5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15" dur="2000" fill="hold"/>
                                        <p:tgtEl>
                                          <p:spTgt spid="5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" dur="2000" fill="hold"/>
                                        <p:tgtEl>
                                          <p:spTgt spid="5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" dur="2000" fill="hold"/>
                                        <p:tgtEl>
                                          <p:spTgt spid="54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19" dur="2000" fill="hold"/>
                                        <p:tgtEl>
                                          <p:spTgt spid="54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2000" fill="hold"/>
                                        <p:tgtEl>
                                          <p:spTgt spid="54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2" dur="2000" fill="hold"/>
                                        <p:tgtEl>
                                          <p:spTgt spid="54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23" dur="2000" fill="hold"/>
                                        <p:tgtEl>
                                          <p:spTgt spid="54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" dur="2000" fill="hold"/>
                                        <p:tgtEl>
                                          <p:spTgt spid="54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6" dur="2000" fill="hold"/>
                                        <p:tgtEl>
                                          <p:spTgt spid="55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27" dur="2000" fill="hold"/>
                                        <p:tgtEl>
                                          <p:spTgt spid="55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8" dur="2000" fill="hold"/>
                                        <p:tgtEl>
                                          <p:spTgt spid="55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0" dur="2000" fill="hold"/>
                                        <p:tgtEl>
                                          <p:spTgt spid="55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31" dur="2000" fill="hold"/>
                                        <p:tgtEl>
                                          <p:spTgt spid="55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2" dur="2000" fill="hold"/>
                                        <p:tgtEl>
                                          <p:spTgt spid="55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4" dur="2000" fill="hold"/>
                                        <p:tgtEl>
                                          <p:spTgt spid="55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35" dur="2000" fill="hold"/>
                                        <p:tgtEl>
                                          <p:spTgt spid="55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6" dur="2000" fill="hold"/>
                                        <p:tgtEl>
                                          <p:spTgt spid="55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8" dur="2000" fill="hold"/>
                                        <p:tgtEl>
                                          <p:spTgt spid="55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39" dur="2000" fill="hold"/>
                                        <p:tgtEl>
                                          <p:spTgt spid="55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2000" fill="hold"/>
                                        <p:tgtEl>
                                          <p:spTgt spid="55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2" dur="2000" fill="hold"/>
                                        <p:tgtEl>
                                          <p:spTgt spid="54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43" dur="2000" fill="hold"/>
                                        <p:tgtEl>
                                          <p:spTgt spid="54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2000" fill="hold"/>
                                        <p:tgtEl>
                                          <p:spTgt spid="54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6" dur="2000" fill="hold"/>
                                        <p:tgtEl>
                                          <p:spTgt spid="55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47" dur="2000" fill="hold"/>
                                        <p:tgtEl>
                                          <p:spTgt spid="55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8" dur="2000" fill="hold"/>
                                        <p:tgtEl>
                                          <p:spTgt spid="55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0" dur="2000" fill="hold"/>
                                        <p:tgtEl>
                                          <p:spTgt spid="55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51" dur="2000" fill="hold"/>
                                        <p:tgtEl>
                                          <p:spTgt spid="55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2" dur="2000" fill="hold"/>
                                        <p:tgtEl>
                                          <p:spTgt spid="55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4" dur="2000" fill="hold"/>
                                        <p:tgtEl>
                                          <p:spTgt spid="58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55" dur="2000" fill="hold"/>
                                        <p:tgtEl>
                                          <p:spTgt spid="58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6" dur="2000" fill="hold"/>
                                        <p:tgtEl>
                                          <p:spTgt spid="58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8" dur="2000" fill="hold"/>
                                        <p:tgtEl>
                                          <p:spTgt spid="58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59" dur="2000" fill="hold"/>
                                        <p:tgtEl>
                                          <p:spTgt spid="58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0" dur="2000" fill="hold"/>
                                        <p:tgtEl>
                                          <p:spTgt spid="58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2" dur="2000" fill="hold"/>
                                        <p:tgtEl>
                                          <p:spTgt spid="58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63" dur="2000" fill="hold"/>
                                        <p:tgtEl>
                                          <p:spTgt spid="58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4" dur="2000" fill="hold"/>
                                        <p:tgtEl>
                                          <p:spTgt spid="58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6" dur="2000" fill="hold"/>
                                        <p:tgtEl>
                                          <p:spTgt spid="58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67" dur="2000" fill="hold"/>
                                        <p:tgtEl>
                                          <p:spTgt spid="58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8" dur="2000" fill="hold"/>
                                        <p:tgtEl>
                                          <p:spTgt spid="58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0" dur="2000" fill="hold"/>
                                        <p:tgtEl>
                                          <p:spTgt spid="84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71" dur="2000" fill="hold"/>
                                        <p:tgtEl>
                                          <p:spTgt spid="84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2" dur="2000" fill="hold"/>
                                        <p:tgtEl>
                                          <p:spTgt spid="84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4" dur="2000" fill="hold"/>
                                        <p:tgtEl>
                                          <p:spTgt spid="84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75" dur="2000" fill="hold"/>
                                        <p:tgtEl>
                                          <p:spTgt spid="84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6" dur="2000" fill="hold"/>
                                        <p:tgtEl>
                                          <p:spTgt spid="84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mph" presetSubtype="2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8" dur="2000" fill="hold"/>
                                        <p:tgtEl>
                                          <p:spTgt spid="84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AAE1"/>
                                      </p:to>
                                    </p:animClr>
                                    <p:set>
                                      <p:cBhvr>
                                        <p:cTn id="79" dur="2000" fill="hold"/>
                                        <p:tgtEl>
                                          <p:spTgt spid="84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0" dur="2000" fill="hold"/>
                                        <p:tgtEl>
                                          <p:spTgt spid="84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7617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.1_Gray Text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2">
            <a:extLst>
              <a:ext uri="{FF2B5EF4-FFF2-40B4-BE49-F238E27FC236}">
                <a16:creationId xmlns:a16="http://schemas.microsoft.com/office/drawing/2014/main" xmlns="" id="{201F9EFC-1397-476F-AC8D-B29C394E44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1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12" name="Text Placeholder 42">
            <a:extLst>
              <a:ext uri="{FF2B5EF4-FFF2-40B4-BE49-F238E27FC236}">
                <a16:creationId xmlns:a16="http://schemas.microsoft.com/office/drawing/2014/main" xmlns="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2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xmlns="" id="{1252EEB5-B067-4FF5-9D6E-45AD772491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384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564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2947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329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422E6FA3-ED47-4E0C-B044-550E170D1A0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&lt;MIBS IA study - Logistics &amp; Warehousing - For Internal Use Only&gt;</a:t>
            </a:r>
            <a:endParaRPr lang="en-US"/>
          </a:p>
        </p:txBody>
      </p:sp>
      <p:sp>
        <p:nvSpPr>
          <p:cNvPr id="6" name="Freihandform: Form 7">
            <a:extLst>
              <a:ext uri="{FF2B5EF4-FFF2-40B4-BE49-F238E27FC236}">
                <a16:creationId xmlns:a16="http://schemas.microsoft.com/office/drawing/2014/main" xmlns="" id="{2F2D8FC7-E588-4BBB-8232-C824685E5FE8}"/>
              </a:ext>
            </a:extLst>
          </p:cNvPr>
          <p:cNvSpPr>
            <a:spLocks noChangeAspect="1"/>
          </p:cNvSpPr>
          <p:nvPr userDrawn="1"/>
        </p:nvSpPr>
        <p:spPr>
          <a:xfrm>
            <a:off x="8035126" y="4805996"/>
            <a:ext cx="690457" cy="112293"/>
          </a:xfrm>
          <a:custGeom>
            <a:avLst/>
            <a:gdLst>
              <a:gd name="connsiteX0" fmla="*/ 6960911 w 7924447"/>
              <a:gd name="connsiteY0" fmla="*/ 321135 h 1288800"/>
              <a:gd name="connsiteX1" fmla="*/ 6719487 w 7924447"/>
              <a:gd name="connsiteY1" fmla="*/ 779851 h 1288800"/>
              <a:gd name="connsiteX2" fmla="*/ 7204868 w 7924447"/>
              <a:gd name="connsiteY2" fmla="*/ 779851 h 1288800"/>
              <a:gd name="connsiteX3" fmla="*/ 2388009 w 7924447"/>
              <a:gd name="connsiteY3" fmla="*/ 315532 h 1288800"/>
              <a:gd name="connsiteX4" fmla="*/ 2313866 w 7924447"/>
              <a:gd name="connsiteY4" fmla="*/ 389523 h 1288800"/>
              <a:gd name="connsiteX5" fmla="*/ 2313866 w 7924447"/>
              <a:gd name="connsiteY5" fmla="*/ 895278 h 1288800"/>
              <a:gd name="connsiteX6" fmla="*/ 2388009 w 7924447"/>
              <a:gd name="connsiteY6" fmla="*/ 969269 h 1288800"/>
              <a:gd name="connsiteX7" fmla="*/ 3186375 w 7924447"/>
              <a:gd name="connsiteY7" fmla="*/ 969269 h 1288800"/>
              <a:gd name="connsiteX8" fmla="*/ 3260517 w 7924447"/>
              <a:gd name="connsiteY8" fmla="*/ 895278 h 1288800"/>
              <a:gd name="connsiteX9" fmla="*/ 3260517 w 7924447"/>
              <a:gd name="connsiteY9" fmla="*/ 389523 h 1288800"/>
              <a:gd name="connsiteX10" fmla="*/ 3186375 w 7924447"/>
              <a:gd name="connsiteY10" fmla="*/ 315532 h 1288800"/>
              <a:gd name="connsiteX11" fmla="*/ 5545757 w 7924447"/>
              <a:gd name="connsiteY11" fmla="*/ 14419 h 1288800"/>
              <a:gd name="connsiteX12" fmla="*/ 5939564 w 7924447"/>
              <a:gd name="connsiteY12" fmla="*/ 14419 h 1288800"/>
              <a:gd name="connsiteX13" fmla="*/ 5939564 w 7924447"/>
              <a:gd name="connsiteY13" fmla="*/ 1273030 h 1288800"/>
              <a:gd name="connsiteX14" fmla="*/ 5545757 w 7924447"/>
              <a:gd name="connsiteY14" fmla="*/ 1273030 h 1288800"/>
              <a:gd name="connsiteX15" fmla="*/ 3781683 w 7924447"/>
              <a:gd name="connsiteY15" fmla="*/ 14419 h 1288800"/>
              <a:gd name="connsiteX16" fmla="*/ 4175490 w 7924447"/>
              <a:gd name="connsiteY16" fmla="*/ 14419 h 1288800"/>
              <a:gd name="connsiteX17" fmla="*/ 4175490 w 7924447"/>
              <a:gd name="connsiteY17" fmla="*/ 1273030 h 1288800"/>
              <a:gd name="connsiteX18" fmla="*/ 3781683 w 7924447"/>
              <a:gd name="connsiteY18" fmla="*/ 1273030 h 1288800"/>
              <a:gd name="connsiteX19" fmla="*/ 6726931 w 7924447"/>
              <a:gd name="connsiteY19" fmla="*/ 14418 h 1288800"/>
              <a:gd name="connsiteX20" fmla="*/ 7216062 w 7924447"/>
              <a:gd name="connsiteY20" fmla="*/ 14418 h 1288800"/>
              <a:gd name="connsiteX21" fmla="*/ 7924447 w 7924447"/>
              <a:gd name="connsiteY21" fmla="*/ 1273030 h 1288800"/>
              <a:gd name="connsiteX22" fmla="*/ 7467155 w 7924447"/>
              <a:gd name="connsiteY22" fmla="*/ 1273030 h 1288800"/>
              <a:gd name="connsiteX23" fmla="*/ 7349796 w 7924447"/>
              <a:gd name="connsiteY23" fmla="*/ 1052360 h 1288800"/>
              <a:gd name="connsiteX24" fmla="*/ 6576065 w 7924447"/>
              <a:gd name="connsiteY24" fmla="*/ 1052360 h 1288800"/>
              <a:gd name="connsiteX25" fmla="*/ 6459926 w 7924447"/>
              <a:gd name="connsiteY25" fmla="*/ 1273030 h 1288800"/>
              <a:gd name="connsiteX26" fmla="*/ 6011821 w 7924447"/>
              <a:gd name="connsiteY26" fmla="*/ 1273030 h 1288800"/>
              <a:gd name="connsiteX27" fmla="*/ 139469 w 7924447"/>
              <a:gd name="connsiteY27" fmla="*/ 14418 h 1288800"/>
              <a:gd name="connsiteX28" fmla="*/ 657720 w 7924447"/>
              <a:gd name="connsiteY28" fmla="*/ 14418 h 1288800"/>
              <a:gd name="connsiteX29" fmla="*/ 1414558 w 7924447"/>
              <a:gd name="connsiteY29" fmla="*/ 955333 h 1288800"/>
              <a:gd name="connsiteX30" fmla="*/ 1414558 w 7924447"/>
              <a:gd name="connsiteY30" fmla="*/ 14420 h 1288800"/>
              <a:gd name="connsiteX31" fmla="*/ 1793219 w 7924447"/>
              <a:gd name="connsiteY31" fmla="*/ 14420 h 1288800"/>
              <a:gd name="connsiteX32" fmla="*/ 1793219 w 7924447"/>
              <a:gd name="connsiteY32" fmla="*/ 1273030 h 1288800"/>
              <a:gd name="connsiteX33" fmla="*/ 1151296 w 7924447"/>
              <a:gd name="connsiteY33" fmla="*/ 1273030 h 1288800"/>
              <a:gd name="connsiteX34" fmla="*/ 378661 w 7924447"/>
              <a:gd name="connsiteY34" fmla="*/ 311950 h 1288800"/>
              <a:gd name="connsiteX35" fmla="*/ 378661 w 7924447"/>
              <a:gd name="connsiteY35" fmla="*/ 1273030 h 1288800"/>
              <a:gd name="connsiteX36" fmla="*/ 0 w 7924447"/>
              <a:gd name="connsiteY36" fmla="*/ 1273030 h 1288800"/>
              <a:gd name="connsiteX37" fmla="*/ 0 w 7924447"/>
              <a:gd name="connsiteY37" fmla="*/ 14420 h 1288800"/>
              <a:gd name="connsiteX38" fmla="*/ 139470 w 7924447"/>
              <a:gd name="connsiteY38" fmla="*/ 14420 h 1288800"/>
              <a:gd name="connsiteX39" fmla="*/ 4850522 w 7924447"/>
              <a:gd name="connsiteY39" fmla="*/ 14418 h 1288800"/>
              <a:gd name="connsiteX40" fmla="*/ 5385591 w 7924447"/>
              <a:gd name="connsiteY40" fmla="*/ 14418 h 1288800"/>
              <a:gd name="connsiteX41" fmla="*/ 4668730 w 7924447"/>
              <a:gd name="connsiteY41" fmla="*/ 603446 h 1288800"/>
              <a:gd name="connsiteX42" fmla="*/ 5474313 w 7924447"/>
              <a:gd name="connsiteY42" fmla="*/ 1273029 h 1288800"/>
              <a:gd name="connsiteX43" fmla="*/ 4911442 w 7924447"/>
              <a:gd name="connsiteY43" fmla="*/ 1273029 h 1288800"/>
              <a:gd name="connsiteX44" fmla="*/ 4178297 w 7924447"/>
              <a:gd name="connsiteY44" fmla="*/ 616444 h 1288800"/>
              <a:gd name="connsiteX45" fmla="*/ 2308976 w 7924447"/>
              <a:gd name="connsiteY45" fmla="*/ 0 h 1288800"/>
              <a:gd name="connsiteX46" fmla="*/ 3257392 w 7924447"/>
              <a:gd name="connsiteY46" fmla="*/ 0 h 1288800"/>
              <a:gd name="connsiteX47" fmla="*/ 3620245 w 7924447"/>
              <a:gd name="connsiteY47" fmla="*/ 334112 h 1288800"/>
              <a:gd name="connsiteX48" fmla="*/ 3620245 w 7924447"/>
              <a:gd name="connsiteY48" fmla="*/ 950689 h 1288800"/>
              <a:gd name="connsiteX49" fmla="*/ 3261400 w 7924447"/>
              <a:gd name="connsiteY49" fmla="*/ 1284801 h 1288800"/>
              <a:gd name="connsiteX50" fmla="*/ 2333021 w 7924447"/>
              <a:gd name="connsiteY50" fmla="*/ 1288800 h 1288800"/>
              <a:gd name="connsiteX51" fmla="*/ 1954138 w 7924447"/>
              <a:gd name="connsiteY51" fmla="*/ 950689 h 1288800"/>
              <a:gd name="connsiteX52" fmla="*/ 1954138 w 7924447"/>
              <a:gd name="connsiteY52" fmla="*/ 334112 h 1288800"/>
              <a:gd name="connsiteX53" fmla="*/ 2308976 w 7924447"/>
              <a:gd name="connsiteY53" fmla="*/ 0 h 12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924447" h="1288800">
                <a:moveTo>
                  <a:pt x="6960911" y="321135"/>
                </a:moveTo>
                <a:lnTo>
                  <a:pt x="6719487" y="779851"/>
                </a:lnTo>
                <a:lnTo>
                  <a:pt x="7204868" y="779851"/>
                </a:lnTo>
                <a:close/>
                <a:moveTo>
                  <a:pt x="2388009" y="315532"/>
                </a:moveTo>
                <a:cubicBezTo>
                  <a:pt x="2347061" y="315532"/>
                  <a:pt x="2313866" y="348659"/>
                  <a:pt x="2313866" y="389523"/>
                </a:cubicBezTo>
                <a:lnTo>
                  <a:pt x="2313866" y="895278"/>
                </a:lnTo>
                <a:cubicBezTo>
                  <a:pt x="2313866" y="936142"/>
                  <a:pt x="2347061" y="969269"/>
                  <a:pt x="2388009" y="969269"/>
                </a:cubicBezTo>
                <a:lnTo>
                  <a:pt x="3186375" y="969269"/>
                </a:lnTo>
                <a:cubicBezTo>
                  <a:pt x="3227323" y="969269"/>
                  <a:pt x="3260517" y="936142"/>
                  <a:pt x="3260517" y="895278"/>
                </a:cubicBezTo>
                <a:lnTo>
                  <a:pt x="3260517" y="389523"/>
                </a:lnTo>
                <a:cubicBezTo>
                  <a:pt x="3260517" y="348659"/>
                  <a:pt x="3227323" y="315532"/>
                  <a:pt x="3186375" y="315532"/>
                </a:cubicBezTo>
                <a:close/>
                <a:moveTo>
                  <a:pt x="5545757" y="14419"/>
                </a:moveTo>
                <a:lnTo>
                  <a:pt x="5939564" y="14419"/>
                </a:lnTo>
                <a:lnTo>
                  <a:pt x="5939564" y="1273030"/>
                </a:lnTo>
                <a:lnTo>
                  <a:pt x="5545757" y="1273030"/>
                </a:lnTo>
                <a:close/>
                <a:moveTo>
                  <a:pt x="3781683" y="14419"/>
                </a:moveTo>
                <a:lnTo>
                  <a:pt x="4175490" y="14419"/>
                </a:lnTo>
                <a:lnTo>
                  <a:pt x="4175490" y="1273030"/>
                </a:lnTo>
                <a:lnTo>
                  <a:pt x="3781683" y="1273030"/>
                </a:lnTo>
                <a:close/>
                <a:moveTo>
                  <a:pt x="6726931" y="14418"/>
                </a:moveTo>
                <a:lnTo>
                  <a:pt x="7216062" y="14418"/>
                </a:lnTo>
                <a:lnTo>
                  <a:pt x="7924447" y="1273030"/>
                </a:lnTo>
                <a:lnTo>
                  <a:pt x="7467155" y="1273030"/>
                </a:lnTo>
                <a:lnTo>
                  <a:pt x="7349796" y="1052360"/>
                </a:lnTo>
                <a:lnTo>
                  <a:pt x="6576065" y="1052360"/>
                </a:lnTo>
                <a:lnTo>
                  <a:pt x="6459926" y="1273030"/>
                </a:lnTo>
                <a:lnTo>
                  <a:pt x="6011821" y="1273030"/>
                </a:lnTo>
                <a:close/>
                <a:moveTo>
                  <a:pt x="139469" y="14418"/>
                </a:moveTo>
                <a:lnTo>
                  <a:pt x="657720" y="14418"/>
                </a:lnTo>
                <a:lnTo>
                  <a:pt x="1414558" y="955333"/>
                </a:lnTo>
                <a:lnTo>
                  <a:pt x="1414558" y="14420"/>
                </a:lnTo>
                <a:lnTo>
                  <a:pt x="1793219" y="14420"/>
                </a:lnTo>
                <a:lnTo>
                  <a:pt x="1793219" y="1273030"/>
                </a:lnTo>
                <a:lnTo>
                  <a:pt x="1151296" y="1273030"/>
                </a:lnTo>
                <a:lnTo>
                  <a:pt x="378661" y="311950"/>
                </a:lnTo>
                <a:lnTo>
                  <a:pt x="378661" y="1273030"/>
                </a:lnTo>
                <a:lnTo>
                  <a:pt x="0" y="1273030"/>
                </a:lnTo>
                <a:lnTo>
                  <a:pt x="0" y="14420"/>
                </a:lnTo>
                <a:lnTo>
                  <a:pt x="139470" y="14420"/>
                </a:lnTo>
                <a:close/>
                <a:moveTo>
                  <a:pt x="4850522" y="14418"/>
                </a:moveTo>
                <a:lnTo>
                  <a:pt x="5385591" y="14418"/>
                </a:lnTo>
                <a:lnTo>
                  <a:pt x="4668730" y="603446"/>
                </a:lnTo>
                <a:lnTo>
                  <a:pt x="5474313" y="1273029"/>
                </a:lnTo>
                <a:lnTo>
                  <a:pt x="4911442" y="1273029"/>
                </a:lnTo>
                <a:lnTo>
                  <a:pt x="4178297" y="616444"/>
                </a:lnTo>
                <a:close/>
                <a:moveTo>
                  <a:pt x="2308976" y="0"/>
                </a:moveTo>
                <a:lnTo>
                  <a:pt x="3257392" y="0"/>
                </a:lnTo>
                <a:cubicBezTo>
                  <a:pt x="3442298" y="0"/>
                  <a:pt x="3624253" y="119593"/>
                  <a:pt x="3620245" y="334112"/>
                </a:cubicBezTo>
                <a:lnTo>
                  <a:pt x="3620245" y="950689"/>
                </a:lnTo>
                <a:cubicBezTo>
                  <a:pt x="3620245" y="1159210"/>
                  <a:pt x="3446305" y="1284801"/>
                  <a:pt x="3261400" y="1284801"/>
                </a:cubicBezTo>
                <a:lnTo>
                  <a:pt x="2333021" y="1288800"/>
                </a:lnTo>
                <a:cubicBezTo>
                  <a:pt x="2148115" y="1286801"/>
                  <a:pt x="1954138" y="1181205"/>
                  <a:pt x="1954138" y="950689"/>
                </a:cubicBezTo>
                <a:lnTo>
                  <a:pt x="1954138" y="334112"/>
                </a:lnTo>
                <a:cubicBezTo>
                  <a:pt x="1962153" y="113594"/>
                  <a:pt x="2124071" y="0"/>
                  <a:pt x="2308976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45716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11" b="0" i="0" u="none" strike="noStrike" kern="1200" cap="none" spc="0" normalizeH="0" baseline="0" noProof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03373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-1 White - INTERNAL 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05874" y="512334"/>
            <a:ext cx="4166127" cy="23529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6000" baseline="0" dirty="0">
                <a:solidFill>
                  <a:schemeClr val="accent3"/>
                </a:solidFill>
                <a:latin typeface="Nokia Pure Headline Ultra Light" panose="020B0204040602060303" pitchFamily="34" charset="0"/>
              </a:defRPr>
            </a:lvl1pPr>
          </a:lstStyle>
          <a:p>
            <a:pPr marL="342874" lvl="0" indent="-342874">
              <a:lnSpc>
                <a:spcPct val="85000"/>
              </a:lnSpc>
              <a:spcBef>
                <a:spcPts val="0"/>
              </a:spcBef>
              <a:spcAft>
                <a:spcPts val="604"/>
              </a:spcAft>
            </a:pPr>
            <a:r>
              <a:rPr lang="en-US" dirty="0"/>
              <a:t>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05874" y="3078937"/>
            <a:ext cx="4166127" cy="109565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4"/>
              </a:spcAft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  <a:latin typeface="+mj-lt"/>
                <a:ea typeface="Nokia Pure Text Light" panose="020B0403020202020204" pitchFamily="34" charset="0"/>
              </a:defRPr>
            </a:lvl1pPr>
            <a:lvl2pPr marL="230384" indent="0">
              <a:spcBef>
                <a:spcPts val="0"/>
              </a:spcBef>
              <a:spcAft>
                <a:spcPts val="600"/>
              </a:spcAft>
              <a:buNone/>
              <a:defRPr sz="1409">
                <a:solidFill>
                  <a:schemeClr val="accent3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564" indent="0">
              <a:spcBef>
                <a:spcPts val="0"/>
              </a:spcBef>
              <a:spcAft>
                <a:spcPts val="600"/>
              </a:spcAft>
              <a:buNone/>
              <a:defRPr sz="1208">
                <a:solidFill>
                  <a:schemeClr val="accent3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2947" indent="0">
              <a:spcBef>
                <a:spcPts val="0"/>
              </a:spcBef>
              <a:spcAft>
                <a:spcPts val="600"/>
              </a:spcAft>
              <a:buNone/>
              <a:defRPr sz="1007">
                <a:solidFill>
                  <a:schemeClr val="accent3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329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5">
                <a:solidFill>
                  <a:schemeClr val="accent3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153711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094" indent="0">
              <a:spcBef>
                <a:spcPts val="0"/>
              </a:spcBef>
              <a:spcAft>
                <a:spcPts val="600"/>
              </a:spcAft>
              <a:buNone/>
              <a:defRPr sz="701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476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-title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xmlns="" id="{DC24C058-1012-475A-80D5-F8CF41525E5D}"/>
              </a:ext>
            </a:extLst>
          </p:cNvPr>
          <p:cNvSpPr>
            <a:spLocks noChangeAspect="1"/>
          </p:cNvSpPr>
          <p:nvPr userDrawn="1"/>
        </p:nvSpPr>
        <p:spPr>
          <a:xfrm>
            <a:off x="477961" y="4544763"/>
            <a:ext cx="1237825" cy="201315"/>
          </a:xfrm>
          <a:custGeom>
            <a:avLst/>
            <a:gdLst>
              <a:gd name="connsiteX0" fmla="*/ 6960911 w 7924447"/>
              <a:gd name="connsiteY0" fmla="*/ 321135 h 1288800"/>
              <a:gd name="connsiteX1" fmla="*/ 6719487 w 7924447"/>
              <a:gd name="connsiteY1" fmla="*/ 779851 h 1288800"/>
              <a:gd name="connsiteX2" fmla="*/ 7204868 w 7924447"/>
              <a:gd name="connsiteY2" fmla="*/ 779851 h 1288800"/>
              <a:gd name="connsiteX3" fmla="*/ 2388009 w 7924447"/>
              <a:gd name="connsiteY3" fmla="*/ 315532 h 1288800"/>
              <a:gd name="connsiteX4" fmla="*/ 2313866 w 7924447"/>
              <a:gd name="connsiteY4" fmla="*/ 389523 h 1288800"/>
              <a:gd name="connsiteX5" fmla="*/ 2313866 w 7924447"/>
              <a:gd name="connsiteY5" fmla="*/ 895278 h 1288800"/>
              <a:gd name="connsiteX6" fmla="*/ 2388009 w 7924447"/>
              <a:gd name="connsiteY6" fmla="*/ 969269 h 1288800"/>
              <a:gd name="connsiteX7" fmla="*/ 3186375 w 7924447"/>
              <a:gd name="connsiteY7" fmla="*/ 969269 h 1288800"/>
              <a:gd name="connsiteX8" fmla="*/ 3260517 w 7924447"/>
              <a:gd name="connsiteY8" fmla="*/ 895278 h 1288800"/>
              <a:gd name="connsiteX9" fmla="*/ 3260517 w 7924447"/>
              <a:gd name="connsiteY9" fmla="*/ 389523 h 1288800"/>
              <a:gd name="connsiteX10" fmla="*/ 3186375 w 7924447"/>
              <a:gd name="connsiteY10" fmla="*/ 315532 h 1288800"/>
              <a:gd name="connsiteX11" fmla="*/ 5545757 w 7924447"/>
              <a:gd name="connsiteY11" fmla="*/ 14419 h 1288800"/>
              <a:gd name="connsiteX12" fmla="*/ 5939564 w 7924447"/>
              <a:gd name="connsiteY12" fmla="*/ 14419 h 1288800"/>
              <a:gd name="connsiteX13" fmla="*/ 5939564 w 7924447"/>
              <a:gd name="connsiteY13" fmla="*/ 1273030 h 1288800"/>
              <a:gd name="connsiteX14" fmla="*/ 5545757 w 7924447"/>
              <a:gd name="connsiteY14" fmla="*/ 1273030 h 1288800"/>
              <a:gd name="connsiteX15" fmla="*/ 3781683 w 7924447"/>
              <a:gd name="connsiteY15" fmla="*/ 14419 h 1288800"/>
              <a:gd name="connsiteX16" fmla="*/ 4175490 w 7924447"/>
              <a:gd name="connsiteY16" fmla="*/ 14419 h 1288800"/>
              <a:gd name="connsiteX17" fmla="*/ 4175490 w 7924447"/>
              <a:gd name="connsiteY17" fmla="*/ 1273030 h 1288800"/>
              <a:gd name="connsiteX18" fmla="*/ 3781683 w 7924447"/>
              <a:gd name="connsiteY18" fmla="*/ 1273030 h 1288800"/>
              <a:gd name="connsiteX19" fmla="*/ 6726931 w 7924447"/>
              <a:gd name="connsiteY19" fmla="*/ 14418 h 1288800"/>
              <a:gd name="connsiteX20" fmla="*/ 7216062 w 7924447"/>
              <a:gd name="connsiteY20" fmla="*/ 14418 h 1288800"/>
              <a:gd name="connsiteX21" fmla="*/ 7924447 w 7924447"/>
              <a:gd name="connsiteY21" fmla="*/ 1273030 h 1288800"/>
              <a:gd name="connsiteX22" fmla="*/ 7467155 w 7924447"/>
              <a:gd name="connsiteY22" fmla="*/ 1273030 h 1288800"/>
              <a:gd name="connsiteX23" fmla="*/ 7349796 w 7924447"/>
              <a:gd name="connsiteY23" fmla="*/ 1052360 h 1288800"/>
              <a:gd name="connsiteX24" fmla="*/ 6576065 w 7924447"/>
              <a:gd name="connsiteY24" fmla="*/ 1052360 h 1288800"/>
              <a:gd name="connsiteX25" fmla="*/ 6459926 w 7924447"/>
              <a:gd name="connsiteY25" fmla="*/ 1273030 h 1288800"/>
              <a:gd name="connsiteX26" fmla="*/ 6011821 w 7924447"/>
              <a:gd name="connsiteY26" fmla="*/ 1273030 h 1288800"/>
              <a:gd name="connsiteX27" fmla="*/ 139469 w 7924447"/>
              <a:gd name="connsiteY27" fmla="*/ 14418 h 1288800"/>
              <a:gd name="connsiteX28" fmla="*/ 657720 w 7924447"/>
              <a:gd name="connsiteY28" fmla="*/ 14418 h 1288800"/>
              <a:gd name="connsiteX29" fmla="*/ 1414558 w 7924447"/>
              <a:gd name="connsiteY29" fmla="*/ 955333 h 1288800"/>
              <a:gd name="connsiteX30" fmla="*/ 1414558 w 7924447"/>
              <a:gd name="connsiteY30" fmla="*/ 14420 h 1288800"/>
              <a:gd name="connsiteX31" fmla="*/ 1793219 w 7924447"/>
              <a:gd name="connsiteY31" fmla="*/ 14420 h 1288800"/>
              <a:gd name="connsiteX32" fmla="*/ 1793219 w 7924447"/>
              <a:gd name="connsiteY32" fmla="*/ 1273030 h 1288800"/>
              <a:gd name="connsiteX33" fmla="*/ 1151296 w 7924447"/>
              <a:gd name="connsiteY33" fmla="*/ 1273030 h 1288800"/>
              <a:gd name="connsiteX34" fmla="*/ 378661 w 7924447"/>
              <a:gd name="connsiteY34" fmla="*/ 311950 h 1288800"/>
              <a:gd name="connsiteX35" fmla="*/ 378661 w 7924447"/>
              <a:gd name="connsiteY35" fmla="*/ 1273030 h 1288800"/>
              <a:gd name="connsiteX36" fmla="*/ 0 w 7924447"/>
              <a:gd name="connsiteY36" fmla="*/ 1273030 h 1288800"/>
              <a:gd name="connsiteX37" fmla="*/ 0 w 7924447"/>
              <a:gd name="connsiteY37" fmla="*/ 14420 h 1288800"/>
              <a:gd name="connsiteX38" fmla="*/ 139470 w 7924447"/>
              <a:gd name="connsiteY38" fmla="*/ 14420 h 1288800"/>
              <a:gd name="connsiteX39" fmla="*/ 4850522 w 7924447"/>
              <a:gd name="connsiteY39" fmla="*/ 14418 h 1288800"/>
              <a:gd name="connsiteX40" fmla="*/ 5385591 w 7924447"/>
              <a:gd name="connsiteY40" fmla="*/ 14418 h 1288800"/>
              <a:gd name="connsiteX41" fmla="*/ 4668730 w 7924447"/>
              <a:gd name="connsiteY41" fmla="*/ 603446 h 1288800"/>
              <a:gd name="connsiteX42" fmla="*/ 5474313 w 7924447"/>
              <a:gd name="connsiteY42" fmla="*/ 1273029 h 1288800"/>
              <a:gd name="connsiteX43" fmla="*/ 4911442 w 7924447"/>
              <a:gd name="connsiteY43" fmla="*/ 1273029 h 1288800"/>
              <a:gd name="connsiteX44" fmla="*/ 4178297 w 7924447"/>
              <a:gd name="connsiteY44" fmla="*/ 616444 h 1288800"/>
              <a:gd name="connsiteX45" fmla="*/ 2308976 w 7924447"/>
              <a:gd name="connsiteY45" fmla="*/ 0 h 1288800"/>
              <a:gd name="connsiteX46" fmla="*/ 3257392 w 7924447"/>
              <a:gd name="connsiteY46" fmla="*/ 0 h 1288800"/>
              <a:gd name="connsiteX47" fmla="*/ 3620245 w 7924447"/>
              <a:gd name="connsiteY47" fmla="*/ 334112 h 1288800"/>
              <a:gd name="connsiteX48" fmla="*/ 3620245 w 7924447"/>
              <a:gd name="connsiteY48" fmla="*/ 950689 h 1288800"/>
              <a:gd name="connsiteX49" fmla="*/ 3261400 w 7924447"/>
              <a:gd name="connsiteY49" fmla="*/ 1284801 h 1288800"/>
              <a:gd name="connsiteX50" fmla="*/ 2333021 w 7924447"/>
              <a:gd name="connsiteY50" fmla="*/ 1288800 h 1288800"/>
              <a:gd name="connsiteX51" fmla="*/ 1954138 w 7924447"/>
              <a:gd name="connsiteY51" fmla="*/ 950689 h 1288800"/>
              <a:gd name="connsiteX52" fmla="*/ 1954138 w 7924447"/>
              <a:gd name="connsiteY52" fmla="*/ 334112 h 1288800"/>
              <a:gd name="connsiteX53" fmla="*/ 2308976 w 7924447"/>
              <a:gd name="connsiteY53" fmla="*/ 0 h 12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924447" h="1288800">
                <a:moveTo>
                  <a:pt x="6960911" y="321135"/>
                </a:moveTo>
                <a:lnTo>
                  <a:pt x="6719487" y="779851"/>
                </a:lnTo>
                <a:lnTo>
                  <a:pt x="7204868" y="779851"/>
                </a:lnTo>
                <a:close/>
                <a:moveTo>
                  <a:pt x="2388009" y="315532"/>
                </a:moveTo>
                <a:cubicBezTo>
                  <a:pt x="2347061" y="315532"/>
                  <a:pt x="2313866" y="348659"/>
                  <a:pt x="2313866" y="389523"/>
                </a:cubicBezTo>
                <a:lnTo>
                  <a:pt x="2313866" y="895278"/>
                </a:lnTo>
                <a:cubicBezTo>
                  <a:pt x="2313866" y="936142"/>
                  <a:pt x="2347061" y="969269"/>
                  <a:pt x="2388009" y="969269"/>
                </a:cubicBezTo>
                <a:lnTo>
                  <a:pt x="3186375" y="969269"/>
                </a:lnTo>
                <a:cubicBezTo>
                  <a:pt x="3227323" y="969269"/>
                  <a:pt x="3260517" y="936142"/>
                  <a:pt x="3260517" y="895278"/>
                </a:cubicBezTo>
                <a:lnTo>
                  <a:pt x="3260517" y="389523"/>
                </a:lnTo>
                <a:cubicBezTo>
                  <a:pt x="3260517" y="348659"/>
                  <a:pt x="3227323" y="315532"/>
                  <a:pt x="3186375" y="315532"/>
                </a:cubicBezTo>
                <a:close/>
                <a:moveTo>
                  <a:pt x="5545757" y="14419"/>
                </a:moveTo>
                <a:lnTo>
                  <a:pt x="5939564" y="14419"/>
                </a:lnTo>
                <a:lnTo>
                  <a:pt x="5939564" y="1273030"/>
                </a:lnTo>
                <a:lnTo>
                  <a:pt x="5545757" y="1273030"/>
                </a:lnTo>
                <a:close/>
                <a:moveTo>
                  <a:pt x="3781683" y="14419"/>
                </a:moveTo>
                <a:lnTo>
                  <a:pt x="4175490" y="14419"/>
                </a:lnTo>
                <a:lnTo>
                  <a:pt x="4175490" y="1273030"/>
                </a:lnTo>
                <a:lnTo>
                  <a:pt x="3781683" y="1273030"/>
                </a:lnTo>
                <a:close/>
                <a:moveTo>
                  <a:pt x="6726931" y="14418"/>
                </a:moveTo>
                <a:lnTo>
                  <a:pt x="7216062" y="14418"/>
                </a:lnTo>
                <a:lnTo>
                  <a:pt x="7924447" y="1273030"/>
                </a:lnTo>
                <a:lnTo>
                  <a:pt x="7467155" y="1273030"/>
                </a:lnTo>
                <a:lnTo>
                  <a:pt x="7349796" y="1052360"/>
                </a:lnTo>
                <a:lnTo>
                  <a:pt x="6576065" y="1052360"/>
                </a:lnTo>
                <a:lnTo>
                  <a:pt x="6459926" y="1273030"/>
                </a:lnTo>
                <a:lnTo>
                  <a:pt x="6011821" y="1273030"/>
                </a:lnTo>
                <a:close/>
                <a:moveTo>
                  <a:pt x="139469" y="14418"/>
                </a:moveTo>
                <a:lnTo>
                  <a:pt x="657720" y="14418"/>
                </a:lnTo>
                <a:lnTo>
                  <a:pt x="1414558" y="955333"/>
                </a:lnTo>
                <a:lnTo>
                  <a:pt x="1414558" y="14420"/>
                </a:lnTo>
                <a:lnTo>
                  <a:pt x="1793219" y="14420"/>
                </a:lnTo>
                <a:lnTo>
                  <a:pt x="1793219" y="1273030"/>
                </a:lnTo>
                <a:lnTo>
                  <a:pt x="1151296" y="1273030"/>
                </a:lnTo>
                <a:lnTo>
                  <a:pt x="378661" y="311950"/>
                </a:lnTo>
                <a:lnTo>
                  <a:pt x="378661" y="1273030"/>
                </a:lnTo>
                <a:lnTo>
                  <a:pt x="0" y="1273030"/>
                </a:lnTo>
                <a:lnTo>
                  <a:pt x="0" y="14420"/>
                </a:lnTo>
                <a:lnTo>
                  <a:pt x="139470" y="14420"/>
                </a:lnTo>
                <a:close/>
                <a:moveTo>
                  <a:pt x="4850522" y="14418"/>
                </a:moveTo>
                <a:lnTo>
                  <a:pt x="5385591" y="14418"/>
                </a:lnTo>
                <a:lnTo>
                  <a:pt x="4668730" y="603446"/>
                </a:lnTo>
                <a:lnTo>
                  <a:pt x="5474313" y="1273029"/>
                </a:lnTo>
                <a:lnTo>
                  <a:pt x="4911442" y="1273029"/>
                </a:lnTo>
                <a:lnTo>
                  <a:pt x="4178297" y="616444"/>
                </a:lnTo>
                <a:close/>
                <a:moveTo>
                  <a:pt x="2308976" y="0"/>
                </a:moveTo>
                <a:lnTo>
                  <a:pt x="3257392" y="0"/>
                </a:lnTo>
                <a:cubicBezTo>
                  <a:pt x="3442298" y="0"/>
                  <a:pt x="3624253" y="119593"/>
                  <a:pt x="3620245" y="334112"/>
                </a:cubicBezTo>
                <a:lnTo>
                  <a:pt x="3620245" y="950689"/>
                </a:lnTo>
                <a:cubicBezTo>
                  <a:pt x="3620245" y="1159210"/>
                  <a:pt x="3446305" y="1284801"/>
                  <a:pt x="3261400" y="1284801"/>
                </a:cubicBezTo>
                <a:lnTo>
                  <a:pt x="2333021" y="1288800"/>
                </a:lnTo>
                <a:cubicBezTo>
                  <a:pt x="2148115" y="1286801"/>
                  <a:pt x="1954138" y="1181205"/>
                  <a:pt x="1954138" y="950689"/>
                </a:cubicBezTo>
                <a:lnTo>
                  <a:pt x="1954138" y="334112"/>
                </a:lnTo>
                <a:cubicBezTo>
                  <a:pt x="1962153" y="113594"/>
                  <a:pt x="2124071" y="0"/>
                  <a:pt x="2308976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endParaRPr lang="en-US" sz="1811" dirty="0">
              <a:latin typeface="+mn-lt"/>
            </a:endParaRPr>
          </a:p>
        </p:txBody>
      </p:sp>
      <p:sp>
        <p:nvSpPr>
          <p:cNvPr id="7" name="Footer Placeholder 27">
            <a:extLst>
              <a:ext uri="{FF2B5EF4-FFF2-40B4-BE49-F238E27FC236}">
                <a16:creationId xmlns:a16="http://schemas.microsoft.com/office/drawing/2014/main" xmlns="" id="{85B22BFE-7C74-4741-97D2-7E3AD84113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1" y="5202652"/>
            <a:ext cx="2716982" cy="1223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accent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5G migration strategy</a:t>
            </a:r>
            <a:endParaRPr lang="en-US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xmlns="" id="{C53912A6-48D0-4F3E-91D4-37D73BE4FF81}"/>
              </a:ext>
            </a:extLst>
          </p:cNvPr>
          <p:cNvGrpSpPr/>
          <p:nvPr userDrawn="1"/>
        </p:nvGrpSpPr>
        <p:grpSpPr>
          <a:xfrm>
            <a:off x="5028434" y="4672845"/>
            <a:ext cx="2449107" cy="362236"/>
            <a:chOff x="4997005" y="4644000"/>
            <a:chExt cx="2433800" cy="360000"/>
          </a:xfrm>
        </p:grpSpPr>
        <p:sp>
          <p:nvSpPr>
            <p:cNvPr id="11" name="&lt; forward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xmlns="" id="{2E9D62E1-082F-4940-8473-AE2BA9EC47C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2325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8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&lt; back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xmlns="" id="{C8847437-A229-4783-A1F6-9CB13F2702A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105771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8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back link">
              <a:hlinkClick r:id="" action="ppaction://hlinkshowjump?jump=previous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9FC9E5B2-0E5E-4A8F-8273-6135D71ED737}"/>
                </a:ext>
              </a:extLst>
            </p:cNvPr>
            <p:cNvSpPr/>
            <p:nvPr userDrawn="1"/>
          </p:nvSpPr>
          <p:spPr>
            <a:xfrm>
              <a:off x="5731557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3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revious</a:t>
              </a:r>
            </a:p>
          </p:txBody>
        </p:sp>
        <p:sp>
          <p:nvSpPr>
            <p:cNvPr id="14" name="forward link">
              <a:hlinkClick r:id="" action="ppaction://hlinkshowjump?jump=next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CB4449ED-39C2-4ABB-B9FF-93D97F8DE992}"/>
                </a:ext>
              </a:extLst>
            </p:cNvPr>
            <p:cNvSpPr/>
            <p:nvPr userDrawn="1"/>
          </p:nvSpPr>
          <p:spPr>
            <a:xfrm>
              <a:off x="67972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80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3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ext</a:t>
              </a:r>
            </a:p>
          </p:txBody>
        </p:sp>
        <p:sp>
          <p:nvSpPr>
            <p:cNvPr id="15" name="Freihandform: Form 14">
              <a:hlinkClick r:id="" action="ppaction://hlinkshowjump?jump=lastslideviewed"/>
              <a:extLst>
                <a:ext uri="{FF2B5EF4-FFF2-40B4-BE49-F238E27FC236}">
                  <a16:creationId xmlns:a16="http://schemas.microsoft.com/office/drawing/2014/main" xmlns="" id="{B5C7C3F4-7B46-491F-8451-81EA6EE98BC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5410986" y="4804666"/>
              <a:ext cx="53776" cy="99082"/>
            </a:xfrm>
            <a:custGeom>
              <a:avLst/>
              <a:gdLst>
                <a:gd name="connsiteX0" fmla="*/ 23824 w 82557"/>
                <a:gd name="connsiteY0" fmla="*/ 0 h 152109"/>
                <a:gd name="connsiteX1" fmla="*/ 0 w 82557"/>
                <a:gd name="connsiteY1" fmla="*/ 0 h 152109"/>
                <a:gd name="connsiteX2" fmla="*/ 58734 w 82557"/>
                <a:gd name="connsiteY2" fmla="*/ 76055 h 152109"/>
                <a:gd name="connsiteX3" fmla="*/ 0 w 82557"/>
                <a:gd name="connsiteY3" fmla="*/ 152109 h 152109"/>
                <a:gd name="connsiteX4" fmla="*/ 23824 w 82557"/>
                <a:gd name="connsiteY4" fmla="*/ 152109 h 152109"/>
                <a:gd name="connsiteX5" fmla="*/ 82557 w 82557"/>
                <a:gd name="connsiteY5" fmla="*/ 76055 h 152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57" h="152109">
                  <a:moveTo>
                    <a:pt x="23824" y="0"/>
                  </a:moveTo>
                  <a:lnTo>
                    <a:pt x="0" y="0"/>
                  </a:lnTo>
                  <a:lnTo>
                    <a:pt x="58734" y="76055"/>
                  </a:lnTo>
                  <a:lnTo>
                    <a:pt x="0" y="152109"/>
                  </a:lnTo>
                  <a:lnTo>
                    <a:pt x="23824" y="152109"/>
                  </a:lnTo>
                  <a:lnTo>
                    <a:pt x="82557" y="76055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8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back link">
              <a:hlinkClick r:id="" action="ppaction://hlinkshowjump?jump=lastslideviewed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11D5218C-7381-47ED-84BC-AAE99564E838}"/>
                </a:ext>
              </a:extLst>
            </p:cNvPr>
            <p:cNvSpPr/>
            <p:nvPr userDrawn="1"/>
          </p:nvSpPr>
          <p:spPr>
            <a:xfrm>
              <a:off x="49970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3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last visited</a:t>
              </a:r>
            </a:p>
          </p:txBody>
        </p:sp>
      </p:grpSp>
      <p:sp>
        <p:nvSpPr>
          <p:cNvPr id="17" name="Rechteck 16">
            <a:hlinkClick r:id="" action="ppaction://hlinkshowjump?jump=firstslide"/>
            <a:extLst>
              <a:ext uri="{FF2B5EF4-FFF2-40B4-BE49-F238E27FC236}">
                <a16:creationId xmlns:a16="http://schemas.microsoft.com/office/drawing/2014/main" xmlns="" id="{6DA78536-340D-41A3-A2AF-C656932139D6}"/>
              </a:ext>
            </a:extLst>
          </p:cNvPr>
          <p:cNvSpPr/>
          <p:nvPr userDrawn="1"/>
        </p:nvSpPr>
        <p:spPr>
          <a:xfrm>
            <a:off x="441243" y="4388232"/>
            <a:ext cx="1311260" cy="477838"/>
          </a:xfrm>
          <a:prstGeom prst="rect">
            <a:avLst/>
          </a:prstGeom>
          <a:solidFill>
            <a:srgbClr val="FFFF00">
              <a:alpha val="0"/>
            </a:srgbClr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441" tIns="72441" rIns="72441" bIns="7244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8" dirty="0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4229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22763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2-1 White - INTERNAL 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05874" y="512334"/>
            <a:ext cx="4166127" cy="19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6000" baseline="0" dirty="0">
                <a:solidFill>
                  <a:schemeClr val="accent3"/>
                </a:solidFill>
                <a:latin typeface="Nokia Pure Headline Ultra Light" panose="020B0204040602060303" pitchFamily="34" charset="0"/>
              </a:defRPr>
            </a:lvl1pPr>
          </a:lstStyle>
          <a:p>
            <a:pPr marL="342874" lvl="0" indent="-342874">
              <a:lnSpc>
                <a:spcPct val="85000"/>
              </a:lnSpc>
              <a:spcBef>
                <a:spcPts val="0"/>
              </a:spcBef>
              <a:spcAft>
                <a:spcPts val="604"/>
              </a:spcAft>
            </a:pPr>
            <a:r>
              <a:rPr lang="en-US" dirty="0"/>
              <a:t>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05875" y="2597792"/>
            <a:ext cx="3477749" cy="1576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Aft>
                <a:spcPts val="604"/>
              </a:spcAft>
              <a:buNone/>
              <a:defRPr lang="en-US" sz="2000" dirty="0">
                <a:solidFill>
                  <a:schemeClr val="tx2"/>
                </a:solidFill>
                <a:latin typeface="+mj-lt"/>
                <a:ea typeface="Nokia Pure Text Light" panose="020B0403020202020204" pitchFamily="34" charset="0"/>
              </a:defRPr>
            </a:lvl1pPr>
          </a:lstStyle>
          <a:p>
            <a:pPr marL="342874" lvl="0" indent="-342874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Sub-title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xmlns="" id="{DC24C058-1012-475A-80D5-F8CF41525E5D}"/>
              </a:ext>
            </a:extLst>
          </p:cNvPr>
          <p:cNvSpPr>
            <a:spLocks noChangeAspect="1"/>
          </p:cNvSpPr>
          <p:nvPr userDrawn="1"/>
        </p:nvSpPr>
        <p:spPr>
          <a:xfrm>
            <a:off x="477961" y="4544763"/>
            <a:ext cx="1237825" cy="201315"/>
          </a:xfrm>
          <a:custGeom>
            <a:avLst/>
            <a:gdLst>
              <a:gd name="connsiteX0" fmla="*/ 6960911 w 7924447"/>
              <a:gd name="connsiteY0" fmla="*/ 321135 h 1288800"/>
              <a:gd name="connsiteX1" fmla="*/ 6719487 w 7924447"/>
              <a:gd name="connsiteY1" fmla="*/ 779851 h 1288800"/>
              <a:gd name="connsiteX2" fmla="*/ 7204868 w 7924447"/>
              <a:gd name="connsiteY2" fmla="*/ 779851 h 1288800"/>
              <a:gd name="connsiteX3" fmla="*/ 2388009 w 7924447"/>
              <a:gd name="connsiteY3" fmla="*/ 315532 h 1288800"/>
              <a:gd name="connsiteX4" fmla="*/ 2313866 w 7924447"/>
              <a:gd name="connsiteY4" fmla="*/ 389523 h 1288800"/>
              <a:gd name="connsiteX5" fmla="*/ 2313866 w 7924447"/>
              <a:gd name="connsiteY5" fmla="*/ 895278 h 1288800"/>
              <a:gd name="connsiteX6" fmla="*/ 2388009 w 7924447"/>
              <a:gd name="connsiteY6" fmla="*/ 969269 h 1288800"/>
              <a:gd name="connsiteX7" fmla="*/ 3186375 w 7924447"/>
              <a:gd name="connsiteY7" fmla="*/ 969269 h 1288800"/>
              <a:gd name="connsiteX8" fmla="*/ 3260517 w 7924447"/>
              <a:gd name="connsiteY8" fmla="*/ 895278 h 1288800"/>
              <a:gd name="connsiteX9" fmla="*/ 3260517 w 7924447"/>
              <a:gd name="connsiteY9" fmla="*/ 389523 h 1288800"/>
              <a:gd name="connsiteX10" fmla="*/ 3186375 w 7924447"/>
              <a:gd name="connsiteY10" fmla="*/ 315532 h 1288800"/>
              <a:gd name="connsiteX11" fmla="*/ 5545757 w 7924447"/>
              <a:gd name="connsiteY11" fmla="*/ 14419 h 1288800"/>
              <a:gd name="connsiteX12" fmla="*/ 5939564 w 7924447"/>
              <a:gd name="connsiteY12" fmla="*/ 14419 h 1288800"/>
              <a:gd name="connsiteX13" fmla="*/ 5939564 w 7924447"/>
              <a:gd name="connsiteY13" fmla="*/ 1273030 h 1288800"/>
              <a:gd name="connsiteX14" fmla="*/ 5545757 w 7924447"/>
              <a:gd name="connsiteY14" fmla="*/ 1273030 h 1288800"/>
              <a:gd name="connsiteX15" fmla="*/ 3781683 w 7924447"/>
              <a:gd name="connsiteY15" fmla="*/ 14419 h 1288800"/>
              <a:gd name="connsiteX16" fmla="*/ 4175490 w 7924447"/>
              <a:gd name="connsiteY16" fmla="*/ 14419 h 1288800"/>
              <a:gd name="connsiteX17" fmla="*/ 4175490 w 7924447"/>
              <a:gd name="connsiteY17" fmla="*/ 1273030 h 1288800"/>
              <a:gd name="connsiteX18" fmla="*/ 3781683 w 7924447"/>
              <a:gd name="connsiteY18" fmla="*/ 1273030 h 1288800"/>
              <a:gd name="connsiteX19" fmla="*/ 6726931 w 7924447"/>
              <a:gd name="connsiteY19" fmla="*/ 14418 h 1288800"/>
              <a:gd name="connsiteX20" fmla="*/ 7216062 w 7924447"/>
              <a:gd name="connsiteY20" fmla="*/ 14418 h 1288800"/>
              <a:gd name="connsiteX21" fmla="*/ 7924447 w 7924447"/>
              <a:gd name="connsiteY21" fmla="*/ 1273030 h 1288800"/>
              <a:gd name="connsiteX22" fmla="*/ 7467155 w 7924447"/>
              <a:gd name="connsiteY22" fmla="*/ 1273030 h 1288800"/>
              <a:gd name="connsiteX23" fmla="*/ 7349796 w 7924447"/>
              <a:gd name="connsiteY23" fmla="*/ 1052360 h 1288800"/>
              <a:gd name="connsiteX24" fmla="*/ 6576065 w 7924447"/>
              <a:gd name="connsiteY24" fmla="*/ 1052360 h 1288800"/>
              <a:gd name="connsiteX25" fmla="*/ 6459926 w 7924447"/>
              <a:gd name="connsiteY25" fmla="*/ 1273030 h 1288800"/>
              <a:gd name="connsiteX26" fmla="*/ 6011821 w 7924447"/>
              <a:gd name="connsiteY26" fmla="*/ 1273030 h 1288800"/>
              <a:gd name="connsiteX27" fmla="*/ 139469 w 7924447"/>
              <a:gd name="connsiteY27" fmla="*/ 14418 h 1288800"/>
              <a:gd name="connsiteX28" fmla="*/ 657720 w 7924447"/>
              <a:gd name="connsiteY28" fmla="*/ 14418 h 1288800"/>
              <a:gd name="connsiteX29" fmla="*/ 1414558 w 7924447"/>
              <a:gd name="connsiteY29" fmla="*/ 955333 h 1288800"/>
              <a:gd name="connsiteX30" fmla="*/ 1414558 w 7924447"/>
              <a:gd name="connsiteY30" fmla="*/ 14420 h 1288800"/>
              <a:gd name="connsiteX31" fmla="*/ 1793219 w 7924447"/>
              <a:gd name="connsiteY31" fmla="*/ 14420 h 1288800"/>
              <a:gd name="connsiteX32" fmla="*/ 1793219 w 7924447"/>
              <a:gd name="connsiteY32" fmla="*/ 1273030 h 1288800"/>
              <a:gd name="connsiteX33" fmla="*/ 1151296 w 7924447"/>
              <a:gd name="connsiteY33" fmla="*/ 1273030 h 1288800"/>
              <a:gd name="connsiteX34" fmla="*/ 378661 w 7924447"/>
              <a:gd name="connsiteY34" fmla="*/ 311950 h 1288800"/>
              <a:gd name="connsiteX35" fmla="*/ 378661 w 7924447"/>
              <a:gd name="connsiteY35" fmla="*/ 1273030 h 1288800"/>
              <a:gd name="connsiteX36" fmla="*/ 0 w 7924447"/>
              <a:gd name="connsiteY36" fmla="*/ 1273030 h 1288800"/>
              <a:gd name="connsiteX37" fmla="*/ 0 w 7924447"/>
              <a:gd name="connsiteY37" fmla="*/ 14420 h 1288800"/>
              <a:gd name="connsiteX38" fmla="*/ 139470 w 7924447"/>
              <a:gd name="connsiteY38" fmla="*/ 14420 h 1288800"/>
              <a:gd name="connsiteX39" fmla="*/ 4850522 w 7924447"/>
              <a:gd name="connsiteY39" fmla="*/ 14418 h 1288800"/>
              <a:gd name="connsiteX40" fmla="*/ 5385591 w 7924447"/>
              <a:gd name="connsiteY40" fmla="*/ 14418 h 1288800"/>
              <a:gd name="connsiteX41" fmla="*/ 4668730 w 7924447"/>
              <a:gd name="connsiteY41" fmla="*/ 603446 h 1288800"/>
              <a:gd name="connsiteX42" fmla="*/ 5474313 w 7924447"/>
              <a:gd name="connsiteY42" fmla="*/ 1273029 h 1288800"/>
              <a:gd name="connsiteX43" fmla="*/ 4911442 w 7924447"/>
              <a:gd name="connsiteY43" fmla="*/ 1273029 h 1288800"/>
              <a:gd name="connsiteX44" fmla="*/ 4178297 w 7924447"/>
              <a:gd name="connsiteY44" fmla="*/ 616444 h 1288800"/>
              <a:gd name="connsiteX45" fmla="*/ 2308976 w 7924447"/>
              <a:gd name="connsiteY45" fmla="*/ 0 h 1288800"/>
              <a:gd name="connsiteX46" fmla="*/ 3257392 w 7924447"/>
              <a:gd name="connsiteY46" fmla="*/ 0 h 1288800"/>
              <a:gd name="connsiteX47" fmla="*/ 3620245 w 7924447"/>
              <a:gd name="connsiteY47" fmla="*/ 334112 h 1288800"/>
              <a:gd name="connsiteX48" fmla="*/ 3620245 w 7924447"/>
              <a:gd name="connsiteY48" fmla="*/ 950689 h 1288800"/>
              <a:gd name="connsiteX49" fmla="*/ 3261400 w 7924447"/>
              <a:gd name="connsiteY49" fmla="*/ 1284801 h 1288800"/>
              <a:gd name="connsiteX50" fmla="*/ 2333021 w 7924447"/>
              <a:gd name="connsiteY50" fmla="*/ 1288800 h 1288800"/>
              <a:gd name="connsiteX51" fmla="*/ 1954138 w 7924447"/>
              <a:gd name="connsiteY51" fmla="*/ 950689 h 1288800"/>
              <a:gd name="connsiteX52" fmla="*/ 1954138 w 7924447"/>
              <a:gd name="connsiteY52" fmla="*/ 334112 h 1288800"/>
              <a:gd name="connsiteX53" fmla="*/ 2308976 w 7924447"/>
              <a:gd name="connsiteY53" fmla="*/ 0 h 12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924447" h="1288800">
                <a:moveTo>
                  <a:pt x="6960911" y="321135"/>
                </a:moveTo>
                <a:lnTo>
                  <a:pt x="6719487" y="779851"/>
                </a:lnTo>
                <a:lnTo>
                  <a:pt x="7204868" y="779851"/>
                </a:lnTo>
                <a:close/>
                <a:moveTo>
                  <a:pt x="2388009" y="315532"/>
                </a:moveTo>
                <a:cubicBezTo>
                  <a:pt x="2347061" y="315532"/>
                  <a:pt x="2313866" y="348659"/>
                  <a:pt x="2313866" y="389523"/>
                </a:cubicBezTo>
                <a:lnTo>
                  <a:pt x="2313866" y="895278"/>
                </a:lnTo>
                <a:cubicBezTo>
                  <a:pt x="2313866" y="936142"/>
                  <a:pt x="2347061" y="969269"/>
                  <a:pt x="2388009" y="969269"/>
                </a:cubicBezTo>
                <a:lnTo>
                  <a:pt x="3186375" y="969269"/>
                </a:lnTo>
                <a:cubicBezTo>
                  <a:pt x="3227323" y="969269"/>
                  <a:pt x="3260517" y="936142"/>
                  <a:pt x="3260517" y="895278"/>
                </a:cubicBezTo>
                <a:lnTo>
                  <a:pt x="3260517" y="389523"/>
                </a:lnTo>
                <a:cubicBezTo>
                  <a:pt x="3260517" y="348659"/>
                  <a:pt x="3227323" y="315532"/>
                  <a:pt x="3186375" y="315532"/>
                </a:cubicBezTo>
                <a:close/>
                <a:moveTo>
                  <a:pt x="5545757" y="14419"/>
                </a:moveTo>
                <a:lnTo>
                  <a:pt x="5939564" y="14419"/>
                </a:lnTo>
                <a:lnTo>
                  <a:pt x="5939564" y="1273030"/>
                </a:lnTo>
                <a:lnTo>
                  <a:pt x="5545757" y="1273030"/>
                </a:lnTo>
                <a:close/>
                <a:moveTo>
                  <a:pt x="3781683" y="14419"/>
                </a:moveTo>
                <a:lnTo>
                  <a:pt x="4175490" y="14419"/>
                </a:lnTo>
                <a:lnTo>
                  <a:pt x="4175490" y="1273030"/>
                </a:lnTo>
                <a:lnTo>
                  <a:pt x="3781683" y="1273030"/>
                </a:lnTo>
                <a:close/>
                <a:moveTo>
                  <a:pt x="6726931" y="14418"/>
                </a:moveTo>
                <a:lnTo>
                  <a:pt x="7216062" y="14418"/>
                </a:lnTo>
                <a:lnTo>
                  <a:pt x="7924447" y="1273030"/>
                </a:lnTo>
                <a:lnTo>
                  <a:pt x="7467155" y="1273030"/>
                </a:lnTo>
                <a:lnTo>
                  <a:pt x="7349796" y="1052360"/>
                </a:lnTo>
                <a:lnTo>
                  <a:pt x="6576065" y="1052360"/>
                </a:lnTo>
                <a:lnTo>
                  <a:pt x="6459926" y="1273030"/>
                </a:lnTo>
                <a:lnTo>
                  <a:pt x="6011821" y="1273030"/>
                </a:lnTo>
                <a:close/>
                <a:moveTo>
                  <a:pt x="139469" y="14418"/>
                </a:moveTo>
                <a:lnTo>
                  <a:pt x="657720" y="14418"/>
                </a:lnTo>
                <a:lnTo>
                  <a:pt x="1414558" y="955333"/>
                </a:lnTo>
                <a:lnTo>
                  <a:pt x="1414558" y="14420"/>
                </a:lnTo>
                <a:lnTo>
                  <a:pt x="1793219" y="14420"/>
                </a:lnTo>
                <a:lnTo>
                  <a:pt x="1793219" y="1273030"/>
                </a:lnTo>
                <a:lnTo>
                  <a:pt x="1151296" y="1273030"/>
                </a:lnTo>
                <a:lnTo>
                  <a:pt x="378661" y="311950"/>
                </a:lnTo>
                <a:lnTo>
                  <a:pt x="378661" y="1273030"/>
                </a:lnTo>
                <a:lnTo>
                  <a:pt x="0" y="1273030"/>
                </a:lnTo>
                <a:lnTo>
                  <a:pt x="0" y="14420"/>
                </a:lnTo>
                <a:lnTo>
                  <a:pt x="139470" y="14420"/>
                </a:lnTo>
                <a:close/>
                <a:moveTo>
                  <a:pt x="4850522" y="14418"/>
                </a:moveTo>
                <a:lnTo>
                  <a:pt x="5385591" y="14418"/>
                </a:lnTo>
                <a:lnTo>
                  <a:pt x="4668730" y="603446"/>
                </a:lnTo>
                <a:lnTo>
                  <a:pt x="5474313" y="1273029"/>
                </a:lnTo>
                <a:lnTo>
                  <a:pt x="4911442" y="1273029"/>
                </a:lnTo>
                <a:lnTo>
                  <a:pt x="4178297" y="616444"/>
                </a:lnTo>
                <a:close/>
                <a:moveTo>
                  <a:pt x="2308976" y="0"/>
                </a:moveTo>
                <a:lnTo>
                  <a:pt x="3257392" y="0"/>
                </a:lnTo>
                <a:cubicBezTo>
                  <a:pt x="3442298" y="0"/>
                  <a:pt x="3624253" y="119593"/>
                  <a:pt x="3620245" y="334112"/>
                </a:cubicBezTo>
                <a:lnTo>
                  <a:pt x="3620245" y="950689"/>
                </a:lnTo>
                <a:cubicBezTo>
                  <a:pt x="3620245" y="1159210"/>
                  <a:pt x="3446305" y="1284801"/>
                  <a:pt x="3261400" y="1284801"/>
                </a:cubicBezTo>
                <a:lnTo>
                  <a:pt x="2333021" y="1288800"/>
                </a:lnTo>
                <a:cubicBezTo>
                  <a:pt x="2148115" y="1286801"/>
                  <a:pt x="1954138" y="1181205"/>
                  <a:pt x="1954138" y="950689"/>
                </a:cubicBezTo>
                <a:lnTo>
                  <a:pt x="1954138" y="334112"/>
                </a:lnTo>
                <a:cubicBezTo>
                  <a:pt x="1962153" y="113594"/>
                  <a:pt x="2124071" y="0"/>
                  <a:pt x="2308976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endParaRPr lang="en-US" sz="1811" dirty="0">
              <a:latin typeface="+mn-lt"/>
            </a:endParaRPr>
          </a:p>
        </p:txBody>
      </p:sp>
      <p:sp>
        <p:nvSpPr>
          <p:cNvPr id="7" name="Footer Placeholder 27">
            <a:extLst>
              <a:ext uri="{FF2B5EF4-FFF2-40B4-BE49-F238E27FC236}">
                <a16:creationId xmlns:a16="http://schemas.microsoft.com/office/drawing/2014/main" xmlns="" id="{9F222572-A85B-4ADB-85F1-35F75B12BD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1" y="5202652"/>
            <a:ext cx="2716982" cy="1223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accent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5G migration strategy</a:t>
            </a:r>
            <a:endParaRPr lang="en-US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xmlns="" id="{68837581-B8F0-439D-92F9-52B4616E4837}"/>
              </a:ext>
            </a:extLst>
          </p:cNvPr>
          <p:cNvGrpSpPr/>
          <p:nvPr userDrawn="1"/>
        </p:nvGrpSpPr>
        <p:grpSpPr>
          <a:xfrm>
            <a:off x="5028434" y="4672845"/>
            <a:ext cx="2449107" cy="362236"/>
            <a:chOff x="4997005" y="4644000"/>
            <a:chExt cx="2433800" cy="360000"/>
          </a:xfrm>
        </p:grpSpPr>
        <p:sp>
          <p:nvSpPr>
            <p:cNvPr id="11" name="&lt; forward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xmlns="" id="{E75A33FF-11CB-4CC7-976C-6A4DD9A8082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2325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8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&lt; back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xmlns="" id="{0AE1E5EA-B1CC-4171-ABB7-82C58A0C17B2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105771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8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back link">
              <a:hlinkClick r:id="" action="ppaction://hlinkshowjump?jump=previous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D6733348-1589-4AA0-8B20-CEE2074CD94C}"/>
                </a:ext>
              </a:extLst>
            </p:cNvPr>
            <p:cNvSpPr/>
            <p:nvPr userDrawn="1"/>
          </p:nvSpPr>
          <p:spPr>
            <a:xfrm>
              <a:off x="5731557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3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revious</a:t>
              </a:r>
            </a:p>
          </p:txBody>
        </p:sp>
        <p:sp>
          <p:nvSpPr>
            <p:cNvPr id="14" name="forward link">
              <a:hlinkClick r:id="" action="ppaction://hlinkshowjump?jump=next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FD799D69-F84D-4504-A6B0-DF47C7C4F004}"/>
                </a:ext>
              </a:extLst>
            </p:cNvPr>
            <p:cNvSpPr/>
            <p:nvPr userDrawn="1"/>
          </p:nvSpPr>
          <p:spPr>
            <a:xfrm>
              <a:off x="67972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80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3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ext</a:t>
              </a:r>
            </a:p>
          </p:txBody>
        </p:sp>
        <p:sp>
          <p:nvSpPr>
            <p:cNvPr id="15" name="Freihandform: Form 14">
              <a:hlinkClick r:id="" action="ppaction://hlinkshowjump?jump=lastslideviewed"/>
              <a:extLst>
                <a:ext uri="{FF2B5EF4-FFF2-40B4-BE49-F238E27FC236}">
                  <a16:creationId xmlns:a16="http://schemas.microsoft.com/office/drawing/2014/main" xmlns="" id="{881CD71C-1E2C-4DDD-BBC5-7B3615D7B2A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5410986" y="4804666"/>
              <a:ext cx="53776" cy="99082"/>
            </a:xfrm>
            <a:custGeom>
              <a:avLst/>
              <a:gdLst>
                <a:gd name="connsiteX0" fmla="*/ 23824 w 82557"/>
                <a:gd name="connsiteY0" fmla="*/ 0 h 152109"/>
                <a:gd name="connsiteX1" fmla="*/ 0 w 82557"/>
                <a:gd name="connsiteY1" fmla="*/ 0 h 152109"/>
                <a:gd name="connsiteX2" fmla="*/ 58734 w 82557"/>
                <a:gd name="connsiteY2" fmla="*/ 76055 h 152109"/>
                <a:gd name="connsiteX3" fmla="*/ 0 w 82557"/>
                <a:gd name="connsiteY3" fmla="*/ 152109 h 152109"/>
                <a:gd name="connsiteX4" fmla="*/ 23824 w 82557"/>
                <a:gd name="connsiteY4" fmla="*/ 152109 h 152109"/>
                <a:gd name="connsiteX5" fmla="*/ 82557 w 82557"/>
                <a:gd name="connsiteY5" fmla="*/ 76055 h 152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57" h="152109">
                  <a:moveTo>
                    <a:pt x="23824" y="0"/>
                  </a:moveTo>
                  <a:lnTo>
                    <a:pt x="0" y="0"/>
                  </a:lnTo>
                  <a:lnTo>
                    <a:pt x="58734" y="76055"/>
                  </a:lnTo>
                  <a:lnTo>
                    <a:pt x="0" y="152109"/>
                  </a:lnTo>
                  <a:lnTo>
                    <a:pt x="23824" y="152109"/>
                  </a:lnTo>
                  <a:lnTo>
                    <a:pt x="82557" y="76055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8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back link">
              <a:hlinkClick r:id="" action="ppaction://hlinkshowjump?jump=lastslideviewed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612094DC-ABB6-411A-8210-1B4D37433993}"/>
                </a:ext>
              </a:extLst>
            </p:cNvPr>
            <p:cNvSpPr/>
            <p:nvPr userDrawn="1"/>
          </p:nvSpPr>
          <p:spPr>
            <a:xfrm>
              <a:off x="49970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3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last visited</a:t>
              </a:r>
            </a:p>
          </p:txBody>
        </p:sp>
      </p:grpSp>
      <p:sp>
        <p:nvSpPr>
          <p:cNvPr id="17" name="Rechteck 16">
            <a:hlinkClick r:id="" action="ppaction://hlinkshowjump?jump=firstslide"/>
            <a:extLst>
              <a:ext uri="{FF2B5EF4-FFF2-40B4-BE49-F238E27FC236}">
                <a16:creationId xmlns:a16="http://schemas.microsoft.com/office/drawing/2014/main" xmlns="" id="{3EB105C6-DB49-4F8F-B1BE-C11E60C473E8}"/>
              </a:ext>
            </a:extLst>
          </p:cNvPr>
          <p:cNvSpPr/>
          <p:nvPr userDrawn="1"/>
        </p:nvSpPr>
        <p:spPr>
          <a:xfrm>
            <a:off x="441243" y="4388232"/>
            <a:ext cx="1311260" cy="477838"/>
          </a:xfrm>
          <a:prstGeom prst="rect">
            <a:avLst/>
          </a:prstGeom>
          <a:solidFill>
            <a:srgbClr val="FFFF00">
              <a:alpha val="0"/>
            </a:srgbClr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441" tIns="72441" rIns="72441" bIns="7244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8" dirty="0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01968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kia | Master Ogilvy19 | Devider">
    <p:bg>
      <p:bgPr>
        <a:gradFill flip="none" rotWithShape="1">
          <a:gsLst>
            <a:gs pos="0">
              <a:srgbClr val="FAFBFB"/>
            </a:gs>
            <a:gs pos="100000">
              <a:srgbClr val="EBEEF1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xmlns="" id="{58F0BC2D-CACC-403A-9499-3E9C02CF25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9074" t="27727" r="6951" b="15316"/>
          <a:stretch/>
        </p:blipFill>
        <p:spPr>
          <a:xfrm>
            <a:off x="8086354" y="4274864"/>
            <a:ext cx="935217" cy="760367"/>
          </a:xfrm>
          <a:prstGeom prst="roundRect">
            <a:avLst/>
          </a:prstGeom>
          <a:effectLst>
            <a:softEdge rad="76200"/>
          </a:effectLst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xmlns="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1" y="470550"/>
            <a:ext cx="7487601" cy="869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4"/>
              </a:spcAft>
              <a:buNone/>
              <a:defRPr sz="6600" baseline="0">
                <a:solidFill>
                  <a:schemeClr val="accent3"/>
                </a:solidFill>
                <a:latin typeface="Nokia Pure Headline Ultra Light" panose="020B02040406020603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xmlns="" id="{83E56C55-D849-4826-8A94-066B9AD50C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1" y="1340012"/>
            <a:ext cx="7487601" cy="30431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4"/>
              </a:spcAft>
              <a:buNone/>
              <a:defRPr sz="6600" baseline="0">
                <a:solidFill>
                  <a:schemeClr val="tx2"/>
                </a:solidFill>
                <a:latin typeface="Nokia Pure Headline Ultra Light" panose="020B02040406020603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xmlns="" id="{A1A015BC-DE09-48EE-8C5E-2DE038A38CD6}"/>
              </a:ext>
            </a:extLst>
          </p:cNvPr>
          <p:cNvSpPr>
            <a:spLocks noChangeAspect="1"/>
          </p:cNvSpPr>
          <p:nvPr userDrawn="1"/>
        </p:nvSpPr>
        <p:spPr>
          <a:xfrm>
            <a:off x="477961" y="4544763"/>
            <a:ext cx="1237825" cy="201315"/>
          </a:xfrm>
          <a:custGeom>
            <a:avLst/>
            <a:gdLst>
              <a:gd name="connsiteX0" fmla="*/ 6960911 w 7924447"/>
              <a:gd name="connsiteY0" fmla="*/ 321135 h 1288800"/>
              <a:gd name="connsiteX1" fmla="*/ 6719487 w 7924447"/>
              <a:gd name="connsiteY1" fmla="*/ 779851 h 1288800"/>
              <a:gd name="connsiteX2" fmla="*/ 7204868 w 7924447"/>
              <a:gd name="connsiteY2" fmla="*/ 779851 h 1288800"/>
              <a:gd name="connsiteX3" fmla="*/ 2388009 w 7924447"/>
              <a:gd name="connsiteY3" fmla="*/ 315532 h 1288800"/>
              <a:gd name="connsiteX4" fmla="*/ 2313866 w 7924447"/>
              <a:gd name="connsiteY4" fmla="*/ 389523 h 1288800"/>
              <a:gd name="connsiteX5" fmla="*/ 2313866 w 7924447"/>
              <a:gd name="connsiteY5" fmla="*/ 895278 h 1288800"/>
              <a:gd name="connsiteX6" fmla="*/ 2388009 w 7924447"/>
              <a:gd name="connsiteY6" fmla="*/ 969269 h 1288800"/>
              <a:gd name="connsiteX7" fmla="*/ 3186375 w 7924447"/>
              <a:gd name="connsiteY7" fmla="*/ 969269 h 1288800"/>
              <a:gd name="connsiteX8" fmla="*/ 3260517 w 7924447"/>
              <a:gd name="connsiteY8" fmla="*/ 895278 h 1288800"/>
              <a:gd name="connsiteX9" fmla="*/ 3260517 w 7924447"/>
              <a:gd name="connsiteY9" fmla="*/ 389523 h 1288800"/>
              <a:gd name="connsiteX10" fmla="*/ 3186375 w 7924447"/>
              <a:gd name="connsiteY10" fmla="*/ 315532 h 1288800"/>
              <a:gd name="connsiteX11" fmla="*/ 5545757 w 7924447"/>
              <a:gd name="connsiteY11" fmla="*/ 14419 h 1288800"/>
              <a:gd name="connsiteX12" fmla="*/ 5939564 w 7924447"/>
              <a:gd name="connsiteY12" fmla="*/ 14419 h 1288800"/>
              <a:gd name="connsiteX13" fmla="*/ 5939564 w 7924447"/>
              <a:gd name="connsiteY13" fmla="*/ 1273030 h 1288800"/>
              <a:gd name="connsiteX14" fmla="*/ 5545757 w 7924447"/>
              <a:gd name="connsiteY14" fmla="*/ 1273030 h 1288800"/>
              <a:gd name="connsiteX15" fmla="*/ 3781683 w 7924447"/>
              <a:gd name="connsiteY15" fmla="*/ 14419 h 1288800"/>
              <a:gd name="connsiteX16" fmla="*/ 4175490 w 7924447"/>
              <a:gd name="connsiteY16" fmla="*/ 14419 h 1288800"/>
              <a:gd name="connsiteX17" fmla="*/ 4175490 w 7924447"/>
              <a:gd name="connsiteY17" fmla="*/ 1273030 h 1288800"/>
              <a:gd name="connsiteX18" fmla="*/ 3781683 w 7924447"/>
              <a:gd name="connsiteY18" fmla="*/ 1273030 h 1288800"/>
              <a:gd name="connsiteX19" fmla="*/ 6726931 w 7924447"/>
              <a:gd name="connsiteY19" fmla="*/ 14418 h 1288800"/>
              <a:gd name="connsiteX20" fmla="*/ 7216062 w 7924447"/>
              <a:gd name="connsiteY20" fmla="*/ 14418 h 1288800"/>
              <a:gd name="connsiteX21" fmla="*/ 7924447 w 7924447"/>
              <a:gd name="connsiteY21" fmla="*/ 1273030 h 1288800"/>
              <a:gd name="connsiteX22" fmla="*/ 7467155 w 7924447"/>
              <a:gd name="connsiteY22" fmla="*/ 1273030 h 1288800"/>
              <a:gd name="connsiteX23" fmla="*/ 7349796 w 7924447"/>
              <a:gd name="connsiteY23" fmla="*/ 1052360 h 1288800"/>
              <a:gd name="connsiteX24" fmla="*/ 6576065 w 7924447"/>
              <a:gd name="connsiteY24" fmla="*/ 1052360 h 1288800"/>
              <a:gd name="connsiteX25" fmla="*/ 6459926 w 7924447"/>
              <a:gd name="connsiteY25" fmla="*/ 1273030 h 1288800"/>
              <a:gd name="connsiteX26" fmla="*/ 6011821 w 7924447"/>
              <a:gd name="connsiteY26" fmla="*/ 1273030 h 1288800"/>
              <a:gd name="connsiteX27" fmla="*/ 139469 w 7924447"/>
              <a:gd name="connsiteY27" fmla="*/ 14418 h 1288800"/>
              <a:gd name="connsiteX28" fmla="*/ 657720 w 7924447"/>
              <a:gd name="connsiteY28" fmla="*/ 14418 h 1288800"/>
              <a:gd name="connsiteX29" fmla="*/ 1414558 w 7924447"/>
              <a:gd name="connsiteY29" fmla="*/ 955333 h 1288800"/>
              <a:gd name="connsiteX30" fmla="*/ 1414558 w 7924447"/>
              <a:gd name="connsiteY30" fmla="*/ 14420 h 1288800"/>
              <a:gd name="connsiteX31" fmla="*/ 1793219 w 7924447"/>
              <a:gd name="connsiteY31" fmla="*/ 14420 h 1288800"/>
              <a:gd name="connsiteX32" fmla="*/ 1793219 w 7924447"/>
              <a:gd name="connsiteY32" fmla="*/ 1273030 h 1288800"/>
              <a:gd name="connsiteX33" fmla="*/ 1151296 w 7924447"/>
              <a:gd name="connsiteY33" fmla="*/ 1273030 h 1288800"/>
              <a:gd name="connsiteX34" fmla="*/ 378661 w 7924447"/>
              <a:gd name="connsiteY34" fmla="*/ 311950 h 1288800"/>
              <a:gd name="connsiteX35" fmla="*/ 378661 w 7924447"/>
              <a:gd name="connsiteY35" fmla="*/ 1273030 h 1288800"/>
              <a:gd name="connsiteX36" fmla="*/ 0 w 7924447"/>
              <a:gd name="connsiteY36" fmla="*/ 1273030 h 1288800"/>
              <a:gd name="connsiteX37" fmla="*/ 0 w 7924447"/>
              <a:gd name="connsiteY37" fmla="*/ 14420 h 1288800"/>
              <a:gd name="connsiteX38" fmla="*/ 139470 w 7924447"/>
              <a:gd name="connsiteY38" fmla="*/ 14420 h 1288800"/>
              <a:gd name="connsiteX39" fmla="*/ 4850522 w 7924447"/>
              <a:gd name="connsiteY39" fmla="*/ 14418 h 1288800"/>
              <a:gd name="connsiteX40" fmla="*/ 5385591 w 7924447"/>
              <a:gd name="connsiteY40" fmla="*/ 14418 h 1288800"/>
              <a:gd name="connsiteX41" fmla="*/ 4668730 w 7924447"/>
              <a:gd name="connsiteY41" fmla="*/ 603446 h 1288800"/>
              <a:gd name="connsiteX42" fmla="*/ 5474313 w 7924447"/>
              <a:gd name="connsiteY42" fmla="*/ 1273029 h 1288800"/>
              <a:gd name="connsiteX43" fmla="*/ 4911442 w 7924447"/>
              <a:gd name="connsiteY43" fmla="*/ 1273029 h 1288800"/>
              <a:gd name="connsiteX44" fmla="*/ 4178297 w 7924447"/>
              <a:gd name="connsiteY44" fmla="*/ 616444 h 1288800"/>
              <a:gd name="connsiteX45" fmla="*/ 2308976 w 7924447"/>
              <a:gd name="connsiteY45" fmla="*/ 0 h 1288800"/>
              <a:gd name="connsiteX46" fmla="*/ 3257392 w 7924447"/>
              <a:gd name="connsiteY46" fmla="*/ 0 h 1288800"/>
              <a:gd name="connsiteX47" fmla="*/ 3620245 w 7924447"/>
              <a:gd name="connsiteY47" fmla="*/ 334112 h 1288800"/>
              <a:gd name="connsiteX48" fmla="*/ 3620245 w 7924447"/>
              <a:gd name="connsiteY48" fmla="*/ 950689 h 1288800"/>
              <a:gd name="connsiteX49" fmla="*/ 3261400 w 7924447"/>
              <a:gd name="connsiteY49" fmla="*/ 1284801 h 1288800"/>
              <a:gd name="connsiteX50" fmla="*/ 2333021 w 7924447"/>
              <a:gd name="connsiteY50" fmla="*/ 1288800 h 1288800"/>
              <a:gd name="connsiteX51" fmla="*/ 1954138 w 7924447"/>
              <a:gd name="connsiteY51" fmla="*/ 950689 h 1288800"/>
              <a:gd name="connsiteX52" fmla="*/ 1954138 w 7924447"/>
              <a:gd name="connsiteY52" fmla="*/ 334112 h 1288800"/>
              <a:gd name="connsiteX53" fmla="*/ 2308976 w 7924447"/>
              <a:gd name="connsiteY53" fmla="*/ 0 h 12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924447" h="1288800">
                <a:moveTo>
                  <a:pt x="6960911" y="321135"/>
                </a:moveTo>
                <a:lnTo>
                  <a:pt x="6719487" y="779851"/>
                </a:lnTo>
                <a:lnTo>
                  <a:pt x="7204868" y="779851"/>
                </a:lnTo>
                <a:close/>
                <a:moveTo>
                  <a:pt x="2388009" y="315532"/>
                </a:moveTo>
                <a:cubicBezTo>
                  <a:pt x="2347061" y="315532"/>
                  <a:pt x="2313866" y="348659"/>
                  <a:pt x="2313866" y="389523"/>
                </a:cubicBezTo>
                <a:lnTo>
                  <a:pt x="2313866" y="895278"/>
                </a:lnTo>
                <a:cubicBezTo>
                  <a:pt x="2313866" y="936142"/>
                  <a:pt x="2347061" y="969269"/>
                  <a:pt x="2388009" y="969269"/>
                </a:cubicBezTo>
                <a:lnTo>
                  <a:pt x="3186375" y="969269"/>
                </a:lnTo>
                <a:cubicBezTo>
                  <a:pt x="3227323" y="969269"/>
                  <a:pt x="3260517" y="936142"/>
                  <a:pt x="3260517" y="895278"/>
                </a:cubicBezTo>
                <a:lnTo>
                  <a:pt x="3260517" y="389523"/>
                </a:lnTo>
                <a:cubicBezTo>
                  <a:pt x="3260517" y="348659"/>
                  <a:pt x="3227323" y="315532"/>
                  <a:pt x="3186375" y="315532"/>
                </a:cubicBezTo>
                <a:close/>
                <a:moveTo>
                  <a:pt x="5545757" y="14419"/>
                </a:moveTo>
                <a:lnTo>
                  <a:pt x="5939564" y="14419"/>
                </a:lnTo>
                <a:lnTo>
                  <a:pt x="5939564" y="1273030"/>
                </a:lnTo>
                <a:lnTo>
                  <a:pt x="5545757" y="1273030"/>
                </a:lnTo>
                <a:close/>
                <a:moveTo>
                  <a:pt x="3781683" y="14419"/>
                </a:moveTo>
                <a:lnTo>
                  <a:pt x="4175490" y="14419"/>
                </a:lnTo>
                <a:lnTo>
                  <a:pt x="4175490" y="1273030"/>
                </a:lnTo>
                <a:lnTo>
                  <a:pt x="3781683" y="1273030"/>
                </a:lnTo>
                <a:close/>
                <a:moveTo>
                  <a:pt x="6726931" y="14418"/>
                </a:moveTo>
                <a:lnTo>
                  <a:pt x="7216062" y="14418"/>
                </a:lnTo>
                <a:lnTo>
                  <a:pt x="7924447" y="1273030"/>
                </a:lnTo>
                <a:lnTo>
                  <a:pt x="7467155" y="1273030"/>
                </a:lnTo>
                <a:lnTo>
                  <a:pt x="7349796" y="1052360"/>
                </a:lnTo>
                <a:lnTo>
                  <a:pt x="6576065" y="1052360"/>
                </a:lnTo>
                <a:lnTo>
                  <a:pt x="6459926" y="1273030"/>
                </a:lnTo>
                <a:lnTo>
                  <a:pt x="6011821" y="1273030"/>
                </a:lnTo>
                <a:close/>
                <a:moveTo>
                  <a:pt x="139469" y="14418"/>
                </a:moveTo>
                <a:lnTo>
                  <a:pt x="657720" y="14418"/>
                </a:lnTo>
                <a:lnTo>
                  <a:pt x="1414558" y="955333"/>
                </a:lnTo>
                <a:lnTo>
                  <a:pt x="1414558" y="14420"/>
                </a:lnTo>
                <a:lnTo>
                  <a:pt x="1793219" y="14420"/>
                </a:lnTo>
                <a:lnTo>
                  <a:pt x="1793219" y="1273030"/>
                </a:lnTo>
                <a:lnTo>
                  <a:pt x="1151296" y="1273030"/>
                </a:lnTo>
                <a:lnTo>
                  <a:pt x="378661" y="311950"/>
                </a:lnTo>
                <a:lnTo>
                  <a:pt x="378661" y="1273030"/>
                </a:lnTo>
                <a:lnTo>
                  <a:pt x="0" y="1273030"/>
                </a:lnTo>
                <a:lnTo>
                  <a:pt x="0" y="14420"/>
                </a:lnTo>
                <a:lnTo>
                  <a:pt x="139470" y="14420"/>
                </a:lnTo>
                <a:close/>
                <a:moveTo>
                  <a:pt x="4850522" y="14418"/>
                </a:moveTo>
                <a:lnTo>
                  <a:pt x="5385591" y="14418"/>
                </a:lnTo>
                <a:lnTo>
                  <a:pt x="4668730" y="603446"/>
                </a:lnTo>
                <a:lnTo>
                  <a:pt x="5474313" y="1273029"/>
                </a:lnTo>
                <a:lnTo>
                  <a:pt x="4911442" y="1273029"/>
                </a:lnTo>
                <a:lnTo>
                  <a:pt x="4178297" y="616444"/>
                </a:lnTo>
                <a:close/>
                <a:moveTo>
                  <a:pt x="2308976" y="0"/>
                </a:moveTo>
                <a:lnTo>
                  <a:pt x="3257392" y="0"/>
                </a:lnTo>
                <a:cubicBezTo>
                  <a:pt x="3442298" y="0"/>
                  <a:pt x="3624253" y="119593"/>
                  <a:pt x="3620245" y="334112"/>
                </a:cubicBezTo>
                <a:lnTo>
                  <a:pt x="3620245" y="950689"/>
                </a:lnTo>
                <a:cubicBezTo>
                  <a:pt x="3620245" y="1159210"/>
                  <a:pt x="3446305" y="1284801"/>
                  <a:pt x="3261400" y="1284801"/>
                </a:cubicBezTo>
                <a:lnTo>
                  <a:pt x="2333021" y="1288800"/>
                </a:lnTo>
                <a:cubicBezTo>
                  <a:pt x="2148115" y="1286801"/>
                  <a:pt x="1954138" y="1181205"/>
                  <a:pt x="1954138" y="950689"/>
                </a:cubicBezTo>
                <a:lnTo>
                  <a:pt x="1954138" y="334112"/>
                </a:lnTo>
                <a:cubicBezTo>
                  <a:pt x="1962153" y="113594"/>
                  <a:pt x="2124071" y="0"/>
                  <a:pt x="2308976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endParaRPr lang="en-US" sz="1811" dirty="0">
              <a:latin typeface="+mn-lt"/>
            </a:endParaRPr>
          </a:p>
        </p:txBody>
      </p:sp>
      <p:sp>
        <p:nvSpPr>
          <p:cNvPr id="6" name="Footer Placeholder 27">
            <a:extLst>
              <a:ext uri="{FF2B5EF4-FFF2-40B4-BE49-F238E27FC236}">
                <a16:creationId xmlns:a16="http://schemas.microsoft.com/office/drawing/2014/main" xmlns="" id="{1186BF0D-3AA2-467C-B689-72A0F70CD9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1" y="5202652"/>
            <a:ext cx="2716982" cy="1223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accent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5G migration strategy</a:t>
            </a:r>
            <a:endParaRPr lang="en-US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xmlns="" id="{0CC7EF63-9948-463B-BCC2-DF05B69349C7}"/>
              </a:ext>
            </a:extLst>
          </p:cNvPr>
          <p:cNvGrpSpPr/>
          <p:nvPr userDrawn="1"/>
        </p:nvGrpSpPr>
        <p:grpSpPr>
          <a:xfrm>
            <a:off x="5028434" y="4672845"/>
            <a:ext cx="2449107" cy="362236"/>
            <a:chOff x="4997005" y="4644000"/>
            <a:chExt cx="2433800" cy="360000"/>
          </a:xfrm>
        </p:grpSpPr>
        <p:sp>
          <p:nvSpPr>
            <p:cNvPr id="10" name="&lt; forward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xmlns="" id="{777CCC49-10FD-4BDE-BF2B-E219B261DBD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2325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8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&lt; back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xmlns="" id="{E6B9F13D-24A8-43FE-B155-C470ED28586B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105771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8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back link">
              <a:hlinkClick r:id="" action="ppaction://hlinkshowjump?jump=previous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1E6609AA-8CB8-44FE-A310-CEF1E695287A}"/>
                </a:ext>
              </a:extLst>
            </p:cNvPr>
            <p:cNvSpPr/>
            <p:nvPr userDrawn="1"/>
          </p:nvSpPr>
          <p:spPr>
            <a:xfrm>
              <a:off x="5731557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3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revious</a:t>
              </a:r>
            </a:p>
          </p:txBody>
        </p:sp>
        <p:sp>
          <p:nvSpPr>
            <p:cNvPr id="14" name="forward link">
              <a:hlinkClick r:id="" action="ppaction://hlinkshowjump?jump=next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6DA41A3C-A9CB-4DF8-9A7E-9AE31CD8B733}"/>
                </a:ext>
              </a:extLst>
            </p:cNvPr>
            <p:cNvSpPr/>
            <p:nvPr userDrawn="1"/>
          </p:nvSpPr>
          <p:spPr>
            <a:xfrm>
              <a:off x="67972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80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3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ext</a:t>
              </a:r>
            </a:p>
          </p:txBody>
        </p:sp>
        <p:sp>
          <p:nvSpPr>
            <p:cNvPr id="15" name="Freihandform: Form 14">
              <a:hlinkClick r:id="" action="ppaction://hlinkshowjump?jump=lastslideviewed"/>
              <a:extLst>
                <a:ext uri="{FF2B5EF4-FFF2-40B4-BE49-F238E27FC236}">
                  <a16:creationId xmlns:a16="http://schemas.microsoft.com/office/drawing/2014/main" xmlns="" id="{F54ECBFE-A54C-4DFA-A7D2-A99B17C13BD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5410986" y="4804666"/>
              <a:ext cx="53776" cy="99082"/>
            </a:xfrm>
            <a:custGeom>
              <a:avLst/>
              <a:gdLst>
                <a:gd name="connsiteX0" fmla="*/ 23824 w 82557"/>
                <a:gd name="connsiteY0" fmla="*/ 0 h 152109"/>
                <a:gd name="connsiteX1" fmla="*/ 0 w 82557"/>
                <a:gd name="connsiteY1" fmla="*/ 0 h 152109"/>
                <a:gd name="connsiteX2" fmla="*/ 58734 w 82557"/>
                <a:gd name="connsiteY2" fmla="*/ 76055 h 152109"/>
                <a:gd name="connsiteX3" fmla="*/ 0 w 82557"/>
                <a:gd name="connsiteY3" fmla="*/ 152109 h 152109"/>
                <a:gd name="connsiteX4" fmla="*/ 23824 w 82557"/>
                <a:gd name="connsiteY4" fmla="*/ 152109 h 152109"/>
                <a:gd name="connsiteX5" fmla="*/ 82557 w 82557"/>
                <a:gd name="connsiteY5" fmla="*/ 76055 h 152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57" h="152109">
                  <a:moveTo>
                    <a:pt x="23824" y="0"/>
                  </a:moveTo>
                  <a:lnTo>
                    <a:pt x="0" y="0"/>
                  </a:lnTo>
                  <a:lnTo>
                    <a:pt x="58734" y="76055"/>
                  </a:lnTo>
                  <a:lnTo>
                    <a:pt x="0" y="152109"/>
                  </a:lnTo>
                  <a:lnTo>
                    <a:pt x="23824" y="152109"/>
                  </a:lnTo>
                  <a:lnTo>
                    <a:pt x="82557" y="76055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8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back link">
              <a:hlinkClick r:id="" action="ppaction://hlinkshowjump?jump=lastslideviewed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DFFD4BA2-D420-4C01-A635-D251BA2EC890}"/>
                </a:ext>
              </a:extLst>
            </p:cNvPr>
            <p:cNvSpPr/>
            <p:nvPr userDrawn="1"/>
          </p:nvSpPr>
          <p:spPr>
            <a:xfrm>
              <a:off x="49970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200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3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last visited</a:t>
              </a:r>
            </a:p>
          </p:txBody>
        </p:sp>
      </p:grpSp>
      <p:sp>
        <p:nvSpPr>
          <p:cNvPr id="17" name="Rechteck 16">
            <a:hlinkClick r:id="" action="ppaction://hlinkshowjump?jump=firstslide"/>
            <a:extLst>
              <a:ext uri="{FF2B5EF4-FFF2-40B4-BE49-F238E27FC236}">
                <a16:creationId xmlns:a16="http://schemas.microsoft.com/office/drawing/2014/main" xmlns="" id="{2D9B6405-7DC5-4081-8886-BA3025799061}"/>
              </a:ext>
            </a:extLst>
          </p:cNvPr>
          <p:cNvSpPr/>
          <p:nvPr userDrawn="1"/>
        </p:nvSpPr>
        <p:spPr>
          <a:xfrm>
            <a:off x="441243" y="4388232"/>
            <a:ext cx="1311260" cy="477838"/>
          </a:xfrm>
          <a:prstGeom prst="rect">
            <a:avLst/>
          </a:prstGeom>
          <a:solidFill>
            <a:srgbClr val="FFFF00">
              <a:alpha val="0"/>
            </a:srgbClr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441" tIns="72441" rIns="72441" bIns="7244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8" dirty="0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48201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2" y="4816802"/>
            <a:ext cx="2847687" cy="1223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5G migration strategy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2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xmlns="" id="{C836EC8E-5F24-405B-AED7-22B300A20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00" y="280990"/>
            <a:ext cx="8308800" cy="3093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6151059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| clas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xmlns="" id="{674B1E84-967A-49BF-B8A7-C56D37570C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183" y="2031752"/>
            <a:ext cx="2565641" cy="1080000"/>
          </a:xfrm>
          <a:prstGeom prst="rect">
            <a:avLst/>
          </a:prstGeom>
        </p:spPr>
      </p:pic>
      <p:sp>
        <p:nvSpPr>
          <p:cNvPr id="3" name="Rechteck 2">
            <a:hlinkClick r:id="" action="ppaction://hlinkshowjump?jump=firstslide"/>
            <a:extLst>
              <a:ext uri="{FF2B5EF4-FFF2-40B4-BE49-F238E27FC236}">
                <a16:creationId xmlns:a16="http://schemas.microsoft.com/office/drawing/2014/main" xmlns="" id="{1D598C98-9A42-4172-B564-7924F5D712E4}"/>
              </a:ext>
            </a:extLst>
          </p:cNvPr>
          <p:cNvSpPr/>
          <p:nvPr userDrawn="1"/>
        </p:nvSpPr>
        <p:spPr>
          <a:xfrm>
            <a:off x="3485087" y="2332832"/>
            <a:ext cx="2137596" cy="477838"/>
          </a:xfrm>
          <a:prstGeom prst="rect">
            <a:avLst/>
          </a:prstGeom>
          <a:solidFill>
            <a:srgbClr val="FFFF00">
              <a:alpha val="0"/>
            </a:srgbClr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441" tIns="72441" rIns="72441" bIns="7244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8" dirty="0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18810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| 5G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: Form 3">
            <a:extLst>
              <a:ext uri="{FF2B5EF4-FFF2-40B4-BE49-F238E27FC236}">
                <a16:creationId xmlns:a16="http://schemas.microsoft.com/office/drawing/2014/main" xmlns="" id="{EC37974A-EB65-4063-90F5-71E09E803075}"/>
              </a:ext>
            </a:extLst>
          </p:cNvPr>
          <p:cNvSpPr/>
          <p:nvPr userDrawn="1"/>
        </p:nvSpPr>
        <p:spPr>
          <a:xfrm>
            <a:off x="635176" y="2048979"/>
            <a:ext cx="7924447" cy="1288799"/>
          </a:xfrm>
          <a:custGeom>
            <a:avLst/>
            <a:gdLst>
              <a:gd name="connsiteX0" fmla="*/ 6960911 w 7924447"/>
              <a:gd name="connsiteY0" fmla="*/ 321135 h 1288800"/>
              <a:gd name="connsiteX1" fmla="*/ 6719487 w 7924447"/>
              <a:gd name="connsiteY1" fmla="*/ 779851 h 1288800"/>
              <a:gd name="connsiteX2" fmla="*/ 7204868 w 7924447"/>
              <a:gd name="connsiteY2" fmla="*/ 779851 h 1288800"/>
              <a:gd name="connsiteX3" fmla="*/ 2388009 w 7924447"/>
              <a:gd name="connsiteY3" fmla="*/ 315532 h 1288800"/>
              <a:gd name="connsiteX4" fmla="*/ 2313866 w 7924447"/>
              <a:gd name="connsiteY4" fmla="*/ 389523 h 1288800"/>
              <a:gd name="connsiteX5" fmla="*/ 2313866 w 7924447"/>
              <a:gd name="connsiteY5" fmla="*/ 895278 h 1288800"/>
              <a:gd name="connsiteX6" fmla="*/ 2388009 w 7924447"/>
              <a:gd name="connsiteY6" fmla="*/ 969269 h 1288800"/>
              <a:gd name="connsiteX7" fmla="*/ 3186375 w 7924447"/>
              <a:gd name="connsiteY7" fmla="*/ 969269 h 1288800"/>
              <a:gd name="connsiteX8" fmla="*/ 3260517 w 7924447"/>
              <a:gd name="connsiteY8" fmla="*/ 895278 h 1288800"/>
              <a:gd name="connsiteX9" fmla="*/ 3260517 w 7924447"/>
              <a:gd name="connsiteY9" fmla="*/ 389523 h 1288800"/>
              <a:gd name="connsiteX10" fmla="*/ 3186375 w 7924447"/>
              <a:gd name="connsiteY10" fmla="*/ 315532 h 1288800"/>
              <a:gd name="connsiteX11" fmla="*/ 5545757 w 7924447"/>
              <a:gd name="connsiteY11" fmla="*/ 14419 h 1288800"/>
              <a:gd name="connsiteX12" fmla="*/ 5939564 w 7924447"/>
              <a:gd name="connsiteY12" fmla="*/ 14419 h 1288800"/>
              <a:gd name="connsiteX13" fmla="*/ 5939564 w 7924447"/>
              <a:gd name="connsiteY13" fmla="*/ 1273030 h 1288800"/>
              <a:gd name="connsiteX14" fmla="*/ 5545757 w 7924447"/>
              <a:gd name="connsiteY14" fmla="*/ 1273030 h 1288800"/>
              <a:gd name="connsiteX15" fmla="*/ 3781683 w 7924447"/>
              <a:gd name="connsiteY15" fmla="*/ 14419 h 1288800"/>
              <a:gd name="connsiteX16" fmla="*/ 4175490 w 7924447"/>
              <a:gd name="connsiteY16" fmla="*/ 14419 h 1288800"/>
              <a:gd name="connsiteX17" fmla="*/ 4175490 w 7924447"/>
              <a:gd name="connsiteY17" fmla="*/ 1273030 h 1288800"/>
              <a:gd name="connsiteX18" fmla="*/ 3781683 w 7924447"/>
              <a:gd name="connsiteY18" fmla="*/ 1273030 h 1288800"/>
              <a:gd name="connsiteX19" fmla="*/ 6726931 w 7924447"/>
              <a:gd name="connsiteY19" fmla="*/ 14418 h 1288800"/>
              <a:gd name="connsiteX20" fmla="*/ 7216062 w 7924447"/>
              <a:gd name="connsiteY20" fmla="*/ 14418 h 1288800"/>
              <a:gd name="connsiteX21" fmla="*/ 7924447 w 7924447"/>
              <a:gd name="connsiteY21" fmla="*/ 1273030 h 1288800"/>
              <a:gd name="connsiteX22" fmla="*/ 7467155 w 7924447"/>
              <a:gd name="connsiteY22" fmla="*/ 1273030 h 1288800"/>
              <a:gd name="connsiteX23" fmla="*/ 7349796 w 7924447"/>
              <a:gd name="connsiteY23" fmla="*/ 1052360 h 1288800"/>
              <a:gd name="connsiteX24" fmla="*/ 6576065 w 7924447"/>
              <a:gd name="connsiteY24" fmla="*/ 1052360 h 1288800"/>
              <a:gd name="connsiteX25" fmla="*/ 6459926 w 7924447"/>
              <a:gd name="connsiteY25" fmla="*/ 1273030 h 1288800"/>
              <a:gd name="connsiteX26" fmla="*/ 6011821 w 7924447"/>
              <a:gd name="connsiteY26" fmla="*/ 1273030 h 1288800"/>
              <a:gd name="connsiteX27" fmla="*/ 139469 w 7924447"/>
              <a:gd name="connsiteY27" fmla="*/ 14418 h 1288800"/>
              <a:gd name="connsiteX28" fmla="*/ 657720 w 7924447"/>
              <a:gd name="connsiteY28" fmla="*/ 14418 h 1288800"/>
              <a:gd name="connsiteX29" fmla="*/ 1414558 w 7924447"/>
              <a:gd name="connsiteY29" fmla="*/ 955333 h 1288800"/>
              <a:gd name="connsiteX30" fmla="*/ 1414558 w 7924447"/>
              <a:gd name="connsiteY30" fmla="*/ 14420 h 1288800"/>
              <a:gd name="connsiteX31" fmla="*/ 1793219 w 7924447"/>
              <a:gd name="connsiteY31" fmla="*/ 14420 h 1288800"/>
              <a:gd name="connsiteX32" fmla="*/ 1793219 w 7924447"/>
              <a:gd name="connsiteY32" fmla="*/ 1273030 h 1288800"/>
              <a:gd name="connsiteX33" fmla="*/ 1151296 w 7924447"/>
              <a:gd name="connsiteY33" fmla="*/ 1273030 h 1288800"/>
              <a:gd name="connsiteX34" fmla="*/ 378661 w 7924447"/>
              <a:gd name="connsiteY34" fmla="*/ 311950 h 1288800"/>
              <a:gd name="connsiteX35" fmla="*/ 378661 w 7924447"/>
              <a:gd name="connsiteY35" fmla="*/ 1273030 h 1288800"/>
              <a:gd name="connsiteX36" fmla="*/ 0 w 7924447"/>
              <a:gd name="connsiteY36" fmla="*/ 1273030 h 1288800"/>
              <a:gd name="connsiteX37" fmla="*/ 0 w 7924447"/>
              <a:gd name="connsiteY37" fmla="*/ 14420 h 1288800"/>
              <a:gd name="connsiteX38" fmla="*/ 139470 w 7924447"/>
              <a:gd name="connsiteY38" fmla="*/ 14420 h 1288800"/>
              <a:gd name="connsiteX39" fmla="*/ 4850522 w 7924447"/>
              <a:gd name="connsiteY39" fmla="*/ 14418 h 1288800"/>
              <a:gd name="connsiteX40" fmla="*/ 5385591 w 7924447"/>
              <a:gd name="connsiteY40" fmla="*/ 14418 h 1288800"/>
              <a:gd name="connsiteX41" fmla="*/ 4668730 w 7924447"/>
              <a:gd name="connsiteY41" fmla="*/ 603446 h 1288800"/>
              <a:gd name="connsiteX42" fmla="*/ 5474313 w 7924447"/>
              <a:gd name="connsiteY42" fmla="*/ 1273029 h 1288800"/>
              <a:gd name="connsiteX43" fmla="*/ 4911442 w 7924447"/>
              <a:gd name="connsiteY43" fmla="*/ 1273029 h 1288800"/>
              <a:gd name="connsiteX44" fmla="*/ 4178297 w 7924447"/>
              <a:gd name="connsiteY44" fmla="*/ 616444 h 1288800"/>
              <a:gd name="connsiteX45" fmla="*/ 2308976 w 7924447"/>
              <a:gd name="connsiteY45" fmla="*/ 0 h 1288800"/>
              <a:gd name="connsiteX46" fmla="*/ 3257392 w 7924447"/>
              <a:gd name="connsiteY46" fmla="*/ 0 h 1288800"/>
              <a:gd name="connsiteX47" fmla="*/ 3620245 w 7924447"/>
              <a:gd name="connsiteY47" fmla="*/ 334112 h 1288800"/>
              <a:gd name="connsiteX48" fmla="*/ 3620245 w 7924447"/>
              <a:gd name="connsiteY48" fmla="*/ 950689 h 1288800"/>
              <a:gd name="connsiteX49" fmla="*/ 3261400 w 7924447"/>
              <a:gd name="connsiteY49" fmla="*/ 1284801 h 1288800"/>
              <a:gd name="connsiteX50" fmla="*/ 2333021 w 7924447"/>
              <a:gd name="connsiteY50" fmla="*/ 1288800 h 1288800"/>
              <a:gd name="connsiteX51" fmla="*/ 1954138 w 7924447"/>
              <a:gd name="connsiteY51" fmla="*/ 950689 h 1288800"/>
              <a:gd name="connsiteX52" fmla="*/ 1954138 w 7924447"/>
              <a:gd name="connsiteY52" fmla="*/ 334112 h 1288800"/>
              <a:gd name="connsiteX53" fmla="*/ 2308976 w 7924447"/>
              <a:gd name="connsiteY53" fmla="*/ 0 h 12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924447" h="1288800">
                <a:moveTo>
                  <a:pt x="6960911" y="321135"/>
                </a:moveTo>
                <a:lnTo>
                  <a:pt x="6719487" y="779851"/>
                </a:lnTo>
                <a:lnTo>
                  <a:pt x="7204868" y="779851"/>
                </a:lnTo>
                <a:close/>
                <a:moveTo>
                  <a:pt x="2388009" y="315532"/>
                </a:moveTo>
                <a:cubicBezTo>
                  <a:pt x="2347061" y="315532"/>
                  <a:pt x="2313866" y="348659"/>
                  <a:pt x="2313866" y="389523"/>
                </a:cubicBezTo>
                <a:lnTo>
                  <a:pt x="2313866" y="895278"/>
                </a:lnTo>
                <a:cubicBezTo>
                  <a:pt x="2313866" y="936142"/>
                  <a:pt x="2347061" y="969269"/>
                  <a:pt x="2388009" y="969269"/>
                </a:cubicBezTo>
                <a:lnTo>
                  <a:pt x="3186375" y="969269"/>
                </a:lnTo>
                <a:cubicBezTo>
                  <a:pt x="3227323" y="969269"/>
                  <a:pt x="3260517" y="936142"/>
                  <a:pt x="3260517" y="895278"/>
                </a:cubicBezTo>
                <a:lnTo>
                  <a:pt x="3260517" y="389523"/>
                </a:lnTo>
                <a:cubicBezTo>
                  <a:pt x="3260517" y="348659"/>
                  <a:pt x="3227323" y="315532"/>
                  <a:pt x="3186375" y="315532"/>
                </a:cubicBezTo>
                <a:close/>
                <a:moveTo>
                  <a:pt x="5545757" y="14419"/>
                </a:moveTo>
                <a:lnTo>
                  <a:pt x="5939564" y="14419"/>
                </a:lnTo>
                <a:lnTo>
                  <a:pt x="5939564" y="1273030"/>
                </a:lnTo>
                <a:lnTo>
                  <a:pt x="5545757" y="1273030"/>
                </a:lnTo>
                <a:close/>
                <a:moveTo>
                  <a:pt x="3781683" y="14419"/>
                </a:moveTo>
                <a:lnTo>
                  <a:pt x="4175490" y="14419"/>
                </a:lnTo>
                <a:lnTo>
                  <a:pt x="4175490" y="1273030"/>
                </a:lnTo>
                <a:lnTo>
                  <a:pt x="3781683" y="1273030"/>
                </a:lnTo>
                <a:close/>
                <a:moveTo>
                  <a:pt x="6726931" y="14418"/>
                </a:moveTo>
                <a:lnTo>
                  <a:pt x="7216062" y="14418"/>
                </a:lnTo>
                <a:lnTo>
                  <a:pt x="7924447" y="1273030"/>
                </a:lnTo>
                <a:lnTo>
                  <a:pt x="7467155" y="1273030"/>
                </a:lnTo>
                <a:lnTo>
                  <a:pt x="7349796" y="1052360"/>
                </a:lnTo>
                <a:lnTo>
                  <a:pt x="6576065" y="1052360"/>
                </a:lnTo>
                <a:lnTo>
                  <a:pt x="6459926" y="1273030"/>
                </a:lnTo>
                <a:lnTo>
                  <a:pt x="6011821" y="1273030"/>
                </a:lnTo>
                <a:close/>
                <a:moveTo>
                  <a:pt x="139469" y="14418"/>
                </a:moveTo>
                <a:lnTo>
                  <a:pt x="657720" y="14418"/>
                </a:lnTo>
                <a:lnTo>
                  <a:pt x="1414558" y="955333"/>
                </a:lnTo>
                <a:lnTo>
                  <a:pt x="1414558" y="14420"/>
                </a:lnTo>
                <a:lnTo>
                  <a:pt x="1793219" y="14420"/>
                </a:lnTo>
                <a:lnTo>
                  <a:pt x="1793219" y="1273030"/>
                </a:lnTo>
                <a:lnTo>
                  <a:pt x="1151296" y="1273030"/>
                </a:lnTo>
                <a:lnTo>
                  <a:pt x="378661" y="311950"/>
                </a:lnTo>
                <a:lnTo>
                  <a:pt x="378661" y="1273030"/>
                </a:lnTo>
                <a:lnTo>
                  <a:pt x="0" y="1273030"/>
                </a:lnTo>
                <a:lnTo>
                  <a:pt x="0" y="14420"/>
                </a:lnTo>
                <a:lnTo>
                  <a:pt x="139470" y="14420"/>
                </a:lnTo>
                <a:close/>
                <a:moveTo>
                  <a:pt x="4850522" y="14418"/>
                </a:moveTo>
                <a:lnTo>
                  <a:pt x="5385591" y="14418"/>
                </a:lnTo>
                <a:lnTo>
                  <a:pt x="4668730" y="603446"/>
                </a:lnTo>
                <a:lnTo>
                  <a:pt x="5474313" y="1273029"/>
                </a:lnTo>
                <a:lnTo>
                  <a:pt x="4911442" y="1273029"/>
                </a:lnTo>
                <a:lnTo>
                  <a:pt x="4178297" y="616444"/>
                </a:lnTo>
                <a:close/>
                <a:moveTo>
                  <a:pt x="2308976" y="0"/>
                </a:moveTo>
                <a:lnTo>
                  <a:pt x="3257392" y="0"/>
                </a:lnTo>
                <a:cubicBezTo>
                  <a:pt x="3442298" y="0"/>
                  <a:pt x="3624253" y="119593"/>
                  <a:pt x="3620245" y="334112"/>
                </a:cubicBezTo>
                <a:lnTo>
                  <a:pt x="3620245" y="950689"/>
                </a:lnTo>
                <a:cubicBezTo>
                  <a:pt x="3620245" y="1159210"/>
                  <a:pt x="3446305" y="1284801"/>
                  <a:pt x="3261400" y="1284801"/>
                </a:cubicBezTo>
                <a:lnTo>
                  <a:pt x="2333021" y="1288800"/>
                </a:lnTo>
                <a:cubicBezTo>
                  <a:pt x="2148115" y="1286801"/>
                  <a:pt x="1954138" y="1181205"/>
                  <a:pt x="1954138" y="950689"/>
                </a:cubicBezTo>
                <a:lnTo>
                  <a:pt x="1954138" y="334112"/>
                </a:lnTo>
                <a:cubicBezTo>
                  <a:pt x="1962153" y="113594"/>
                  <a:pt x="2124071" y="0"/>
                  <a:pt x="2308976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endParaRPr lang="en-US" sz="1811" dirty="0">
              <a:latin typeface="+mn-lt"/>
            </a:endParaRPr>
          </a:p>
        </p:txBody>
      </p:sp>
      <p:sp>
        <p:nvSpPr>
          <p:cNvPr id="3" name="Footer Placeholder 27">
            <a:extLst>
              <a:ext uri="{FF2B5EF4-FFF2-40B4-BE49-F238E27FC236}">
                <a16:creationId xmlns:a16="http://schemas.microsoft.com/office/drawing/2014/main" xmlns="" id="{D490AD9A-DCC8-4BBC-88DF-7609CEC9C4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5202652"/>
            <a:ext cx="4536000" cy="1223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accent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5G migration strategy</a:t>
            </a:r>
            <a:endParaRPr lang="en-US" dirty="0"/>
          </a:p>
        </p:txBody>
      </p:sp>
      <p:sp>
        <p:nvSpPr>
          <p:cNvPr id="5" name="Rechteck 4">
            <a:hlinkClick r:id="" action="ppaction://hlinkshowjump?jump=firstslide"/>
            <a:extLst>
              <a:ext uri="{FF2B5EF4-FFF2-40B4-BE49-F238E27FC236}">
                <a16:creationId xmlns:a16="http://schemas.microsoft.com/office/drawing/2014/main" xmlns="" id="{B62B5399-5869-4393-8FE9-5011564A3C41}"/>
              </a:ext>
            </a:extLst>
          </p:cNvPr>
          <p:cNvSpPr/>
          <p:nvPr userDrawn="1"/>
        </p:nvSpPr>
        <p:spPr>
          <a:xfrm>
            <a:off x="0" y="1521150"/>
            <a:ext cx="9107770" cy="2101202"/>
          </a:xfrm>
          <a:prstGeom prst="rect">
            <a:avLst/>
          </a:prstGeom>
          <a:solidFill>
            <a:srgbClr val="FFFF00">
              <a:alpha val="0"/>
            </a:srgbClr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441" tIns="72441" rIns="72441" bIns="7244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8" dirty="0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69050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-1 White - INTERNAL 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05874" y="512334"/>
            <a:ext cx="4166127" cy="23529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6000" baseline="0" dirty="0">
                <a:solidFill>
                  <a:schemeClr val="accent3"/>
                </a:solidFill>
                <a:latin typeface="Nokia Pure Headline Ultra Light" panose="020B0204040602060303" pitchFamily="34" charset="0"/>
              </a:defRPr>
            </a:lvl1pPr>
          </a:lstStyle>
          <a:p>
            <a:pPr marL="340761" lvl="0" indent="-34076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05874" y="3078938"/>
            <a:ext cx="3658901" cy="109565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  <a:latin typeface="+mj-lt"/>
                <a:ea typeface="Nokia Pure Text Light" panose="020B0403020202020204" pitchFamily="34" charset="0"/>
              </a:defRPr>
            </a:lvl1pPr>
            <a:lvl2pPr marL="228963" indent="0">
              <a:spcBef>
                <a:spcPts val="0"/>
              </a:spcBef>
              <a:spcAft>
                <a:spcPts val="596"/>
              </a:spcAft>
              <a:buNone/>
              <a:defRPr sz="1400">
                <a:solidFill>
                  <a:schemeClr val="accent3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59715" indent="0">
              <a:spcBef>
                <a:spcPts val="0"/>
              </a:spcBef>
              <a:spcAft>
                <a:spcPts val="596"/>
              </a:spcAft>
              <a:buNone/>
              <a:defRPr sz="1200">
                <a:solidFill>
                  <a:schemeClr val="accent3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88676" indent="0">
              <a:spcBef>
                <a:spcPts val="0"/>
              </a:spcBef>
              <a:spcAft>
                <a:spcPts val="596"/>
              </a:spcAft>
              <a:buNone/>
              <a:defRPr sz="1000">
                <a:solidFill>
                  <a:schemeClr val="accent3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17639" indent="0">
              <a:spcBef>
                <a:spcPts val="0"/>
              </a:spcBef>
              <a:spcAft>
                <a:spcPts val="596"/>
              </a:spcAft>
              <a:buFont typeface="Arial" panose="020B0604020202020204" pitchFamily="34" charset="0"/>
              <a:buNone/>
              <a:defRPr sz="900">
                <a:solidFill>
                  <a:schemeClr val="accent3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146602" indent="0">
              <a:spcBef>
                <a:spcPts val="0"/>
              </a:spcBef>
              <a:spcAft>
                <a:spcPts val="596"/>
              </a:spcAft>
              <a:buFont typeface="Nokia Pure Text" panose="020B0503020202020204" pitchFamily="34" charset="0"/>
              <a:buNone/>
              <a:defRPr sz="795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75565" indent="0">
              <a:spcBef>
                <a:spcPts val="0"/>
              </a:spcBef>
              <a:spcAft>
                <a:spcPts val="596"/>
              </a:spcAft>
              <a:buNone/>
              <a:defRPr sz="696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04528" indent="0">
              <a:spcBef>
                <a:spcPts val="0"/>
              </a:spcBef>
              <a:spcAft>
                <a:spcPts val="596"/>
              </a:spcAft>
              <a:buNone/>
              <a:defRPr sz="596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-title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xmlns="" id="{DC24C058-1012-475A-80D5-F8CF41525E5D}"/>
              </a:ext>
            </a:extLst>
          </p:cNvPr>
          <p:cNvSpPr>
            <a:spLocks noChangeAspect="1"/>
          </p:cNvSpPr>
          <p:nvPr userDrawn="1"/>
        </p:nvSpPr>
        <p:spPr>
          <a:xfrm>
            <a:off x="477960" y="4544763"/>
            <a:ext cx="1237824" cy="201315"/>
          </a:xfrm>
          <a:custGeom>
            <a:avLst/>
            <a:gdLst>
              <a:gd name="connsiteX0" fmla="*/ 6960911 w 7924447"/>
              <a:gd name="connsiteY0" fmla="*/ 321135 h 1288800"/>
              <a:gd name="connsiteX1" fmla="*/ 6719487 w 7924447"/>
              <a:gd name="connsiteY1" fmla="*/ 779851 h 1288800"/>
              <a:gd name="connsiteX2" fmla="*/ 7204868 w 7924447"/>
              <a:gd name="connsiteY2" fmla="*/ 779851 h 1288800"/>
              <a:gd name="connsiteX3" fmla="*/ 2388009 w 7924447"/>
              <a:gd name="connsiteY3" fmla="*/ 315532 h 1288800"/>
              <a:gd name="connsiteX4" fmla="*/ 2313866 w 7924447"/>
              <a:gd name="connsiteY4" fmla="*/ 389523 h 1288800"/>
              <a:gd name="connsiteX5" fmla="*/ 2313866 w 7924447"/>
              <a:gd name="connsiteY5" fmla="*/ 895278 h 1288800"/>
              <a:gd name="connsiteX6" fmla="*/ 2388009 w 7924447"/>
              <a:gd name="connsiteY6" fmla="*/ 969269 h 1288800"/>
              <a:gd name="connsiteX7" fmla="*/ 3186375 w 7924447"/>
              <a:gd name="connsiteY7" fmla="*/ 969269 h 1288800"/>
              <a:gd name="connsiteX8" fmla="*/ 3260517 w 7924447"/>
              <a:gd name="connsiteY8" fmla="*/ 895278 h 1288800"/>
              <a:gd name="connsiteX9" fmla="*/ 3260517 w 7924447"/>
              <a:gd name="connsiteY9" fmla="*/ 389523 h 1288800"/>
              <a:gd name="connsiteX10" fmla="*/ 3186375 w 7924447"/>
              <a:gd name="connsiteY10" fmla="*/ 315532 h 1288800"/>
              <a:gd name="connsiteX11" fmla="*/ 5545757 w 7924447"/>
              <a:gd name="connsiteY11" fmla="*/ 14419 h 1288800"/>
              <a:gd name="connsiteX12" fmla="*/ 5939564 w 7924447"/>
              <a:gd name="connsiteY12" fmla="*/ 14419 h 1288800"/>
              <a:gd name="connsiteX13" fmla="*/ 5939564 w 7924447"/>
              <a:gd name="connsiteY13" fmla="*/ 1273030 h 1288800"/>
              <a:gd name="connsiteX14" fmla="*/ 5545757 w 7924447"/>
              <a:gd name="connsiteY14" fmla="*/ 1273030 h 1288800"/>
              <a:gd name="connsiteX15" fmla="*/ 3781683 w 7924447"/>
              <a:gd name="connsiteY15" fmla="*/ 14419 h 1288800"/>
              <a:gd name="connsiteX16" fmla="*/ 4175490 w 7924447"/>
              <a:gd name="connsiteY16" fmla="*/ 14419 h 1288800"/>
              <a:gd name="connsiteX17" fmla="*/ 4175490 w 7924447"/>
              <a:gd name="connsiteY17" fmla="*/ 1273030 h 1288800"/>
              <a:gd name="connsiteX18" fmla="*/ 3781683 w 7924447"/>
              <a:gd name="connsiteY18" fmla="*/ 1273030 h 1288800"/>
              <a:gd name="connsiteX19" fmla="*/ 6726931 w 7924447"/>
              <a:gd name="connsiteY19" fmla="*/ 14418 h 1288800"/>
              <a:gd name="connsiteX20" fmla="*/ 7216062 w 7924447"/>
              <a:gd name="connsiteY20" fmla="*/ 14418 h 1288800"/>
              <a:gd name="connsiteX21" fmla="*/ 7924447 w 7924447"/>
              <a:gd name="connsiteY21" fmla="*/ 1273030 h 1288800"/>
              <a:gd name="connsiteX22" fmla="*/ 7467155 w 7924447"/>
              <a:gd name="connsiteY22" fmla="*/ 1273030 h 1288800"/>
              <a:gd name="connsiteX23" fmla="*/ 7349796 w 7924447"/>
              <a:gd name="connsiteY23" fmla="*/ 1052360 h 1288800"/>
              <a:gd name="connsiteX24" fmla="*/ 6576065 w 7924447"/>
              <a:gd name="connsiteY24" fmla="*/ 1052360 h 1288800"/>
              <a:gd name="connsiteX25" fmla="*/ 6459926 w 7924447"/>
              <a:gd name="connsiteY25" fmla="*/ 1273030 h 1288800"/>
              <a:gd name="connsiteX26" fmla="*/ 6011821 w 7924447"/>
              <a:gd name="connsiteY26" fmla="*/ 1273030 h 1288800"/>
              <a:gd name="connsiteX27" fmla="*/ 139469 w 7924447"/>
              <a:gd name="connsiteY27" fmla="*/ 14418 h 1288800"/>
              <a:gd name="connsiteX28" fmla="*/ 657720 w 7924447"/>
              <a:gd name="connsiteY28" fmla="*/ 14418 h 1288800"/>
              <a:gd name="connsiteX29" fmla="*/ 1414558 w 7924447"/>
              <a:gd name="connsiteY29" fmla="*/ 955333 h 1288800"/>
              <a:gd name="connsiteX30" fmla="*/ 1414558 w 7924447"/>
              <a:gd name="connsiteY30" fmla="*/ 14420 h 1288800"/>
              <a:gd name="connsiteX31" fmla="*/ 1793219 w 7924447"/>
              <a:gd name="connsiteY31" fmla="*/ 14420 h 1288800"/>
              <a:gd name="connsiteX32" fmla="*/ 1793219 w 7924447"/>
              <a:gd name="connsiteY32" fmla="*/ 1273030 h 1288800"/>
              <a:gd name="connsiteX33" fmla="*/ 1151296 w 7924447"/>
              <a:gd name="connsiteY33" fmla="*/ 1273030 h 1288800"/>
              <a:gd name="connsiteX34" fmla="*/ 378661 w 7924447"/>
              <a:gd name="connsiteY34" fmla="*/ 311950 h 1288800"/>
              <a:gd name="connsiteX35" fmla="*/ 378661 w 7924447"/>
              <a:gd name="connsiteY35" fmla="*/ 1273030 h 1288800"/>
              <a:gd name="connsiteX36" fmla="*/ 0 w 7924447"/>
              <a:gd name="connsiteY36" fmla="*/ 1273030 h 1288800"/>
              <a:gd name="connsiteX37" fmla="*/ 0 w 7924447"/>
              <a:gd name="connsiteY37" fmla="*/ 14420 h 1288800"/>
              <a:gd name="connsiteX38" fmla="*/ 139470 w 7924447"/>
              <a:gd name="connsiteY38" fmla="*/ 14420 h 1288800"/>
              <a:gd name="connsiteX39" fmla="*/ 4850522 w 7924447"/>
              <a:gd name="connsiteY39" fmla="*/ 14418 h 1288800"/>
              <a:gd name="connsiteX40" fmla="*/ 5385591 w 7924447"/>
              <a:gd name="connsiteY40" fmla="*/ 14418 h 1288800"/>
              <a:gd name="connsiteX41" fmla="*/ 4668730 w 7924447"/>
              <a:gd name="connsiteY41" fmla="*/ 603446 h 1288800"/>
              <a:gd name="connsiteX42" fmla="*/ 5474313 w 7924447"/>
              <a:gd name="connsiteY42" fmla="*/ 1273029 h 1288800"/>
              <a:gd name="connsiteX43" fmla="*/ 4911442 w 7924447"/>
              <a:gd name="connsiteY43" fmla="*/ 1273029 h 1288800"/>
              <a:gd name="connsiteX44" fmla="*/ 4178297 w 7924447"/>
              <a:gd name="connsiteY44" fmla="*/ 616444 h 1288800"/>
              <a:gd name="connsiteX45" fmla="*/ 2308976 w 7924447"/>
              <a:gd name="connsiteY45" fmla="*/ 0 h 1288800"/>
              <a:gd name="connsiteX46" fmla="*/ 3257392 w 7924447"/>
              <a:gd name="connsiteY46" fmla="*/ 0 h 1288800"/>
              <a:gd name="connsiteX47" fmla="*/ 3620245 w 7924447"/>
              <a:gd name="connsiteY47" fmla="*/ 334112 h 1288800"/>
              <a:gd name="connsiteX48" fmla="*/ 3620245 w 7924447"/>
              <a:gd name="connsiteY48" fmla="*/ 950689 h 1288800"/>
              <a:gd name="connsiteX49" fmla="*/ 3261400 w 7924447"/>
              <a:gd name="connsiteY49" fmla="*/ 1284801 h 1288800"/>
              <a:gd name="connsiteX50" fmla="*/ 2333021 w 7924447"/>
              <a:gd name="connsiteY50" fmla="*/ 1288800 h 1288800"/>
              <a:gd name="connsiteX51" fmla="*/ 1954138 w 7924447"/>
              <a:gd name="connsiteY51" fmla="*/ 950689 h 1288800"/>
              <a:gd name="connsiteX52" fmla="*/ 1954138 w 7924447"/>
              <a:gd name="connsiteY52" fmla="*/ 334112 h 1288800"/>
              <a:gd name="connsiteX53" fmla="*/ 2308976 w 7924447"/>
              <a:gd name="connsiteY53" fmla="*/ 0 h 12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924447" h="1288800">
                <a:moveTo>
                  <a:pt x="6960911" y="321135"/>
                </a:moveTo>
                <a:lnTo>
                  <a:pt x="6719487" y="779851"/>
                </a:lnTo>
                <a:lnTo>
                  <a:pt x="7204868" y="779851"/>
                </a:lnTo>
                <a:close/>
                <a:moveTo>
                  <a:pt x="2388009" y="315532"/>
                </a:moveTo>
                <a:cubicBezTo>
                  <a:pt x="2347061" y="315532"/>
                  <a:pt x="2313866" y="348659"/>
                  <a:pt x="2313866" y="389523"/>
                </a:cubicBezTo>
                <a:lnTo>
                  <a:pt x="2313866" y="895278"/>
                </a:lnTo>
                <a:cubicBezTo>
                  <a:pt x="2313866" y="936142"/>
                  <a:pt x="2347061" y="969269"/>
                  <a:pt x="2388009" y="969269"/>
                </a:cubicBezTo>
                <a:lnTo>
                  <a:pt x="3186375" y="969269"/>
                </a:lnTo>
                <a:cubicBezTo>
                  <a:pt x="3227323" y="969269"/>
                  <a:pt x="3260517" y="936142"/>
                  <a:pt x="3260517" y="895278"/>
                </a:cubicBezTo>
                <a:lnTo>
                  <a:pt x="3260517" y="389523"/>
                </a:lnTo>
                <a:cubicBezTo>
                  <a:pt x="3260517" y="348659"/>
                  <a:pt x="3227323" y="315532"/>
                  <a:pt x="3186375" y="315532"/>
                </a:cubicBezTo>
                <a:close/>
                <a:moveTo>
                  <a:pt x="5545757" y="14419"/>
                </a:moveTo>
                <a:lnTo>
                  <a:pt x="5939564" y="14419"/>
                </a:lnTo>
                <a:lnTo>
                  <a:pt x="5939564" y="1273030"/>
                </a:lnTo>
                <a:lnTo>
                  <a:pt x="5545757" y="1273030"/>
                </a:lnTo>
                <a:close/>
                <a:moveTo>
                  <a:pt x="3781683" y="14419"/>
                </a:moveTo>
                <a:lnTo>
                  <a:pt x="4175490" y="14419"/>
                </a:lnTo>
                <a:lnTo>
                  <a:pt x="4175490" y="1273030"/>
                </a:lnTo>
                <a:lnTo>
                  <a:pt x="3781683" y="1273030"/>
                </a:lnTo>
                <a:close/>
                <a:moveTo>
                  <a:pt x="6726931" y="14418"/>
                </a:moveTo>
                <a:lnTo>
                  <a:pt x="7216062" y="14418"/>
                </a:lnTo>
                <a:lnTo>
                  <a:pt x="7924447" y="1273030"/>
                </a:lnTo>
                <a:lnTo>
                  <a:pt x="7467155" y="1273030"/>
                </a:lnTo>
                <a:lnTo>
                  <a:pt x="7349796" y="1052360"/>
                </a:lnTo>
                <a:lnTo>
                  <a:pt x="6576065" y="1052360"/>
                </a:lnTo>
                <a:lnTo>
                  <a:pt x="6459926" y="1273030"/>
                </a:lnTo>
                <a:lnTo>
                  <a:pt x="6011821" y="1273030"/>
                </a:lnTo>
                <a:close/>
                <a:moveTo>
                  <a:pt x="139469" y="14418"/>
                </a:moveTo>
                <a:lnTo>
                  <a:pt x="657720" y="14418"/>
                </a:lnTo>
                <a:lnTo>
                  <a:pt x="1414558" y="955333"/>
                </a:lnTo>
                <a:lnTo>
                  <a:pt x="1414558" y="14420"/>
                </a:lnTo>
                <a:lnTo>
                  <a:pt x="1793219" y="14420"/>
                </a:lnTo>
                <a:lnTo>
                  <a:pt x="1793219" y="1273030"/>
                </a:lnTo>
                <a:lnTo>
                  <a:pt x="1151296" y="1273030"/>
                </a:lnTo>
                <a:lnTo>
                  <a:pt x="378661" y="311950"/>
                </a:lnTo>
                <a:lnTo>
                  <a:pt x="378661" y="1273030"/>
                </a:lnTo>
                <a:lnTo>
                  <a:pt x="0" y="1273030"/>
                </a:lnTo>
                <a:lnTo>
                  <a:pt x="0" y="14420"/>
                </a:lnTo>
                <a:lnTo>
                  <a:pt x="139470" y="14420"/>
                </a:lnTo>
                <a:close/>
                <a:moveTo>
                  <a:pt x="4850522" y="14418"/>
                </a:moveTo>
                <a:lnTo>
                  <a:pt x="5385591" y="14418"/>
                </a:lnTo>
                <a:lnTo>
                  <a:pt x="4668730" y="603446"/>
                </a:lnTo>
                <a:lnTo>
                  <a:pt x="5474313" y="1273029"/>
                </a:lnTo>
                <a:lnTo>
                  <a:pt x="4911442" y="1273029"/>
                </a:lnTo>
                <a:lnTo>
                  <a:pt x="4178297" y="616444"/>
                </a:lnTo>
                <a:close/>
                <a:moveTo>
                  <a:pt x="2308976" y="0"/>
                </a:moveTo>
                <a:lnTo>
                  <a:pt x="3257392" y="0"/>
                </a:lnTo>
                <a:cubicBezTo>
                  <a:pt x="3442298" y="0"/>
                  <a:pt x="3624253" y="119593"/>
                  <a:pt x="3620245" y="334112"/>
                </a:cubicBezTo>
                <a:lnTo>
                  <a:pt x="3620245" y="950689"/>
                </a:lnTo>
                <a:cubicBezTo>
                  <a:pt x="3620245" y="1159210"/>
                  <a:pt x="3446305" y="1284801"/>
                  <a:pt x="3261400" y="1284801"/>
                </a:cubicBezTo>
                <a:lnTo>
                  <a:pt x="2333021" y="1288800"/>
                </a:lnTo>
                <a:cubicBezTo>
                  <a:pt x="2148115" y="1286801"/>
                  <a:pt x="1954138" y="1181205"/>
                  <a:pt x="1954138" y="950689"/>
                </a:cubicBezTo>
                <a:lnTo>
                  <a:pt x="1954138" y="334112"/>
                </a:lnTo>
                <a:cubicBezTo>
                  <a:pt x="1962153" y="113594"/>
                  <a:pt x="2124071" y="0"/>
                  <a:pt x="2308976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endParaRPr lang="en-US" sz="1811" dirty="0">
              <a:latin typeface="+mn-lt"/>
            </a:endParaRPr>
          </a:p>
        </p:txBody>
      </p:sp>
      <p:sp>
        <p:nvSpPr>
          <p:cNvPr id="7" name="Footer Placeholder 27">
            <a:extLst>
              <a:ext uri="{FF2B5EF4-FFF2-40B4-BE49-F238E27FC236}">
                <a16:creationId xmlns:a16="http://schemas.microsoft.com/office/drawing/2014/main" xmlns="" id="{85B22BFE-7C74-4741-97D2-7E3AD84113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5202650"/>
            <a:ext cx="2716981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5">
                <a:solidFill>
                  <a:schemeClr val="accent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Ultra-optimized solution to de-risk your 5G deployment</a:t>
            </a:r>
            <a:endParaRPr lang="en-US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xmlns="" id="{C53912A6-48D0-4F3E-91D4-37D73BE4FF81}"/>
              </a:ext>
            </a:extLst>
          </p:cNvPr>
          <p:cNvGrpSpPr/>
          <p:nvPr userDrawn="1"/>
        </p:nvGrpSpPr>
        <p:grpSpPr>
          <a:xfrm>
            <a:off x="5028434" y="4672845"/>
            <a:ext cx="2449107" cy="362236"/>
            <a:chOff x="4997005" y="4644000"/>
            <a:chExt cx="2433800" cy="360000"/>
          </a:xfrm>
        </p:grpSpPr>
        <p:sp>
          <p:nvSpPr>
            <p:cNvPr id="11" name="&lt; forward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xmlns="" id="{2E9D62E1-082F-4940-8473-AE2BA9EC47C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2325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3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&lt; back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xmlns="" id="{C8847437-A229-4783-A1F6-9CB13F2702A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105771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3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back link">
              <a:hlinkClick r:id="" action="ppaction://hlinkshowjump?jump=previous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9FC9E5B2-0E5E-4A8F-8273-6135D71ED737}"/>
                </a:ext>
              </a:extLst>
            </p:cNvPr>
            <p:cNvSpPr/>
            <p:nvPr userDrawn="1"/>
          </p:nvSpPr>
          <p:spPr>
            <a:xfrm>
              <a:off x="5731557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3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revious</a:t>
              </a:r>
            </a:p>
          </p:txBody>
        </p:sp>
        <p:sp>
          <p:nvSpPr>
            <p:cNvPr id="14" name="forward link">
              <a:hlinkClick r:id="" action="ppaction://hlinkshowjump?jump=next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CB4449ED-39C2-4ABB-B9FF-93D97F8DE992}"/>
                </a:ext>
              </a:extLst>
            </p:cNvPr>
            <p:cNvSpPr/>
            <p:nvPr userDrawn="1"/>
          </p:nvSpPr>
          <p:spPr>
            <a:xfrm>
              <a:off x="67972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80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ext</a:t>
              </a:r>
            </a:p>
          </p:txBody>
        </p:sp>
        <p:sp>
          <p:nvSpPr>
            <p:cNvPr id="15" name="Freihandform: Form 14">
              <a:hlinkClick r:id="" action="ppaction://hlinkshowjump?jump=lastslideviewed"/>
              <a:extLst>
                <a:ext uri="{FF2B5EF4-FFF2-40B4-BE49-F238E27FC236}">
                  <a16:creationId xmlns:a16="http://schemas.microsoft.com/office/drawing/2014/main" xmlns="" id="{B5C7C3F4-7B46-491F-8451-81EA6EE98BC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5410986" y="4804666"/>
              <a:ext cx="53776" cy="99082"/>
            </a:xfrm>
            <a:custGeom>
              <a:avLst/>
              <a:gdLst>
                <a:gd name="connsiteX0" fmla="*/ 23824 w 82557"/>
                <a:gd name="connsiteY0" fmla="*/ 0 h 152109"/>
                <a:gd name="connsiteX1" fmla="*/ 0 w 82557"/>
                <a:gd name="connsiteY1" fmla="*/ 0 h 152109"/>
                <a:gd name="connsiteX2" fmla="*/ 58734 w 82557"/>
                <a:gd name="connsiteY2" fmla="*/ 76055 h 152109"/>
                <a:gd name="connsiteX3" fmla="*/ 0 w 82557"/>
                <a:gd name="connsiteY3" fmla="*/ 152109 h 152109"/>
                <a:gd name="connsiteX4" fmla="*/ 23824 w 82557"/>
                <a:gd name="connsiteY4" fmla="*/ 152109 h 152109"/>
                <a:gd name="connsiteX5" fmla="*/ 82557 w 82557"/>
                <a:gd name="connsiteY5" fmla="*/ 76055 h 152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57" h="152109">
                  <a:moveTo>
                    <a:pt x="23824" y="0"/>
                  </a:moveTo>
                  <a:lnTo>
                    <a:pt x="0" y="0"/>
                  </a:lnTo>
                  <a:lnTo>
                    <a:pt x="58734" y="76055"/>
                  </a:lnTo>
                  <a:lnTo>
                    <a:pt x="0" y="152109"/>
                  </a:lnTo>
                  <a:lnTo>
                    <a:pt x="23824" y="152109"/>
                  </a:lnTo>
                  <a:lnTo>
                    <a:pt x="82557" y="76055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3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back link">
              <a:hlinkClick r:id="" action="ppaction://hlinkshowjump?jump=lastslideviewed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11D5218C-7381-47ED-84BC-AAE99564E838}"/>
                </a:ext>
              </a:extLst>
            </p:cNvPr>
            <p:cNvSpPr/>
            <p:nvPr userDrawn="1"/>
          </p:nvSpPr>
          <p:spPr>
            <a:xfrm>
              <a:off x="49970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36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last visited</a:t>
              </a:r>
            </a:p>
          </p:txBody>
        </p:sp>
      </p:grpSp>
      <p:sp>
        <p:nvSpPr>
          <p:cNvPr id="18" name="Rechteck 17">
            <a:hlinkClick r:id="rId3" action="ppaction://hlinksldjump"/>
            <a:extLst>
              <a:ext uri="{FF2B5EF4-FFF2-40B4-BE49-F238E27FC236}">
                <a16:creationId xmlns:a16="http://schemas.microsoft.com/office/drawing/2014/main" xmlns="" id="{3157E71D-D13A-4E41-B0A8-FE44930D6439}"/>
              </a:ext>
            </a:extLst>
          </p:cNvPr>
          <p:cNvSpPr/>
          <p:nvPr userDrawn="1"/>
        </p:nvSpPr>
        <p:spPr>
          <a:xfrm>
            <a:off x="405873" y="4398587"/>
            <a:ext cx="1311260" cy="477838"/>
          </a:xfrm>
          <a:prstGeom prst="rect">
            <a:avLst/>
          </a:prstGeom>
          <a:solidFill>
            <a:srgbClr val="FFFF00">
              <a:alpha val="0"/>
            </a:srgbClr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0" dirty="0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sp>
        <p:nvSpPr>
          <p:cNvPr id="19" name="Rechteck 18">
            <a:hlinkClick r:id="rId3" action="ppaction://hlinksldjump"/>
            <a:extLst>
              <a:ext uri="{FF2B5EF4-FFF2-40B4-BE49-F238E27FC236}">
                <a16:creationId xmlns:a16="http://schemas.microsoft.com/office/drawing/2014/main" xmlns="" id="{61C163DE-6201-4DAA-97D7-21DE67D7E855}"/>
              </a:ext>
            </a:extLst>
          </p:cNvPr>
          <p:cNvSpPr/>
          <p:nvPr userDrawn="1"/>
        </p:nvSpPr>
        <p:spPr>
          <a:xfrm>
            <a:off x="7832740" y="4665662"/>
            <a:ext cx="1311260" cy="477838"/>
          </a:xfrm>
          <a:prstGeom prst="rect">
            <a:avLst/>
          </a:prstGeom>
          <a:solidFill>
            <a:srgbClr val="FFFF00">
              <a:alpha val="0"/>
            </a:srgbClr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0" dirty="0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60074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2" y="4816800"/>
            <a:ext cx="2847687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5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Ultra-optimized solution to de-risk your 5G deploymen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2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1988">
                <a:latin typeface="+mj-lt"/>
              </a:defRPr>
            </a:lvl2pPr>
            <a:lvl3pPr>
              <a:defRPr sz="1988">
                <a:latin typeface="+mj-lt"/>
              </a:defRPr>
            </a:lvl3pPr>
            <a:lvl4pPr>
              <a:defRPr sz="1988">
                <a:latin typeface="+mj-lt"/>
              </a:defRPr>
            </a:lvl4pPr>
            <a:lvl5pPr>
              <a:defRPr sz="1988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xmlns="" id="{C836EC8E-5F24-405B-AED7-22B300A20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00" y="280990"/>
            <a:ext cx="8308800" cy="3093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6978055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702606"/>
          </a:xfrm>
        </p:spPr>
        <p:txBody>
          <a:bodyPr/>
          <a:lstStyle>
            <a:lvl1pPr>
              <a:defRPr sz="6600" b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1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 </a:t>
            </a:r>
          </a:p>
        </p:txBody>
      </p:sp>
    </p:spTree>
    <p:extLst>
      <p:ext uri="{BB962C8B-B14F-4D97-AF65-F5344CB8AC3E}">
        <p14:creationId xmlns:p14="http://schemas.microsoft.com/office/powerpoint/2010/main" val="15029571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1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cs typeface="Arial" panose="020B0604020202020204" pitchFamily="34" charset="0"/>
              </a:rPr>
              <a:t>Confidential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1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4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4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7193127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-1 White - INTERNAL 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05873" y="512333"/>
            <a:ext cx="4166127" cy="23529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6037" baseline="0" dirty="0">
                <a:solidFill>
                  <a:schemeClr val="accent3"/>
                </a:solidFill>
                <a:latin typeface="Nokia Pure Headline Ultra Light" panose="020B0204040602060303" pitchFamily="34" charset="0"/>
              </a:defRPr>
            </a:lvl1pPr>
          </a:lstStyle>
          <a:p>
            <a:pPr marL="342887" lvl="0" indent="-342887">
              <a:lnSpc>
                <a:spcPct val="85000"/>
              </a:lnSpc>
              <a:spcBef>
                <a:spcPts val="0"/>
              </a:spcBef>
              <a:spcAft>
                <a:spcPts val="604"/>
              </a:spcAft>
            </a:pPr>
            <a:r>
              <a:rPr lang="en-US"/>
              <a:t>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05873" y="3078937"/>
            <a:ext cx="3658901" cy="109565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4"/>
              </a:spcAft>
              <a:buFont typeface="Arial" panose="020B0604020202020204" pitchFamily="34" charset="0"/>
              <a:buNone/>
              <a:defRPr sz="2012">
                <a:solidFill>
                  <a:schemeClr val="tx2"/>
                </a:solidFill>
                <a:latin typeface="+mj-lt"/>
                <a:ea typeface="Nokia Pure Text Light" panose="020B0403020202020204" pitchFamily="34" charset="0"/>
              </a:defRPr>
            </a:lvl1pPr>
            <a:lvl2pPr marL="230392" indent="0">
              <a:spcBef>
                <a:spcPts val="0"/>
              </a:spcBef>
              <a:spcAft>
                <a:spcPts val="600"/>
              </a:spcAft>
              <a:buNone/>
              <a:defRPr sz="1409">
                <a:solidFill>
                  <a:schemeClr val="accent3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582" indent="0">
              <a:spcBef>
                <a:spcPts val="0"/>
              </a:spcBef>
              <a:spcAft>
                <a:spcPts val="600"/>
              </a:spcAft>
              <a:buNone/>
              <a:defRPr sz="1207">
                <a:solidFill>
                  <a:schemeClr val="accent3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2973" indent="0">
              <a:spcBef>
                <a:spcPts val="0"/>
              </a:spcBef>
              <a:spcAft>
                <a:spcPts val="600"/>
              </a:spcAft>
              <a:buNone/>
              <a:defRPr sz="1006">
                <a:solidFill>
                  <a:schemeClr val="accent3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365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6">
                <a:solidFill>
                  <a:schemeClr val="accent3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153755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147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537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xmlns="" id="{DC24C058-1012-475A-80D5-F8CF41525E5D}"/>
              </a:ext>
            </a:extLst>
          </p:cNvPr>
          <p:cNvSpPr>
            <a:spLocks noChangeAspect="1"/>
          </p:cNvSpPr>
          <p:nvPr userDrawn="1"/>
        </p:nvSpPr>
        <p:spPr>
          <a:xfrm>
            <a:off x="477960" y="4544762"/>
            <a:ext cx="1237824" cy="201315"/>
          </a:xfrm>
          <a:custGeom>
            <a:avLst/>
            <a:gdLst>
              <a:gd name="connsiteX0" fmla="*/ 6960911 w 7924447"/>
              <a:gd name="connsiteY0" fmla="*/ 321135 h 1288800"/>
              <a:gd name="connsiteX1" fmla="*/ 6719487 w 7924447"/>
              <a:gd name="connsiteY1" fmla="*/ 779851 h 1288800"/>
              <a:gd name="connsiteX2" fmla="*/ 7204868 w 7924447"/>
              <a:gd name="connsiteY2" fmla="*/ 779851 h 1288800"/>
              <a:gd name="connsiteX3" fmla="*/ 2388009 w 7924447"/>
              <a:gd name="connsiteY3" fmla="*/ 315532 h 1288800"/>
              <a:gd name="connsiteX4" fmla="*/ 2313866 w 7924447"/>
              <a:gd name="connsiteY4" fmla="*/ 389523 h 1288800"/>
              <a:gd name="connsiteX5" fmla="*/ 2313866 w 7924447"/>
              <a:gd name="connsiteY5" fmla="*/ 895278 h 1288800"/>
              <a:gd name="connsiteX6" fmla="*/ 2388009 w 7924447"/>
              <a:gd name="connsiteY6" fmla="*/ 969269 h 1288800"/>
              <a:gd name="connsiteX7" fmla="*/ 3186375 w 7924447"/>
              <a:gd name="connsiteY7" fmla="*/ 969269 h 1288800"/>
              <a:gd name="connsiteX8" fmla="*/ 3260517 w 7924447"/>
              <a:gd name="connsiteY8" fmla="*/ 895278 h 1288800"/>
              <a:gd name="connsiteX9" fmla="*/ 3260517 w 7924447"/>
              <a:gd name="connsiteY9" fmla="*/ 389523 h 1288800"/>
              <a:gd name="connsiteX10" fmla="*/ 3186375 w 7924447"/>
              <a:gd name="connsiteY10" fmla="*/ 315532 h 1288800"/>
              <a:gd name="connsiteX11" fmla="*/ 5545757 w 7924447"/>
              <a:gd name="connsiteY11" fmla="*/ 14419 h 1288800"/>
              <a:gd name="connsiteX12" fmla="*/ 5939564 w 7924447"/>
              <a:gd name="connsiteY12" fmla="*/ 14419 h 1288800"/>
              <a:gd name="connsiteX13" fmla="*/ 5939564 w 7924447"/>
              <a:gd name="connsiteY13" fmla="*/ 1273030 h 1288800"/>
              <a:gd name="connsiteX14" fmla="*/ 5545757 w 7924447"/>
              <a:gd name="connsiteY14" fmla="*/ 1273030 h 1288800"/>
              <a:gd name="connsiteX15" fmla="*/ 3781683 w 7924447"/>
              <a:gd name="connsiteY15" fmla="*/ 14419 h 1288800"/>
              <a:gd name="connsiteX16" fmla="*/ 4175490 w 7924447"/>
              <a:gd name="connsiteY16" fmla="*/ 14419 h 1288800"/>
              <a:gd name="connsiteX17" fmla="*/ 4175490 w 7924447"/>
              <a:gd name="connsiteY17" fmla="*/ 1273030 h 1288800"/>
              <a:gd name="connsiteX18" fmla="*/ 3781683 w 7924447"/>
              <a:gd name="connsiteY18" fmla="*/ 1273030 h 1288800"/>
              <a:gd name="connsiteX19" fmla="*/ 6726931 w 7924447"/>
              <a:gd name="connsiteY19" fmla="*/ 14418 h 1288800"/>
              <a:gd name="connsiteX20" fmla="*/ 7216062 w 7924447"/>
              <a:gd name="connsiteY20" fmla="*/ 14418 h 1288800"/>
              <a:gd name="connsiteX21" fmla="*/ 7924447 w 7924447"/>
              <a:gd name="connsiteY21" fmla="*/ 1273030 h 1288800"/>
              <a:gd name="connsiteX22" fmla="*/ 7467155 w 7924447"/>
              <a:gd name="connsiteY22" fmla="*/ 1273030 h 1288800"/>
              <a:gd name="connsiteX23" fmla="*/ 7349796 w 7924447"/>
              <a:gd name="connsiteY23" fmla="*/ 1052360 h 1288800"/>
              <a:gd name="connsiteX24" fmla="*/ 6576065 w 7924447"/>
              <a:gd name="connsiteY24" fmla="*/ 1052360 h 1288800"/>
              <a:gd name="connsiteX25" fmla="*/ 6459926 w 7924447"/>
              <a:gd name="connsiteY25" fmla="*/ 1273030 h 1288800"/>
              <a:gd name="connsiteX26" fmla="*/ 6011821 w 7924447"/>
              <a:gd name="connsiteY26" fmla="*/ 1273030 h 1288800"/>
              <a:gd name="connsiteX27" fmla="*/ 139469 w 7924447"/>
              <a:gd name="connsiteY27" fmla="*/ 14418 h 1288800"/>
              <a:gd name="connsiteX28" fmla="*/ 657720 w 7924447"/>
              <a:gd name="connsiteY28" fmla="*/ 14418 h 1288800"/>
              <a:gd name="connsiteX29" fmla="*/ 1414558 w 7924447"/>
              <a:gd name="connsiteY29" fmla="*/ 955333 h 1288800"/>
              <a:gd name="connsiteX30" fmla="*/ 1414558 w 7924447"/>
              <a:gd name="connsiteY30" fmla="*/ 14420 h 1288800"/>
              <a:gd name="connsiteX31" fmla="*/ 1793219 w 7924447"/>
              <a:gd name="connsiteY31" fmla="*/ 14420 h 1288800"/>
              <a:gd name="connsiteX32" fmla="*/ 1793219 w 7924447"/>
              <a:gd name="connsiteY32" fmla="*/ 1273030 h 1288800"/>
              <a:gd name="connsiteX33" fmla="*/ 1151296 w 7924447"/>
              <a:gd name="connsiteY33" fmla="*/ 1273030 h 1288800"/>
              <a:gd name="connsiteX34" fmla="*/ 378661 w 7924447"/>
              <a:gd name="connsiteY34" fmla="*/ 311950 h 1288800"/>
              <a:gd name="connsiteX35" fmla="*/ 378661 w 7924447"/>
              <a:gd name="connsiteY35" fmla="*/ 1273030 h 1288800"/>
              <a:gd name="connsiteX36" fmla="*/ 0 w 7924447"/>
              <a:gd name="connsiteY36" fmla="*/ 1273030 h 1288800"/>
              <a:gd name="connsiteX37" fmla="*/ 0 w 7924447"/>
              <a:gd name="connsiteY37" fmla="*/ 14420 h 1288800"/>
              <a:gd name="connsiteX38" fmla="*/ 139470 w 7924447"/>
              <a:gd name="connsiteY38" fmla="*/ 14420 h 1288800"/>
              <a:gd name="connsiteX39" fmla="*/ 4850522 w 7924447"/>
              <a:gd name="connsiteY39" fmla="*/ 14418 h 1288800"/>
              <a:gd name="connsiteX40" fmla="*/ 5385591 w 7924447"/>
              <a:gd name="connsiteY40" fmla="*/ 14418 h 1288800"/>
              <a:gd name="connsiteX41" fmla="*/ 4668730 w 7924447"/>
              <a:gd name="connsiteY41" fmla="*/ 603446 h 1288800"/>
              <a:gd name="connsiteX42" fmla="*/ 5474313 w 7924447"/>
              <a:gd name="connsiteY42" fmla="*/ 1273029 h 1288800"/>
              <a:gd name="connsiteX43" fmla="*/ 4911442 w 7924447"/>
              <a:gd name="connsiteY43" fmla="*/ 1273029 h 1288800"/>
              <a:gd name="connsiteX44" fmla="*/ 4178297 w 7924447"/>
              <a:gd name="connsiteY44" fmla="*/ 616444 h 1288800"/>
              <a:gd name="connsiteX45" fmla="*/ 2308976 w 7924447"/>
              <a:gd name="connsiteY45" fmla="*/ 0 h 1288800"/>
              <a:gd name="connsiteX46" fmla="*/ 3257392 w 7924447"/>
              <a:gd name="connsiteY46" fmla="*/ 0 h 1288800"/>
              <a:gd name="connsiteX47" fmla="*/ 3620245 w 7924447"/>
              <a:gd name="connsiteY47" fmla="*/ 334112 h 1288800"/>
              <a:gd name="connsiteX48" fmla="*/ 3620245 w 7924447"/>
              <a:gd name="connsiteY48" fmla="*/ 950689 h 1288800"/>
              <a:gd name="connsiteX49" fmla="*/ 3261400 w 7924447"/>
              <a:gd name="connsiteY49" fmla="*/ 1284801 h 1288800"/>
              <a:gd name="connsiteX50" fmla="*/ 2333021 w 7924447"/>
              <a:gd name="connsiteY50" fmla="*/ 1288800 h 1288800"/>
              <a:gd name="connsiteX51" fmla="*/ 1954138 w 7924447"/>
              <a:gd name="connsiteY51" fmla="*/ 950689 h 1288800"/>
              <a:gd name="connsiteX52" fmla="*/ 1954138 w 7924447"/>
              <a:gd name="connsiteY52" fmla="*/ 334112 h 1288800"/>
              <a:gd name="connsiteX53" fmla="*/ 2308976 w 7924447"/>
              <a:gd name="connsiteY53" fmla="*/ 0 h 12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924447" h="1288800">
                <a:moveTo>
                  <a:pt x="6960911" y="321135"/>
                </a:moveTo>
                <a:lnTo>
                  <a:pt x="6719487" y="779851"/>
                </a:lnTo>
                <a:lnTo>
                  <a:pt x="7204868" y="779851"/>
                </a:lnTo>
                <a:close/>
                <a:moveTo>
                  <a:pt x="2388009" y="315532"/>
                </a:moveTo>
                <a:cubicBezTo>
                  <a:pt x="2347061" y="315532"/>
                  <a:pt x="2313866" y="348659"/>
                  <a:pt x="2313866" y="389523"/>
                </a:cubicBezTo>
                <a:lnTo>
                  <a:pt x="2313866" y="895278"/>
                </a:lnTo>
                <a:cubicBezTo>
                  <a:pt x="2313866" y="936142"/>
                  <a:pt x="2347061" y="969269"/>
                  <a:pt x="2388009" y="969269"/>
                </a:cubicBezTo>
                <a:lnTo>
                  <a:pt x="3186375" y="969269"/>
                </a:lnTo>
                <a:cubicBezTo>
                  <a:pt x="3227323" y="969269"/>
                  <a:pt x="3260517" y="936142"/>
                  <a:pt x="3260517" y="895278"/>
                </a:cubicBezTo>
                <a:lnTo>
                  <a:pt x="3260517" y="389523"/>
                </a:lnTo>
                <a:cubicBezTo>
                  <a:pt x="3260517" y="348659"/>
                  <a:pt x="3227323" y="315532"/>
                  <a:pt x="3186375" y="315532"/>
                </a:cubicBezTo>
                <a:close/>
                <a:moveTo>
                  <a:pt x="5545757" y="14419"/>
                </a:moveTo>
                <a:lnTo>
                  <a:pt x="5939564" y="14419"/>
                </a:lnTo>
                <a:lnTo>
                  <a:pt x="5939564" y="1273030"/>
                </a:lnTo>
                <a:lnTo>
                  <a:pt x="5545757" y="1273030"/>
                </a:lnTo>
                <a:close/>
                <a:moveTo>
                  <a:pt x="3781683" y="14419"/>
                </a:moveTo>
                <a:lnTo>
                  <a:pt x="4175490" y="14419"/>
                </a:lnTo>
                <a:lnTo>
                  <a:pt x="4175490" y="1273030"/>
                </a:lnTo>
                <a:lnTo>
                  <a:pt x="3781683" y="1273030"/>
                </a:lnTo>
                <a:close/>
                <a:moveTo>
                  <a:pt x="6726931" y="14418"/>
                </a:moveTo>
                <a:lnTo>
                  <a:pt x="7216062" y="14418"/>
                </a:lnTo>
                <a:lnTo>
                  <a:pt x="7924447" y="1273030"/>
                </a:lnTo>
                <a:lnTo>
                  <a:pt x="7467155" y="1273030"/>
                </a:lnTo>
                <a:lnTo>
                  <a:pt x="7349796" y="1052360"/>
                </a:lnTo>
                <a:lnTo>
                  <a:pt x="6576065" y="1052360"/>
                </a:lnTo>
                <a:lnTo>
                  <a:pt x="6459926" y="1273030"/>
                </a:lnTo>
                <a:lnTo>
                  <a:pt x="6011821" y="1273030"/>
                </a:lnTo>
                <a:close/>
                <a:moveTo>
                  <a:pt x="139469" y="14418"/>
                </a:moveTo>
                <a:lnTo>
                  <a:pt x="657720" y="14418"/>
                </a:lnTo>
                <a:lnTo>
                  <a:pt x="1414558" y="955333"/>
                </a:lnTo>
                <a:lnTo>
                  <a:pt x="1414558" y="14420"/>
                </a:lnTo>
                <a:lnTo>
                  <a:pt x="1793219" y="14420"/>
                </a:lnTo>
                <a:lnTo>
                  <a:pt x="1793219" y="1273030"/>
                </a:lnTo>
                <a:lnTo>
                  <a:pt x="1151296" y="1273030"/>
                </a:lnTo>
                <a:lnTo>
                  <a:pt x="378661" y="311950"/>
                </a:lnTo>
                <a:lnTo>
                  <a:pt x="378661" y="1273030"/>
                </a:lnTo>
                <a:lnTo>
                  <a:pt x="0" y="1273030"/>
                </a:lnTo>
                <a:lnTo>
                  <a:pt x="0" y="14420"/>
                </a:lnTo>
                <a:lnTo>
                  <a:pt x="139470" y="14420"/>
                </a:lnTo>
                <a:close/>
                <a:moveTo>
                  <a:pt x="4850522" y="14418"/>
                </a:moveTo>
                <a:lnTo>
                  <a:pt x="5385591" y="14418"/>
                </a:lnTo>
                <a:lnTo>
                  <a:pt x="4668730" y="603446"/>
                </a:lnTo>
                <a:lnTo>
                  <a:pt x="5474313" y="1273029"/>
                </a:lnTo>
                <a:lnTo>
                  <a:pt x="4911442" y="1273029"/>
                </a:lnTo>
                <a:lnTo>
                  <a:pt x="4178297" y="616444"/>
                </a:lnTo>
                <a:close/>
                <a:moveTo>
                  <a:pt x="2308976" y="0"/>
                </a:moveTo>
                <a:lnTo>
                  <a:pt x="3257392" y="0"/>
                </a:lnTo>
                <a:cubicBezTo>
                  <a:pt x="3442298" y="0"/>
                  <a:pt x="3624253" y="119593"/>
                  <a:pt x="3620245" y="334112"/>
                </a:cubicBezTo>
                <a:lnTo>
                  <a:pt x="3620245" y="950689"/>
                </a:lnTo>
                <a:cubicBezTo>
                  <a:pt x="3620245" y="1159210"/>
                  <a:pt x="3446305" y="1284801"/>
                  <a:pt x="3261400" y="1284801"/>
                </a:cubicBezTo>
                <a:lnTo>
                  <a:pt x="2333021" y="1288800"/>
                </a:lnTo>
                <a:cubicBezTo>
                  <a:pt x="2148115" y="1286801"/>
                  <a:pt x="1954138" y="1181205"/>
                  <a:pt x="1954138" y="950689"/>
                </a:cubicBezTo>
                <a:lnTo>
                  <a:pt x="1954138" y="334112"/>
                </a:lnTo>
                <a:cubicBezTo>
                  <a:pt x="1962153" y="113594"/>
                  <a:pt x="2124071" y="0"/>
                  <a:pt x="2308976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endParaRPr lang="en-US" sz="1811">
              <a:latin typeface="+mn-lt"/>
            </a:endParaRPr>
          </a:p>
        </p:txBody>
      </p:sp>
      <p:sp>
        <p:nvSpPr>
          <p:cNvPr id="7" name="Footer Placeholder 27">
            <a:extLst>
              <a:ext uri="{FF2B5EF4-FFF2-40B4-BE49-F238E27FC236}">
                <a16:creationId xmlns:a16="http://schemas.microsoft.com/office/drawing/2014/main" xmlns="" id="{85B22BFE-7C74-4741-97D2-7E3AD84113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5202650"/>
            <a:ext cx="2716981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accent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Ultra-optimized solution to de-risk your 5G deployment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xmlns="" id="{C53912A6-48D0-4F3E-91D4-37D73BE4FF81}"/>
              </a:ext>
            </a:extLst>
          </p:cNvPr>
          <p:cNvGrpSpPr/>
          <p:nvPr userDrawn="1"/>
        </p:nvGrpSpPr>
        <p:grpSpPr>
          <a:xfrm>
            <a:off x="5028433" y="4672845"/>
            <a:ext cx="2449107" cy="362236"/>
            <a:chOff x="4997005" y="4644000"/>
            <a:chExt cx="2433800" cy="360000"/>
          </a:xfrm>
        </p:grpSpPr>
        <p:sp>
          <p:nvSpPr>
            <p:cNvPr id="11" name="&lt; forward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xmlns="" id="{2E9D62E1-082F-4940-8473-AE2BA9EC47C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2325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7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&lt; back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xmlns="" id="{C8847437-A229-4783-A1F6-9CB13F2702A5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105771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7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back link">
              <a:hlinkClick r:id="" action="ppaction://hlinkshowjump?jump=previous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9FC9E5B2-0E5E-4A8F-8273-6135D71ED737}"/>
                </a:ext>
              </a:extLst>
            </p:cNvPr>
            <p:cNvSpPr/>
            <p:nvPr userDrawn="1"/>
          </p:nvSpPr>
          <p:spPr>
            <a:xfrm>
              <a:off x="5731557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3" b="0" i="0" u="none" strike="noStrike" kern="0" cap="none" spc="0" normalizeH="0" baseline="0" noProof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revious</a:t>
              </a:r>
            </a:p>
          </p:txBody>
        </p:sp>
        <p:sp>
          <p:nvSpPr>
            <p:cNvPr id="14" name="forward link">
              <a:hlinkClick r:id="" action="ppaction://hlinkshowjump?jump=next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CB4449ED-39C2-4ABB-B9FF-93D97F8DE992}"/>
                </a:ext>
              </a:extLst>
            </p:cNvPr>
            <p:cNvSpPr/>
            <p:nvPr userDrawn="1"/>
          </p:nvSpPr>
          <p:spPr>
            <a:xfrm>
              <a:off x="67972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80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3" b="0" i="0" u="none" strike="noStrike" kern="0" cap="none" spc="0" normalizeH="0" baseline="0" noProof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ext</a:t>
              </a:r>
            </a:p>
          </p:txBody>
        </p:sp>
        <p:sp>
          <p:nvSpPr>
            <p:cNvPr id="15" name="Freihandform: Form 14">
              <a:hlinkClick r:id="" action="ppaction://hlinkshowjump?jump=lastslideviewed"/>
              <a:extLst>
                <a:ext uri="{FF2B5EF4-FFF2-40B4-BE49-F238E27FC236}">
                  <a16:creationId xmlns:a16="http://schemas.microsoft.com/office/drawing/2014/main" xmlns="" id="{B5C7C3F4-7B46-491F-8451-81EA6EE98BC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5410986" y="4804666"/>
              <a:ext cx="53776" cy="99082"/>
            </a:xfrm>
            <a:custGeom>
              <a:avLst/>
              <a:gdLst>
                <a:gd name="connsiteX0" fmla="*/ 23824 w 82557"/>
                <a:gd name="connsiteY0" fmla="*/ 0 h 152109"/>
                <a:gd name="connsiteX1" fmla="*/ 0 w 82557"/>
                <a:gd name="connsiteY1" fmla="*/ 0 h 152109"/>
                <a:gd name="connsiteX2" fmla="*/ 58734 w 82557"/>
                <a:gd name="connsiteY2" fmla="*/ 76055 h 152109"/>
                <a:gd name="connsiteX3" fmla="*/ 0 w 82557"/>
                <a:gd name="connsiteY3" fmla="*/ 152109 h 152109"/>
                <a:gd name="connsiteX4" fmla="*/ 23824 w 82557"/>
                <a:gd name="connsiteY4" fmla="*/ 152109 h 152109"/>
                <a:gd name="connsiteX5" fmla="*/ 82557 w 82557"/>
                <a:gd name="connsiteY5" fmla="*/ 76055 h 152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57" h="152109">
                  <a:moveTo>
                    <a:pt x="23824" y="0"/>
                  </a:moveTo>
                  <a:lnTo>
                    <a:pt x="0" y="0"/>
                  </a:lnTo>
                  <a:lnTo>
                    <a:pt x="58734" y="76055"/>
                  </a:lnTo>
                  <a:lnTo>
                    <a:pt x="0" y="152109"/>
                  </a:lnTo>
                  <a:lnTo>
                    <a:pt x="23824" y="152109"/>
                  </a:lnTo>
                  <a:lnTo>
                    <a:pt x="82557" y="76055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7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back link">
              <a:hlinkClick r:id="" action="ppaction://hlinkshowjump?jump=lastslideviewed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11D5218C-7381-47ED-84BC-AAE99564E838}"/>
                </a:ext>
              </a:extLst>
            </p:cNvPr>
            <p:cNvSpPr/>
            <p:nvPr userDrawn="1"/>
          </p:nvSpPr>
          <p:spPr>
            <a:xfrm>
              <a:off x="49970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3" b="0" i="0" u="none" strike="noStrike" kern="0" cap="none" spc="0" normalizeH="0" baseline="0" noProof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last visited</a:t>
              </a:r>
            </a:p>
          </p:txBody>
        </p:sp>
      </p:grpSp>
      <p:sp>
        <p:nvSpPr>
          <p:cNvPr id="17" name="Rechteck 16">
            <a:hlinkClick r:id="" action="ppaction://hlinkshowjump?jump=firstslide"/>
            <a:extLst>
              <a:ext uri="{FF2B5EF4-FFF2-40B4-BE49-F238E27FC236}">
                <a16:creationId xmlns:a16="http://schemas.microsoft.com/office/drawing/2014/main" xmlns="" id="{6DA78536-340D-41A3-A2AF-C656932139D6}"/>
              </a:ext>
            </a:extLst>
          </p:cNvPr>
          <p:cNvSpPr/>
          <p:nvPr userDrawn="1"/>
        </p:nvSpPr>
        <p:spPr>
          <a:xfrm>
            <a:off x="441242" y="4388232"/>
            <a:ext cx="1311260" cy="477838"/>
          </a:xfrm>
          <a:prstGeom prst="rect">
            <a:avLst/>
          </a:prstGeom>
          <a:solidFill>
            <a:srgbClr val="FFFF00">
              <a:alpha val="0"/>
            </a:srgbClr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7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7898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396031"/>
            <a:ext cx="3923815" cy="3092206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023176" y="4778188"/>
            <a:ext cx="7318106" cy="2056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600">
                <a:cs typeface="Verdana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noProof="0" dirty="0">
                <a:solidFill>
                  <a:schemeClr val="accent4"/>
                </a:solidFill>
                <a:latin typeface="+mn-lt"/>
                <a:cs typeface="Verdana"/>
              </a:rPr>
              <a:t>Country | Name Surname | Presentatio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287156"/>
            <a:ext cx="8283049" cy="153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1"/>
              </a:buClr>
              <a:buFont typeface="Arial" charset="0"/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440837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noProof="0" dirty="0">
                <a:solidFill>
                  <a:schemeClr val="accent1"/>
                </a:solidFill>
              </a:rPr>
              <a:t>Kernaussage der Folie</a:t>
            </a:r>
            <a:endParaRPr lang="en-GB" noProof="0" dirty="0"/>
          </a:p>
        </p:txBody>
      </p:sp>
      <p:sp>
        <p:nvSpPr>
          <p:cNvPr id="20" name="Bildplatzhalter 12"/>
          <p:cNvSpPr>
            <a:spLocks noGrp="1"/>
          </p:cNvSpPr>
          <p:nvPr>
            <p:ph type="pic" sz="quarter" idx="15" hasCustomPrompt="1"/>
          </p:nvPr>
        </p:nvSpPr>
        <p:spPr>
          <a:xfrm>
            <a:off x="4589347" y="1465837"/>
            <a:ext cx="4122451" cy="320353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2700" indent="0" algn="ctr">
              <a:buClr>
                <a:schemeClr val="accent1"/>
              </a:buClr>
              <a:buFont typeface="Wingdings" charset="2"/>
              <a:buNone/>
              <a:defRPr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Füge ein Foto mit Drag &amp; Drop oder per Reinklicken in die grau Box hinzu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 rot="16200000">
            <a:off x="8511273" y="723919"/>
            <a:ext cx="1117854" cy="147600"/>
          </a:xfrm>
          <a:prstGeom prst="rect">
            <a:avLst/>
          </a:prstGeom>
          <a:noFill/>
        </p:spPr>
        <p:txBody>
          <a:bodyPr anchor="ctr"/>
          <a:lstStyle>
            <a:lvl1pPr algn="l" defTabSz="4572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kern="1200">
                <a:solidFill>
                  <a:srgbClr val="6CB004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ctr"/>
            <a:r>
              <a:rPr lang="de-AT" sz="450" b="0" dirty="0">
                <a:solidFill>
                  <a:schemeClr val="accent4"/>
                </a:solidFill>
              </a:rPr>
              <a:t>Entwurf zur internen Diskussion</a:t>
            </a:r>
          </a:p>
        </p:txBody>
      </p:sp>
    </p:spTree>
    <p:extLst>
      <p:ext uri="{BB962C8B-B14F-4D97-AF65-F5344CB8AC3E}">
        <p14:creationId xmlns:p14="http://schemas.microsoft.com/office/powerpoint/2010/main" val="1677626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2">
          <p15:clr>
            <a:srgbClr val="FBAE40"/>
          </p15:clr>
        </p15:guide>
        <p15:guide id="2" orient="horz" pos="91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2-1 White - INTERNAL 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05873" y="512334"/>
            <a:ext cx="4166127" cy="19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6037" baseline="0" dirty="0">
                <a:solidFill>
                  <a:schemeClr val="accent3"/>
                </a:solidFill>
                <a:latin typeface="Nokia Pure Headline Ultra Light" panose="020B0204040602060303" pitchFamily="34" charset="0"/>
              </a:defRPr>
            </a:lvl1pPr>
          </a:lstStyle>
          <a:p>
            <a:pPr marL="342887" lvl="0" indent="-342887">
              <a:lnSpc>
                <a:spcPct val="85000"/>
              </a:lnSpc>
              <a:spcBef>
                <a:spcPts val="0"/>
              </a:spcBef>
              <a:spcAft>
                <a:spcPts val="604"/>
              </a:spcAft>
            </a:pPr>
            <a:r>
              <a:rPr lang="en-US"/>
              <a:t>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05873" y="2597792"/>
            <a:ext cx="3477749" cy="15768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Aft>
                <a:spcPts val="604"/>
              </a:spcAft>
              <a:buNone/>
              <a:defRPr lang="en-US" sz="2012" dirty="0">
                <a:solidFill>
                  <a:schemeClr val="tx2"/>
                </a:solidFill>
                <a:latin typeface="+mj-lt"/>
                <a:ea typeface="Nokia Pure Text Light" panose="020B0403020202020204" pitchFamily="34" charset="0"/>
              </a:defRPr>
            </a:lvl1pPr>
          </a:lstStyle>
          <a:p>
            <a:pPr marL="342887" lvl="0" indent="-342887">
              <a:spcBef>
                <a:spcPts val="0"/>
              </a:spcBef>
              <a:spcAft>
                <a:spcPts val="600"/>
              </a:spcAft>
            </a:pPr>
            <a:r>
              <a:rPr lang="en-US"/>
              <a:t>Sub-title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xmlns="" id="{DC24C058-1012-475A-80D5-F8CF41525E5D}"/>
              </a:ext>
            </a:extLst>
          </p:cNvPr>
          <p:cNvSpPr>
            <a:spLocks noChangeAspect="1"/>
          </p:cNvSpPr>
          <p:nvPr userDrawn="1"/>
        </p:nvSpPr>
        <p:spPr>
          <a:xfrm>
            <a:off x="477960" y="4544762"/>
            <a:ext cx="1237824" cy="201315"/>
          </a:xfrm>
          <a:custGeom>
            <a:avLst/>
            <a:gdLst>
              <a:gd name="connsiteX0" fmla="*/ 6960911 w 7924447"/>
              <a:gd name="connsiteY0" fmla="*/ 321135 h 1288800"/>
              <a:gd name="connsiteX1" fmla="*/ 6719487 w 7924447"/>
              <a:gd name="connsiteY1" fmla="*/ 779851 h 1288800"/>
              <a:gd name="connsiteX2" fmla="*/ 7204868 w 7924447"/>
              <a:gd name="connsiteY2" fmla="*/ 779851 h 1288800"/>
              <a:gd name="connsiteX3" fmla="*/ 2388009 w 7924447"/>
              <a:gd name="connsiteY3" fmla="*/ 315532 h 1288800"/>
              <a:gd name="connsiteX4" fmla="*/ 2313866 w 7924447"/>
              <a:gd name="connsiteY4" fmla="*/ 389523 h 1288800"/>
              <a:gd name="connsiteX5" fmla="*/ 2313866 w 7924447"/>
              <a:gd name="connsiteY5" fmla="*/ 895278 h 1288800"/>
              <a:gd name="connsiteX6" fmla="*/ 2388009 w 7924447"/>
              <a:gd name="connsiteY6" fmla="*/ 969269 h 1288800"/>
              <a:gd name="connsiteX7" fmla="*/ 3186375 w 7924447"/>
              <a:gd name="connsiteY7" fmla="*/ 969269 h 1288800"/>
              <a:gd name="connsiteX8" fmla="*/ 3260517 w 7924447"/>
              <a:gd name="connsiteY8" fmla="*/ 895278 h 1288800"/>
              <a:gd name="connsiteX9" fmla="*/ 3260517 w 7924447"/>
              <a:gd name="connsiteY9" fmla="*/ 389523 h 1288800"/>
              <a:gd name="connsiteX10" fmla="*/ 3186375 w 7924447"/>
              <a:gd name="connsiteY10" fmla="*/ 315532 h 1288800"/>
              <a:gd name="connsiteX11" fmla="*/ 5545757 w 7924447"/>
              <a:gd name="connsiteY11" fmla="*/ 14419 h 1288800"/>
              <a:gd name="connsiteX12" fmla="*/ 5939564 w 7924447"/>
              <a:gd name="connsiteY12" fmla="*/ 14419 h 1288800"/>
              <a:gd name="connsiteX13" fmla="*/ 5939564 w 7924447"/>
              <a:gd name="connsiteY13" fmla="*/ 1273030 h 1288800"/>
              <a:gd name="connsiteX14" fmla="*/ 5545757 w 7924447"/>
              <a:gd name="connsiteY14" fmla="*/ 1273030 h 1288800"/>
              <a:gd name="connsiteX15" fmla="*/ 3781683 w 7924447"/>
              <a:gd name="connsiteY15" fmla="*/ 14419 h 1288800"/>
              <a:gd name="connsiteX16" fmla="*/ 4175490 w 7924447"/>
              <a:gd name="connsiteY16" fmla="*/ 14419 h 1288800"/>
              <a:gd name="connsiteX17" fmla="*/ 4175490 w 7924447"/>
              <a:gd name="connsiteY17" fmla="*/ 1273030 h 1288800"/>
              <a:gd name="connsiteX18" fmla="*/ 3781683 w 7924447"/>
              <a:gd name="connsiteY18" fmla="*/ 1273030 h 1288800"/>
              <a:gd name="connsiteX19" fmla="*/ 6726931 w 7924447"/>
              <a:gd name="connsiteY19" fmla="*/ 14418 h 1288800"/>
              <a:gd name="connsiteX20" fmla="*/ 7216062 w 7924447"/>
              <a:gd name="connsiteY20" fmla="*/ 14418 h 1288800"/>
              <a:gd name="connsiteX21" fmla="*/ 7924447 w 7924447"/>
              <a:gd name="connsiteY21" fmla="*/ 1273030 h 1288800"/>
              <a:gd name="connsiteX22" fmla="*/ 7467155 w 7924447"/>
              <a:gd name="connsiteY22" fmla="*/ 1273030 h 1288800"/>
              <a:gd name="connsiteX23" fmla="*/ 7349796 w 7924447"/>
              <a:gd name="connsiteY23" fmla="*/ 1052360 h 1288800"/>
              <a:gd name="connsiteX24" fmla="*/ 6576065 w 7924447"/>
              <a:gd name="connsiteY24" fmla="*/ 1052360 h 1288800"/>
              <a:gd name="connsiteX25" fmla="*/ 6459926 w 7924447"/>
              <a:gd name="connsiteY25" fmla="*/ 1273030 h 1288800"/>
              <a:gd name="connsiteX26" fmla="*/ 6011821 w 7924447"/>
              <a:gd name="connsiteY26" fmla="*/ 1273030 h 1288800"/>
              <a:gd name="connsiteX27" fmla="*/ 139469 w 7924447"/>
              <a:gd name="connsiteY27" fmla="*/ 14418 h 1288800"/>
              <a:gd name="connsiteX28" fmla="*/ 657720 w 7924447"/>
              <a:gd name="connsiteY28" fmla="*/ 14418 h 1288800"/>
              <a:gd name="connsiteX29" fmla="*/ 1414558 w 7924447"/>
              <a:gd name="connsiteY29" fmla="*/ 955333 h 1288800"/>
              <a:gd name="connsiteX30" fmla="*/ 1414558 w 7924447"/>
              <a:gd name="connsiteY30" fmla="*/ 14420 h 1288800"/>
              <a:gd name="connsiteX31" fmla="*/ 1793219 w 7924447"/>
              <a:gd name="connsiteY31" fmla="*/ 14420 h 1288800"/>
              <a:gd name="connsiteX32" fmla="*/ 1793219 w 7924447"/>
              <a:gd name="connsiteY32" fmla="*/ 1273030 h 1288800"/>
              <a:gd name="connsiteX33" fmla="*/ 1151296 w 7924447"/>
              <a:gd name="connsiteY33" fmla="*/ 1273030 h 1288800"/>
              <a:gd name="connsiteX34" fmla="*/ 378661 w 7924447"/>
              <a:gd name="connsiteY34" fmla="*/ 311950 h 1288800"/>
              <a:gd name="connsiteX35" fmla="*/ 378661 w 7924447"/>
              <a:gd name="connsiteY35" fmla="*/ 1273030 h 1288800"/>
              <a:gd name="connsiteX36" fmla="*/ 0 w 7924447"/>
              <a:gd name="connsiteY36" fmla="*/ 1273030 h 1288800"/>
              <a:gd name="connsiteX37" fmla="*/ 0 w 7924447"/>
              <a:gd name="connsiteY37" fmla="*/ 14420 h 1288800"/>
              <a:gd name="connsiteX38" fmla="*/ 139470 w 7924447"/>
              <a:gd name="connsiteY38" fmla="*/ 14420 h 1288800"/>
              <a:gd name="connsiteX39" fmla="*/ 4850522 w 7924447"/>
              <a:gd name="connsiteY39" fmla="*/ 14418 h 1288800"/>
              <a:gd name="connsiteX40" fmla="*/ 5385591 w 7924447"/>
              <a:gd name="connsiteY40" fmla="*/ 14418 h 1288800"/>
              <a:gd name="connsiteX41" fmla="*/ 4668730 w 7924447"/>
              <a:gd name="connsiteY41" fmla="*/ 603446 h 1288800"/>
              <a:gd name="connsiteX42" fmla="*/ 5474313 w 7924447"/>
              <a:gd name="connsiteY42" fmla="*/ 1273029 h 1288800"/>
              <a:gd name="connsiteX43" fmla="*/ 4911442 w 7924447"/>
              <a:gd name="connsiteY43" fmla="*/ 1273029 h 1288800"/>
              <a:gd name="connsiteX44" fmla="*/ 4178297 w 7924447"/>
              <a:gd name="connsiteY44" fmla="*/ 616444 h 1288800"/>
              <a:gd name="connsiteX45" fmla="*/ 2308976 w 7924447"/>
              <a:gd name="connsiteY45" fmla="*/ 0 h 1288800"/>
              <a:gd name="connsiteX46" fmla="*/ 3257392 w 7924447"/>
              <a:gd name="connsiteY46" fmla="*/ 0 h 1288800"/>
              <a:gd name="connsiteX47" fmla="*/ 3620245 w 7924447"/>
              <a:gd name="connsiteY47" fmla="*/ 334112 h 1288800"/>
              <a:gd name="connsiteX48" fmla="*/ 3620245 w 7924447"/>
              <a:gd name="connsiteY48" fmla="*/ 950689 h 1288800"/>
              <a:gd name="connsiteX49" fmla="*/ 3261400 w 7924447"/>
              <a:gd name="connsiteY49" fmla="*/ 1284801 h 1288800"/>
              <a:gd name="connsiteX50" fmla="*/ 2333021 w 7924447"/>
              <a:gd name="connsiteY50" fmla="*/ 1288800 h 1288800"/>
              <a:gd name="connsiteX51" fmla="*/ 1954138 w 7924447"/>
              <a:gd name="connsiteY51" fmla="*/ 950689 h 1288800"/>
              <a:gd name="connsiteX52" fmla="*/ 1954138 w 7924447"/>
              <a:gd name="connsiteY52" fmla="*/ 334112 h 1288800"/>
              <a:gd name="connsiteX53" fmla="*/ 2308976 w 7924447"/>
              <a:gd name="connsiteY53" fmla="*/ 0 h 12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924447" h="1288800">
                <a:moveTo>
                  <a:pt x="6960911" y="321135"/>
                </a:moveTo>
                <a:lnTo>
                  <a:pt x="6719487" y="779851"/>
                </a:lnTo>
                <a:lnTo>
                  <a:pt x="7204868" y="779851"/>
                </a:lnTo>
                <a:close/>
                <a:moveTo>
                  <a:pt x="2388009" y="315532"/>
                </a:moveTo>
                <a:cubicBezTo>
                  <a:pt x="2347061" y="315532"/>
                  <a:pt x="2313866" y="348659"/>
                  <a:pt x="2313866" y="389523"/>
                </a:cubicBezTo>
                <a:lnTo>
                  <a:pt x="2313866" y="895278"/>
                </a:lnTo>
                <a:cubicBezTo>
                  <a:pt x="2313866" y="936142"/>
                  <a:pt x="2347061" y="969269"/>
                  <a:pt x="2388009" y="969269"/>
                </a:cubicBezTo>
                <a:lnTo>
                  <a:pt x="3186375" y="969269"/>
                </a:lnTo>
                <a:cubicBezTo>
                  <a:pt x="3227323" y="969269"/>
                  <a:pt x="3260517" y="936142"/>
                  <a:pt x="3260517" y="895278"/>
                </a:cubicBezTo>
                <a:lnTo>
                  <a:pt x="3260517" y="389523"/>
                </a:lnTo>
                <a:cubicBezTo>
                  <a:pt x="3260517" y="348659"/>
                  <a:pt x="3227323" y="315532"/>
                  <a:pt x="3186375" y="315532"/>
                </a:cubicBezTo>
                <a:close/>
                <a:moveTo>
                  <a:pt x="5545757" y="14419"/>
                </a:moveTo>
                <a:lnTo>
                  <a:pt x="5939564" y="14419"/>
                </a:lnTo>
                <a:lnTo>
                  <a:pt x="5939564" y="1273030"/>
                </a:lnTo>
                <a:lnTo>
                  <a:pt x="5545757" y="1273030"/>
                </a:lnTo>
                <a:close/>
                <a:moveTo>
                  <a:pt x="3781683" y="14419"/>
                </a:moveTo>
                <a:lnTo>
                  <a:pt x="4175490" y="14419"/>
                </a:lnTo>
                <a:lnTo>
                  <a:pt x="4175490" y="1273030"/>
                </a:lnTo>
                <a:lnTo>
                  <a:pt x="3781683" y="1273030"/>
                </a:lnTo>
                <a:close/>
                <a:moveTo>
                  <a:pt x="6726931" y="14418"/>
                </a:moveTo>
                <a:lnTo>
                  <a:pt x="7216062" y="14418"/>
                </a:lnTo>
                <a:lnTo>
                  <a:pt x="7924447" y="1273030"/>
                </a:lnTo>
                <a:lnTo>
                  <a:pt x="7467155" y="1273030"/>
                </a:lnTo>
                <a:lnTo>
                  <a:pt x="7349796" y="1052360"/>
                </a:lnTo>
                <a:lnTo>
                  <a:pt x="6576065" y="1052360"/>
                </a:lnTo>
                <a:lnTo>
                  <a:pt x="6459926" y="1273030"/>
                </a:lnTo>
                <a:lnTo>
                  <a:pt x="6011821" y="1273030"/>
                </a:lnTo>
                <a:close/>
                <a:moveTo>
                  <a:pt x="139469" y="14418"/>
                </a:moveTo>
                <a:lnTo>
                  <a:pt x="657720" y="14418"/>
                </a:lnTo>
                <a:lnTo>
                  <a:pt x="1414558" y="955333"/>
                </a:lnTo>
                <a:lnTo>
                  <a:pt x="1414558" y="14420"/>
                </a:lnTo>
                <a:lnTo>
                  <a:pt x="1793219" y="14420"/>
                </a:lnTo>
                <a:lnTo>
                  <a:pt x="1793219" y="1273030"/>
                </a:lnTo>
                <a:lnTo>
                  <a:pt x="1151296" y="1273030"/>
                </a:lnTo>
                <a:lnTo>
                  <a:pt x="378661" y="311950"/>
                </a:lnTo>
                <a:lnTo>
                  <a:pt x="378661" y="1273030"/>
                </a:lnTo>
                <a:lnTo>
                  <a:pt x="0" y="1273030"/>
                </a:lnTo>
                <a:lnTo>
                  <a:pt x="0" y="14420"/>
                </a:lnTo>
                <a:lnTo>
                  <a:pt x="139470" y="14420"/>
                </a:lnTo>
                <a:close/>
                <a:moveTo>
                  <a:pt x="4850522" y="14418"/>
                </a:moveTo>
                <a:lnTo>
                  <a:pt x="5385591" y="14418"/>
                </a:lnTo>
                <a:lnTo>
                  <a:pt x="4668730" y="603446"/>
                </a:lnTo>
                <a:lnTo>
                  <a:pt x="5474313" y="1273029"/>
                </a:lnTo>
                <a:lnTo>
                  <a:pt x="4911442" y="1273029"/>
                </a:lnTo>
                <a:lnTo>
                  <a:pt x="4178297" y="616444"/>
                </a:lnTo>
                <a:close/>
                <a:moveTo>
                  <a:pt x="2308976" y="0"/>
                </a:moveTo>
                <a:lnTo>
                  <a:pt x="3257392" y="0"/>
                </a:lnTo>
                <a:cubicBezTo>
                  <a:pt x="3442298" y="0"/>
                  <a:pt x="3624253" y="119593"/>
                  <a:pt x="3620245" y="334112"/>
                </a:cubicBezTo>
                <a:lnTo>
                  <a:pt x="3620245" y="950689"/>
                </a:lnTo>
                <a:cubicBezTo>
                  <a:pt x="3620245" y="1159210"/>
                  <a:pt x="3446305" y="1284801"/>
                  <a:pt x="3261400" y="1284801"/>
                </a:cubicBezTo>
                <a:lnTo>
                  <a:pt x="2333021" y="1288800"/>
                </a:lnTo>
                <a:cubicBezTo>
                  <a:pt x="2148115" y="1286801"/>
                  <a:pt x="1954138" y="1181205"/>
                  <a:pt x="1954138" y="950689"/>
                </a:cubicBezTo>
                <a:lnTo>
                  <a:pt x="1954138" y="334112"/>
                </a:lnTo>
                <a:cubicBezTo>
                  <a:pt x="1962153" y="113594"/>
                  <a:pt x="2124071" y="0"/>
                  <a:pt x="2308976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endParaRPr lang="en-US" sz="1811">
              <a:latin typeface="+mn-lt"/>
            </a:endParaRPr>
          </a:p>
        </p:txBody>
      </p:sp>
      <p:sp>
        <p:nvSpPr>
          <p:cNvPr id="7" name="Footer Placeholder 27">
            <a:extLst>
              <a:ext uri="{FF2B5EF4-FFF2-40B4-BE49-F238E27FC236}">
                <a16:creationId xmlns:a16="http://schemas.microsoft.com/office/drawing/2014/main" xmlns="" id="{9F222572-A85B-4ADB-85F1-35F75B12BD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5202650"/>
            <a:ext cx="2716981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accent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Ultra-optimized solution to de-risk your 5G deployment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xmlns="" id="{68837581-B8F0-439D-92F9-52B4616E4837}"/>
              </a:ext>
            </a:extLst>
          </p:cNvPr>
          <p:cNvGrpSpPr/>
          <p:nvPr userDrawn="1"/>
        </p:nvGrpSpPr>
        <p:grpSpPr>
          <a:xfrm>
            <a:off x="5028433" y="4672845"/>
            <a:ext cx="2449107" cy="362236"/>
            <a:chOff x="4997005" y="4644000"/>
            <a:chExt cx="2433800" cy="360000"/>
          </a:xfrm>
        </p:grpSpPr>
        <p:sp>
          <p:nvSpPr>
            <p:cNvPr id="11" name="&lt; forward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xmlns="" id="{E75A33FF-11CB-4CC7-976C-6A4DD9A8082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2325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7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&lt; back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xmlns="" id="{0AE1E5EA-B1CC-4171-ABB7-82C58A0C17B2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105771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7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back link">
              <a:hlinkClick r:id="" action="ppaction://hlinkshowjump?jump=previous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D6733348-1589-4AA0-8B20-CEE2074CD94C}"/>
                </a:ext>
              </a:extLst>
            </p:cNvPr>
            <p:cNvSpPr/>
            <p:nvPr userDrawn="1"/>
          </p:nvSpPr>
          <p:spPr>
            <a:xfrm>
              <a:off x="5731557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3" b="0" i="0" u="none" strike="noStrike" kern="0" cap="none" spc="0" normalizeH="0" baseline="0" noProof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revious</a:t>
              </a:r>
            </a:p>
          </p:txBody>
        </p:sp>
        <p:sp>
          <p:nvSpPr>
            <p:cNvPr id="14" name="forward link">
              <a:hlinkClick r:id="" action="ppaction://hlinkshowjump?jump=next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FD799D69-F84D-4504-A6B0-DF47C7C4F004}"/>
                </a:ext>
              </a:extLst>
            </p:cNvPr>
            <p:cNvSpPr/>
            <p:nvPr userDrawn="1"/>
          </p:nvSpPr>
          <p:spPr>
            <a:xfrm>
              <a:off x="67972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80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3" b="0" i="0" u="none" strike="noStrike" kern="0" cap="none" spc="0" normalizeH="0" baseline="0" noProof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ext</a:t>
              </a:r>
            </a:p>
          </p:txBody>
        </p:sp>
        <p:sp>
          <p:nvSpPr>
            <p:cNvPr id="15" name="Freihandform: Form 14">
              <a:hlinkClick r:id="" action="ppaction://hlinkshowjump?jump=lastslideviewed"/>
              <a:extLst>
                <a:ext uri="{FF2B5EF4-FFF2-40B4-BE49-F238E27FC236}">
                  <a16:creationId xmlns:a16="http://schemas.microsoft.com/office/drawing/2014/main" xmlns="" id="{881CD71C-1E2C-4DDD-BBC5-7B3615D7B2AF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5410986" y="4804666"/>
              <a:ext cx="53776" cy="99082"/>
            </a:xfrm>
            <a:custGeom>
              <a:avLst/>
              <a:gdLst>
                <a:gd name="connsiteX0" fmla="*/ 23824 w 82557"/>
                <a:gd name="connsiteY0" fmla="*/ 0 h 152109"/>
                <a:gd name="connsiteX1" fmla="*/ 0 w 82557"/>
                <a:gd name="connsiteY1" fmla="*/ 0 h 152109"/>
                <a:gd name="connsiteX2" fmla="*/ 58734 w 82557"/>
                <a:gd name="connsiteY2" fmla="*/ 76055 h 152109"/>
                <a:gd name="connsiteX3" fmla="*/ 0 w 82557"/>
                <a:gd name="connsiteY3" fmla="*/ 152109 h 152109"/>
                <a:gd name="connsiteX4" fmla="*/ 23824 w 82557"/>
                <a:gd name="connsiteY4" fmla="*/ 152109 h 152109"/>
                <a:gd name="connsiteX5" fmla="*/ 82557 w 82557"/>
                <a:gd name="connsiteY5" fmla="*/ 76055 h 152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57" h="152109">
                  <a:moveTo>
                    <a:pt x="23824" y="0"/>
                  </a:moveTo>
                  <a:lnTo>
                    <a:pt x="0" y="0"/>
                  </a:lnTo>
                  <a:lnTo>
                    <a:pt x="58734" y="76055"/>
                  </a:lnTo>
                  <a:lnTo>
                    <a:pt x="0" y="152109"/>
                  </a:lnTo>
                  <a:lnTo>
                    <a:pt x="23824" y="152109"/>
                  </a:lnTo>
                  <a:lnTo>
                    <a:pt x="82557" y="76055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7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back link">
              <a:hlinkClick r:id="" action="ppaction://hlinkshowjump?jump=lastslideviewed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612094DC-ABB6-411A-8210-1B4D37433993}"/>
                </a:ext>
              </a:extLst>
            </p:cNvPr>
            <p:cNvSpPr/>
            <p:nvPr userDrawn="1"/>
          </p:nvSpPr>
          <p:spPr>
            <a:xfrm>
              <a:off x="49970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3" b="0" i="0" u="none" strike="noStrike" kern="0" cap="none" spc="0" normalizeH="0" baseline="0" noProof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last visited</a:t>
              </a:r>
            </a:p>
          </p:txBody>
        </p:sp>
      </p:grpSp>
      <p:sp>
        <p:nvSpPr>
          <p:cNvPr id="17" name="Rechteck 16">
            <a:hlinkClick r:id="" action="ppaction://hlinkshowjump?jump=firstslide"/>
            <a:extLst>
              <a:ext uri="{FF2B5EF4-FFF2-40B4-BE49-F238E27FC236}">
                <a16:creationId xmlns:a16="http://schemas.microsoft.com/office/drawing/2014/main" xmlns="" id="{3EB105C6-DB49-4F8F-B1BE-C11E60C473E8}"/>
              </a:ext>
            </a:extLst>
          </p:cNvPr>
          <p:cNvSpPr/>
          <p:nvPr userDrawn="1"/>
        </p:nvSpPr>
        <p:spPr>
          <a:xfrm>
            <a:off x="441242" y="4388232"/>
            <a:ext cx="1311260" cy="477838"/>
          </a:xfrm>
          <a:prstGeom prst="rect">
            <a:avLst/>
          </a:prstGeom>
          <a:solidFill>
            <a:srgbClr val="FFFF00">
              <a:alpha val="0"/>
            </a:srgbClr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7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46801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kia | Master Ogilvy19 | Devider">
    <p:bg>
      <p:bgPr>
        <a:gradFill flip="none" rotWithShape="1">
          <a:gsLst>
            <a:gs pos="0">
              <a:srgbClr val="FAFBFB"/>
            </a:gs>
            <a:gs pos="100000">
              <a:srgbClr val="EBEEF1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>
            <a:extLst>
              <a:ext uri="{FF2B5EF4-FFF2-40B4-BE49-F238E27FC236}">
                <a16:creationId xmlns:a16="http://schemas.microsoft.com/office/drawing/2014/main" xmlns="" id="{58F0BC2D-CACC-403A-9499-3E9C02CF25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9074" t="27727" r="6951" b="15316"/>
          <a:stretch/>
        </p:blipFill>
        <p:spPr>
          <a:xfrm>
            <a:off x="8086353" y="4274862"/>
            <a:ext cx="935217" cy="760367"/>
          </a:xfrm>
          <a:prstGeom prst="roundRect">
            <a:avLst/>
          </a:prstGeom>
          <a:effectLst>
            <a:softEdge rad="76200"/>
          </a:effectLst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xmlns="" id="{B5196263-821B-4B0A-B8F0-F314EF3AD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470549"/>
            <a:ext cx="7487601" cy="869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4"/>
              </a:spcAft>
              <a:buNone/>
              <a:defRPr sz="6641" baseline="0">
                <a:solidFill>
                  <a:schemeClr val="accent3"/>
                </a:solidFill>
                <a:latin typeface="Nokia Pure Headline Ultra Light" panose="020B0204040602060303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xmlns="" id="{83E56C55-D849-4826-8A94-066B9AD50C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1340012"/>
            <a:ext cx="7487601" cy="30431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4"/>
              </a:spcAft>
              <a:buNone/>
              <a:defRPr sz="6641" baseline="0">
                <a:solidFill>
                  <a:schemeClr val="tx2"/>
                </a:solidFill>
                <a:latin typeface="Nokia Pure Headline Ultra Light" panose="020B0204040602060303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xmlns="" id="{A1A015BC-DE09-48EE-8C5E-2DE038A38CD6}"/>
              </a:ext>
            </a:extLst>
          </p:cNvPr>
          <p:cNvSpPr>
            <a:spLocks noChangeAspect="1"/>
          </p:cNvSpPr>
          <p:nvPr userDrawn="1"/>
        </p:nvSpPr>
        <p:spPr>
          <a:xfrm>
            <a:off x="477960" y="4544762"/>
            <a:ext cx="1237824" cy="201315"/>
          </a:xfrm>
          <a:custGeom>
            <a:avLst/>
            <a:gdLst>
              <a:gd name="connsiteX0" fmla="*/ 6960911 w 7924447"/>
              <a:gd name="connsiteY0" fmla="*/ 321135 h 1288800"/>
              <a:gd name="connsiteX1" fmla="*/ 6719487 w 7924447"/>
              <a:gd name="connsiteY1" fmla="*/ 779851 h 1288800"/>
              <a:gd name="connsiteX2" fmla="*/ 7204868 w 7924447"/>
              <a:gd name="connsiteY2" fmla="*/ 779851 h 1288800"/>
              <a:gd name="connsiteX3" fmla="*/ 2388009 w 7924447"/>
              <a:gd name="connsiteY3" fmla="*/ 315532 h 1288800"/>
              <a:gd name="connsiteX4" fmla="*/ 2313866 w 7924447"/>
              <a:gd name="connsiteY4" fmla="*/ 389523 h 1288800"/>
              <a:gd name="connsiteX5" fmla="*/ 2313866 w 7924447"/>
              <a:gd name="connsiteY5" fmla="*/ 895278 h 1288800"/>
              <a:gd name="connsiteX6" fmla="*/ 2388009 w 7924447"/>
              <a:gd name="connsiteY6" fmla="*/ 969269 h 1288800"/>
              <a:gd name="connsiteX7" fmla="*/ 3186375 w 7924447"/>
              <a:gd name="connsiteY7" fmla="*/ 969269 h 1288800"/>
              <a:gd name="connsiteX8" fmla="*/ 3260517 w 7924447"/>
              <a:gd name="connsiteY8" fmla="*/ 895278 h 1288800"/>
              <a:gd name="connsiteX9" fmla="*/ 3260517 w 7924447"/>
              <a:gd name="connsiteY9" fmla="*/ 389523 h 1288800"/>
              <a:gd name="connsiteX10" fmla="*/ 3186375 w 7924447"/>
              <a:gd name="connsiteY10" fmla="*/ 315532 h 1288800"/>
              <a:gd name="connsiteX11" fmla="*/ 5545757 w 7924447"/>
              <a:gd name="connsiteY11" fmla="*/ 14419 h 1288800"/>
              <a:gd name="connsiteX12" fmla="*/ 5939564 w 7924447"/>
              <a:gd name="connsiteY12" fmla="*/ 14419 h 1288800"/>
              <a:gd name="connsiteX13" fmla="*/ 5939564 w 7924447"/>
              <a:gd name="connsiteY13" fmla="*/ 1273030 h 1288800"/>
              <a:gd name="connsiteX14" fmla="*/ 5545757 w 7924447"/>
              <a:gd name="connsiteY14" fmla="*/ 1273030 h 1288800"/>
              <a:gd name="connsiteX15" fmla="*/ 3781683 w 7924447"/>
              <a:gd name="connsiteY15" fmla="*/ 14419 h 1288800"/>
              <a:gd name="connsiteX16" fmla="*/ 4175490 w 7924447"/>
              <a:gd name="connsiteY16" fmla="*/ 14419 h 1288800"/>
              <a:gd name="connsiteX17" fmla="*/ 4175490 w 7924447"/>
              <a:gd name="connsiteY17" fmla="*/ 1273030 h 1288800"/>
              <a:gd name="connsiteX18" fmla="*/ 3781683 w 7924447"/>
              <a:gd name="connsiteY18" fmla="*/ 1273030 h 1288800"/>
              <a:gd name="connsiteX19" fmla="*/ 6726931 w 7924447"/>
              <a:gd name="connsiteY19" fmla="*/ 14418 h 1288800"/>
              <a:gd name="connsiteX20" fmla="*/ 7216062 w 7924447"/>
              <a:gd name="connsiteY20" fmla="*/ 14418 h 1288800"/>
              <a:gd name="connsiteX21" fmla="*/ 7924447 w 7924447"/>
              <a:gd name="connsiteY21" fmla="*/ 1273030 h 1288800"/>
              <a:gd name="connsiteX22" fmla="*/ 7467155 w 7924447"/>
              <a:gd name="connsiteY22" fmla="*/ 1273030 h 1288800"/>
              <a:gd name="connsiteX23" fmla="*/ 7349796 w 7924447"/>
              <a:gd name="connsiteY23" fmla="*/ 1052360 h 1288800"/>
              <a:gd name="connsiteX24" fmla="*/ 6576065 w 7924447"/>
              <a:gd name="connsiteY24" fmla="*/ 1052360 h 1288800"/>
              <a:gd name="connsiteX25" fmla="*/ 6459926 w 7924447"/>
              <a:gd name="connsiteY25" fmla="*/ 1273030 h 1288800"/>
              <a:gd name="connsiteX26" fmla="*/ 6011821 w 7924447"/>
              <a:gd name="connsiteY26" fmla="*/ 1273030 h 1288800"/>
              <a:gd name="connsiteX27" fmla="*/ 139469 w 7924447"/>
              <a:gd name="connsiteY27" fmla="*/ 14418 h 1288800"/>
              <a:gd name="connsiteX28" fmla="*/ 657720 w 7924447"/>
              <a:gd name="connsiteY28" fmla="*/ 14418 h 1288800"/>
              <a:gd name="connsiteX29" fmla="*/ 1414558 w 7924447"/>
              <a:gd name="connsiteY29" fmla="*/ 955333 h 1288800"/>
              <a:gd name="connsiteX30" fmla="*/ 1414558 w 7924447"/>
              <a:gd name="connsiteY30" fmla="*/ 14420 h 1288800"/>
              <a:gd name="connsiteX31" fmla="*/ 1793219 w 7924447"/>
              <a:gd name="connsiteY31" fmla="*/ 14420 h 1288800"/>
              <a:gd name="connsiteX32" fmla="*/ 1793219 w 7924447"/>
              <a:gd name="connsiteY32" fmla="*/ 1273030 h 1288800"/>
              <a:gd name="connsiteX33" fmla="*/ 1151296 w 7924447"/>
              <a:gd name="connsiteY33" fmla="*/ 1273030 h 1288800"/>
              <a:gd name="connsiteX34" fmla="*/ 378661 w 7924447"/>
              <a:gd name="connsiteY34" fmla="*/ 311950 h 1288800"/>
              <a:gd name="connsiteX35" fmla="*/ 378661 w 7924447"/>
              <a:gd name="connsiteY35" fmla="*/ 1273030 h 1288800"/>
              <a:gd name="connsiteX36" fmla="*/ 0 w 7924447"/>
              <a:gd name="connsiteY36" fmla="*/ 1273030 h 1288800"/>
              <a:gd name="connsiteX37" fmla="*/ 0 w 7924447"/>
              <a:gd name="connsiteY37" fmla="*/ 14420 h 1288800"/>
              <a:gd name="connsiteX38" fmla="*/ 139470 w 7924447"/>
              <a:gd name="connsiteY38" fmla="*/ 14420 h 1288800"/>
              <a:gd name="connsiteX39" fmla="*/ 4850522 w 7924447"/>
              <a:gd name="connsiteY39" fmla="*/ 14418 h 1288800"/>
              <a:gd name="connsiteX40" fmla="*/ 5385591 w 7924447"/>
              <a:gd name="connsiteY40" fmla="*/ 14418 h 1288800"/>
              <a:gd name="connsiteX41" fmla="*/ 4668730 w 7924447"/>
              <a:gd name="connsiteY41" fmla="*/ 603446 h 1288800"/>
              <a:gd name="connsiteX42" fmla="*/ 5474313 w 7924447"/>
              <a:gd name="connsiteY42" fmla="*/ 1273029 h 1288800"/>
              <a:gd name="connsiteX43" fmla="*/ 4911442 w 7924447"/>
              <a:gd name="connsiteY43" fmla="*/ 1273029 h 1288800"/>
              <a:gd name="connsiteX44" fmla="*/ 4178297 w 7924447"/>
              <a:gd name="connsiteY44" fmla="*/ 616444 h 1288800"/>
              <a:gd name="connsiteX45" fmla="*/ 2308976 w 7924447"/>
              <a:gd name="connsiteY45" fmla="*/ 0 h 1288800"/>
              <a:gd name="connsiteX46" fmla="*/ 3257392 w 7924447"/>
              <a:gd name="connsiteY46" fmla="*/ 0 h 1288800"/>
              <a:gd name="connsiteX47" fmla="*/ 3620245 w 7924447"/>
              <a:gd name="connsiteY47" fmla="*/ 334112 h 1288800"/>
              <a:gd name="connsiteX48" fmla="*/ 3620245 w 7924447"/>
              <a:gd name="connsiteY48" fmla="*/ 950689 h 1288800"/>
              <a:gd name="connsiteX49" fmla="*/ 3261400 w 7924447"/>
              <a:gd name="connsiteY49" fmla="*/ 1284801 h 1288800"/>
              <a:gd name="connsiteX50" fmla="*/ 2333021 w 7924447"/>
              <a:gd name="connsiteY50" fmla="*/ 1288800 h 1288800"/>
              <a:gd name="connsiteX51" fmla="*/ 1954138 w 7924447"/>
              <a:gd name="connsiteY51" fmla="*/ 950689 h 1288800"/>
              <a:gd name="connsiteX52" fmla="*/ 1954138 w 7924447"/>
              <a:gd name="connsiteY52" fmla="*/ 334112 h 1288800"/>
              <a:gd name="connsiteX53" fmla="*/ 2308976 w 7924447"/>
              <a:gd name="connsiteY53" fmla="*/ 0 h 12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924447" h="1288800">
                <a:moveTo>
                  <a:pt x="6960911" y="321135"/>
                </a:moveTo>
                <a:lnTo>
                  <a:pt x="6719487" y="779851"/>
                </a:lnTo>
                <a:lnTo>
                  <a:pt x="7204868" y="779851"/>
                </a:lnTo>
                <a:close/>
                <a:moveTo>
                  <a:pt x="2388009" y="315532"/>
                </a:moveTo>
                <a:cubicBezTo>
                  <a:pt x="2347061" y="315532"/>
                  <a:pt x="2313866" y="348659"/>
                  <a:pt x="2313866" y="389523"/>
                </a:cubicBezTo>
                <a:lnTo>
                  <a:pt x="2313866" y="895278"/>
                </a:lnTo>
                <a:cubicBezTo>
                  <a:pt x="2313866" y="936142"/>
                  <a:pt x="2347061" y="969269"/>
                  <a:pt x="2388009" y="969269"/>
                </a:cubicBezTo>
                <a:lnTo>
                  <a:pt x="3186375" y="969269"/>
                </a:lnTo>
                <a:cubicBezTo>
                  <a:pt x="3227323" y="969269"/>
                  <a:pt x="3260517" y="936142"/>
                  <a:pt x="3260517" y="895278"/>
                </a:cubicBezTo>
                <a:lnTo>
                  <a:pt x="3260517" y="389523"/>
                </a:lnTo>
                <a:cubicBezTo>
                  <a:pt x="3260517" y="348659"/>
                  <a:pt x="3227323" y="315532"/>
                  <a:pt x="3186375" y="315532"/>
                </a:cubicBezTo>
                <a:close/>
                <a:moveTo>
                  <a:pt x="5545757" y="14419"/>
                </a:moveTo>
                <a:lnTo>
                  <a:pt x="5939564" y="14419"/>
                </a:lnTo>
                <a:lnTo>
                  <a:pt x="5939564" y="1273030"/>
                </a:lnTo>
                <a:lnTo>
                  <a:pt x="5545757" y="1273030"/>
                </a:lnTo>
                <a:close/>
                <a:moveTo>
                  <a:pt x="3781683" y="14419"/>
                </a:moveTo>
                <a:lnTo>
                  <a:pt x="4175490" y="14419"/>
                </a:lnTo>
                <a:lnTo>
                  <a:pt x="4175490" y="1273030"/>
                </a:lnTo>
                <a:lnTo>
                  <a:pt x="3781683" y="1273030"/>
                </a:lnTo>
                <a:close/>
                <a:moveTo>
                  <a:pt x="6726931" y="14418"/>
                </a:moveTo>
                <a:lnTo>
                  <a:pt x="7216062" y="14418"/>
                </a:lnTo>
                <a:lnTo>
                  <a:pt x="7924447" y="1273030"/>
                </a:lnTo>
                <a:lnTo>
                  <a:pt x="7467155" y="1273030"/>
                </a:lnTo>
                <a:lnTo>
                  <a:pt x="7349796" y="1052360"/>
                </a:lnTo>
                <a:lnTo>
                  <a:pt x="6576065" y="1052360"/>
                </a:lnTo>
                <a:lnTo>
                  <a:pt x="6459926" y="1273030"/>
                </a:lnTo>
                <a:lnTo>
                  <a:pt x="6011821" y="1273030"/>
                </a:lnTo>
                <a:close/>
                <a:moveTo>
                  <a:pt x="139469" y="14418"/>
                </a:moveTo>
                <a:lnTo>
                  <a:pt x="657720" y="14418"/>
                </a:lnTo>
                <a:lnTo>
                  <a:pt x="1414558" y="955333"/>
                </a:lnTo>
                <a:lnTo>
                  <a:pt x="1414558" y="14420"/>
                </a:lnTo>
                <a:lnTo>
                  <a:pt x="1793219" y="14420"/>
                </a:lnTo>
                <a:lnTo>
                  <a:pt x="1793219" y="1273030"/>
                </a:lnTo>
                <a:lnTo>
                  <a:pt x="1151296" y="1273030"/>
                </a:lnTo>
                <a:lnTo>
                  <a:pt x="378661" y="311950"/>
                </a:lnTo>
                <a:lnTo>
                  <a:pt x="378661" y="1273030"/>
                </a:lnTo>
                <a:lnTo>
                  <a:pt x="0" y="1273030"/>
                </a:lnTo>
                <a:lnTo>
                  <a:pt x="0" y="14420"/>
                </a:lnTo>
                <a:lnTo>
                  <a:pt x="139470" y="14420"/>
                </a:lnTo>
                <a:close/>
                <a:moveTo>
                  <a:pt x="4850522" y="14418"/>
                </a:moveTo>
                <a:lnTo>
                  <a:pt x="5385591" y="14418"/>
                </a:lnTo>
                <a:lnTo>
                  <a:pt x="4668730" y="603446"/>
                </a:lnTo>
                <a:lnTo>
                  <a:pt x="5474313" y="1273029"/>
                </a:lnTo>
                <a:lnTo>
                  <a:pt x="4911442" y="1273029"/>
                </a:lnTo>
                <a:lnTo>
                  <a:pt x="4178297" y="616444"/>
                </a:lnTo>
                <a:close/>
                <a:moveTo>
                  <a:pt x="2308976" y="0"/>
                </a:moveTo>
                <a:lnTo>
                  <a:pt x="3257392" y="0"/>
                </a:lnTo>
                <a:cubicBezTo>
                  <a:pt x="3442298" y="0"/>
                  <a:pt x="3624253" y="119593"/>
                  <a:pt x="3620245" y="334112"/>
                </a:cubicBezTo>
                <a:lnTo>
                  <a:pt x="3620245" y="950689"/>
                </a:lnTo>
                <a:cubicBezTo>
                  <a:pt x="3620245" y="1159210"/>
                  <a:pt x="3446305" y="1284801"/>
                  <a:pt x="3261400" y="1284801"/>
                </a:cubicBezTo>
                <a:lnTo>
                  <a:pt x="2333021" y="1288800"/>
                </a:lnTo>
                <a:cubicBezTo>
                  <a:pt x="2148115" y="1286801"/>
                  <a:pt x="1954138" y="1181205"/>
                  <a:pt x="1954138" y="950689"/>
                </a:cubicBezTo>
                <a:lnTo>
                  <a:pt x="1954138" y="334112"/>
                </a:lnTo>
                <a:cubicBezTo>
                  <a:pt x="1962153" y="113594"/>
                  <a:pt x="2124071" y="0"/>
                  <a:pt x="2308976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endParaRPr lang="en-US" sz="1811">
              <a:latin typeface="+mn-lt"/>
            </a:endParaRPr>
          </a:p>
        </p:txBody>
      </p:sp>
      <p:sp>
        <p:nvSpPr>
          <p:cNvPr id="6" name="Footer Placeholder 27">
            <a:extLst>
              <a:ext uri="{FF2B5EF4-FFF2-40B4-BE49-F238E27FC236}">
                <a16:creationId xmlns:a16="http://schemas.microsoft.com/office/drawing/2014/main" xmlns="" id="{1186BF0D-3AA2-467C-B689-72A0F70CD9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5202650"/>
            <a:ext cx="2716981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accent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Ultra-optimized solution to de-risk your 5G deployment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xmlns="" id="{0CC7EF63-9948-463B-BCC2-DF05B69349C7}"/>
              </a:ext>
            </a:extLst>
          </p:cNvPr>
          <p:cNvGrpSpPr/>
          <p:nvPr userDrawn="1"/>
        </p:nvGrpSpPr>
        <p:grpSpPr>
          <a:xfrm>
            <a:off x="5028433" y="4672845"/>
            <a:ext cx="2449107" cy="362236"/>
            <a:chOff x="4997005" y="4644000"/>
            <a:chExt cx="2433800" cy="360000"/>
          </a:xfrm>
        </p:grpSpPr>
        <p:sp>
          <p:nvSpPr>
            <p:cNvPr id="10" name="&lt; forward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xmlns="" id="{777CCC49-10FD-4BDE-BF2B-E219B261DBD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2325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7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&lt; back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xmlns="" id="{E6B9F13D-24A8-43FE-B155-C470ED28586B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105771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7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back link">
              <a:hlinkClick r:id="" action="ppaction://hlinkshowjump?jump=previous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1E6609AA-8CB8-44FE-A310-CEF1E695287A}"/>
                </a:ext>
              </a:extLst>
            </p:cNvPr>
            <p:cNvSpPr/>
            <p:nvPr userDrawn="1"/>
          </p:nvSpPr>
          <p:spPr>
            <a:xfrm>
              <a:off x="5731557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3" b="0" i="0" u="none" strike="noStrike" kern="0" cap="none" spc="0" normalizeH="0" baseline="0" noProof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revious</a:t>
              </a:r>
            </a:p>
          </p:txBody>
        </p:sp>
        <p:sp>
          <p:nvSpPr>
            <p:cNvPr id="14" name="forward link">
              <a:hlinkClick r:id="" action="ppaction://hlinkshowjump?jump=next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6DA41A3C-A9CB-4DF8-9A7E-9AE31CD8B733}"/>
                </a:ext>
              </a:extLst>
            </p:cNvPr>
            <p:cNvSpPr/>
            <p:nvPr userDrawn="1"/>
          </p:nvSpPr>
          <p:spPr>
            <a:xfrm>
              <a:off x="67972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80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3" b="0" i="0" u="none" strike="noStrike" kern="0" cap="none" spc="0" normalizeH="0" baseline="0" noProof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ext</a:t>
              </a:r>
            </a:p>
          </p:txBody>
        </p:sp>
        <p:sp>
          <p:nvSpPr>
            <p:cNvPr id="15" name="Freihandform: Form 14">
              <a:hlinkClick r:id="" action="ppaction://hlinkshowjump?jump=lastslideviewed"/>
              <a:extLst>
                <a:ext uri="{FF2B5EF4-FFF2-40B4-BE49-F238E27FC236}">
                  <a16:creationId xmlns:a16="http://schemas.microsoft.com/office/drawing/2014/main" xmlns="" id="{F54ECBFE-A54C-4DFA-A7D2-A99B17C13BD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5410986" y="4804666"/>
              <a:ext cx="53776" cy="99082"/>
            </a:xfrm>
            <a:custGeom>
              <a:avLst/>
              <a:gdLst>
                <a:gd name="connsiteX0" fmla="*/ 23824 w 82557"/>
                <a:gd name="connsiteY0" fmla="*/ 0 h 152109"/>
                <a:gd name="connsiteX1" fmla="*/ 0 w 82557"/>
                <a:gd name="connsiteY1" fmla="*/ 0 h 152109"/>
                <a:gd name="connsiteX2" fmla="*/ 58734 w 82557"/>
                <a:gd name="connsiteY2" fmla="*/ 76055 h 152109"/>
                <a:gd name="connsiteX3" fmla="*/ 0 w 82557"/>
                <a:gd name="connsiteY3" fmla="*/ 152109 h 152109"/>
                <a:gd name="connsiteX4" fmla="*/ 23824 w 82557"/>
                <a:gd name="connsiteY4" fmla="*/ 152109 h 152109"/>
                <a:gd name="connsiteX5" fmla="*/ 82557 w 82557"/>
                <a:gd name="connsiteY5" fmla="*/ 76055 h 152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57" h="152109">
                  <a:moveTo>
                    <a:pt x="23824" y="0"/>
                  </a:moveTo>
                  <a:lnTo>
                    <a:pt x="0" y="0"/>
                  </a:lnTo>
                  <a:lnTo>
                    <a:pt x="58734" y="76055"/>
                  </a:lnTo>
                  <a:lnTo>
                    <a:pt x="0" y="152109"/>
                  </a:lnTo>
                  <a:lnTo>
                    <a:pt x="23824" y="152109"/>
                  </a:lnTo>
                  <a:lnTo>
                    <a:pt x="82557" y="76055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7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back link">
              <a:hlinkClick r:id="" action="ppaction://hlinkshowjump?jump=lastslideviewed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DFFD4BA2-D420-4C01-A635-D251BA2EC890}"/>
                </a:ext>
              </a:extLst>
            </p:cNvPr>
            <p:cNvSpPr/>
            <p:nvPr userDrawn="1"/>
          </p:nvSpPr>
          <p:spPr>
            <a:xfrm>
              <a:off x="49970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3" b="0" i="0" u="none" strike="noStrike" kern="0" cap="none" spc="0" normalizeH="0" baseline="0" noProof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last visited</a:t>
              </a:r>
            </a:p>
          </p:txBody>
        </p:sp>
      </p:grpSp>
      <p:sp>
        <p:nvSpPr>
          <p:cNvPr id="17" name="Rechteck 16">
            <a:hlinkClick r:id="" action="ppaction://hlinkshowjump?jump=firstslide"/>
            <a:extLst>
              <a:ext uri="{FF2B5EF4-FFF2-40B4-BE49-F238E27FC236}">
                <a16:creationId xmlns:a16="http://schemas.microsoft.com/office/drawing/2014/main" xmlns="" id="{2D9B6405-7DC5-4081-8886-BA3025799061}"/>
              </a:ext>
            </a:extLst>
          </p:cNvPr>
          <p:cNvSpPr/>
          <p:nvPr userDrawn="1"/>
        </p:nvSpPr>
        <p:spPr>
          <a:xfrm>
            <a:off x="441242" y="4388232"/>
            <a:ext cx="1311260" cy="477838"/>
          </a:xfrm>
          <a:prstGeom prst="rect">
            <a:avLst/>
          </a:prstGeom>
          <a:solidFill>
            <a:srgbClr val="FFFF00">
              <a:alpha val="0"/>
            </a:srgbClr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7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67503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1" y="4816800"/>
            <a:ext cx="2847687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Ultra-optimized solution to de-risk your 5G deploymen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2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12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xmlns="" id="{C836EC8E-5F24-405B-AED7-22B300A206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00" y="280989"/>
            <a:ext cx="8308800" cy="309351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6783454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1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1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6" name="Footer Placeholder 27">
            <a:extLst>
              <a:ext uri="{FF2B5EF4-FFF2-40B4-BE49-F238E27FC236}">
                <a16:creationId xmlns:a16="http://schemas.microsoft.com/office/drawing/2014/main" xmlns="" id="{55B14E9B-1ECE-D449-8308-149BCBDA64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52353" y="4816800"/>
            <a:ext cx="5583617" cy="1222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7463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1" y="1248771"/>
            <a:ext cx="8283049" cy="3239467"/>
          </a:xfrm>
          <a:prstGeom prst="rect">
            <a:avLst/>
          </a:prstGeom>
        </p:spPr>
        <p:txBody>
          <a:bodyPr lIns="0" tIns="0" rIns="0" bIns="0"/>
          <a:lstStyle>
            <a:lvl1pPr marL="179996" indent="-179996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66" indent="-174621">
              <a:buClr>
                <a:schemeClr val="accent1"/>
              </a:buClr>
              <a:buFont typeface="Wingdings" charset="2"/>
              <a:buChar char="§"/>
              <a:defRPr/>
            </a:lvl2pPr>
            <a:lvl3pPr marL="539737" indent="-177796">
              <a:buClr>
                <a:schemeClr val="accent1"/>
              </a:buClr>
              <a:buFont typeface="Wingdings" charset="2"/>
              <a:buChar char="§"/>
              <a:defRPr/>
            </a:lvl3pPr>
            <a:lvl4pPr marL="714357" indent="-182558">
              <a:buClr>
                <a:schemeClr val="accent1"/>
              </a:buClr>
              <a:buFont typeface="Wingdings" charset="2"/>
              <a:buChar char="§"/>
              <a:defRPr/>
            </a:lvl4pPr>
            <a:lvl5pPr marL="900091" indent="-177796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AT" noProof="0" dirty="0" smtClean="0"/>
              <a:t>Edit </a:t>
            </a:r>
            <a:r>
              <a:rPr lang="de-AT" noProof="0" dirty="0" err="1" smtClean="0"/>
              <a:t>text</a:t>
            </a:r>
            <a:endParaRPr lang="de-AT" noProof="0" dirty="0" smtClean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318006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2700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2000" noProof="0" dirty="0" smtClean="0">
                <a:solidFill>
                  <a:schemeClr val="accent1"/>
                </a:solidFill>
              </a:rPr>
              <a:t>Key message of the slide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6441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72">
          <p15:clr>
            <a:srgbClr val="FBAE40"/>
          </p15:clr>
        </p15:guide>
        <p15:guide id="2" orient="horz" pos="91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+ footer + without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05"/>
            <a:ext cx="9144000" cy="5143500"/>
          </a:xfrm>
          <a:prstGeom prst="rect">
            <a:avLst/>
          </a:prstGeom>
        </p:spPr>
      </p:pic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1" y="1248771"/>
            <a:ext cx="8283049" cy="3239467"/>
          </a:xfrm>
          <a:prstGeom prst="rect">
            <a:avLst/>
          </a:prstGeom>
        </p:spPr>
        <p:txBody>
          <a:bodyPr lIns="0" tIns="0" rIns="0" bIns="0"/>
          <a:lstStyle>
            <a:lvl1pPr marL="179996" indent="-179996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>
                <a:latin typeface="A1 Serif" pitchFamily="2" charset="-52"/>
              </a:defRPr>
            </a:lvl1pPr>
            <a:lvl2pPr marL="358766" indent="-174621">
              <a:buClr>
                <a:schemeClr val="accent1"/>
              </a:buClr>
              <a:buFont typeface="Wingdings" charset="2"/>
              <a:buChar char="§"/>
              <a:defRPr/>
            </a:lvl2pPr>
            <a:lvl3pPr marL="539737" indent="-177796">
              <a:buClr>
                <a:schemeClr val="accent1"/>
              </a:buClr>
              <a:buFont typeface="Wingdings" charset="2"/>
              <a:buChar char="§"/>
              <a:defRPr/>
            </a:lvl3pPr>
            <a:lvl4pPr marL="714357" indent="-182558">
              <a:buClr>
                <a:schemeClr val="accent1"/>
              </a:buClr>
              <a:buFont typeface="Wingdings" charset="2"/>
              <a:buChar char="§"/>
              <a:defRPr/>
            </a:lvl4pPr>
            <a:lvl5pPr marL="900091" indent="-177796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AT" noProof="0" dirty="0" smtClean="0"/>
              <a:t>Edit </a:t>
            </a:r>
            <a:r>
              <a:rPr lang="de-AT" noProof="0" dirty="0" err="1" smtClean="0"/>
              <a:t>text</a:t>
            </a:r>
            <a:endParaRPr lang="de-AT" noProof="0" dirty="0" smtClean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318006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2700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E60604"/>
                </a:solidFill>
                <a:latin typeface="A1 Serif" pitchFamily="2" charset="-52"/>
                <a:ea typeface="A1 Serif" pitchFamily="2" charset="-52"/>
                <a:cs typeface="A1 Serif" pitchFamily="2" charset="-52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2000" noProof="0" dirty="0" smtClean="0">
                <a:solidFill>
                  <a:schemeClr val="accent1"/>
                </a:solidFill>
              </a:rPr>
              <a:t>Key message of the slide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384561471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3094">
          <p15:clr>
            <a:srgbClr val="FBAE40"/>
          </p15:clr>
        </p15:guide>
        <p15:guide id="2" pos="27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+ text + footer + without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7145"/>
            <a:ext cx="9154487" cy="5150645"/>
          </a:xfrm>
          <a:prstGeom prst="rect">
            <a:avLst/>
          </a:prstGeom>
        </p:spPr>
      </p:pic>
      <p:pic>
        <p:nvPicPr>
          <p:cNvPr id="21" name="Bild 2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62" t="89881" r="91094"/>
          <a:stretch/>
        </p:blipFill>
        <p:spPr>
          <a:xfrm>
            <a:off x="371475" y="4629150"/>
            <a:ext cx="442913" cy="520455"/>
          </a:xfrm>
          <a:prstGeom prst="rect">
            <a:avLst/>
          </a:prstGeom>
        </p:spPr>
      </p:pic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1" y="1248771"/>
            <a:ext cx="8283049" cy="3239467"/>
          </a:xfrm>
          <a:prstGeom prst="rect">
            <a:avLst/>
          </a:prstGeom>
        </p:spPr>
        <p:txBody>
          <a:bodyPr lIns="0" tIns="0" rIns="0" bIns="0"/>
          <a:lstStyle>
            <a:lvl1pPr marL="179996" indent="-179996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>
                <a:latin typeface="A1 Serif" pitchFamily="2" charset="-52"/>
              </a:defRPr>
            </a:lvl1pPr>
            <a:lvl2pPr marL="358766" indent="-174621">
              <a:buClr>
                <a:schemeClr val="accent1"/>
              </a:buClr>
              <a:buFont typeface="Wingdings" charset="2"/>
              <a:buChar char="§"/>
              <a:defRPr/>
            </a:lvl2pPr>
            <a:lvl3pPr marL="539737" indent="-177796">
              <a:buClr>
                <a:schemeClr val="accent1"/>
              </a:buClr>
              <a:buFont typeface="Wingdings" charset="2"/>
              <a:buChar char="§"/>
              <a:defRPr/>
            </a:lvl3pPr>
            <a:lvl4pPr marL="714357" indent="-182558">
              <a:buClr>
                <a:schemeClr val="accent1"/>
              </a:buClr>
              <a:buFont typeface="Wingdings" charset="2"/>
              <a:buChar char="§"/>
              <a:defRPr/>
            </a:lvl4pPr>
            <a:lvl5pPr marL="900091" indent="-177796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AT" noProof="0" dirty="0" smtClean="0"/>
              <a:t>Edit </a:t>
            </a:r>
            <a:r>
              <a:rPr lang="de-AT" noProof="0" dirty="0" err="1" smtClean="0"/>
              <a:t>text</a:t>
            </a:r>
            <a:endParaRPr lang="de-AT" noProof="0" dirty="0" smtClean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318006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2700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E60604"/>
                </a:solidFill>
                <a:latin typeface="A1 Serif" pitchFamily="2" charset="-52"/>
                <a:ea typeface="A1 Serif" pitchFamily="2" charset="-52"/>
                <a:cs typeface="A1 Serif" pitchFamily="2" charset="-52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2000" noProof="0" dirty="0" smtClean="0">
                <a:solidFill>
                  <a:schemeClr val="accent1"/>
                </a:solidFill>
              </a:rPr>
              <a:t>Key message of the slide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15207762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3094">
          <p15:clr>
            <a:srgbClr val="FBAE40"/>
          </p15:clr>
        </p15:guide>
        <p15:guide id="2" pos="27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2712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bg-B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5B542989-A339-4A2D-A17B-202DF9B5C9C5}" type="datetimeFigureOut">
              <a:rPr lang="bg-BG" smtClean="0"/>
              <a:t>5.9.2019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7B8FFCB5-1C31-4DE5-9C5D-16AB9F4E342B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708631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396031"/>
            <a:ext cx="8283049" cy="3092206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AT" noProof="0" dirty="0"/>
              <a:t>Text hinzufüg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023176" y="4778188"/>
            <a:ext cx="7318106" cy="2056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600">
                <a:cs typeface="Verdana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sz="600" noProof="0" dirty="0">
                <a:solidFill>
                  <a:schemeClr val="accent4"/>
                </a:solidFill>
                <a:latin typeface="+mn-lt"/>
                <a:cs typeface="Verdana"/>
              </a:rPr>
              <a:t>Land | Vorname Nachname | Präsentatio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287156"/>
            <a:ext cx="8283049" cy="153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1"/>
              </a:buClr>
              <a:buFont typeface="Arial" charset="0"/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AT" noProof="0" dirty="0"/>
              <a:t>Titel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440837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noProof="0" dirty="0">
                <a:solidFill>
                  <a:schemeClr val="accent1"/>
                </a:solidFill>
              </a:rPr>
              <a:t>Kernaussage der Folie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122792136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2">
          <p15:clr>
            <a:srgbClr val="FBAE40"/>
          </p15:clr>
        </p15:guide>
        <p15:guide id="2" orient="horz" pos="91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396031"/>
            <a:ext cx="3923815" cy="3092206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023176" y="4778188"/>
            <a:ext cx="7318106" cy="2056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600">
                <a:cs typeface="Verdana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noProof="0" dirty="0">
                <a:solidFill>
                  <a:schemeClr val="accent4"/>
                </a:solidFill>
                <a:latin typeface="+mn-lt"/>
                <a:cs typeface="Verdana"/>
              </a:rPr>
              <a:t>Country | Name Surname | Presentatio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287156"/>
            <a:ext cx="8283049" cy="153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1"/>
              </a:buClr>
              <a:buFont typeface="Arial" charset="0"/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440837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noProof="0" dirty="0">
                <a:solidFill>
                  <a:schemeClr val="accent1"/>
                </a:solidFill>
              </a:rPr>
              <a:t>Kernaussage der Folie</a:t>
            </a:r>
            <a:endParaRPr lang="en-GB" noProof="0" dirty="0"/>
          </a:p>
        </p:txBody>
      </p:sp>
      <p:sp>
        <p:nvSpPr>
          <p:cNvPr id="20" name="Bildplatzhalter 12"/>
          <p:cNvSpPr>
            <a:spLocks noGrp="1"/>
          </p:cNvSpPr>
          <p:nvPr>
            <p:ph type="pic" sz="quarter" idx="15" hasCustomPrompt="1"/>
          </p:nvPr>
        </p:nvSpPr>
        <p:spPr>
          <a:xfrm>
            <a:off x="4589347" y="1465837"/>
            <a:ext cx="4122451" cy="320353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Füge ein Foto mit Drag &amp; Drop oder per Reinklicken in die grau Box hinzu.</a:t>
            </a:r>
          </a:p>
        </p:txBody>
      </p:sp>
    </p:spTree>
    <p:extLst>
      <p:ext uri="{BB962C8B-B14F-4D97-AF65-F5344CB8AC3E}">
        <p14:creationId xmlns:p14="http://schemas.microsoft.com/office/powerpoint/2010/main" val="21897955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2">
          <p15:clr>
            <a:srgbClr val="FBAE40"/>
          </p15:clr>
        </p15:guide>
        <p15:guide id="2" orient="horz" pos="91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+ footer + without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05"/>
            <a:ext cx="9144000" cy="5143500"/>
          </a:xfrm>
          <a:prstGeom prst="rect">
            <a:avLst/>
          </a:prstGeom>
        </p:spPr>
      </p:pic>
      <p:sp>
        <p:nvSpPr>
          <p:cNvPr id="10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023176" y="4778188"/>
            <a:ext cx="7318106" cy="2056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sz="600" noProof="0" dirty="0">
                <a:solidFill>
                  <a:schemeClr val="accent4"/>
                </a:solidFill>
                <a:latin typeface="+mn-lt"/>
                <a:cs typeface="Verdana"/>
              </a:rPr>
              <a:t>Land | Vorname Nachname | Präsentatio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287156"/>
            <a:ext cx="8283049" cy="153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1"/>
              </a:buClr>
              <a:buFont typeface="Arial" charset="0"/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de-AT" noProof="0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440837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noProof="0" dirty="0">
                <a:solidFill>
                  <a:schemeClr val="accent1"/>
                </a:solidFill>
              </a:rPr>
              <a:t>Kernaussage der Folie</a:t>
            </a:r>
            <a:endParaRPr lang="de-AT" noProof="0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396031"/>
            <a:ext cx="8283049" cy="3092206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AT" noProof="0" dirty="0"/>
              <a:t>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28179763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2" orient="horz" pos="3094">
          <p15:clr>
            <a:srgbClr val="FBAE40"/>
          </p15:clr>
        </p15:guide>
        <p15:guide id="3" pos="27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17791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396031"/>
            <a:ext cx="3923815" cy="3092206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023176" y="4778188"/>
            <a:ext cx="7318106" cy="2056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600">
                <a:cs typeface="Verdana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noProof="0" dirty="0">
                <a:solidFill>
                  <a:schemeClr val="accent4"/>
                </a:solidFill>
                <a:latin typeface="+mn-lt"/>
                <a:cs typeface="Verdana"/>
              </a:rPr>
              <a:t>Country | Name Surname | Presentatio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287156"/>
            <a:ext cx="8283049" cy="153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1"/>
              </a:buClr>
              <a:buFont typeface="Arial" charset="0"/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440837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noProof="0" dirty="0">
                <a:solidFill>
                  <a:schemeClr val="accent1"/>
                </a:solidFill>
              </a:rPr>
              <a:t>Kernaussage der Folie</a:t>
            </a:r>
            <a:endParaRPr lang="en-GB" noProof="0" dirty="0"/>
          </a:p>
        </p:txBody>
      </p:sp>
      <p:sp>
        <p:nvSpPr>
          <p:cNvPr id="20" name="Bildplatzhalter 12"/>
          <p:cNvSpPr>
            <a:spLocks noGrp="1"/>
          </p:cNvSpPr>
          <p:nvPr>
            <p:ph type="pic" sz="quarter" idx="15" hasCustomPrompt="1"/>
          </p:nvPr>
        </p:nvSpPr>
        <p:spPr>
          <a:xfrm>
            <a:off x="4589347" y="1465837"/>
            <a:ext cx="4122451" cy="320353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2700" indent="0" algn="ctr">
              <a:buClr>
                <a:schemeClr val="accent1"/>
              </a:buClr>
              <a:buFont typeface="Wingdings" charset="2"/>
              <a:buNone/>
              <a:defRPr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Füge ein Foto mit Drag &amp; Drop oder per Reinklicken in die grau Box hinzu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 rot="16200000">
            <a:off x="8511273" y="723919"/>
            <a:ext cx="1117854" cy="147600"/>
          </a:xfrm>
          <a:prstGeom prst="rect">
            <a:avLst/>
          </a:prstGeom>
          <a:noFill/>
        </p:spPr>
        <p:txBody>
          <a:bodyPr anchor="ctr"/>
          <a:lstStyle>
            <a:lvl1pPr algn="l" defTabSz="4572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kern="1200">
                <a:solidFill>
                  <a:srgbClr val="6CB004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ctr"/>
            <a:r>
              <a:rPr lang="de-AT" sz="450" dirty="0">
                <a:solidFill>
                  <a:srgbClr val="868C96"/>
                </a:solidFill>
              </a:rPr>
              <a:t>Entwurf zur internen Diskussion</a:t>
            </a:r>
          </a:p>
        </p:txBody>
      </p:sp>
    </p:spTree>
    <p:extLst>
      <p:ext uri="{BB962C8B-B14F-4D97-AF65-F5344CB8AC3E}">
        <p14:creationId xmlns:p14="http://schemas.microsoft.com/office/powerpoint/2010/main" val="8195057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2">
          <p15:clr>
            <a:srgbClr val="FBAE40"/>
          </p15:clr>
        </p15:guide>
        <p15:guide id="2" orient="horz" pos="91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396031"/>
            <a:ext cx="3923815" cy="3092206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023176" y="4778188"/>
            <a:ext cx="7318106" cy="2056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600">
                <a:cs typeface="Verdana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noProof="0" dirty="0">
                <a:solidFill>
                  <a:schemeClr val="accent4"/>
                </a:solidFill>
                <a:latin typeface="+mn-lt"/>
                <a:cs typeface="Verdana"/>
              </a:rPr>
              <a:t>Country | Name Surname | Presentatio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287156"/>
            <a:ext cx="8283049" cy="153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1"/>
              </a:buClr>
              <a:buFont typeface="Arial" charset="0"/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440837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noProof="0" dirty="0">
                <a:solidFill>
                  <a:schemeClr val="accent1"/>
                </a:solidFill>
              </a:rPr>
              <a:t>Kernaussage der Folie</a:t>
            </a:r>
            <a:endParaRPr lang="en-GB" noProof="0" dirty="0"/>
          </a:p>
        </p:txBody>
      </p:sp>
      <p:sp>
        <p:nvSpPr>
          <p:cNvPr id="20" name="Bildplatzhalter 12"/>
          <p:cNvSpPr>
            <a:spLocks noGrp="1"/>
          </p:cNvSpPr>
          <p:nvPr>
            <p:ph type="pic" sz="quarter" idx="15" hasCustomPrompt="1"/>
          </p:nvPr>
        </p:nvSpPr>
        <p:spPr>
          <a:xfrm>
            <a:off x="4589347" y="1465837"/>
            <a:ext cx="4122451" cy="320353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Füge ein Foto mit Drag &amp; Drop oder per Reinklicken in die grau Box hinzu.</a:t>
            </a:r>
          </a:p>
        </p:txBody>
      </p:sp>
    </p:spTree>
    <p:extLst>
      <p:ext uri="{BB962C8B-B14F-4D97-AF65-F5344CB8AC3E}">
        <p14:creationId xmlns:p14="http://schemas.microsoft.com/office/powerpoint/2010/main" val="33806951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2">
          <p15:clr>
            <a:srgbClr val="FBAE40"/>
          </p15:clr>
        </p15:guide>
        <p15:guide id="2" orient="horz" pos="91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7101768" y="4723675"/>
            <a:ext cx="1697567" cy="295277"/>
          </a:xfrm>
          <a:prstGeom prst="rect">
            <a:avLst/>
          </a:prstGeom>
        </p:spPr>
        <p:txBody>
          <a:bodyPr vert="horz" lIns="91440" tIns="45720" rIns="91440" bIns="5400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EEB748-9ECA-0045-A0B7-CAB4A7055F7F}" type="slidenum">
              <a:rPr lang="en-US" sz="600" b="1" smtClean="0">
                <a:solidFill>
                  <a:srgbClr val="DA281C"/>
                </a:solidFill>
                <a:cs typeface="Verdana"/>
              </a:rPr>
              <a:pPr algn="r"/>
              <a:t>‹#›</a:t>
            </a:fld>
            <a:endParaRPr lang="en-US" sz="600" b="1" dirty="0">
              <a:solidFill>
                <a:srgbClr val="DA281C"/>
              </a:solidFill>
              <a:cs typeface="Verdana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472129" y="1397895"/>
            <a:ext cx="6236896" cy="33042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023176" y="4778188"/>
            <a:ext cx="7318106" cy="2056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600">
                <a:cs typeface="Verdana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noProof="0" dirty="0">
                <a:solidFill>
                  <a:schemeClr val="accent4"/>
                </a:solidFill>
                <a:latin typeface="+mn-lt"/>
                <a:cs typeface="Verdana"/>
              </a:rPr>
              <a:t>Country | Name Surname | Presentatio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287156"/>
            <a:ext cx="8283049" cy="153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1"/>
              </a:buClr>
              <a:buFont typeface="Arial" charset="0"/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440837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noProof="0" dirty="0">
                <a:solidFill>
                  <a:schemeClr val="accent1"/>
                </a:solidFill>
              </a:rPr>
              <a:t>Kernaussage der Folie</a:t>
            </a:r>
            <a:endParaRPr lang="en-GB" noProof="0" dirty="0"/>
          </a:p>
        </p:txBody>
      </p:sp>
      <p:sp>
        <p:nvSpPr>
          <p:cNvPr id="23" name="Bildplatzhalter 12"/>
          <p:cNvSpPr>
            <a:spLocks noGrp="1"/>
          </p:cNvSpPr>
          <p:nvPr>
            <p:ph type="pic" sz="quarter" idx="15" hasCustomPrompt="1"/>
          </p:nvPr>
        </p:nvSpPr>
        <p:spPr>
          <a:xfrm>
            <a:off x="438186" y="1474676"/>
            <a:ext cx="1644630" cy="9251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4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438186" y="2561815"/>
            <a:ext cx="1644630" cy="9251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5" name="Bildplatzhalter 12"/>
          <p:cNvSpPr>
            <a:spLocks noGrp="1"/>
          </p:cNvSpPr>
          <p:nvPr>
            <p:ph type="pic" sz="quarter" idx="17" hasCustomPrompt="1"/>
          </p:nvPr>
        </p:nvSpPr>
        <p:spPr>
          <a:xfrm>
            <a:off x="438186" y="3652748"/>
            <a:ext cx="1644630" cy="9251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 rot="16200000">
            <a:off x="8511273" y="723919"/>
            <a:ext cx="1117854" cy="147600"/>
          </a:xfrm>
          <a:prstGeom prst="rect">
            <a:avLst/>
          </a:prstGeom>
          <a:noFill/>
        </p:spPr>
        <p:txBody>
          <a:bodyPr anchor="ctr"/>
          <a:lstStyle>
            <a:lvl1pPr algn="l" defTabSz="4572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kern="1200">
                <a:solidFill>
                  <a:srgbClr val="6CB004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ctr"/>
            <a:r>
              <a:rPr lang="de-AT" sz="450" dirty="0">
                <a:solidFill>
                  <a:srgbClr val="868C96"/>
                </a:solidFill>
              </a:rPr>
              <a:t>Entwurf zur internen Diskussion</a:t>
            </a:r>
          </a:p>
        </p:txBody>
      </p:sp>
    </p:spTree>
    <p:extLst>
      <p:ext uri="{BB962C8B-B14F-4D97-AF65-F5344CB8AC3E}">
        <p14:creationId xmlns:p14="http://schemas.microsoft.com/office/powerpoint/2010/main" val="20180908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2">
          <p15:clr>
            <a:srgbClr val="FBAE40"/>
          </p15:clr>
        </p15:guide>
        <p15:guide id="2" orient="horz" pos="91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7101768" y="4723675"/>
            <a:ext cx="1697567" cy="295277"/>
          </a:xfrm>
          <a:prstGeom prst="rect">
            <a:avLst/>
          </a:prstGeom>
        </p:spPr>
        <p:txBody>
          <a:bodyPr vert="horz" lIns="91440" tIns="45720" rIns="91440" bIns="5400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EEB748-9ECA-0045-A0B7-CAB4A7055F7F}" type="slidenum">
              <a:rPr lang="en-US" sz="600" b="1" smtClean="0">
                <a:solidFill>
                  <a:srgbClr val="DA281C"/>
                </a:solidFill>
                <a:cs typeface="Verdana"/>
              </a:rPr>
              <a:pPr algn="r"/>
              <a:t>‹#›</a:t>
            </a:fld>
            <a:endParaRPr lang="en-US" sz="600" b="1" dirty="0">
              <a:solidFill>
                <a:srgbClr val="DA281C"/>
              </a:solidFill>
              <a:cs typeface="Verdana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472129" y="1397895"/>
            <a:ext cx="6236896" cy="33042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023176" y="4778188"/>
            <a:ext cx="7318106" cy="2056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600">
                <a:cs typeface="Verdana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noProof="0" dirty="0">
                <a:solidFill>
                  <a:schemeClr val="accent4"/>
                </a:solidFill>
                <a:latin typeface="+mn-lt"/>
                <a:cs typeface="Verdana"/>
              </a:rPr>
              <a:t>Country | Name Surname | Presentatio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287156"/>
            <a:ext cx="8283049" cy="153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1"/>
              </a:buClr>
              <a:buFont typeface="Arial" charset="0"/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440837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noProof="0" dirty="0">
                <a:solidFill>
                  <a:schemeClr val="accent1"/>
                </a:solidFill>
              </a:rPr>
              <a:t>Kernaussage der Folie</a:t>
            </a:r>
            <a:endParaRPr lang="en-GB" noProof="0" dirty="0"/>
          </a:p>
        </p:txBody>
      </p:sp>
      <p:sp>
        <p:nvSpPr>
          <p:cNvPr id="23" name="Bildplatzhalter 12"/>
          <p:cNvSpPr>
            <a:spLocks noGrp="1"/>
          </p:cNvSpPr>
          <p:nvPr>
            <p:ph type="pic" sz="quarter" idx="15" hasCustomPrompt="1"/>
          </p:nvPr>
        </p:nvSpPr>
        <p:spPr>
          <a:xfrm>
            <a:off x="438186" y="1474676"/>
            <a:ext cx="1644630" cy="9251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4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438186" y="2561815"/>
            <a:ext cx="1644630" cy="9251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5" name="Bildplatzhalter 12"/>
          <p:cNvSpPr>
            <a:spLocks noGrp="1"/>
          </p:cNvSpPr>
          <p:nvPr>
            <p:ph type="pic" sz="quarter" idx="17" hasCustomPrompt="1"/>
          </p:nvPr>
        </p:nvSpPr>
        <p:spPr>
          <a:xfrm>
            <a:off x="438186" y="3652748"/>
            <a:ext cx="1644630" cy="9251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</p:spTree>
    <p:extLst>
      <p:ext uri="{BB962C8B-B14F-4D97-AF65-F5344CB8AC3E}">
        <p14:creationId xmlns:p14="http://schemas.microsoft.com/office/powerpoint/2010/main" val="15096798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2">
          <p15:clr>
            <a:srgbClr val="FBAE40"/>
          </p15:clr>
        </p15:guide>
        <p15:guide id="2" orient="horz" pos="91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8185" y="3258448"/>
            <a:ext cx="2657200" cy="13450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Arial" charset="0"/>
              <a:buNone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023176" y="4778188"/>
            <a:ext cx="7318106" cy="2056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600">
                <a:cs typeface="Verdana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noProof="0" dirty="0">
                <a:solidFill>
                  <a:schemeClr val="accent4"/>
                </a:solidFill>
                <a:latin typeface="+mn-lt"/>
                <a:cs typeface="Verdana"/>
              </a:rPr>
              <a:t>Country | Name Surname | Presentatio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287156"/>
            <a:ext cx="8283049" cy="153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1"/>
              </a:buClr>
              <a:buFont typeface="Arial" charset="0"/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440837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noProof="0" dirty="0">
                <a:solidFill>
                  <a:schemeClr val="accent1"/>
                </a:solidFill>
              </a:rPr>
              <a:t>Kernaussage der Folie</a:t>
            </a:r>
            <a:endParaRPr lang="en-GB" noProof="0" dirty="0"/>
          </a:p>
        </p:txBody>
      </p:sp>
      <p:sp>
        <p:nvSpPr>
          <p:cNvPr id="23" name="Bildplatzhalter 12"/>
          <p:cNvSpPr>
            <a:spLocks noGrp="1"/>
          </p:cNvSpPr>
          <p:nvPr>
            <p:ph type="pic" sz="quarter" idx="15" hasCustomPrompt="1"/>
          </p:nvPr>
        </p:nvSpPr>
        <p:spPr>
          <a:xfrm>
            <a:off x="438185" y="1753422"/>
            <a:ext cx="2410111" cy="13544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0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3244803" y="1753422"/>
            <a:ext cx="2410111" cy="13544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2" name="Bildplatzhalter 12"/>
          <p:cNvSpPr>
            <a:spLocks noGrp="1"/>
          </p:cNvSpPr>
          <p:nvPr>
            <p:ph type="pic" sz="quarter" idx="17" hasCustomPrompt="1"/>
          </p:nvPr>
        </p:nvSpPr>
        <p:spPr>
          <a:xfrm>
            <a:off x="6048617" y="1753422"/>
            <a:ext cx="2410111" cy="13544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233701" y="3258448"/>
            <a:ext cx="2657200" cy="13450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Arial" charset="0"/>
              <a:buNone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6048617" y="3258448"/>
            <a:ext cx="2657200" cy="13450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Arial" charset="0"/>
              <a:buNone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 rot="16200000">
            <a:off x="8511273" y="723919"/>
            <a:ext cx="1117854" cy="147600"/>
          </a:xfrm>
          <a:prstGeom prst="rect">
            <a:avLst/>
          </a:prstGeom>
          <a:noFill/>
        </p:spPr>
        <p:txBody>
          <a:bodyPr anchor="ctr"/>
          <a:lstStyle>
            <a:lvl1pPr algn="l" defTabSz="4572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kern="1200">
                <a:solidFill>
                  <a:srgbClr val="6CB004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ctr"/>
            <a:r>
              <a:rPr lang="de-AT" sz="450" dirty="0">
                <a:solidFill>
                  <a:srgbClr val="868C96"/>
                </a:solidFill>
              </a:rPr>
              <a:t>Entwurf zur internen Diskussion</a:t>
            </a:r>
          </a:p>
        </p:txBody>
      </p:sp>
    </p:spTree>
    <p:extLst>
      <p:ext uri="{BB962C8B-B14F-4D97-AF65-F5344CB8AC3E}">
        <p14:creationId xmlns:p14="http://schemas.microsoft.com/office/powerpoint/2010/main" val="93023533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2">
          <p15:clr>
            <a:srgbClr val="FBAE40"/>
          </p15:clr>
        </p15:guide>
        <p15:guide id="2" orient="horz" pos="91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8185" y="3258448"/>
            <a:ext cx="2657200" cy="13450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Arial" charset="0"/>
              <a:buNone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023176" y="4778188"/>
            <a:ext cx="7318106" cy="2056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600">
                <a:cs typeface="Verdana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noProof="0" dirty="0">
                <a:solidFill>
                  <a:schemeClr val="accent4"/>
                </a:solidFill>
                <a:latin typeface="+mn-lt"/>
                <a:cs typeface="Verdana"/>
              </a:rPr>
              <a:t>Country | Name Surname | Presentatio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287156"/>
            <a:ext cx="8283049" cy="153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1"/>
              </a:buClr>
              <a:buFont typeface="Arial" charset="0"/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440837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noProof="0" dirty="0">
                <a:solidFill>
                  <a:schemeClr val="accent1"/>
                </a:solidFill>
              </a:rPr>
              <a:t>Kernaussage der Folie</a:t>
            </a:r>
            <a:endParaRPr lang="en-GB" noProof="0" dirty="0"/>
          </a:p>
        </p:txBody>
      </p:sp>
      <p:sp>
        <p:nvSpPr>
          <p:cNvPr id="23" name="Bildplatzhalter 12"/>
          <p:cNvSpPr>
            <a:spLocks noGrp="1"/>
          </p:cNvSpPr>
          <p:nvPr>
            <p:ph type="pic" sz="quarter" idx="15" hasCustomPrompt="1"/>
          </p:nvPr>
        </p:nvSpPr>
        <p:spPr>
          <a:xfrm>
            <a:off x="438185" y="1753422"/>
            <a:ext cx="2410111" cy="13544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0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3244803" y="1753422"/>
            <a:ext cx="2410111" cy="13544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2" name="Bildplatzhalter 12"/>
          <p:cNvSpPr>
            <a:spLocks noGrp="1"/>
          </p:cNvSpPr>
          <p:nvPr>
            <p:ph type="pic" sz="quarter" idx="17" hasCustomPrompt="1"/>
          </p:nvPr>
        </p:nvSpPr>
        <p:spPr>
          <a:xfrm>
            <a:off x="6048617" y="1753422"/>
            <a:ext cx="2410111" cy="13544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233701" y="3258448"/>
            <a:ext cx="2657200" cy="13450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Arial" charset="0"/>
              <a:buNone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6048617" y="3258448"/>
            <a:ext cx="2657200" cy="13450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Arial" charset="0"/>
              <a:buNone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685689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2">
          <p15:clr>
            <a:srgbClr val="FBAE40"/>
          </p15:clr>
        </p15:guide>
        <p15:guide id="2" orient="horz" pos="91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ndsc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297872" y="1949499"/>
            <a:ext cx="8416978" cy="1053033"/>
          </a:xfrm>
          <a:prstGeom prst="rect">
            <a:avLst/>
          </a:prstGeom>
        </p:spPr>
        <p:txBody>
          <a:bodyPr lIns="90000"/>
          <a:lstStyle>
            <a:lvl1pPr marL="3600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sz="3000" b="1" baseline="0">
                <a:solidFill>
                  <a:schemeClr val="accent2"/>
                </a:solidFill>
              </a:defRPr>
            </a:lvl1pPr>
          </a:lstStyle>
          <a:p>
            <a:r>
              <a:rPr lang="de-AT" noProof="0" dirty="0"/>
              <a:t>A1 Muster Folien</a:t>
            </a:r>
            <a:br>
              <a:rPr lang="de-AT" noProof="0" dirty="0"/>
            </a:br>
            <a:r>
              <a:rPr lang="de-AT" noProof="0" dirty="0"/>
              <a:t>Titelblatt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97408" y="3002532"/>
            <a:ext cx="8417441" cy="153681"/>
          </a:xfrm>
          <a:prstGeom prst="rect">
            <a:avLst/>
          </a:prstGeom>
        </p:spPr>
        <p:txBody>
          <a:bodyPr tIns="0" bIns="0"/>
          <a:lstStyle>
            <a:lvl1pPr marL="36000" indent="0">
              <a:buClr>
                <a:schemeClr val="accent1"/>
              </a:buClr>
              <a:buFont typeface="Arial" charset="0"/>
              <a:buNone/>
              <a:defRPr sz="800" baseline="0">
                <a:solidFill>
                  <a:schemeClr val="accent2"/>
                </a:solidFill>
              </a:defRPr>
            </a:lvl1pPr>
          </a:lstStyle>
          <a:p>
            <a:r>
              <a:rPr lang="de-AT" noProof="0" dirty="0"/>
              <a:t>TT Monat JJJJ, Vorname und Nachname</a:t>
            </a:r>
          </a:p>
        </p:txBody>
      </p:sp>
    </p:spTree>
    <p:extLst>
      <p:ext uri="{BB962C8B-B14F-4D97-AF65-F5344CB8AC3E}">
        <p14:creationId xmlns:p14="http://schemas.microsoft.com/office/powerpoint/2010/main" val="175561623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oma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297872" y="1949499"/>
            <a:ext cx="8416978" cy="1053033"/>
          </a:xfrm>
          <a:prstGeom prst="rect">
            <a:avLst/>
          </a:prstGeom>
        </p:spPr>
        <p:txBody>
          <a:bodyPr lIns="90000"/>
          <a:lstStyle>
            <a:lvl1pPr marL="3600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sz="3000" b="1" baseline="0">
                <a:solidFill>
                  <a:schemeClr val="accent2"/>
                </a:solidFill>
              </a:defRPr>
            </a:lvl1pPr>
          </a:lstStyle>
          <a:p>
            <a:r>
              <a:rPr lang="de-AT" noProof="0" dirty="0"/>
              <a:t>A1 Muster Folie</a:t>
            </a:r>
            <a:br>
              <a:rPr lang="de-AT" noProof="0" dirty="0"/>
            </a:br>
            <a:r>
              <a:rPr lang="de-AT" noProof="0" dirty="0"/>
              <a:t>Titelblatt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97408" y="3002532"/>
            <a:ext cx="8417441" cy="153681"/>
          </a:xfrm>
          <a:prstGeom prst="rect">
            <a:avLst/>
          </a:prstGeom>
        </p:spPr>
        <p:txBody>
          <a:bodyPr tIns="0" bIns="0"/>
          <a:lstStyle>
            <a:lvl1pPr marL="36000" indent="0">
              <a:buClr>
                <a:schemeClr val="accent1"/>
              </a:buClr>
              <a:buFont typeface="Arial" charset="0"/>
              <a:buNone/>
              <a:defRPr sz="800" baseline="0">
                <a:solidFill>
                  <a:schemeClr val="accent2"/>
                </a:solidFill>
              </a:defRPr>
            </a:lvl1pPr>
          </a:lstStyle>
          <a:p>
            <a:r>
              <a:rPr lang="de-AT" noProof="0" dirty="0"/>
              <a:t>TT Monat JJJJ, Vorname und Nachname</a:t>
            </a:r>
          </a:p>
        </p:txBody>
      </p:sp>
    </p:spTree>
    <p:extLst>
      <p:ext uri="{BB962C8B-B14F-4D97-AF65-F5344CB8AC3E}">
        <p14:creationId xmlns:p14="http://schemas.microsoft.com/office/powerpoint/2010/main" val="11325637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7101768" y="4723675"/>
            <a:ext cx="1697567" cy="295277"/>
          </a:xfrm>
          <a:prstGeom prst="rect">
            <a:avLst/>
          </a:prstGeom>
        </p:spPr>
        <p:txBody>
          <a:bodyPr vert="horz" lIns="91440" tIns="45720" rIns="91440" bIns="5400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EEB748-9ECA-0045-A0B7-CAB4A7055F7F}" type="slidenum">
              <a:rPr lang="en-US" sz="600" b="1" smtClean="0">
                <a:solidFill>
                  <a:schemeClr val="accent1"/>
                </a:solidFill>
                <a:latin typeface="Verdana"/>
                <a:cs typeface="Verdana"/>
              </a:rPr>
              <a:t>‹#›</a:t>
            </a:fld>
            <a:endParaRPr lang="en-US" sz="600" b="1" dirty="0">
              <a:solidFill>
                <a:schemeClr val="accent1"/>
              </a:solidFill>
              <a:latin typeface="Verdana"/>
              <a:cs typeface="Verdana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472129" y="1397895"/>
            <a:ext cx="6236896" cy="33042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023176" y="4778188"/>
            <a:ext cx="7318106" cy="2056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600">
                <a:cs typeface="Verdana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noProof="0" dirty="0">
                <a:solidFill>
                  <a:schemeClr val="accent4"/>
                </a:solidFill>
                <a:latin typeface="+mn-lt"/>
                <a:cs typeface="Verdana"/>
              </a:rPr>
              <a:t>Country | Name Surname | Presentatio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287156"/>
            <a:ext cx="8283049" cy="153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1"/>
              </a:buClr>
              <a:buFont typeface="Arial" charset="0"/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440837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noProof="0" dirty="0">
                <a:solidFill>
                  <a:schemeClr val="accent1"/>
                </a:solidFill>
              </a:rPr>
              <a:t>Kernaussage der Folie</a:t>
            </a:r>
            <a:endParaRPr lang="en-GB" noProof="0" dirty="0"/>
          </a:p>
        </p:txBody>
      </p:sp>
      <p:sp>
        <p:nvSpPr>
          <p:cNvPr id="23" name="Bildplatzhalter 12"/>
          <p:cNvSpPr>
            <a:spLocks noGrp="1"/>
          </p:cNvSpPr>
          <p:nvPr>
            <p:ph type="pic" sz="quarter" idx="15" hasCustomPrompt="1"/>
          </p:nvPr>
        </p:nvSpPr>
        <p:spPr>
          <a:xfrm>
            <a:off x="438186" y="1474676"/>
            <a:ext cx="1644630" cy="9251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4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438186" y="2561815"/>
            <a:ext cx="1644630" cy="9251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5" name="Bildplatzhalter 12"/>
          <p:cNvSpPr>
            <a:spLocks noGrp="1"/>
          </p:cNvSpPr>
          <p:nvPr>
            <p:ph type="pic" sz="quarter" idx="17" hasCustomPrompt="1"/>
          </p:nvPr>
        </p:nvSpPr>
        <p:spPr>
          <a:xfrm>
            <a:off x="438186" y="3652748"/>
            <a:ext cx="1644630" cy="9251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 rot="16200000">
            <a:off x="8511273" y="723919"/>
            <a:ext cx="1117854" cy="147600"/>
          </a:xfrm>
          <a:prstGeom prst="rect">
            <a:avLst/>
          </a:prstGeom>
          <a:noFill/>
        </p:spPr>
        <p:txBody>
          <a:bodyPr anchor="ctr"/>
          <a:lstStyle>
            <a:lvl1pPr algn="l" defTabSz="4572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kern="1200">
                <a:solidFill>
                  <a:srgbClr val="6CB004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ctr"/>
            <a:r>
              <a:rPr lang="de-AT" sz="450" b="0" dirty="0">
                <a:solidFill>
                  <a:schemeClr val="accent4"/>
                </a:solidFill>
              </a:rPr>
              <a:t>Entwurf zur internen Diskussion</a:t>
            </a:r>
          </a:p>
        </p:txBody>
      </p:sp>
    </p:spTree>
    <p:extLst>
      <p:ext uri="{BB962C8B-B14F-4D97-AF65-F5344CB8AC3E}">
        <p14:creationId xmlns:p14="http://schemas.microsoft.com/office/powerpoint/2010/main" val="372404185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2">
          <p15:clr>
            <a:srgbClr val="FBAE40"/>
          </p15:clr>
        </p15:guide>
        <p15:guide id="2" orient="horz" pos="91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a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297872" y="1949499"/>
            <a:ext cx="8416978" cy="1053033"/>
          </a:xfrm>
          <a:prstGeom prst="rect">
            <a:avLst/>
          </a:prstGeom>
        </p:spPr>
        <p:txBody>
          <a:bodyPr lIns="90000"/>
          <a:lstStyle>
            <a:lvl1pPr marL="3600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sz="3000" b="1" baseline="0">
                <a:solidFill>
                  <a:schemeClr val="bg2"/>
                </a:solidFill>
              </a:defRPr>
            </a:lvl1pPr>
          </a:lstStyle>
          <a:p>
            <a:r>
              <a:rPr lang="de-AT" noProof="0" dirty="0"/>
              <a:t>A1 Muster Folie</a:t>
            </a:r>
            <a:br>
              <a:rPr lang="de-AT" noProof="0" dirty="0"/>
            </a:br>
            <a:r>
              <a:rPr lang="de-AT" noProof="0" dirty="0"/>
              <a:t>Titelblatt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97408" y="3002532"/>
            <a:ext cx="8417441" cy="153681"/>
          </a:xfrm>
          <a:prstGeom prst="rect">
            <a:avLst/>
          </a:prstGeom>
        </p:spPr>
        <p:txBody>
          <a:bodyPr tIns="0" bIns="0"/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sz="800" baseline="0">
                <a:solidFill>
                  <a:schemeClr val="bg2"/>
                </a:solidFill>
              </a:defRPr>
            </a:lvl1pPr>
          </a:lstStyle>
          <a:p>
            <a:r>
              <a:rPr lang="de-AT" noProof="0" dirty="0"/>
              <a:t>TT Monat JJJJ, Vorname und Nachname</a:t>
            </a:r>
          </a:p>
        </p:txBody>
      </p:sp>
    </p:spTree>
    <p:extLst>
      <p:ext uri="{BB962C8B-B14F-4D97-AF65-F5344CB8AC3E}">
        <p14:creationId xmlns:p14="http://schemas.microsoft.com/office/powerpoint/2010/main" val="363372986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igit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297872" y="1949499"/>
            <a:ext cx="8416978" cy="1053033"/>
          </a:xfrm>
          <a:prstGeom prst="rect">
            <a:avLst/>
          </a:prstGeom>
        </p:spPr>
        <p:txBody>
          <a:bodyPr lIns="90000"/>
          <a:lstStyle>
            <a:lvl1pPr marL="3600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sz="3000" b="1" baseline="0">
                <a:solidFill>
                  <a:schemeClr val="bg2"/>
                </a:solidFill>
              </a:defRPr>
            </a:lvl1pPr>
          </a:lstStyle>
          <a:p>
            <a:r>
              <a:rPr lang="de-AT" noProof="0" dirty="0"/>
              <a:t>A1 Muster Folie </a:t>
            </a:r>
            <a:br>
              <a:rPr lang="de-AT" noProof="0" dirty="0"/>
            </a:br>
            <a:r>
              <a:rPr lang="de-AT" noProof="0" dirty="0"/>
              <a:t>Titelblat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97408" y="3002532"/>
            <a:ext cx="8417441" cy="153681"/>
          </a:xfrm>
          <a:prstGeom prst="rect">
            <a:avLst/>
          </a:prstGeom>
        </p:spPr>
        <p:txBody>
          <a:bodyPr tIns="0" bIns="0"/>
          <a:lstStyle>
            <a:lvl1pPr marL="3600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  <a:defRPr sz="800" baseline="0">
                <a:solidFill>
                  <a:schemeClr val="bg2"/>
                </a:solidFill>
              </a:defRPr>
            </a:lvl1pPr>
          </a:lstStyle>
          <a:p>
            <a:r>
              <a:rPr lang="de-AT" noProof="0" dirty="0"/>
              <a:t>TT Monat JJJJ, Vorname und Nachname</a:t>
            </a:r>
          </a:p>
        </p:txBody>
      </p:sp>
    </p:spTree>
    <p:extLst>
      <p:ext uri="{BB962C8B-B14F-4D97-AF65-F5344CB8AC3E}">
        <p14:creationId xmlns:p14="http://schemas.microsoft.com/office/powerpoint/2010/main" val="53765567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297872" y="2144944"/>
            <a:ext cx="8416978" cy="1053033"/>
          </a:xfrm>
          <a:prstGeom prst="rect">
            <a:avLst/>
          </a:prstGeom>
        </p:spPr>
        <p:txBody>
          <a:bodyPr lIns="90000"/>
          <a:lstStyle>
            <a:lvl1pPr marL="3600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3000" b="1" baseline="0">
                <a:solidFill>
                  <a:schemeClr val="accent2"/>
                </a:solidFill>
              </a:defRPr>
            </a:lvl1pPr>
          </a:lstStyle>
          <a:p>
            <a:r>
              <a:rPr lang="de-AT" noProof="0" dirty="0"/>
              <a:t>Danke</a:t>
            </a:r>
          </a:p>
        </p:txBody>
      </p:sp>
    </p:spTree>
    <p:extLst>
      <p:ext uri="{BB962C8B-B14F-4D97-AF65-F5344CB8AC3E}">
        <p14:creationId xmlns:p14="http://schemas.microsoft.com/office/powerpoint/2010/main" val="21756651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ßzeile ohne Entwurf Hinw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59819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7101768" y="4723675"/>
            <a:ext cx="1697567" cy="295277"/>
          </a:xfrm>
          <a:prstGeom prst="rect">
            <a:avLst/>
          </a:prstGeom>
        </p:spPr>
        <p:txBody>
          <a:bodyPr vert="horz" lIns="91440" tIns="45720" rIns="91440" bIns="5400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EEB748-9ECA-0045-A0B7-CAB4A7055F7F}" type="slidenum">
              <a:rPr lang="en-US" sz="600" b="1" smtClean="0">
                <a:solidFill>
                  <a:srgbClr val="DA281C"/>
                </a:solidFill>
                <a:cs typeface="Verdana"/>
              </a:rPr>
              <a:pPr algn="r"/>
              <a:t>‹#›</a:t>
            </a:fld>
            <a:endParaRPr lang="en-US" sz="600" b="1" dirty="0">
              <a:solidFill>
                <a:srgbClr val="DA281C"/>
              </a:solidFill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50057618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line + text + footer + without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70"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Bild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7101768" y="4723675"/>
            <a:ext cx="1697567" cy="295277"/>
          </a:xfrm>
          <a:prstGeom prst="rect">
            <a:avLst/>
          </a:prstGeom>
        </p:spPr>
        <p:txBody>
          <a:bodyPr vert="horz" lIns="91440" tIns="45720" rIns="91440" bIns="5400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EEB748-9ECA-0045-A0B7-CAB4A7055F7F}" type="slidenum">
              <a:rPr lang="en-US" sz="600" b="1" smtClean="0">
                <a:solidFill>
                  <a:srgbClr val="DA281C"/>
                </a:solidFill>
                <a:cs typeface="Verdana"/>
              </a:rPr>
              <a:pPr algn="r"/>
              <a:t>‹#›</a:t>
            </a:fld>
            <a:endParaRPr lang="en-US" sz="600" b="1" dirty="0">
              <a:solidFill>
                <a:srgbClr val="DA281C"/>
              </a:solidFill>
              <a:cs typeface="Verdana"/>
            </a:endParaRP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297872" y="440837"/>
            <a:ext cx="8416978" cy="747302"/>
          </a:xfrm>
          <a:prstGeom prst="rect">
            <a:avLst/>
          </a:prstGeom>
        </p:spPr>
        <p:txBody>
          <a:bodyPr lIns="90000"/>
          <a:lstStyle>
            <a:lvl1pPr marL="3600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/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dirty="0">
                <a:solidFill>
                  <a:schemeClr val="accent1"/>
                </a:solidFill>
              </a:rPr>
              <a:t>Key </a:t>
            </a:r>
            <a:r>
              <a:rPr lang="de-AT" sz="2000" dirty="0" err="1">
                <a:solidFill>
                  <a:schemeClr val="accent1"/>
                </a:solidFill>
              </a:rPr>
              <a:t>message</a:t>
            </a:r>
            <a:r>
              <a:rPr lang="de-AT" sz="2000" dirty="0">
                <a:solidFill>
                  <a:schemeClr val="accent1"/>
                </a:solidFill>
              </a:rPr>
              <a:t> </a:t>
            </a:r>
            <a:r>
              <a:rPr lang="de-AT" sz="2000" dirty="0" err="1">
                <a:solidFill>
                  <a:schemeClr val="accent1"/>
                </a:solidFill>
              </a:rPr>
              <a:t>of</a:t>
            </a:r>
            <a:r>
              <a:rPr lang="de-AT" sz="2000" dirty="0">
                <a:solidFill>
                  <a:schemeClr val="accent1"/>
                </a:solidFill>
              </a:rPr>
              <a:t> </a:t>
            </a:r>
            <a:r>
              <a:rPr lang="de-AT" sz="2000" dirty="0" err="1">
                <a:solidFill>
                  <a:schemeClr val="accent1"/>
                </a:solidFill>
              </a:rPr>
              <a:t>the</a:t>
            </a:r>
            <a:r>
              <a:rPr lang="de-AT" sz="2000" dirty="0">
                <a:solidFill>
                  <a:schemeClr val="accent1"/>
                </a:solidFill>
              </a:rPr>
              <a:t> </a:t>
            </a:r>
            <a:r>
              <a:rPr lang="de-AT" sz="2000" dirty="0" err="1">
                <a:solidFill>
                  <a:schemeClr val="accent1"/>
                </a:solidFill>
              </a:rPr>
              <a:t>slide</a:t>
            </a:r>
            <a:r>
              <a:rPr lang="en-US" sz="2000" dirty="0">
                <a:solidFill>
                  <a:schemeClr val="accent1"/>
                </a:solidFill>
              </a:rPr>
              <a:t/>
            </a:r>
            <a:br>
              <a:rPr lang="en-US" sz="2000" dirty="0">
                <a:solidFill>
                  <a:schemeClr val="accent1"/>
                </a:solidFill>
              </a:rPr>
            </a:b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91574" y="1339315"/>
            <a:ext cx="8423275" cy="2962800"/>
          </a:xfrm>
          <a:prstGeom prst="rect">
            <a:avLst/>
          </a:prstGeom>
        </p:spPr>
        <p:txBody>
          <a:bodyPr lIns="108000" tIns="108000" rIns="144000" bIns="108000"/>
          <a:lstStyle>
            <a:lvl1pPr marL="360000" indent="-180000">
              <a:lnSpc>
                <a:spcPts val="1800"/>
              </a:lnSpc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735094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7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Bild 2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7101768" y="4723675"/>
            <a:ext cx="1697567" cy="295277"/>
          </a:xfrm>
          <a:prstGeom prst="rect">
            <a:avLst/>
          </a:prstGeom>
        </p:spPr>
        <p:txBody>
          <a:bodyPr vert="horz" lIns="91440" tIns="45720" rIns="91440" bIns="5400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EEB748-9ECA-0045-A0B7-CAB4A7055F7F}" type="slidenum">
              <a:rPr lang="en-US" sz="600" b="1" smtClean="0">
                <a:solidFill>
                  <a:srgbClr val="DA281C"/>
                </a:solidFill>
                <a:cs typeface="Verdana"/>
              </a:rPr>
              <a:pPr algn="r"/>
              <a:t>‹#›</a:t>
            </a:fld>
            <a:endParaRPr lang="en-US" sz="600" b="1" dirty="0">
              <a:solidFill>
                <a:srgbClr val="DA281C"/>
              </a:solidFill>
              <a:cs typeface="Verdana"/>
            </a:endParaRP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297872" y="440837"/>
            <a:ext cx="8416978" cy="747302"/>
          </a:xfrm>
          <a:prstGeom prst="rect">
            <a:avLst/>
          </a:prstGeom>
        </p:spPr>
        <p:txBody>
          <a:bodyPr lIns="90000"/>
          <a:lstStyle>
            <a:lvl1pPr marL="3600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/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dirty="0">
                <a:solidFill>
                  <a:schemeClr val="accent1"/>
                </a:solidFill>
              </a:rPr>
              <a:t>Key </a:t>
            </a:r>
            <a:r>
              <a:rPr lang="de-AT" sz="2000" dirty="0" err="1">
                <a:solidFill>
                  <a:schemeClr val="accent1"/>
                </a:solidFill>
              </a:rPr>
              <a:t>message</a:t>
            </a:r>
            <a:r>
              <a:rPr lang="de-AT" sz="2000" dirty="0">
                <a:solidFill>
                  <a:schemeClr val="accent1"/>
                </a:solidFill>
              </a:rPr>
              <a:t> </a:t>
            </a:r>
            <a:r>
              <a:rPr lang="de-AT" sz="2000" dirty="0" err="1">
                <a:solidFill>
                  <a:schemeClr val="accent1"/>
                </a:solidFill>
              </a:rPr>
              <a:t>of</a:t>
            </a:r>
            <a:r>
              <a:rPr lang="de-AT" sz="2000" dirty="0">
                <a:solidFill>
                  <a:schemeClr val="accent1"/>
                </a:solidFill>
              </a:rPr>
              <a:t> </a:t>
            </a:r>
            <a:r>
              <a:rPr lang="de-AT" sz="2000" dirty="0" err="1">
                <a:solidFill>
                  <a:schemeClr val="accent1"/>
                </a:solidFill>
              </a:rPr>
              <a:t>the</a:t>
            </a:r>
            <a:r>
              <a:rPr lang="de-AT" sz="2000" dirty="0">
                <a:solidFill>
                  <a:schemeClr val="accent1"/>
                </a:solidFill>
              </a:rPr>
              <a:t> </a:t>
            </a:r>
            <a:r>
              <a:rPr lang="de-AT" sz="2000" dirty="0" err="1">
                <a:solidFill>
                  <a:schemeClr val="accent1"/>
                </a:solidFill>
              </a:rPr>
              <a:t>slide</a:t>
            </a:r>
            <a:r>
              <a:rPr lang="en-US" sz="2000" dirty="0">
                <a:solidFill>
                  <a:schemeClr val="accent1"/>
                </a:solidFill>
              </a:rPr>
              <a:t/>
            </a:r>
            <a:br>
              <a:rPr lang="en-US" sz="2000" dirty="0">
                <a:solidFill>
                  <a:schemeClr val="accent1"/>
                </a:solidFill>
              </a:rPr>
            </a:b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91574" y="1339315"/>
            <a:ext cx="8423275" cy="2962800"/>
          </a:xfrm>
          <a:prstGeom prst="rect">
            <a:avLst/>
          </a:prstGeom>
        </p:spPr>
        <p:txBody>
          <a:bodyPr lIns="108000" tIns="108000" rIns="144000" bIns="108000"/>
          <a:lstStyle>
            <a:lvl1pPr marL="360000" indent="-180000">
              <a:lnSpc>
                <a:spcPts val="1800"/>
              </a:lnSpc>
              <a:spcAft>
                <a:spcPts val="60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615935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+ text + footer + without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05"/>
            <a:ext cx="9144000" cy="5143500"/>
          </a:xfrm>
          <a:prstGeom prst="rect">
            <a:avLst/>
          </a:prstGeom>
        </p:spPr>
      </p:pic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1801" y="1248771"/>
            <a:ext cx="8283049" cy="3239467"/>
          </a:xfrm>
          <a:prstGeom prst="rect">
            <a:avLst/>
          </a:prstGeom>
        </p:spPr>
        <p:txBody>
          <a:bodyPr lIns="0" tIns="0" rIns="0" bIns="0"/>
          <a:lstStyle>
            <a:lvl1pPr marL="179996" indent="-179996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>
                <a:latin typeface="A1 Serif" pitchFamily="2" charset="-52"/>
              </a:defRPr>
            </a:lvl1pPr>
            <a:lvl2pPr marL="358766" indent="-174621">
              <a:buClr>
                <a:schemeClr val="accent1"/>
              </a:buClr>
              <a:buFont typeface="Wingdings" charset="2"/>
              <a:buChar char="§"/>
              <a:defRPr/>
            </a:lvl2pPr>
            <a:lvl3pPr marL="539737" indent="-177796">
              <a:buClr>
                <a:schemeClr val="accent1"/>
              </a:buClr>
              <a:buFont typeface="Wingdings" charset="2"/>
              <a:buChar char="§"/>
              <a:defRPr/>
            </a:lvl3pPr>
            <a:lvl4pPr marL="714357" indent="-182558">
              <a:buClr>
                <a:schemeClr val="accent1"/>
              </a:buClr>
              <a:buFont typeface="Wingdings" charset="2"/>
              <a:buChar char="§"/>
              <a:defRPr/>
            </a:lvl4pPr>
            <a:lvl5pPr marL="900091" indent="-177796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AT" noProof="0" dirty="0" smtClean="0"/>
              <a:t>Edit </a:t>
            </a:r>
            <a:r>
              <a:rPr lang="de-AT" noProof="0" dirty="0" err="1" smtClean="0"/>
              <a:t>text</a:t>
            </a:r>
            <a:endParaRPr lang="de-AT" noProof="0" dirty="0" smtClean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318006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2700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solidFill>
                  <a:srgbClr val="E60604"/>
                </a:solidFill>
                <a:latin typeface="A1 Serif" pitchFamily="2" charset="-52"/>
                <a:ea typeface="A1 Serif" pitchFamily="2" charset="-52"/>
                <a:cs typeface="A1 Serif" pitchFamily="2" charset="-52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2000" noProof="0" dirty="0" smtClean="0">
                <a:solidFill>
                  <a:schemeClr val="accent1"/>
                </a:solidFill>
              </a:rPr>
              <a:t>Key message of the slide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22316080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3094">
          <p15:clr>
            <a:srgbClr val="FBAE40"/>
          </p15:clr>
        </p15:guide>
        <p15:guide id="2" pos="27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7101768" y="4723675"/>
            <a:ext cx="1697567" cy="295277"/>
          </a:xfrm>
          <a:prstGeom prst="rect">
            <a:avLst/>
          </a:prstGeom>
        </p:spPr>
        <p:txBody>
          <a:bodyPr vert="horz" lIns="91440" tIns="45720" rIns="91440" bIns="5400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EEB748-9ECA-0045-A0B7-CAB4A7055F7F}" type="slidenum">
              <a:rPr lang="en-US" sz="600" b="1" smtClean="0">
                <a:solidFill>
                  <a:schemeClr val="accent1"/>
                </a:solidFill>
                <a:latin typeface="Verdana"/>
                <a:cs typeface="Verdana"/>
              </a:rPr>
              <a:t>‹#›</a:t>
            </a:fld>
            <a:endParaRPr lang="en-US" sz="600" b="1" dirty="0">
              <a:solidFill>
                <a:schemeClr val="accent1"/>
              </a:solidFill>
              <a:latin typeface="Verdana"/>
              <a:cs typeface="Verdana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472129" y="1397895"/>
            <a:ext cx="6236896" cy="33042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023176" y="4778188"/>
            <a:ext cx="7318106" cy="2056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600">
                <a:cs typeface="Verdana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noProof="0" dirty="0">
                <a:solidFill>
                  <a:schemeClr val="accent4"/>
                </a:solidFill>
                <a:latin typeface="+mn-lt"/>
                <a:cs typeface="Verdana"/>
              </a:rPr>
              <a:t>Country | Name Surname | Presentatio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287156"/>
            <a:ext cx="8283049" cy="153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1"/>
              </a:buClr>
              <a:buFont typeface="Arial" charset="0"/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440837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noProof="0" dirty="0">
                <a:solidFill>
                  <a:schemeClr val="accent1"/>
                </a:solidFill>
              </a:rPr>
              <a:t>Kernaussage der Folie</a:t>
            </a:r>
            <a:endParaRPr lang="en-GB" noProof="0" dirty="0"/>
          </a:p>
        </p:txBody>
      </p:sp>
      <p:sp>
        <p:nvSpPr>
          <p:cNvPr id="23" name="Bildplatzhalter 12"/>
          <p:cNvSpPr>
            <a:spLocks noGrp="1"/>
          </p:cNvSpPr>
          <p:nvPr>
            <p:ph type="pic" sz="quarter" idx="15" hasCustomPrompt="1"/>
          </p:nvPr>
        </p:nvSpPr>
        <p:spPr>
          <a:xfrm>
            <a:off x="438186" y="1474676"/>
            <a:ext cx="1644630" cy="9251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4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438186" y="2561815"/>
            <a:ext cx="1644630" cy="9251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5" name="Bildplatzhalter 12"/>
          <p:cNvSpPr>
            <a:spLocks noGrp="1"/>
          </p:cNvSpPr>
          <p:nvPr>
            <p:ph type="pic" sz="quarter" idx="17" hasCustomPrompt="1"/>
          </p:nvPr>
        </p:nvSpPr>
        <p:spPr>
          <a:xfrm>
            <a:off x="438186" y="3652748"/>
            <a:ext cx="1644630" cy="9251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</p:spTree>
    <p:extLst>
      <p:ext uri="{BB962C8B-B14F-4D97-AF65-F5344CB8AC3E}">
        <p14:creationId xmlns:p14="http://schemas.microsoft.com/office/powerpoint/2010/main" val="3253543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2">
          <p15:clr>
            <a:srgbClr val="FBAE40"/>
          </p15:clr>
        </p15:guide>
        <p15:guide id="2" orient="horz" pos="9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8185" y="3258448"/>
            <a:ext cx="2657200" cy="13450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Arial" charset="0"/>
              <a:buNone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023176" y="4778188"/>
            <a:ext cx="7318106" cy="2056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600">
                <a:cs typeface="Verdana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noProof="0" dirty="0">
                <a:solidFill>
                  <a:schemeClr val="accent4"/>
                </a:solidFill>
                <a:latin typeface="+mn-lt"/>
                <a:cs typeface="Verdana"/>
              </a:rPr>
              <a:t>Country | Name Surname | Presentatio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287156"/>
            <a:ext cx="8283049" cy="153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1"/>
              </a:buClr>
              <a:buFont typeface="Arial" charset="0"/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440837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noProof="0" dirty="0">
                <a:solidFill>
                  <a:schemeClr val="accent1"/>
                </a:solidFill>
              </a:rPr>
              <a:t>Kernaussage der Folie</a:t>
            </a:r>
            <a:endParaRPr lang="en-GB" noProof="0" dirty="0"/>
          </a:p>
        </p:txBody>
      </p:sp>
      <p:sp>
        <p:nvSpPr>
          <p:cNvPr id="23" name="Bildplatzhalter 12"/>
          <p:cNvSpPr>
            <a:spLocks noGrp="1"/>
          </p:cNvSpPr>
          <p:nvPr>
            <p:ph type="pic" sz="quarter" idx="15" hasCustomPrompt="1"/>
          </p:nvPr>
        </p:nvSpPr>
        <p:spPr>
          <a:xfrm>
            <a:off x="438185" y="1753422"/>
            <a:ext cx="2410111" cy="13544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0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3244803" y="1753422"/>
            <a:ext cx="2410111" cy="13544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2" name="Bildplatzhalter 12"/>
          <p:cNvSpPr>
            <a:spLocks noGrp="1"/>
          </p:cNvSpPr>
          <p:nvPr>
            <p:ph type="pic" sz="quarter" idx="17" hasCustomPrompt="1"/>
          </p:nvPr>
        </p:nvSpPr>
        <p:spPr>
          <a:xfrm>
            <a:off x="6048617" y="1753422"/>
            <a:ext cx="2410111" cy="13544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233701" y="3258448"/>
            <a:ext cx="2657200" cy="13450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Arial" charset="0"/>
              <a:buNone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6048617" y="3258448"/>
            <a:ext cx="2657200" cy="13450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Arial" charset="0"/>
              <a:buNone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 rot="16200000">
            <a:off x="8511273" y="723919"/>
            <a:ext cx="1117854" cy="147600"/>
          </a:xfrm>
          <a:prstGeom prst="rect">
            <a:avLst/>
          </a:prstGeom>
          <a:noFill/>
        </p:spPr>
        <p:txBody>
          <a:bodyPr anchor="ctr"/>
          <a:lstStyle>
            <a:lvl1pPr algn="l" defTabSz="4572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kern="1200">
                <a:solidFill>
                  <a:srgbClr val="6CB004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ctr"/>
            <a:r>
              <a:rPr lang="de-AT" sz="450" b="0" dirty="0">
                <a:solidFill>
                  <a:schemeClr val="accent4"/>
                </a:solidFill>
              </a:rPr>
              <a:t>Entwurf zur internen Diskussion</a:t>
            </a:r>
          </a:p>
        </p:txBody>
      </p:sp>
    </p:spTree>
    <p:extLst>
      <p:ext uri="{BB962C8B-B14F-4D97-AF65-F5344CB8AC3E}">
        <p14:creationId xmlns:p14="http://schemas.microsoft.com/office/powerpoint/2010/main" val="85682005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2">
          <p15:clr>
            <a:srgbClr val="FBAE40"/>
          </p15:clr>
        </p15:guide>
        <p15:guide id="2" orient="horz" pos="91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991"/>
            <a:ext cx="9144000" cy="5143500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38185" y="3258448"/>
            <a:ext cx="2657200" cy="13450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Arial" charset="0"/>
              <a:buNone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023176" y="4778188"/>
            <a:ext cx="7318106" cy="2056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600">
                <a:cs typeface="Verdana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noProof="0" dirty="0">
                <a:solidFill>
                  <a:schemeClr val="accent4"/>
                </a:solidFill>
                <a:latin typeface="+mn-lt"/>
                <a:cs typeface="Verdana"/>
              </a:rPr>
              <a:t>Country | Name Surname | Presentatio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287156"/>
            <a:ext cx="8283049" cy="153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1"/>
              </a:buClr>
              <a:buFont typeface="Arial" charset="0"/>
              <a:buNone/>
              <a:defRPr sz="800">
                <a:solidFill>
                  <a:schemeClr val="accent4"/>
                </a:solidFill>
              </a:defRPr>
            </a:lvl1pPr>
          </a:lstStyle>
          <a:p>
            <a:r>
              <a:rPr lang="en-GB" noProof="0" dirty="0" err="1"/>
              <a:t>Titel</a:t>
            </a:r>
            <a:endParaRPr lang="en-GB" noProof="0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440837"/>
            <a:ext cx="8283050" cy="747302"/>
          </a:xfrm>
          <a:prstGeom prst="rect">
            <a:avLst/>
          </a:prstGeom>
        </p:spPr>
        <p:txBody>
          <a:bodyPr lIns="0" r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000" noProof="0" dirty="0">
                <a:solidFill>
                  <a:schemeClr val="accent1"/>
                </a:solidFill>
              </a:rPr>
              <a:t>Kernaussage der Folie</a:t>
            </a:r>
            <a:endParaRPr lang="en-GB" noProof="0" dirty="0"/>
          </a:p>
        </p:txBody>
      </p:sp>
      <p:sp>
        <p:nvSpPr>
          <p:cNvPr id="23" name="Bildplatzhalter 12"/>
          <p:cNvSpPr>
            <a:spLocks noGrp="1"/>
          </p:cNvSpPr>
          <p:nvPr>
            <p:ph type="pic" sz="quarter" idx="15" hasCustomPrompt="1"/>
          </p:nvPr>
        </p:nvSpPr>
        <p:spPr>
          <a:xfrm>
            <a:off x="438185" y="1753422"/>
            <a:ext cx="2410111" cy="13544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0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3244803" y="1753422"/>
            <a:ext cx="2410111" cy="13544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2" name="Bildplatzhalter 12"/>
          <p:cNvSpPr>
            <a:spLocks noGrp="1"/>
          </p:cNvSpPr>
          <p:nvPr>
            <p:ph type="pic" sz="quarter" idx="17" hasCustomPrompt="1"/>
          </p:nvPr>
        </p:nvSpPr>
        <p:spPr>
          <a:xfrm>
            <a:off x="6048617" y="1753422"/>
            <a:ext cx="2410111" cy="13544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>
            <a:lvl1pPr marL="177800" marR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buFont typeface="Wingdings" charset="2"/>
              <a:buNone/>
              <a:tabLst/>
              <a:defRPr sz="800" baseline="0">
                <a:solidFill>
                  <a:schemeClr val="accent6"/>
                </a:solidFill>
              </a:defRPr>
            </a:lvl1pPr>
          </a:lstStyle>
          <a:p>
            <a:pPr marL="177800" marR="0" lvl="0" indent="-16510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CB004"/>
              </a:buClr>
              <a:buSzTx/>
              <a:tabLst/>
              <a:defRPr/>
            </a:pPr>
            <a:r>
              <a:rPr lang="de-DE" dirty="0"/>
              <a:t>     Füge ein Foto mit Drag &amp; Drop oder per Reinklicken in die grau Box hinzu.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233701" y="3258448"/>
            <a:ext cx="2657200" cy="13450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Arial" charset="0"/>
              <a:buNone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6048617" y="3258448"/>
            <a:ext cx="2657200" cy="134507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Arial" charset="0"/>
              <a:buNone/>
              <a:defRPr/>
            </a:lvl1pPr>
            <a:lvl2pPr marL="358775" indent="-174625">
              <a:buClr>
                <a:schemeClr val="accent1"/>
              </a:buClr>
              <a:buFont typeface="Wingdings" charset="2"/>
              <a:buChar char="§"/>
              <a:defRPr/>
            </a:lvl2pPr>
            <a:lvl3pPr marL="539750" indent="-177800">
              <a:buClr>
                <a:schemeClr val="accent1"/>
              </a:buClr>
              <a:buFont typeface="Wingdings" charset="2"/>
              <a:buChar char="§"/>
              <a:defRPr/>
            </a:lvl3pPr>
            <a:lvl4pPr marL="714375" indent="-182563">
              <a:buClr>
                <a:schemeClr val="accent1"/>
              </a:buClr>
              <a:buFont typeface="Wingdings" charset="2"/>
              <a:buChar char="§"/>
              <a:defRPr/>
            </a:lvl4pPr>
            <a:lvl5pPr marL="900113" indent="-177800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en-GB" noProof="0" dirty="0"/>
              <a:t>Text </a:t>
            </a:r>
            <a:r>
              <a:rPr lang="en-GB" noProof="0" dirty="0" err="1"/>
              <a:t>hinzufü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8991100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2">
          <p15:clr>
            <a:srgbClr val="FBAE40"/>
          </p15:clr>
        </p15:guide>
        <p15:guide id="2" orient="horz" pos="91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43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51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vmlDrawing" Target="../drawings/vmlDrawing6.v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8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oleObject" Target="../embeddings/oleObject6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slide" Target="../slides/slide1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heme" Target="../theme/theme8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Relationship Id="rId9" Type="http://schemas.openxmlformats.org/officeDocument/2006/relationships/image" Target="../media/image16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6812409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61" name="think-cell Folie" r:id="rId22" imgW="359" imgH="360" progId="TCLayout.ActiveDocument.1">
                  <p:embed/>
                </p:oleObj>
              </mc:Choice>
              <mc:Fallback>
                <p:oleObj name="think-cell Folie" r:id="rId2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60007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33" r:id="rId15"/>
    <p:sldLayoutId id="2147483763" r:id="rId16"/>
    <p:sldLayoutId id="2147483806" r:id="rId17"/>
    <p:sldLayoutId id="2147483849" r:id="rId18"/>
  </p:sldLayoutIdLst>
  <p:txStyles>
    <p:titleStyle>
      <a:lvl1pPr algn="l" defTabSz="457200" rtl="0" eaLnBrk="1" latinLnBrk="0" hangingPunct="1">
        <a:lnSpc>
          <a:spcPct val="110000"/>
        </a:lnSpc>
        <a:spcBef>
          <a:spcPct val="0"/>
        </a:spcBef>
        <a:buNone/>
        <a:defRPr sz="2400" kern="1200">
          <a:solidFill>
            <a:schemeClr val="accent1"/>
          </a:solidFill>
          <a:latin typeface="Verdana"/>
          <a:ea typeface="+mj-ea"/>
          <a:cs typeface="Verdana"/>
        </a:defRPr>
      </a:lvl1pPr>
    </p:titleStyle>
    <p:bodyStyle>
      <a:lvl1pPr marL="177800" indent="-165100" algn="l" defTabSz="457200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defRPr sz="1200" kern="1200">
          <a:solidFill>
            <a:schemeClr val="tx1"/>
          </a:solidFill>
          <a:latin typeface="Verdana"/>
          <a:ea typeface="+mn-ea"/>
          <a:cs typeface="Verdana"/>
        </a:defRPr>
      </a:lvl1pPr>
      <a:lvl2pPr marL="358775" indent="-174625" algn="l" defTabSz="457200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defRPr sz="1200" kern="1200">
          <a:solidFill>
            <a:schemeClr val="tx1"/>
          </a:solidFill>
          <a:latin typeface="Verdana"/>
          <a:ea typeface="+mn-ea"/>
          <a:cs typeface="Verdana"/>
        </a:defRPr>
      </a:lvl2pPr>
      <a:lvl3pPr marL="539750" indent="-177800" algn="l" defTabSz="457200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tabLst/>
        <a:defRPr sz="1200" kern="1200">
          <a:solidFill>
            <a:schemeClr val="tx1"/>
          </a:solidFill>
          <a:latin typeface="Verdana"/>
          <a:ea typeface="+mn-ea"/>
          <a:cs typeface="Verdana"/>
        </a:defRPr>
      </a:lvl3pPr>
      <a:lvl4pPr marL="714375" indent="-182563" algn="l" defTabSz="457200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defRPr sz="1200" kern="1200">
          <a:solidFill>
            <a:schemeClr val="tx1"/>
          </a:solidFill>
          <a:latin typeface="Verdana"/>
          <a:ea typeface="+mn-ea"/>
          <a:cs typeface="Verdana"/>
        </a:defRPr>
      </a:lvl4pPr>
      <a:lvl5pPr marL="900113" indent="-177800" algn="l" defTabSz="457200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tabLst/>
        <a:defRPr sz="1200" kern="1200">
          <a:solidFill>
            <a:schemeClr val="tx1"/>
          </a:solidFill>
          <a:latin typeface="Verdana"/>
          <a:ea typeface="+mn-ea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1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lide</a:t>
            </a:r>
          </a:p>
        </p:txBody>
      </p:sp>
      <p:pic>
        <p:nvPicPr>
          <p:cNvPr id="13" name="Picture 12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1"/>
            <a:ext cx="691200" cy="111597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657000" y="4815162"/>
            <a:ext cx="1800000" cy="123876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2"/>
                </a:solidFill>
                <a:latin typeface="+mn-lt"/>
                <a:ea typeface="Nokia Pure Text Light" panose="020B0403020202020204" pitchFamily="34" charset="0"/>
                <a:cs typeface="Arial" charset="0"/>
              </a:rPr>
              <a:t>© Nokia 2018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3" y="4691450"/>
            <a:ext cx="144462" cy="24775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chemeClr val="tx2"/>
                </a:solidFill>
                <a:latin typeface="+mn-lt"/>
                <a:ea typeface="Nokia Pure Text Light" panose="020B0403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sz="1000" dirty="0">
              <a:solidFill>
                <a:schemeClr val="tx2"/>
              </a:solidFill>
              <a:latin typeface="+mn-lt"/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1852353" y="4816800"/>
            <a:ext cx="5583617" cy="1222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Confidential</a:t>
            </a:r>
            <a:endParaRPr lang="en-US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4315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</p:sldLayoutIdLst>
  <p:hf hdr="0" dt="0"/>
  <p:txStyles>
    <p:titleStyle>
      <a:lvl1pPr algn="l" defTabSz="914365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7" indent="-342887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22" indent="-285739" algn="l" defTabSz="9143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6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9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21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03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6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8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51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5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7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9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2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4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7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0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8922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</p:sldLayoutIdLst>
  <p:timing>
    <p:tnLst>
      <p:par>
        <p:cTn id="1" dur="indefinite" restart="never" nodeType="tmRoot"/>
      </p:par>
    </p:tnLst>
  </p:timing>
  <p:txStyles>
    <p:titleStyle>
      <a:lvl1pPr algn="l" defTabSz="457189" rtl="0" eaLnBrk="1" latinLnBrk="0" hangingPunct="1">
        <a:lnSpc>
          <a:spcPct val="110000"/>
        </a:lnSpc>
        <a:spcBef>
          <a:spcPct val="0"/>
        </a:spcBef>
        <a:buNone/>
        <a:defRPr sz="2400" kern="1200">
          <a:solidFill>
            <a:schemeClr val="accent1"/>
          </a:solidFill>
          <a:latin typeface="Verdana"/>
          <a:ea typeface="+mj-ea"/>
          <a:cs typeface="Verdana"/>
        </a:defRPr>
      </a:lvl1pPr>
    </p:titleStyle>
    <p:bodyStyle>
      <a:lvl1pPr marL="177796" indent="-165096" algn="l" defTabSz="457189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defRPr sz="1200" kern="1200">
          <a:solidFill>
            <a:schemeClr val="tx1"/>
          </a:solidFill>
          <a:latin typeface="Verdana"/>
          <a:ea typeface="+mn-ea"/>
          <a:cs typeface="Verdana"/>
        </a:defRPr>
      </a:lvl1pPr>
      <a:lvl2pPr marL="358766" indent="-174621" algn="l" defTabSz="457189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defRPr sz="1200" kern="1200">
          <a:solidFill>
            <a:schemeClr val="tx1"/>
          </a:solidFill>
          <a:latin typeface="Verdana"/>
          <a:ea typeface="+mn-ea"/>
          <a:cs typeface="Verdana"/>
        </a:defRPr>
      </a:lvl2pPr>
      <a:lvl3pPr marL="539737" indent="-177796" algn="l" defTabSz="457189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tabLst/>
        <a:defRPr sz="1200" kern="1200">
          <a:solidFill>
            <a:schemeClr val="tx1"/>
          </a:solidFill>
          <a:latin typeface="Verdana"/>
          <a:ea typeface="+mn-ea"/>
          <a:cs typeface="Verdana"/>
        </a:defRPr>
      </a:lvl3pPr>
      <a:lvl4pPr marL="714357" indent="-182558" algn="l" defTabSz="457189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defRPr sz="1200" kern="1200">
          <a:solidFill>
            <a:schemeClr val="tx1"/>
          </a:solidFill>
          <a:latin typeface="Verdana"/>
          <a:ea typeface="+mn-ea"/>
          <a:cs typeface="Verdana"/>
        </a:defRPr>
      </a:lvl4pPr>
      <a:lvl5pPr marL="900091" indent="-177796" algn="l" defTabSz="457189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tabLst/>
        <a:defRPr sz="1200" kern="1200">
          <a:solidFill>
            <a:schemeClr val="tx1"/>
          </a:solidFill>
          <a:latin typeface="Verdana"/>
          <a:ea typeface="+mn-ea"/>
          <a:cs typeface="Verdana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963545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22" name="think-cell Folie" r:id="rId22" imgW="359" imgH="360" progId="TCLayout.ActiveDocument.1">
                  <p:embed/>
                </p:oleObj>
              </mc:Choice>
              <mc:Fallback>
                <p:oleObj name="think-cell Folie" r:id="rId2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49066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  <p:sldLayoutId id="2147483870" r:id="rId14"/>
    <p:sldLayoutId id="2147483871" r:id="rId15"/>
    <p:sldLayoutId id="2147483872" r:id="rId16"/>
    <p:sldLayoutId id="2147483873" r:id="rId17"/>
    <p:sldLayoutId id="2147483874" r:id="rId18"/>
  </p:sldLayoutIdLst>
  <p:txStyles>
    <p:titleStyle>
      <a:lvl1pPr algn="l" defTabSz="457200" rtl="0" eaLnBrk="1" latinLnBrk="0" hangingPunct="1">
        <a:lnSpc>
          <a:spcPct val="110000"/>
        </a:lnSpc>
        <a:spcBef>
          <a:spcPct val="0"/>
        </a:spcBef>
        <a:buNone/>
        <a:defRPr sz="2400" kern="1200">
          <a:solidFill>
            <a:schemeClr val="accent1"/>
          </a:solidFill>
          <a:latin typeface="Verdana"/>
          <a:ea typeface="+mj-ea"/>
          <a:cs typeface="Verdana"/>
        </a:defRPr>
      </a:lvl1pPr>
    </p:titleStyle>
    <p:bodyStyle>
      <a:lvl1pPr marL="177800" indent="-165100" algn="l" defTabSz="457200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defRPr sz="1200" kern="1200">
          <a:solidFill>
            <a:schemeClr val="tx1"/>
          </a:solidFill>
          <a:latin typeface="Verdana"/>
          <a:ea typeface="+mn-ea"/>
          <a:cs typeface="Verdana"/>
        </a:defRPr>
      </a:lvl1pPr>
      <a:lvl2pPr marL="358775" indent="-174625" algn="l" defTabSz="457200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defRPr sz="1200" kern="1200">
          <a:solidFill>
            <a:schemeClr val="tx1"/>
          </a:solidFill>
          <a:latin typeface="Verdana"/>
          <a:ea typeface="+mn-ea"/>
          <a:cs typeface="Verdana"/>
        </a:defRPr>
      </a:lvl2pPr>
      <a:lvl3pPr marL="539750" indent="-177800" algn="l" defTabSz="457200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tabLst/>
        <a:defRPr sz="1200" kern="1200">
          <a:solidFill>
            <a:schemeClr val="tx1"/>
          </a:solidFill>
          <a:latin typeface="Verdana"/>
          <a:ea typeface="+mn-ea"/>
          <a:cs typeface="Verdana"/>
        </a:defRPr>
      </a:lvl3pPr>
      <a:lvl4pPr marL="714375" indent="-182563" algn="l" defTabSz="457200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defRPr sz="1200" kern="1200">
          <a:solidFill>
            <a:schemeClr val="tx1"/>
          </a:solidFill>
          <a:latin typeface="Verdana"/>
          <a:ea typeface="+mn-ea"/>
          <a:cs typeface="Verdana"/>
        </a:defRPr>
      </a:lvl4pPr>
      <a:lvl5pPr marL="900113" indent="-177800" algn="l" defTabSz="457200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tabLst/>
        <a:defRPr sz="1200" kern="1200">
          <a:solidFill>
            <a:schemeClr val="tx1"/>
          </a:solidFill>
          <a:latin typeface="Verdana"/>
          <a:ea typeface="+mn-ea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>
            <a:extLst>
              <a:ext uri="{FF2B5EF4-FFF2-40B4-BE49-F238E27FC236}">
                <a16:creationId xmlns:a16="http://schemas.microsoft.com/office/drawing/2014/main" xmlns="" id="{75E626D8-2123-46C2-96D3-42E300B759F1}"/>
              </a:ext>
            </a:extLst>
          </p:cNvPr>
          <p:cNvGrpSpPr/>
          <p:nvPr userDrawn="1"/>
        </p:nvGrpSpPr>
        <p:grpSpPr>
          <a:xfrm>
            <a:off x="-179386" y="-147638"/>
            <a:ext cx="9503900" cy="5464226"/>
            <a:chOff x="-179388" y="-147638"/>
            <a:chExt cx="9503900" cy="5464226"/>
          </a:xfrm>
        </p:grpSpPr>
        <p:sp>
          <p:nvSpPr>
            <p:cNvPr id="10" name="Line 9">
              <a:extLst>
                <a:ext uri="{FF2B5EF4-FFF2-40B4-BE49-F238E27FC236}">
                  <a16:creationId xmlns:a16="http://schemas.microsoft.com/office/drawing/2014/main" xmlns="" id="{63EF7259-2A6E-47F4-9715-664693E20E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593725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Headline Light"/>
              </a:endParaRPr>
            </a:p>
          </p:txBody>
        </p:sp>
        <p:sp>
          <p:nvSpPr>
            <p:cNvPr id="11" name="Line 12">
              <a:extLst>
                <a:ext uri="{FF2B5EF4-FFF2-40B4-BE49-F238E27FC236}">
                  <a16:creationId xmlns:a16="http://schemas.microsoft.com/office/drawing/2014/main" xmlns="" id="{1D8E364D-F5BC-4555-8591-0635AE39BF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49149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xmlns="" id="{9F6CEECC-3E35-46E0-9E65-FCA64664C5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84613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xmlns="" id="{14A357EE-267E-40D6-A629-729DDE1F9F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179388" y="10922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4" name="Line 12">
              <a:extLst>
                <a:ext uri="{FF2B5EF4-FFF2-40B4-BE49-F238E27FC236}">
                  <a16:creationId xmlns:a16="http://schemas.microsoft.com/office/drawing/2014/main" xmlns="" id="{172C827D-FAC4-489A-AC92-BC41F309988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4665663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5" name="Line 13">
              <a:extLst>
                <a:ext uri="{FF2B5EF4-FFF2-40B4-BE49-F238E27FC236}">
                  <a16:creationId xmlns:a16="http://schemas.microsoft.com/office/drawing/2014/main" xmlns="" id="{B5DD1171-DDCD-4F11-8236-99EDDF20F9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-179388" y="440055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6" name="Line 14">
              <a:extLst>
                <a:ext uri="{FF2B5EF4-FFF2-40B4-BE49-F238E27FC236}">
                  <a16:creationId xmlns:a16="http://schemas.microsoft.com/office/drawing/2014/main" xmlns="" id="{5CB81B44-1D25-419B-9E45-B2FE2FE467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79388" y="28098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7" name="Line 15">
              <a:extLst>
                <a:ext uri="{FF2B5EF4-FFF2-40B4-BE49-F238E27FC236}">
                  <a16:creationId xmlns:a16="http://schemas.microsoft.com/office/drawing/2014/main" xmlns="" id="{77B8D310-F8E6-458A-9601-8C2B24808E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7513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8" name="Line 17">
              <a:extLst>
                <a:ext uri="{FF2B5EF4-FFF2-40B4-BE49-F238E27FC236}">
                  <a16:creationId xmlns:a16="http://schemas.microsoft.com/office/drawing/2014/main" xmlns="" id="{2F9E619D-1FFF-47B7-A2E4-25A7A6E16D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56638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0" name="Line 9">
              <a:extLst>
                <a:ext uri="{FF2B5EF4-FFF2-40B4-BE49-F238E27FC236}">
                  <a16:creationId xmlns:a16="http://schemas.microsoft.com/office/drawing/2014/main" xmlns="" id="{63CFE0CF-842C-4156-96A9-1955A42F362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593725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Headline Light"/>
              </a:endParaRPr>
            </a:p>
          </p:txBody>
        </p:sp>
        <p:sp>
          <p:nvSpPr>
            <p:cNvPr id="22" name="Line 12">
              <a:extLst>
                <a:ext uri="{FF2B5EF4-FFF2-40B4-BE49-F238E27FC236}">
                  <a16:creationId xmlns:a16="http://schemas.microsoft.com/office/drawing/2014/main" xmlns="" id="{09A43713-E8A6-4848-ABAC-E686CBEF90A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49149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4" name="Line 9">
              <a:extLst>
                <a:ext uri="{FF2B5EF4-FFF2-40B4-BE49-F238E27FC236}">
                  <a16:creationId xmlns:a16="http://schemas.microsoft.com/office/drawing/2014/main" xmlns="" id="{A23F96BE-AB65-49CE-B033-4C2B704D54F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84613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5" name="Line 10">
              <a:extLst>
                <a:ext uri="{FF2B5EF4-FFF2-40B4-BE49-F238E27FC236}">
                  <a16:creationId xmlns:a16="http://schemas.microsoft.com/office/drawing/2014/main" xmlns="" id="{49456F82-7FAD-4DA8-B4C4-BE676C68199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>
              <a:off x="9180512" y="10922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6" name="Line 12">
              <a:extLst>
                <a:ext uri="{FF2B5EF4-FFF2-40B4-BE49-F238E27FC236}">
                  <a16:creationId xmlns:a16="http://schemas.microsoft.com/office/drawing/2014/main" xmlns="" id="{BEBED2BB-2938-410A-BCEA-9C530C4696C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4665663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7" name="Line 13">
              <a:extLst>
                <a:ext uri="{FF2B5EF4-FFF2-40B4-BE49-F238E27FC236}">
                  <a16:creationId xmlns:a16="http://schemas.microsoft.com/office/drawing/2014/main" xmlns="" id="{B29057E5-40CF-4341-9ED6-795E8FCBED2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 flipV="1">
              <a:off x="9180512" y="440055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8" name="Line 14">
              <a:extLst>
                <a:ext uri="{FF2B5EF4-FFF2-40B4-BE49-F238E27FC236}">
                  <a16:creationId xmlns:a16="http://schemas.microsoft.com/office/drawing/2014/main" xmlns="" id="{9EAABA67-27A4-40A1-963F-298DCD2EAB3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80512" y="28098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9" name="Line 15">
              <a:extLst>
                <a:ext uri="{FF2B5EF4-FFF2-40B4-BE49-F238E27FC236}">
                  <a16:creationId xmlns:a16="http://schemas.microsoft.com/office/drawing/2014/main" xmlns="" id="{365D9848-FC41-4F8E-AE01-181684EE17C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>
              <a:off x="417513" y="520858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30" name="Line 17">
              <a:extLst>
                <a:ext uri="{FF2B5EF4-FFF2-40B4-BE49-F238E27FC236}">
                  <a16:creationId xmlns:a16="http://schemas.microsoft.com/office/drawing/2014/main" xmlns="" id="{ECD0CD1B-0DE4-4BA2-9715-10D5F6FB15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8656638" y="520858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</p:grpSp>
      <p:sp>
        <p:nvSpPr>
          <p:cNvPr id="34" name="Title Placeholder 1">
            <a:extLst>
              <a:ext uri="{FF2B5EF4-FFF2-40B4-BE49-F238E27FC236}">
                <a16:creationId xmlns:a16="http://schemas.microsoft.com/office/drawing/2014/main" xmlns="" id="{4F82A268-B90C-4847-B1A7-4E340190348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7600" y="280990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7101768" y="4723675"/>
            <a:ext cx="1697567" cy="295277"/>
          </a:xfrm>
          <a:prstGeom prst="rect">
            <a:avLst/>
          </a:prstGeom>
        </p:spPr>
        <p:txBody>
          <a:bodyPr vert="horz" lIns="91440" tIns="45720" rIns="91440" bIns="5400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EEB748-9ECA-0045-A0B7-CAB4A7055F7F}" type="slidenum">
              <a:rPr lang="en-US" sz="600" b="1" smtClean="0">
                <a:solidFill>
                  <a:schemeClr val="accent1"/>
                </a:solidFill>
                <a:latin typeface="Verdana"/>
                <a:cs typeface="Verdana"/>
              </a:rPr>
              <a:t>‹#›</a:t>
            </a:fld>
            <a:endParaRPr lang="en-US" sz="600" b="1" dirty="0">
              <a:solidFill>
                <a:schemeClr val="accent1"/>
              </a:solidFill>
              <a:latin typeface="Verdana"/>
              <a:cs typeface="Verdana"/>
            </a:endParaRPr>
          </a:p>
        </p:txBody>
      </p:sp>
      <p:sp>
        <p:nvSpPr>
          <p:cNvPr id="31" name="Slide Number Placeholder 5"/>
          <p:cNvSpPr txBox="1">
            <a:spLocks/>
          </p:cNvSpPr>
          <p:nvPr userDrawn="1"/>
        </p:nvSpPr>
        <p:spPr>
          <a:xfrm>
            <a:off x="7254168" y="4876075"/>
            <a:ext cx="1697567" cy="295277"/>
          </a:xfrm>
          <a:prstGeom prst="rect">
            <a:avLst/>
          </a:prstGeom>
        </p:spPr>
        <p:txBody>
          <a:bodyPr vert="horz" lIns="91440" tIns="45720" rIns="91440" bIns="5400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EEB748-9ECA-0045-A0B7-CAB4A7055F7F}" type="slidenum">
              <a:rPr lang="en-US" sz="600" b="1" smtClean="0">
                <a:solidFill>
                  <a:schemeClr val="accent1"/>
                </a:solidFill>
                <a:latin typeface="Verdana"/>
                <a:cs typeface="Verdana"/>
              </a:rPr>
              <a:t>‹#›</a:t>
            </a:fld>
            <a:endParaRPr lang="en-US" sz="600" b="1" dirty="0">
              <a:solidFill>
                <a:schemeClr val="accent1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408661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</p:sldLayoutIdLst>
  <p:hf sldNum="0" hdr="0" ftr="0" dt="0"/>
  <p:txStyles>
    <p:titleStyle>
      <a:lvl1pPr algn="l" defTabSz="908696" rtl="0" eaLnBrk="1" latinLnBrk="0" hangingPunct="1">
        <a:spcBef>
          <a:spcPct val="0"/>
        </a:spcBef>
        <a:buNone/>
        <a:defRPr sz="2000" kern="120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0761" indent="-340761" algn="l" defTabSz="908696" rtl="0" eaLnBrk="1" latinLnBrk="0" hangingPunct="1">
        <a:spcBef>
          <a:spcPct val="20000"/>
        </a:spcBef>
        <a:buFont typeface="Arial" panose="020B0604020202020204" pitchFamily="34" charset="0"/>
        <a:buChar char="•"/>
        <a:defRPr sz="3180" kern="1200">
          <a:solidFill>
            <a:schemeClr val="tx1"/>
          </a:solidFill>
          <a:latin typeface="+mn-lt"/>
          <a:ea typeface="+mn-ea"/>
          <a:cs typeface="+mn-cs"/>
        </a:defRPr>
      </a:lvl1pPr>
      <a:lvl2pPr marL="738315" indent="-283967" algn="l" defTabSz="908696" rtl="0" eaLnBrk="1" latinLnBrk="0" hangingPunct="1">
        <a:spcBef>
          <a:spcPct val="20000"/>
        </a:spcBef>
        <a:buFont typeface="Arial" panose="020B0604020202020204" pitchFamily="34" charset="0"/>
        <a:buChar char="–"/>
        <a:defRPr sz="2783" kern="1200">
          <a:solidFill>
            <a:schemeClr val="tx1"/>
          </a:solidFill>
          <a:latin typeface="+mn-lt"/>
          <a:ea typeface="+mn-ea"/>
          <a:cs typeface="+mn-cs"/>
        </a:defRPr>
      </a:lvl2pPr>
      <a:lvl3pPr marL="1135869" indent="-227174" algn="l" defTabSz="9086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85" kern="1200">
          <a:solidFill>
            <a:schemeClr val="tx1"/>
          </a:solidFill>
          <a:latin typeface="+mn-lt"/>
          <a:ea typeface="+mn-ea"/>
          <a:cs typeface="+mn-cs"/>
        </a:defRPr>
      </a:lvl3pPr>
      <a:lvl4pPr marL="1590218" indent="-227174" algn="l" defTabSz="908696" rtl="0" eaLnBrk="1" latinLnBrk="0" hangingPunct="1">
        <a:spcBef>
          <a:spcPct val="20000"/>
        </a:spcBef>
        <a:buFont typeface="Arial" panose="020B0604020202020204" pitchFamily="34" charset="0"/>
        <a:buChar char="–"/>
        <a:defRPr sz="1988" kern="1200">
          <a:solidFill>
            <a:schemeClr val="tx1"/>
          </a:solidFill>
          <a:latin typeface="+mn-lt"/>
          <a:ea typeface="+mn-ea"/>
          <a:cs typeface="+mn-cs"/>
        </a:defRPr>
      </a:lvl4pPr>
      <a:lvl5pPr marL="2044565" indent="-227174" algn="l" defTabSz="908696" rtl="0" eaLnBrk="1" latinLnBrk="0" hangingPunct="1">
        <a:spcBef>
          <a:spcPct val="20000"/>
        </a:spcBef>
        <a:buFont typeface="Arial" panose="020B0604020202020204" pitchFamily="34" charset="0"/>
        <a:buChar char="»"/>
        <a:defRPr sz="1988" kern="1200">
          <a:solidFill>
            <a:schemeClr val="tx1"/>
          </a:solidFill>
          <a:latin typeface="+mn-lt"/>
          <a:ea typeface="+mn-ea"/>
          <a:cs typeface="+mn-cs"/>
        </a:defRPr>
      </a:lvl5pPr>
      <a:lvl6pPr marL="2498913" indent="-227174" algn="l" defTabSz="90869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88" kern="1200">
          <a:solidFill>
            <a:schemeClr val="tx1"/>
          </a:solidFill>
          <a:latin typeface="+mn-lt"/>
          <a:ea typeface="+mn-ea"/>
          <a:cs typeface="+mn-cs"/>
        </a:defRPr>
      </a:lvl6pPr>
      <a:lvl7pPr marL="2953261" indent="-227174" algn="l" defTabSz="90869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88" kern="1200">
          <a:solidFill>
            <a:schemeClr val="tx1"/>
          </a:solidFill>
          <a:latin typeface="+mn-lt"/>
          <a:ea typeface="+mn-ea"/>
          <a:cs typeface="+mn-cs"/>
        </a:defRPr>
      </a:lvl7pPr>
      <a:lvl8pPr marL="3407609" indent="-227174" algn="l" defTabSz="90869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88" kern="1200">
          <a:solidFill>
            <a:schemeClr val="tx1"/>
          </a:solidFill>
          <a:latin typeface="+mn-lt"/>
          <a:ea typeface="+mn-ea"/>
          <a:cs typeface="+mn-cs"/>
        </a:defRPr>
      </a:lvl8pPr>
      <a:lvl9pPr marL="3861958" indent="-227174" algn="l" defTabSz="90869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1pPr>
      <a:lvl2pPr marL="454348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2pPr>
      <a:lvl3pPr marL="908696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3pPr>
      <a:lvl4pPr marL="1363044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4pPr>
      <a:lvl5pPr marL="1817391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5pPr>
      <a:lvl6pPr marL="2271740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6pPr>
      <a:lvl7pPr marL="2726088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7pPr>
      <a:lvl8pPr marL="3180436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8pPr>
      <a:lvl9pPr marL="3634783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3999" y="4816800"/>
            <a:ext cx="2716981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Ultra-optimized solution to de-risk your 5G deployment</a:t>
            </a:r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755776" y="4815162"/>
            <a:ext cx="1800000" cy="123876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9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3" y="4815325"/>
            <a:ext cx="252000" cy="123876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xmlns="" id="{75E626D8-2123-46C2-96D3-42E300B759F1}"/>
              </a:ext>
            </a:extLst>
          </p:cNvPr>
          <p:cNvGrpSpPr/>
          <p:nvPr userDrawn="1"/>
        </p:nvGrpSpPr>
        <p:grpSpPr>
          <a:xfrm>
            <a:off x="-179387" y="-147638"/>
            <a:ext cx="9503900" cy="5464226"/>
            <a:chOff x="-179388" y="-147638"/>
            <a:chExt cx="9503900" cy="5464226"/>
          </a:xfrm>
        </p:grpSpPr>
        <p:sp>
          <p:nvSpPr>
            <p:cNvPr id="10" name="Line 9">
              <a:extLst>
                <a:ext uri="{FF2B5EF4-FFF2-40B4-BE49-F238E27FC236}">
                  <a16:creationId xmlns:a16="http://schemas.microsoft.com/office/drawing/2014/main" xmlns="" id="{63EF7259-2A6E-47F4-9715-664693E20E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593725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Headline Light"/>
              </a:endParaRPr>
            </a:p>
          </p:txBody>
        </p:sp>
        <p:sp>
          <p:nvSpPr>
            <p:cNvPr id="11" name="Line 12">
              <a:extLst>
                <a:ext uri="{FF2B5EF4-FFF2-40B4-BE49-F238E27FC236}">
                  <a16:creationId xmlns:a16="http://schemas.microsoft.com/office/drawing/2014/main" xmlns="" id="{1D8E364D-F5BC-4555-8591-0635AE39BF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49149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xmlns="" id="{9F6CEECC-3E35-46E0-9E65-FCA64664C5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84613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xmlns="" id="{14A357EE-267E-40D6-A629-729DDE1F9F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179388" y="10922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4" name="Line 12">
              <a:extLst>
                <a:ext uri="{FF2B5EF4-FFF2-40B4-BE49-F238E27FC236}">
                  <a16:creationId xmlns:a16="http://schemas.microsoft.com/office/drawing/2014/main" xmlns="" id="{172C827D-FAC4-489A-AC92-BC41F309988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4665663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5" name="Line 13">
              <a:extLst>
                <a:ext uri="{FF2B5EF4-FFF2-40B4-BE49-F238E27FC236}">
                  <a16:creationId xmlns:a16="http://schemas.microsoft.com/office/drawing/2014/main" xmlns="" id="{B5DD1171-DDCD-4F11-8236-99EDDF20F9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-179388" y="440055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6" name="Line 14">
              <a:extLst>
                <a:ext uri="{FF2B5EF4-FFF2-40B4-BE49-F238E27FC236}">
                  <a16:creationId xmlns:a16="http://schemas.microsoft.com/office/drawing/2014/main" xmlns="" id="{5CB81B44-1D25-419B-9E45-B2FE2FE467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79388" y="28098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7" name="Line 15">
              <a:extLst>
                <a:ext uri="{FF2B5EF4-FFF2-40B4-BE49-F238E27FC236}">
                  <a16:creationId xmlns:a16="http://schemas.microsoft.com/office/drawing/2014/main" xmlns="" id="{77B8D310-F8E6-458A-9601-8C2B24808E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7513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8" name="Line 17">
              <a:extLst>
                <a:ext uri="{FF2B5EF4-FFF2-40B4-BE49-F238E27FC236}">
                  <a16:creationId xmlns:a16="http://schemas.microsoft.com/office/drawing/2014/main" xmlns="" id="{2F9E619D-1FFF-47B7-A2E4-25A7A6E16D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56638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0" name="Line 9">
              <a:extLst>
                <a:ext uri="{FF2B5EF4-FFF2-40B4-BE49-F238E27FC236}">
                  <a16:creationId xmlns:a16="http://schemas.microsoft.com/office/drawing/2014/main" xmlns="" id="{63CFE0CF-842C-4156-96A9-1955A42F362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593725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Headline Light"/>
              </a:endParaRPr>
            </a:p>
          </p:txBody>
        </p:sp>
        <p:sp>
          <p:nvSpPr>
            <p:cNvPr id="22" name="Line 12">
              <a:extLst>
                <a:ext uri="{FF2B5EF4-FFF2-40B4-BE49-F238E27FC236}">
                  <a16:creationId xmlns:a16="http://schemas.microsoft.com/office/drawing/2014/main" xmlns="" id="{09A43713-E8A6-4848-ABAC-E686CBEF90A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49149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4" name="Line 9">
              <a:extLst>
                <a:ext uri="{FF2B5EF4-FFF2-40B4-BE49-F238E27FC236}">
                  <a16:creationId xmlns:a16="http://schemas.microsoft.com/office/drawing/2014/main" xmlns="" id="{A23F96BE-AB65-49CE-B033-4C2B704D54F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84613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5" name="Line 10">
              <a:extLst>
                <a:ext uri="{FF2B5EF4-FFF2-40B4-BE49-F238E27FC236}">
                  <a16:creationId xmlns:a16="http://schemas.microsoft.com/office/drawing/2014/main" xmlns="" id="{49456F82-7FAD-4DA8-B4C4-BE676C68199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>
              <a:off x="9180512" y="10922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6" name="Line 12">
              <a:extLst>
                <a:ext uri="{FF2B5EF4-FFF2-40B4-BE49-F238E27FC236}">
                  <a16:creationId xmlns:a16="http://schemas.microsoft.com/office/drawing/2014/main" xmlns="" id="{BEBED2BB-2938-410A-BCEA-9C530C4696C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4665663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7" name="Line 13">
              <a:extLst>
                <a:ext uri="{FF2B5EF4-FFF2-40B4-BE49-F238E27FC236}">
                  <a16:creationId xmlns:a16="http://schemas.microsoft.com/office/drawing/2014/main" xmlns="" id="{B29057E5-40CF-4341-9ED6-795E8FCBED2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 flipV="1">
              <a:off x="9180512" y="440055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8" name="Line 14">
              <a:extLst>
                <a:ext uri="{FF2B5EF4-FFF2-40B4-BE49-F238E27FC236}">
                  <a16:creationId xmlns:a16="http://schemas.microsoft.com/office/drawing/2014/main" xmlns="" id="{9EAABA67-27A4-40A1-963F-298DCD2EAB3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80512" y="28098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9" name="Line 15">
              <a:extLst>
                <a:ext uri="{FF2B5EF4-FFF2-40B4-BE49-F238E27FC236}">
                  <a16:creationId xmlns:a16="http://schemas.microsoft.com/office/drawing/2014/main" xmlns="" id="{365D9848-FC41-4F8E-AE01-181684EE17C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>
              <a:off x="417513" y="520858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30" name="Line 17">
              <a:extLst>
                <a:ext uri="{FF2B5EF4-FFF2-40B4-BE49-F238E27FC236}">
                  <a16:creationId xmlns:a16="http://schemas.microsoft.com/office/drawing/2014/main" xmlns="" id="{ECD0CD1B-0DE4-4BA2-9715-10D5F6FB15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8656638" y="520858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</p:grp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xmlns="" id="{C9F7C012-EBCF-4BA4-9A27-93B7A3350C6A}"/>
              </a:ext>
            </a:extLst>
          </p:cNvPr>
          <p:cNvSpPr>
            <a:spLocks noChangeAspect="1"/>
          </p:cNvSpPr>
          <p:nvPr userDrawn="1"/>
        </p:nvSpPr>
        <p:spPr>
          <a:xfrm>
            <a:off x="8035124" y="4805994"/>
            <a:ext cx="690457" cy="112293"/>
          </a:xfrm>
          <a:custGeom>
            <a:avLst/>
            <a:gdLst>
              <a:gd name="connsiteX0" fmla="*/ 6960911 w 7924447"/>
              <a:gd name="connsiteY0" fmla="*/ 321135 h 1288800"/>
              <a:gd name="connsiteX1" fmla="*/ 6719487 w 7924447"/>
              <a:gd name="connsiteY1" fmla="*/ 779851 h 1288800"/>
              <a:gd name="connsiteX2" fmla="*/ 7204868 w 7924447"/>
              <a:gd name="connsiteY2" fmla="*/ 779851 h 1288800"/>
              <a:gd name="connsiteX3" fmla="*/ 2388009 w 7924447"/>
              <a:gd name="connsiteY3" fmla="*/ 315532 h 1288800"/>
              <a:gd name="connsiteX4" fmla="*/ 2313866 w 7924447"/>
              <a:gd name="connsiteY4" fmla="*/ 389523 h 1288800"/>
              <a:gd name="connsiteX5" fmla="*/ 2313866 w 7924447"/>
              <a:gd name="connsiteY5" fmla="*/ 895278 h 1288800"/>
              <a:gd name="connsiteX6" fmla="*/ 2388009 w 7924447"/>
              <a:gd name="connsiteY6" fmla="*/ 969269 h 1288800"/>
              <a:gd name="connsiteX7" fmla="*/ 3186375 w 7924447"/>
              <a:gd name="connsiteY7" fmla="*/ 969269 h 1288800"/>
              <a:gd name="connsiteX8" fmla="*/ 3260517 w 7924447"/>
              <a:gd name="connsiteY8" fmla="*/ 895278 h 1288800"/>
              <a:gd name="connsiteX9" fmla="*/ 3260517 w 7924447"/>
              <a:gd name="connsiteY9" fmla="*/ 389523 h 1288800"/>
              <a:gd name="connsiteX10" fmla="*/ 3186375 w 7924447"/>
              <a:gd name="connsiteY10" fmla="*/ 315532 h 1288800"/>
              <a:gd name="connsiteX11" fmla="*/ 5545757 w 7924447"/>
              <a:gd name="connsiteY11" fmla="*/ 14419 h 1288800"/>
              <a:gd name="connsiteX12" fmla="*/ 5939564 w 7924447"/>
              <a:gd name="connsiteY12" fmla="*/ 14419 h 1288800"/>
              <a:gd name="connsiteX13" fmla="*/ 5939564 w 7924447"/>
              <a:gd name="connsiteY13" fmla="*/ 1273030 h 1288800"/>
              <a:gd name="connsiteX14" fmla="*/ 5545757 w 7924447"/>
              <a:gd name="connsiteY14" fmla="*/ 1273030 h 1288800"/>
              <a:gd name="connsiteX15" fmla="*/ 3781683 w 7924447"/>
              <a:gd name="connsiteY15" fmla="*/ 14419 h 1288800"/>
              <a:gd name="connsiteX16" fmla="*/ 4175490 w 7924447"/>
              <a:gd name="connsiteY16" fmla="*/ 14419 h 1288800"/>
              <a:gd name="connsiteX17" fmla="*/ 4175490 w 7924447"/>
              <a:gd name="connsiteY17" fmla="*/ 1273030 h 1288800"/>
              <a:gd name="connsiteX18" fmla="*/ 3781683 w 7924447"/>
              <a:gd name="connsiteY18" fmla="*/ 1273030 h 1288800"/>
              <a:gd name="connsiteX19" fmla="*/ 6726931 w 7924447"/>
              <a:gd name="connsiteY19" fmla="*/ 14418 h 1288800"/>
              <a:gd name="connsiteX20" fmla="*/ 7216062 w 7924447"/>
              <a:gd name="connsiteY20" fmla="*/ 14418 h 1288800"/>
              <a:gd name="connsiteX21" fmla="*/ 7924447 w 7924447"/>
              <a:gd name="connsiteY21" fmla="*/ 1273030 h 1288800"/>
              <a:gd name="connsiteX22" fmla="*/ 7467155 w 7924447"/>
              <a:gd name="connsiteY22" fmla="*/ 1273030 h 1288800"/>
              <a:gd name="connsiteX23" fmla="*/ 7349796 w 7924447"/>
              <a:gd name="connsiteY23" fmla="*/ 1052360 h 1288800"/>
              <a:gd name="connsiteX24" fmla="*/ 6576065 w 7924447"/>
              <a:gd name="connsiteY24" fmla="*/ 1052360 h 1288800"/>
              <a:gd name="connsiteX25" fmla="*/ 6459926 w 7924447"/>
              <a:gd name="connsiteY25" fmla="*/ 1273030 h 1288800"/>
              <a:gd name="connsiteX26" fmla="*/ 6011821 w 7924447"/>
              <a:gd name="connsiteY26" fmla="*/ 1273030 h 1288800"/>
              <a:gd name="connsiteX27" fmla="*/ 139469 w 7924447"/>
              <a:gd name="connsiteY27" fmla="*/ 14418 h 1288800"/>
              <a:gd name="connsiteX28" fmla="*/ 657720 w 7924447"/>
              <a:gd name="connsiteY28" fmla="*/ 14418 h 1288800"/>
              <a:gd name="connsiteX29" fmla="*/ 1414558 w 7924447"/>
              <a:gd name="connsiteY29" fmla="*/ 955333 h 1288800"/>
              <a:gd name="connsiteX30" fmla="*/ 1414558 w 7924447"/>
              <a:gd name="connsiteY30" fmla="*/ 14420 h 1288800"/>
              <a:gd name="connsiteX31" fmla="*/ 1793219 w 7924447"/>
              <a:gd name="connsiteY31" fmla="*/ 14420 h 1288800"/>
              <a:gd name="connsiteX32" fmla="*/ 1793219 w 7924447"/>
              <a:gd name="connsiteY32" fmla="*/ 1273030 h 1288800"/>
              <a:gd name="connsiteX33" fmla="*/ 1151296 w 7924447"/>
              <a:gd name="connsiteY33" fmla="*/ 1273030 h 1288800"/>
              <a:gd name="connsiteX34" fmla="*/ 378661 w 7924447"/>
              <a:gd name="connsiteY34" fmla="*/ 311950 h 1288800"/>
              <a:gd name="connsiteX35" fmla="*/ 378661 w 7924447"/>
              <a:gd name="connsiteY35" fmla="*/ 1273030 h 1288800"/>
              <a:gd name="connsiteX36" fmla="*/ 0 w 7924447"/>
              <a:gd name="connsiteY36" fmla="*/ 1273030 h 1288800"/>
              <a:gd name="connsiteX37" fmla="*/ 0 w 7924447"/>
              <a:gd name="connsiteY37" fmla="*/ 14420 h 1288800"/>
              <a:gd name="connsiteX38" fmla="*/ 139470 w 7924447"/>
              <a:gd name="connsiteY38" fmla="*/ 14420 h 1288800"/>
              <a:gd name="connsiteX39" fmla="*/ 4850522 w 7924447"/>
              <a:gd name="connsiteY39" fmla="*/ 14418 h 1288800"/>
              <a:gd name="connsiteX40" fmla="*/ 5385591 w 7924447"/>
              <a:gd name="connsiteY40" fmla="*/ 14418 h 1288800"/>
              <a:gd name="connsiteX41" fmla="*/ 4668730 w 7924447"/>
              <a:gd name="connsiteY41" fmla="*/ 603446 h 1288800"/>
              <a:gd name="connsiteX42" fmla="*/ 5474313 w 7924447"/>
              <a:gd name="connsiteY42" fmla="*/ 1273029 h 1288800"/>
              <a:gd name="connsiteX43" fmla="*/ 4911442 w 7924447"/>
              <a:gd name="connsiteY43" fmla="*/ 1273029 h 1288800"/>
              <a:gd name="connsiteX44" fmla="*/ 4178297 w 7924447"/>
              <a:gd name="connsiteY44" fmla="*/ 616444 h 1288800"/>
              <a:gd name="connsiteX45" fmla="*/ 2308976 w 7924447"/>
              <a:gd name="connsiteY45" fmla="*/ 0 h 1288800"/>
              <a:gd name="connsiteX46" fmla="*/ 3257392 w 7924447"/>
              <a:gd name="connsiteY46" fmla="*/ 0 h 1288800"/>
              <a:gd name="connsiteX47" fmla="*/ 3620245 w 7924447"/>
              <a:gd name="connsiteY47" fmla="*/ 334112 h 1288800"/>
              <a:gd name="connsiteX48" fmla="*/ 3620245 w 7924447"/>
              <a:gd name="connsiteY48" fmla="*/ 950689 h 1288800"/>
              <a:gd name="connsiteX49" fmla="*/ 3261400 w 7924447"/>
              <a:gd name="connsiteY49" fmla="*/ 1284801 h 1288800"/>
              <a:gd name="connsiteX50" fmla="*/ 2333021 w 7924447"/>
              <a:gd name="connsiteY50" fmla="*/ 1288800 h 1288800"/>
              <a:gd name="connsiteX51" fmla="*/ 1954138 w 7924447"/>
              <a:gd name="connsiteY51" fmla="*/ 950689 h 1288800"/>
              <a:gd name="connsiteX52" fmla="*/ 1954138 w 7924447"/>
              <a:gd name="connsiteY52" fmla="*/ 334112 h 1288800"/>
              <a:gd name="connsiteX53" fmla="*/ 2308976 w 7924447"/>
              <a:gd name="connsiteY53" fmla="*/ 0 h 12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924447" h="1288800">
                <a:moveTo>
                  <a:pt x="6960911" y="321135"/>
                </a:moveTo>
                <a:lnTo>
                  <a:pt x="6719487" y="779851"/>
                </a:lnTo>
                <a:lnTo>
                  <a:pt x="7204868" y="779851"/>
                </a:lnTo>
                <a:close/>
                <a:moveTo>
                  <a:pt x="2388009" y="315532"/>
                </a:moveTo>
                <a:cubicBezTo>
                  <a:pt x="2347061" y="315532"/>
                  <a:pt x="2313866" y="348659"/>
                  <a:pt x="2313866" y="389523"/>
                </a:cubicBezTo>
                <a:lnTo>
                  <a:pt x="2313866" y="895278"/>
                </a:lnTo>
                <a:cubicBezTo>
                  <a:pt x="2313866" y="936142"/>
                  <a:pt x="2347061" y="969269"/>
                  <a:pt x="2388009" y="969269"/>
                </a:cubicBezTo>
                <a:lnTo>
                  <a:pt x="3186375" y="969269"/>
                </a:lnTo>
                <a:cubicBezTo>
                  <a:pt x="3227323" y="969269"/>
                  <a:pt x="3260517" y="936142"/>
                  <a:pt x="3260517" y="895278"/>
                </a:cubicBezTo>
                <a:lnTo>
                  <a:pt x="3260517" y="389523"/>
                </a:lnTo>
                <a:cubicBezTo>
                  <a:pt x="3260517" y="348659"/>
                  <a:pt x="3227323" y="315532"/>
                  <a:pt x="3186375" y="315532"/>
                </a:cubicBezTo>
                <a:close/>
                <a:moveTo>
                  <a:pt x="5545757" y="14419"/>
                </a:moveTo>
                <a:lnTo>
                  <a:pt x="5939564" y="14419"/>
                </a:lnTo>
                <a:lnTo>
                  <a:pt x="5939564" y="1273030"/>
                </a:lnTo>
                <a:lnTo>
                  <a:pt x="5545757" y="1273030"/>
                </a:lnTo>
                <a:close/>
                <a:moveTo>
                  <a:pt x="3781683" y="14419"/>
                </a:moveTo>
                <a:lnTo>
                  <a:pt x="4175490" y="14419"/>
                </a:lnTo>
                <a:lnTo>
                  <a:pt x="4175490" y="1273030"/>
                </a:lnTo>
                <a:lnTo>
                  <a:pt x="3781683" y="1273030"/>
                </a:lnTo>
                <a:close/>
                <a:moveTo>
                  <a:pt x="6726931" y="14418"/>
                </a:moveTo>
                <a:lnTo>
                  <a:pt x="7216062" y="14418"/>
                </a:lnTo>
                <a:lnTo>
                  <a:pt x="7924447" y="1273030"/>
                </a:lnTo>
                <a:lnTo>
                  <a:pt x="7467155" y="1273030"/>
                </a:lnTo>
                <a:lnTo>
                  <a:pt x="7349796" y="1052360"/>
                </a:lnTo>
                <a:lnTo>
                  <a:pt x="6576065" y="1052360"/>
                </a:lnTo>
                <a:lnTo>
                  <a:pt x="6459926" y="1273030"/>
                </a:lnTo>
                <a:lnTo>
                  <a:pt x="6011821" y="1273030"/>
                </a:lnTo>
                <a:close/>
                <a:moveTo>
                  <a:pt x="139469" y="14418"/>
                </a:moveTo>
                <a:lnTo>
                  <a:pt x="657720" y="14418"/>
                </a:lnTo>
                <a:lnTo>
                  <a:pt x="1414558" y="955333"/>
                </a:lnTo>
                <a:lnTo>
                  <a:pt x="1414558" y="14420"/>
                </a:lnTo>
                <a:lnTo>
                  <a:pt x="1793219" y="14420"/>
                </a:lnTo>
                <a:lnTo>
                  <a:pt x="1793219" y="1273030"/>
                </a:lnTo>
                <a:lnTo>
                  <a:pt x="1151296" y="1273030"/>
                </a:lnTo>
                <a:lnTo>
                  <a:pt x="378661" y="311950"/>
                </a:lnTo>
                <a:lnTo>
                  <a:pt x="378661" y="1273030"/>
                </a:lnTo>
                <a:lnTo>
                  <a:pt x="0" y="1273030"/>
                </a:lnTo>
                <a:lnTo>
                  <a:pt x="0" y="14420"/>
                </a:lnTo>
                <a:lnTo>
                  <a:pt x="139470" y="14420"/>
                </a:lnTo>
                <a:close/>
                <a:moveTo>
                  <a:pt x="4850522" y="14418"/>
                </a:moveTo>
                <a:lnTo>
                  <a:pt x="5385591" y="14418"/>
                </a:lnTo>
                <a:lnTo>
                  <a:pt x="4668730" y="603446"/>
                </a:lnTo>
                <a:lnTo>
                  <a:pt x="5474313" y="1273029"/>
                </a:lnTo>
                <a:lnTo>
                  <a:pt x="4911442" y="1273029"/>
                </a:lnTo>
                <a:lnTo>
                  <a:pt x="4178297" y="616444"/>
                </a:lnTo>
                <a:close/>
                <a:moveTo>
                  <a:pt x="2308976" y="0"/>
                </a:moveTo>
                <a:lnTo>
                  <a:pt x="3257392" y="0"/>
                </a:lnTo>
                <a:cubicBezTo>
                  <a:pt x="3442298" y="0"/>
                  <a:pt x="3624253" y="119593"/>
                  <a:pt x="3620245" y="334112"/>
                </a:cubicBezTo>
                <a:lnTo>
                  <a:pt x="3620245" y="950689"/>
                </a:lnTo>
                <a:cubicBezTo>
                  <a:pt x="3620245" y="1159210"/>
                  <a:pt x="3446305" y="1284801"/>
                  <a:pt x="3261400" y="1284801"/>
                </a:cubicBezTo>
                <a:lnTo>
                  <a:pt x="2333021" y="1288800"/>
                </a:lnTo>
                <a:cubicBezTo>
                  <a:pt x="2148115" y="1286801"/>
                  <a:pt x="1954138" y="1181205"/>
                  <a:pt x="1954138" y="950689"/>
                </a:cubicBezTo>
                <a:lnTo>
                  <a:pt x="1954138" y="334112"/>
                </a:lnTo>
                <a:cubicBezTo>
                  <a:pt x="1962153" y="113594"/>
                  <a:pt x="2124071" y="0"/>
                  <a:pt x="2308976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endParaRPr lang="en-US" sz="1811" dirty="0">
              <a:latin typeface="+mn-lt"/>
            </a:endParaRPr>
          </a:p>
        </p:txBody>
      </p:sp>
      <p:sp>
        <p:nvSpPr>
          <p:cNvPr id="34" name="Title Placeholder 1">
            <a:extLst>
              <a:ext uri="{FF2B5EF4-FFF2-40B4-BE49-F238E27FC236}">
                <a16:creationId xmlns:a16="http://schemas.microsoft.com/office/drawing/2014/main" xmlns="" id="{4F82A268-B90C-4847-B1A7-4E340190348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7600" y="280989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2" name="Rechteck 1">
            <a:hlinkClick r:id="rId7" action="ppaction://hlinksldjump"/>
            <a:extLst>
              <a:ext uri="{FF2B5EF4-FFF2-40B4-BE49-F238E27FC236}">
                <a16:creationId xmlns:a16="http://schemas.microsoft.com/office/drawing/2014/main" xmlns="" id="{F25AE201-51C6-4981-AB77-477F95AEC9DA}"/>
              </a:ext>
            </a:extLst>
          </p:cNvPr>
          <p:cNvSpPr/>
          <p:nvPr userDrawn="1"/>
        </p:nvSpPr>
        <p:spPr>
          <a:xfrm>
            <a:off x="7832740" y="4665662"/>
            <a:ext cx="1311260" cy="477838"/>
          </a:xfrm>
          <a:prstGeom prst="rect">
            <a:avLst/>
          </a:prstGeom>
          <a:solidFill>
            <a:srgbClr val="FFFF00">
              <a:alpha val="0"/>
            </a:srgbClr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7" dirty="0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xmlns="" id="{6D4C4937-4825-47D9-8220-9D3DFA9F9CCD}"/>
              </a:ext>
            </a:extLst>
          </p:cNvPr>
          <p:cNvGrpSpPr/>
          <p:nvPr userDrawn="1"/>
        </p:nvGrpSpPr>
        <p:grpSpPr>
          <a:xfrm>
            <a:off x="5028433" y="4672845"/>
            <a:ext cx="2449107" cy="362236"/>
            <a:chOff x="4997005" y="4644000"/>
            <a:chExt cx="2433800" cy="360000"/>
          </a:xfrm>
        </p:grpSpPr>
        <p:sp>
          <p:nvSpPr>
            <p:cNvPr id="33" name="&lt; forward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xmlns="" id="{EB69401C-3CF4-4A87-92BC-16C0320A71C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2325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7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&lt; back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xmlns="" id="{918DB41E-12A7-4991-8C75-A3BD819F4F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105771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7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back link">
              <a:hlinkClick r:id="" action="ppaction://hlinkshowjump?jump=previous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BDB4A18A-1BAC-479F-AA5C-265AA783D6E3}"/>
                </a:ext>
              </a:extLst>
            </p:cNvPr>
            <p:cNvSpPr/>
            <p:nvPr userDrawn="1"/>
          </p:nvSpPr>
          <p:spPr>
            <a:xfrm>
              <a:off x="5731557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3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revious</a:t>
              </a:r>
            </a:p>
          </p:txBody>
        </p:sp>
        <p:sp>
          <p:nvSpPr>
            <p:cNvPr id="37" name="forward link">
              <a:hlinkClick r:id="" action="ppaction://hlinkshowjump?jump=next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32E6AD86-C60F-4E0C-AA2E-4C7F08622221}"/>
                </a:ext>
              </a:extLst>
            </p:cNvPr>
            <p:cNvSpPr/>
            <p:nvPr userDrawn="1"/>
          </p:nvSpPr>
          <p:spPr>
            <a:xfrm>
              <a:off x="67972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80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3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ext</a:t>
              </a:r>
            </a:p>
          </p:txBody>
        </p:sp>
        <p:sp>
          <p:nvSpPr>
            <p:cNvPr id="38" name="Freihandform: Form 37">
              <a:hlinkClick r:id="" action="ppaction://hlinkshowjump?jump=lastslideviewed"/>
              <a:extLst>
                <a:ext uri="{FF2B5EF4-FFF2-40B4-BE49-F238E27FC236}">
                  <a16:creationId xmlns:a16="http://schemas.microsoft.com/office/drawing/2014/main" xmlns="" id="{55828CAC-AC0B-4145-9187-DB473ED582C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5410986" y="4804666"/>
              <a:ext cx="53776" cy="99082"/>
            </a:xfrm>
            <a:custGeom>
              <a:avLst/>
              <a:gdLst>
                <a:gd name="connsiteX0" fmla="*/ 23824 w 82557"/>
                <a:gd name="connsiteY0" fmla="*/ 0 h 152109"/>
                <a:gd name="connsiteX1" fmla="*/ 0 w 82557"/>
                <a:gd name="connsiteY1" fmla="*/ 0 h 152109"/>
                <a:gd name="connsiteX2" fmla="*/ 58734 w 82557"/>
                <a:gd name="connsiteY2" fmla="*/ 76055 h 152109"/>
                <a:gd name="connsiteX3" fmla="*/ 0 w 82557"/>
                <a:gd name="connsiteY3" fmla="*/ 152109 h 152109"/>
                <a:gd name="connsiteX4" fmla="*/ 23824 w 82557"/>
                <a:gd name="connsiteY4" fmla="*/ 152109 h 152109"/>
                <a:gd name="connsiteX5" fmla="*/ 82557 w 82557"/>
                <a:gd name="connsiteY5" fmla="*/ 76055 h 152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57" h="152109">
                  <a:moveTo>
                    <a:pt x="23824" y="0"/>
                  </a:moveTo>
                  <a:lnTo>
                    <a:pt x="0" y="0"/>
                  </a:lnTo>
                  <a:lnTo>
                    <a:pt x="58734" y="76055"/>
                  </a:lnTo>
                  <a:lnTo>
                    <a:pt x="0" y="152109"/>
                  </a:lnTo>
                  <a:lnTo>
                    <a:pt x="23824" y="152109"/>
                  </a:lnTo>
                  <a:lnTo>
                    <a:pt x="82557" y="76055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7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back link">
              <a:hlinkClick r:id="" action="ppaction://hlinkshowjump?jump=lastslideviewed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7D084EC0-FFC9-4399-AFB3-86A4222110EF}"/>
                </a:ext>
              </a:extLst>
            </p:cNvPr>
            <p:cNvSpPr/>
            <p:nvPr userDrawn="1"/>
          </p:nvSpPr>
          <p:spPr>
            <a:xfrm>
              <a:off x="49970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3" b="0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last vis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7324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</p:sldLayoutIdLst>
  <p:hf sldNum="0" hdr="0" ftr="0" dt="0"/>
  <p:txStyles>
    <p:titleStyle>
      <a:lvl1pPr algn="l" defTabSz="914365" rtl="0" eaLnBrk="1" latinLnBrk="0" hangingPunct="1">
        <a:spcBef>
          <a:spcPct val="0"/>
        </a:spcBef>
        <a:buNone/>
        <a:defRPr sz="2012" kern="120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887" indent="-342887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22" indent="-285739" algn="l" defTabSz="9143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6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9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21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03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6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8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51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5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7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9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2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4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7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0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2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</a:t>
            </a:r>
            <a:r>
              <a:rPr lang="en-US"/>
              <a:t> to edit Master title slid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55776" y="4815162"/>
            <a:ext cx="1800000" cy="123876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9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3" y="4815325"/>
            <a:ext cx="252000" cy="123876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xmlns="" id="{C9F7C012-EBCF-4BA4-9A27-93B7A3350C6A}"/>
              </a:ext>
            </a:extLst>
          </p:cNvPr>
          <p:cNvSpPr>
            <a:spLocks noChangeAspect="1"/>
          </p:cNvSpPr>
          <p:nvPr userDrawn="1"/>
        </p:nvSpPr>
        <p:spPr>
          <a:xfrm>
            <a:off x="8035124" y="4805994"/>
            <a:ext cx="690457" cy="112293"/>
          </a:xfrm>
          <a:custGeom>
            <a:avLst/>
            <a:gdLst>
              <a:gd name="connsiteX0" fmla="*/ 6960911 w 7924447"/>
              <a:gd name="connsiteY0" fmla="*/ 321135 h 1288800"/>
              <a:gd name="connsiteX1" fmla="*/ 6719487 w 7924447"/>
              <a:gd name="connsiteY1" fmla="*/ 779851 h 1288800"/>
              <a:gd name="connsiteX2" fmla="*/ 7204868 w 7924447"/>
              <a:gd name="connsiteY2" fmla="*/ 779851 h 1288800"/>
              <a:gd name="connsiteX3" fmla="*/ 2388009 w 7924447"/>
              <a:gd name="connsiteY3" fmla="*/ 315532 h 1288800"/>
              <a:gd name="connsiteX4" fmla="*/ 2313866 w 7924447"/>
              <a:gd name="connsiteY4" fmla="*/ 389523 h 1288800"/>
              <a:gd name="connsiteX5" fmla="*/ 2313866 w 7924447"/>
              <a:gd name="connsiteY5" fmla="*/ 895278 h 1288800"/>
              <a:gd name="connsiteX6" fmla="*/ 2388009 w 7924447"/>
              <a:gd name="connsiteY6" fmla="*/ 969269 h 1288800"/>
              <a:gd name="connsiteX7" fmla="*/ 3186375 w 7924447"/>
              <a:gd name="connsiteY7" fmla="*/ 969269 h 1288800"/>
              <a:gd name="connsiteX8" fmla="*/ 3260517 w 7924447"/>
              <a:gd name="connsiteY8" fmla="*/ 895278 h 1288800"/>
              <a:gd name="connsiteX9" fmla="*/ 3260517 w 7924447"/>
              <a:gd name="connsiteY9" fmla="*/ 389523 h 1288800"/>
              <a:gd name="connsiteX10" fmla="*/ 3186375 w 7924447"/>
              <a:gd name="connsiteY10" fmla="*/ 315532 h 1288800"/>
              <a:gd name="connsiteX11" fmla="*/ 5545757 w 7924447"/>
              <a:gd name="connsiteY11" fmla="*/ 14419 h 1288800"/>
              <a:gd name="connsiteX12" fmla="*/ 5939564 w 7924447"/>
              <a:gd name="connsiteY12" fmla="*/ 14419 h 1288800"/>
              <a:gd name="connsiteX13" fmla="*/ 5939564 w 7924447"/>
              <a:gd name="connsiteY13" fmla="*/ 1273030 h 1288800"/>
              <a:gd name="connsiteX14" fmla="*/ 5545757 w 7924447"/>
              <a:gd name="connsiteY14" fmla="*/ 1273030 h 1288800"/>
              <a:gd name="connsiteX15" fmla="*/ 3781683 w 7924447"/>
              <a:gd name="connsiteY15" fmla="*/ 14419 h 1288800"/>
              <a:gd name="connsiteX16" fmla="*/ 4175490 w 7924447"/>
              <a:gd name="connsiteY16" fmla="*/ 14419 h 1288800"/>
              <a:gd name="connsiteX17" fmla="*/ 4175490 w 7924447"/>
              <a:gd name="connsiteY17" fmla="*/ 1273030 h 1288800"/>
              <a:gd name="connsiteX18" fmla="*/ 3781683 w 7924447"/>
              <a:gd name="connsiteY18" fmla="*/ 1273030 h 1288800"/>
              <a:gd name="connsiteX19" fmla="*/ 6726931 w 7924447"/>
              <a:gd name="connsiteY19" fmla="*/ 14418 h 1288800"/>
              <a:gd name="connsiteX20" fmla="*/ 7216062 w 7924447"/>
              <a:gd name="connsiteY20" fmla="*/ 14418 h 1288800"/>
              <a:gd name="connsiteX21" fmla="*/ 7924447 w 7924447"/>
              <a:gd name="connsiteY21" fmla="*/ 1273030 h 1288800"/>
              <a:gd name="connsiteX22" fmla="*/ 7467155 w 7924447"/>
              <a:gd name="connsiteY22" fmla="*/ 1273030 h 1288800"/>
              <a:gd name="connsiteX23" fmla="*/ 7349796 w 7924447"/>
              <a:gd name="connsiteY23" fmla="*/ 1052360 h 1288800"/>
              <a:gd name="connsiteX24" fmla="*/ 6576065 w 7924447"/>
              <a:gd name="connsiteY24" fmla="*/ 1052360 h 1288800"/>
              <a:gd name="connsiteX25" fmla="*/ 6459926 w 7924447"/>
              <a:gd name="connsiteY25" fmla="*/ 1273030 h 1288800"/>
              <a:gd name="connsiteX26" fmla="*/ 6011821 w 7924447"/>
              <a:gd name="connsiteY26" fmla="*/ 1273030 h 1288800"/>
              <a:gd name="connsiteX27" fmla="*/ 139469 w 7924447"/>
              <a:gd name="connsiteY27" fmla="*/ 14418 h 1288800"/>
              <a:gd name="connsiteX28" fmla="*/ 657720 w 7924447"/>
              <a:gd name="connsiteY28" fmla="*/ 14418 h 1288800"/>
              <a:gd name="connsiteX29" fmla="*/ 1414558 w 7924447"/>
              <a:gd name="connsiteY29" fmla="*/ 955333 h 1288800"/>
              <a:gd name="connsiteX30" fmla="*/ 1414558 w 7924447"/>
              <a:gd name="connsiteY30" fmla="*/ 14420 h 1288800"/>
              <a:gd name="connsiteX31" fmla="*/ 1793219 w 7924447"/>
              <a:gd name="connsiteY31" fmla="*/ 14420 h 1288800"/>
              <a:gd name="connsiteX32" fmla="*/ 1793219 w 7924447"/>
              <a:gd name="connsiteY32" fmla="*/ 1273030 h 1288800"/>
              <a:gd name="connsiteX33" fmla="*/ 1151296 w 7924447"/>
              <a:gd name="connsiteY33" fmla="*/ 1273030 h 1288800"/>
              <a:gd name="connsiteX34" fmla="*/ 378661 w 7924447"/>
              <a:gd name="connsiteY34" fmla="*/ 311950 h 1288800"/>
              <a:gd name="connsiteX35" fmla="*/ 378661 w 7924447"/>
              <a:gd name="connsiteY35" fmla="*/ 1273030 h 1288800"/>
              <a:gd name="connsiteX36" fmla="*/ 0 w 7924447"/>
              <a:gd name="connsiteY36" fmla="*/ 1273030 h 1288800"/>
              <a:gd name="connsiteX37" fmla="*/ 0 w 7924447"/>
              <a:gd name="connsiteY37" fmla="*/ 14420 h 1288800"/>
              <a:gd name="connsiteX38" fmla="*/ 139470 w 7924447"/>
              <a:gd name="connsiteY38" fmla="*/ 14420 h 1288800"/>
              <a:gd name="connsiteX39" fmla="*/ 4850522 w 7924447"/>
              <a:gd name="connsiteY39" fmla="*/ 14418 h 1288800"/>
              <a:gd name="connsiteX40" fmla="*/ 5385591 w 7924447"/>
              <a:gd name="connsiteY40" fmla="*/ 14418 h 1288800"/>
              <a:gd name="connsiteX41" fmla="*/ 4668730 w 7924447"/>
              <a:gd name="connsiteY41" fmla="*/ 603446 h 1288800"/>
              <a:gd name="connsiteX42" fmla="*/ 5474313 w 7924447"/>
              <a:gd name="connsiteY42" fmla="*/ 1273029 h 1288800"/>
              <a:gd name="connsiteX43" fmla="*/ 4911442 w 7924447"/>
              <a:gd name="connsiteY43" fmla="*/ 1273029 h 1288800"/>
              <a:gd name="connsiteX44" fmla="*/ 4178297 w 7924447"/>
              <a:gd name="connsiteY44" fmla="*/ 616444 h 1288800"/>
              <a:gd name="connsiteX45" fmla="*/ 2308976 w 7924447"/>
              <a:gd name="connsiteY45" fmla="*/ 0 h 1288800"/>
              <a:gd name="connsiteX46" fmla="*/ 3257392 w 7924447"/>
              <a:gd name="connsiteY46" fmla="*/ 0 h 1288800"/>
              <a:gd name="connsiteX47" fmla="*/ 3620245 w 7924447"/>
              <a:gd name="connsiteY47" fmla="*/ 334112 h 1288800"/>
              <a:gd name="connsiteX48" fmla="*/ 3620245 w 7924447"/>
              <a:gd name="connsiteY48" fmla="*/ 950689 h 1288800"/>
              <a:gd name="connsiteX49" fmla="*/ 3261400 w 7924447"/>
              <a:gd name="connsiteY49" fmla="*/ 1284801 h 1288800"/>
              <a:gd name="connsiteX50" fmla="*/ 2333021 w 7924447"/>
              <a:gd name="connsiteY50" fmla="*/ 1288800 h 1288800"/>
              <a:gd name="connsiteX51" fmla="*/ 1954138 w 7924447"/>
              <a:gd name="connsiteY51" fmla="*/ 950689 h 1288800"/>
              <a:gd name="connsiteX52" fmla="*/ 1954138 w 7924447"/>
              <a:gd name="connsiteY52" fmla="*/ 334112 h 1288800"/>
              <a:gd name="connsiteX53" fmla="*/ 2308976 w 7924447"/>
              <a:gd name="connsiteY53" fmla="*/ 0 h 12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924447" h="1288800">
                <a:moveTo>
                  <a:pt x="6960911" y="321135"/>
                </a:moveTo>
                <a:lnTo>
                  <a:pt x="6719487" y="779851"/>
                </a:lnTo>
                <a:lnTo>
                  <a:pt x="7204868" y="779851"/>
                </a:lnTo>
                <a:close/>
                <a:moveTo>
                  <a:pt x="2388009" y="315532"/>
                </a:moveTo>
                <a:cubicBezTo>
                  <a:pt x="2347061" y="315532"/>
                  <a:pt x="2313866" y="348659"/>
                  <a:pt x="2313866" y="389523"/>
                </a:cubicBezTo>
                <a:lnTo>
                  <a:pt x="2313866" y="895278"/>
                </a:lnTo>
                <a:cubicBezTo>
                  <a:pt x="2313866" y="936142"/>
                  <a:pt x="2347061" y="969269"/>
                  <a:pt x="2388009" y="969269"/>
                </a:cubicBezTo>
                <a:lnTo>
                  <a:pt x="3186375" y="969269"/>
                </a:lnTo>
                <a:cubicBezTo>
                  <a:pt x="3227323" y="969269"/>
                  <a:pt x="3260517" y="936142"/>
                  <a:pt x="3260517" y="895278"/>
                </a:cubicBezTo>
                <a:lnTo>
                  <a:pt x="3260517" y="389523"/>
                </a:lnTo>
                <a:cubicBezTo>
                  <a:pt x="3260517" y="348659"/>
                  <a:pt x="3227323" y="315532"/>
                  <a:pt x="3186375" y="315532"/>
                </a:cubicBezTo>
                <a:close/>
                <a:moveTo>
                  <a:pt x="5545757" y="14419"/>
                </a:moveTo>
                <a:lnTo>
                  <a:pt x="5939564" y="14419"/>
                </a:lnTo>
                <a:lnTo>
                  <a:pt x="5939564" y="1273030"/>
                </a:lnTo>
                <a:lnTo>
                  <a:pt x="5545757" y="1273030"/>
                </a:lnTo>
                <a:close/>
                <a:moveTo>
                  <a:pt x="3781683" y="14419"/>
                </a:moveTo>
                <a:lnTo>
                  <a:pt x="4175490" y="14419"/>
                </a:lnTo>
                <a:lnTo>
                  <a:pt x="4175490" y="1273030"/>
                </a:lnTo>
                <a:lnTo>
                  <a:pt x="3781683" y="1273030"/>
                </a:lnTo>
                <a:close/>
                <a:moveTo>
                  <a:pt x="6726931" y="14418"/>
                </a:moveTo>
                <a:lnTo>
                  <a:pt x="7216062" y="14418"/>
                </a:lnTo>
                <a:lnTo>
                  <a:pt x="7924447" y="1273030"/>
                </a:lnTo>
                <a:lnTo>
                  <a:pt x="7467155" y="1273030"/>
                </a:lnTo>
                <a:lnTo>
                  <a:pt x="7349796" y="1052360"/>
                </a:lnTo>
                <a:lnTo>
                  <a:pt x="6576065" y="1052360"/>
                </a:lnTo>
                <a:lnTo>
                  <a:pt x="6459926" y="1273030"/>
                </a:lnTo>
                <a:lnTo>
                  <a:pt x="6011821" y="1273030"/>
                </a:lnTo>
                <a:close/>
                <a:moveTo>
                  <a:pt x="139469" y="14418"/>
                </a:moveTo>
                <a:lnTo>
                  <a:pt x="657720" y="14418"/>
                </a:lnTo>
                <a:lnTo>
                  <a:pt x="1414558" y="955333"/>
                </a:lnTo>
                <a:lnTo>
                  <a:pt x="1414558" y="14420"/>
                </a:lnTo>
                <a:lnTo>
                  <a:pt x="1793219" y="14420"/>
                </a:lnTo>
                <a:lnTo>
                  <a:pt x="1793219" y="1273030"/>
                </a:lnTo>
                <a:lnTo>
                  <a:pt x="1151296" y="1273030"/>
                </a:lnTo>
                <a:lnTo>
                  <a:pt x="378661" y="311950"/>
                </a:lnTo>
                <a:lnTo>
                  <a:pt x="378661" y="1273030"/>
                </a:lnTo>
                <a:lnTo>
                  <a:pt x="0" y="1273030"/>
                </a:lnTo>
                <a:lnTo>
                  <a:pt x="0" y="14420"/>
                </a:lnTo>
                <a:lnTo>
                  <a:pt x="139470" y="14420"/>
                </a:lnTo>
                <a:close/>
                <a:moveTo>
                  <a:pt x="4850522" y="14418"/>
                </a:moveTo>
                <a:lnTo>
                  <a:pt x="5385591" y="14418"/>
                </a:lnTo>
                <a:lnTo>
                  <a:pt x="4668730" y="603446"/>
                </a:lnTo>
                <a:lnTo>
                  <a:pt x="5474313" y="1273029"/>
                </a:lnTo>
                <a:lnTo>
                  <a:pt x="4911442" y="1273029"/>
                </a:lnTo>
                <a:lnTo>
                  <a:pt x="4178297" y="616444"/>
                </a:lnTo>
                <a:close/>
                <a:moveTo>
                  <a:pt x="2308976" y="0"/>
                </a:moveTo>
                <a:lnTo>
                  <a:pt x="3257392" y="0"/>
                </a:lnTo>
                <a:cubicBezTo>
                  <a:pt x="3442298" y="0"/>
                  <a:pt x="3624253" y="119593"/>
                  <a:pt x="3620245" y="334112"/>
                </a:cubicBezTo>
                <a:lnTo>
                  <a:pt x="3620245" y="950689"/>
                </a:lnTo>
                <a:cubicBezTo>
                  <a:pt x="3620245" y="1159210"/>
                  <a:pt x="3446305" y="1284801"/>
                  <a:pt x="3261400" y="1284801"/>
                </a:cubicBezTo>
                <a:lnTo>
                  <a:pt x="2333021" y="1288800"/>
                </a:lnTo>
                <a:cubicBezTo>
                  <a:pt x="2148115" y="1286801"/>
                  <a:pt x="1954138" y="1181205"/>
                  <a:pt x="1954138" y="950689"/>
                </a:cubicBezTo>
                <a:lnTo>
                  <a:pt x="1954138" y="334112"/>
                </a:lnTo>
                <a:cubicBezTo>
                  <a:pt x="1962153" y="113594"/>
                  <a:pt x="2124071" y="0"/>
                  <a:pt x="2308976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endParaRPr lang="en-US" sz="181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57192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5" r:id="rId2"/>
  </p:sldLayoutIdLst>
  <p:hf sldNum="0" hdr="0" ftr="0" dt="0"/>
  <p:txStyles>
    <p:titleStyle>
      <a:lvl1pPr algn="l" defTabSz="914365" rtl="0" eaLnBrk="1" latinLnBrk="0" hangingPunct="1">
        <a:spcBef>
          <a:spcPct val="0"/>
        </a:spcBef>
        <a:buNone/>
        <a:defRPr sz="2012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7" indent="-342887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22" indent="-285739" algn="l" defTabSz="9143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6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9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21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03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6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8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51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5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7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9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2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4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7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0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>
            <a:extLst>
              <a:ext uri="{FF2B5EF4-FFF2-40B4-BE49-F238E27FC236}">
                <a16:creationId xmlns:a16="http://schemas.microsoft.com/office/drawing/2014/main" xmlns="" id="{75E626D8-2123-46C2-96D3-42E300B759F1}"/>
              </a:ext>
            </a:extLst>
          </p:cNvPr>
          <p:cNvGrpSpPr/>
          <p:nvPr userDrawn="1"/>
        </p:nvGrpSpPr>
        <p:grpSpPr>
          <a:xfrm>
            <a:off x="-179386" y="-147639"/>
            <a:ext cx="9503900" cy="5464226"/>
            <a:chOff x="-179388" y="-147638"/>
            <a:chExt cx="9503900" cy="5464226"/>
          </a:xfrm>
        </p:grpSpPr>
        <p:sp>
          <p:nvSpPr>
            <p:cNvPr id="10" name="Line 9">
              <a:extLst>
                <a:ext uri="{FF2B5EF4-FFF2-40B4-BE49-F238E27FC236}">
                  <a16:creationId xmlns:a16="http://schemas.microsoft.com/office/drawing/2014/main" xmlns="" id="{63EF7259-2A6E-47F4-9715-664693E20E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593725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Headline Light"/>
              </a:endParaRPr>
            </a:p>
          </p:txBody>
        </p:sp>
        <p:sp>
          <p:nvSpPr>
            <p:cNvPr id="11" name="Line 12">
              <a:extLst>
                <a:ext uri="{FF2B5EF4-FFF2-40B4-BE49-F238E27FC236}">
                  <a16:creationId xmlns:a16="http://schemas.microsoft.com/office/drawing/2014/main" xmlns="" id="{1D8E364D-F5BC-4555-8591-0635AE39BF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49149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xmlns="" id="{9F6CEECC-3E35-46E0-9E65-FCA64664C5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84613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xmlns="" id="{14A357EE-267E-40D6-A629-729DDE1F9F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179388" y="10922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4" name="Line 12">
              <a:extLst>
                <a:ext uri="{FF2B5EF4-FFF2-40B4-BE49-F238E27FC236}">
                  <a16:creationId xmlns:a16="http://schemas.microsoft.com/office/drawing/2014/main" xmlns="" id="{172C827D-FAC4-489A-AC92-BC41F309988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4665663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5" name="Line 13">
              <a:extLst>
                <a:ext uri="{FF2B5EF4-FFF2-40B4-BE49-F238E27FC236}">
                  <a16:creationId xmlns:a16="http://schemas.microsoft.com/office/drawing/2014/main" xmlns="" id="{B5DD1171-DDCD-4F11-8236-99EDDF20F9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-179388" y="440055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6" name="Line 14">
              <a:extLst>
                <a:ext uri="{FF2B5EF4-FFF2-40B4-BE49-F238E27FC236}">
                  <a16:creationId xmlns:a16="http://schemas.microsoft.com/office/drawing/2014/main" xmlns="" id="{5CB81B44-1D25-419B-9E45-B2FE2FE467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79388" y="28098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7" name="Line 15">
              <a:extLst>
                <a:ext uri="{FF2B5EF4-FFF2-40B4-BE49-F238E27FC236}">
                  <a16:creationId xmlns:a16="http://schemas.microsoft.com/office/drawing/2014/main" xmlns="" id="{77B8D310-F8E6-458A-9601-8C2B24808E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7513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8" name="Line 17">
              <a:extLst>
                <a:ext uri="{FF2B5EF4-FFF2-40B4-BE49-F238E27FC236}">
                  <a16:creationId xmlns:a16="http://schemas.microsoft.com/office/drawing/2014/main" xmlns="" id="{2F9E619D-1FFF-47B7-A2E4-25A7A6E16D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56638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0" name="Line 9">
              <a:extLst>
                <a:ext uri="{FF2B5EF4-FFF2-40B4-BE49-F238E27FC236}">
                  <a16:creationId xmlns:a16="http://schemas.microsoft.com/office/drawing/2014/main" xmlns="" id="{63CFE0CF-842C-4156-96A9-1955A42F362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593725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Headline Light"/>
              </a:endParaRPr>
            </a:p>
          </p:txBody>
        </p:sp>
        <p:sp>
          <p:nvSpPr>
            <p:cNvPr id="22" name="Line 12">
              <a:extLst>
                <a:ext uri="{FF2B5EF4-FFF2-40B4-BE49-F238E27FC236}">
                  <a16:creationId xmlns:a16="http://schemas.microsoft.com/office/drawing/2014/main" xmlns="" id="{09A43713-E8A6-4848-ABAC-E686CBEF90A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49149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4" name="Line 9">
              <a:extLst>
                <a:ext uri="{FF2B5EF4-FFF2-40B4-BE49-F238E27FC236}">
                  <a16:creationId xmlns:a16="http://schemas.microsoft.com/office/drawing/2014/main" xmlns="" id="{A23F96BE-AB65-49CE-B033-4C2B704D54F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84613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5" name="Line 10">
              <a:extLst>
                <a:ext uri="{FF2B5EF4-FFF2-40B4-BE49-F238E27FC236}">
                  <a16:creationId xmlns:a16="http://schemas.microsoft.com/office/drawing/2014/main" xmlns="" id="{49456F82-7FAD-4DA8-B4C4-BE676C68199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>
              <a:off x="9180512" y="10922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6" name="Line 12">
              <a:extLst>
                <a:ext uri="{FF2B5EF4-FFF2-40B4-BE49-F238E27FC236}">
                  <a16:creationId xmlns:a16="http://schemas.microsoft.com/office/drawing/2014/main" xmlns="" id="{BEBED2BB-2938-410A-BCEA-9C530C4696C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4665663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7" name="Line 13">
              <a:extLst>
                <a:ext uri="{FF2B5EF4-FFF2-40B4-BE49-F238E27FC236}">
                  <a16:creationId xmlns:a16="http://schemas.microsoft.com/office/drawing/2014/main" xmlns="" id="{B29057E5-40CF-4341-9ED6-795E8FCBED2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 flipV="1">
              <a:off x="9180512" y="440055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8" name="Line 14">
              <a:extLst>
                <a:ext uri="{FF2B5EF4-FFF2-40B4-BE49-F238E27FC236}">
                  <a16:creationId xmlns:a16="http://schemas.microsoft.com/office/drawing/2014/main" xmlns="" id="{9EAABA67-27A4-40A1-963F-298DCD2EAB3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80512" y="28098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9" name="Line 15">
              <a:extLst>
                <a:ext uri="{FF2B5EF4-FFF2-40B4-BE49-F238E27FC236}">
                  <a16:creationId xmlns:a16="http://schemas.microsoft.com/office/drawing/2014/main" xmlns="" id="{365D9848-FC41-4F8E-AE01-181684EE17C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>
              <a:off x="417513" y="520858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30" name="Line 17">
              <a:extLst>
                <a:ext uri="{FF2B5EF4-FFF2-40B4-BE49-F238E27FC236}">
                  <a16:creationId xmlns:a16="http://schemas.microsoft.com/office/drawing/2014/main" xmlns="" id="{ECD0CD1B-0DE4-4BA2-9715-10D5F6FB15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8656638" y="520858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7840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</p:sldLayoutIdLst>
  <p:hf sldNum="0" hdr="0" dt="0"/>
  <p:txStyles>
    <p:titleStyle>
      <a:lvl1pPr algn="l" defTabSz="914331" rtl="0" eaLnBrk="1" latinLnBrk="0" hangingPunct="1">
        <a:spcBef>
          <a:spcPct val="0"/>
        </a:spcBef>
        <a:buNone/>
        <a:defRPr sz="2000" kern="120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874" indent="-342874" algn="l" defTabSz="914331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94" indent="-285728" algn="l" defTabSz="914331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1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2" indent="-228583" algn="l" defTabSz="914331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77" indent="-228583" algn="l" defTabSz="914331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2" indent="-228583" algn="l" defTabSz="914331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06" indent="-228583" algn="l" defTabSz="91433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2" indent="-228583" algn="l" defTabSz="91433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36" indent="-228583" algn="l" defTabSz="91433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1" indent="-228583" algn="l" defTabSz="91433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4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4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9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2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</a:t>
            </a:r>
            <a:r>
              <a:rPr lang="en-US"/>
              <a:t> to edit Master title slid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55776" y="4816698"/>
            <a:ext cx="1800000" cy="12234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795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8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3" y="4816861"/>
            <a:ext cx="252000" cy="12234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795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994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2"/>
            <a:ext cx="4536000" cy="1223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95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226" y="4651003"/>
            <a:ext cx="1008112" cy="42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492748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txStyles>
    <p:titleStyle>
      <a:lvl1pPr algn="l" defTabSz="908673" rtl="0" eaLnBrk="1" latinLnBrk="0" hangingPunct="1">
        <a:spcBef>
          <a:spcPct val="0"/>
        </a:spcBef>
        <a:buNone/>
        <a:defRPr sz="1988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0753" indent="-340753" algn="l" defTabSz="908673" rtl="0" eaLnBrk="1" latinLnBrk="0" hangingPunct="1">
        <a:spcBef>
          <a:spcPct val="20000"/>
        </a:spcBef>
        <a:buFont typeface="Arial" panose="020B0604020202020204" pitchFamily="34" charset="0"/>
        <a:buChar char="•"/>
        <a:defRPr sz="3180" kern="1200">
          <a:solidFill>
            <a:schemeClr val="tx1"/>
          </a:solidFill>
          <a:latin typeface="+mn-lt"/>
          <a:ea typeface="+mn-ea"/>
          <a:cs typeface="+mn-cs"/>
        </a:defRPr>
      </a:lvl1pPr>
      <a:lvl2pPr marL="738297" indent="-283960" algn="l" defTabSz="908673" rtl="0" eaLnBrk="1" latinLnBrk="0" hangingPunct="1">
        <a:spcBef>
          <a:spcPct val="20000"/>
        </a:spcBef>
        <a:buFont typeface="Arial" panose="020B0604020202020204" pitchFamily="34" charset="0"/>
        <a:buChar char="–"/>
        <a:defRPr sz="2783" kern="1200">
          <a:solidFill>
            <a:schemeClr val="tx1"/>
          </a:solidFill>
          <a:latin typeface="+mn-lt"/>
          <a:ea typeface="+mn-ea"/>
          <a:cs typeface="+mn-cs"/>
        </a:defRPr>
      </a:lvl2pPr>
      <a:lvl3pPr marL="1135842" indent="-227169" algn="l" defTabSz="908673" rtl="0" eaLnBrk="1" latinLnBrk="0" hangingPunct="1">
        <a:spcBef>
          <a:spcPct val="20000"/>
        </a:spcBef>
        <a:buFont typeface="Arial" panose="020B0604020202020204" pitchFamily="34" charset="0"/>
        <a:buChar char="•"/>
        <a:defRPr sz="2385" kern="1200">
          <a:solidFill>
            <a:schemeClr val="tx1"/>
          </a:solidFill>
          <a:latin typeface="+mn-lt"/>
          <a:ea typeface="+mn-ea"/>
          <a:cs typeface="+mn-cs"/>
        </a:defRPr>
      </a:lvl3pPr>
      <a:lvl4pPr marL="1590178" indent="-227169" algn="l" defTabSz="908673" rtl="0" eaLnBrk="1" latinLnBrk="0" hangingPunct="1">
        <a:spcBef>
          <a:spcPct val="20000"/>
        </a:spcBef>
        <a:buFont typeface="Arial" panose="020B0604020202020204" pitchFamily="34" charset="0"/>
        <a:buChar char="–"/>
        <a:defRPr sz="1988" kern="1200">
          <a:solidFill>
            <a:schemeClr val="tx1"/>
          </a:solidFill>
          <a:latin typeface="+mn-lt"/>
          <a:ea typeface="+mn-ea"/>
          <a:cs typeface="+mn-cs"/>
        </a:defRPr>
      </a:lvl4pPr>
      <a:lvl5pPr marL="2044515" indent="-227169" algn="l" defTabSz="908673" rtl="0" eaLnBrk="1" latinLnBrk="0" hangingPunct="1">
        <a:spcBef>
          <a:spcPct val="20000"/>
        </a:spcBef>
        <a:buFont typeface="Arial" panose="020B0604020202020204" pitchFamily="34" charset="0"/>
        <a:buChar char="»"/>
        <a:defRPr sz="1988" kern="1200">
          <a:solidFill>
            <a:schemeClr val="tx1"/>
          </a:solidFill>
          <a:latin typeface="+mn-lt"/>
          <a:ea typeface="+mn-ea"/>
          <a:cs typeface="+mn-cs"/>
        </a:defRPr>
      </a:lvl5pPr>
      <a:lvl6pPr marL="2498851" indent="-227169" algn="l" defTabSz="9086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988" kern="1200">
          <a:solidFill>
            <a:schemeClr val="tx1"/>
          </a:solidFill>
          <a:latin typeface="+mn-lt"/>
          <a:ea typeface="+mn-ea"/>
          <a:cs typeface="+mn-cs"/>
        </a:defRPr>
      </a:lvl6pPr>
      <a:lvl7pPr marL="2953188" indent="-227169" algn="l" defTabSz="9086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988" kern="1200">
          <a:solidFill>
            <a:schemeClr val="tx1"/>
          </a:solidFill>
          <a:latin typeface="+mn-lt"/>
          <a:ea typeface="+mn-ea"/>
          <a:cs typeface="+mn-cs"/>
        </a:defRPr>
      </a:lvl7pPr>
      <a:lvl8pPr marL="3407524" indent="-227169" algn="l" defTabSz="9086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988" kern="1200">
          <a:solidFill>
            <a:schemeClr val="tx1"/>
          </a:solidFill>
          <a:latin typeface="+mn-lt"/>
          <a:ea typeface="+mn-ea"/>
          <a:cs typeface="+mn-cs"/>
        </a:defRPr>
      </a:lvl8pPr>
      <a:lvl9pPr marL="3861862" indent="-227169" algn="l" defTabSz="9086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9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8673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1pPr>
      <a:lvl2pPr marL="454337" algn="l" defTabSz="908673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2pPr>
      <a:lvl3pPr marL="908673" algn="l" defTabSz="908673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3pPr>
      <a:lvl4pPr marL="1363010" algn="l" defTabSz="908673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4pPr>
      <a:lvl5pPr marL="1817346" algn="l" defTabSz="908673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5pPr>
      <a:lvl6pPr marL="2271683" algn="l" defTabSz="908673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6pPr>
      <a:lvl7pPr marL="2726019" algn="l" defTabSz="908673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7pPr>
      <a:lvl8pPr marL="3180357" algn="l" defTabSz="908673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8pPr>
      <a:lvl9pPr marL="3634692" algn="l" defTabSz="908673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>
            <a:extLst>
              <a:ext uri="{FF2B5EF4-FFF2-40B4-BE49-F238E27FC236}">
                <a16:creationId xmlns:a16="http://schemas.microsoft.com/office/drawing/2014/main" xmlns="" id="{75E626D8-2123-46C2-96D3-42E300B759F1}"/>
              </a:ext>
            </a:extLst>
          </p:cNvPr>
          <p:cNvGrpSpPr/>
          <p:nvPr userDrawn="1"/>
        </p:nvGrpSpPr>
        <p:grpSpPr>
          <a:xfrm>
            <a:off x="-179386" y="-147638"/>
            <a:ext cx="9503900" cy="5464226"/>
            <a:chOff x="-179388" y="-147638"/>
            <a:chExt cx="9503900" cy="5464226"/>
          </a:xfrm>
        </p:grpSpPr>
        <p:sp>
          <p:nvSpPr>
            <p:cNvPr id="10" name="Line 9">
              <a:extLst>
                <a:ext uri="{FF2B5EF4-FFF2-40B4-BE49-F238E27FC236}">
                  <a16:creationId xmlns:a16="http://schemas.microsoft.com/office/drawing/2014/main" xmlns="" id="{63EF7259-2A6E-47F4-9715-664693E20E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593725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Headline Light"/>
              </a:endParaRPr>
            </a:p>
          </p:txBody>
        </p:sp>
        <p:sp>
          <p:nvSpPr>
            <p:cNvPr id="11" name="Line 12">
              <a:extLst>
                <a:ext uri="{FF2B5EF4-FFF2-40B4-BE49-F238E27FC236}">
                  <a16:creationId xmlns:a16="http://schemas.microsoft.com/office/drawing/2014/main" xmlns="" id="{1D8E364D-F5BC-4555-8591-0635AE39BF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49149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xmlns="" id="{9F6CEECC-3E35-46E0-9E65-FCA64664C5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84613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xmlns="" id="{14A357EE-267E-40D6-A629-729DDE1F9F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179388" y="10922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4" name="Line 12">
              <a:extLst>
                <a:ext uri="{FF2B5EF4-FFF2-40B4-BE49-F238E27FC236}">
                  <a16:creationId xmlns:a16="http://schemas.microsoft.com/office/drawing/2014/main" xmlns="" id="{172C827D-FAC4-489A-AC92-BC41F309988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4665663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5" name="Line 13">
              <a:extLst>
                <a:ext uri="{FF2B5EF4-FFF2-40B4-BE49-F238E27FC236}">
                  <a16:creationId xmlns:a16="http://schemas.microsoft.com/office/drawing/2014/main" xmlns="" id="{B5DD1171-DDCD-4F11-8236-99EDDF20F9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-179388" y="440055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6" name="Line 14">
              <a:extLst>
                <a:ext uri="{FF2B5EF4-FFF2-40B4-BE49-F238E27FC236}">
                  <a16:creationId xmlns:a16="http://schemas.microsoft.com/office/drawing/2014/main" xmlns="" id="{5CB81B44-1D25-419B-9E45-B2FE2FE467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79388" y="28098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7" name="Line 15">
              <a:extLst>
                <a:ext uri="{FF2B5EF4-FFF2-40B4-BE49-F238E27FC236}">
                  <a16:creationId xmlns:a16="http://schemas.microsoft.com/office/drawing/2014/main" xmlns="" id="{77B8D310-F8E6-458A-9601-8C2B24808E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7513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8" name="Line 17">
              <a:extLst>
                <a:ext uri="{FF2B5EF4-FFF2-40B4-BE49-F238E27FC236}">
                  <a16:creationId xmlns:a16="http://schemas.microsoft.com/office/drawing/2014/main" xmlns="" id="{2F9E619D-1FFF-47B7-A2E4-25A7A6E16D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56638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0" name="Line 9">
              <a:extLst>
                <a:ext uri="{FF2B5EF4-FFF2-40B4-BE49-F238E27FC236}">
                  <a16:creationId xmlns:a16="http://schemas.microsoft.com/office/drawing/2014/main" xmlns="" id="{63CFE0CF-842C-4156-96A9-1955A42F362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593725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Headline Light"/>
              </a:endParaRPr>
            </a:p>
          </p:txBody>
        </p:sp>
        <p:sp>
          <p:nvSpPr>
            <p:cNvPr id="22" name="Line 12">
              <a:extLst>
                <a:ext uri="{FF2B5EF4-FFF2-40B4-BE49-F238E27FC236}">
                  <a16:creationId xmlns:a16="http://schemas.microsoft.com/office/drawing/2014/main" xmlns="" id="{09A43713-E8A6-4848-ABAC-E686CBEF90A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49149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4" name="Line 9">
              <a:extLst>
                <a:ext uri="{FF2B5EF4-FFF2-40B4-BE49-F238E27FC236}">
                  <a16:creationId xmlns:a16="http://schemas.microsoft.com/office/drawing/2014/main" xmlns="" id="{A23F96BE-AB65-49CE-B033-4C2B704D54F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84613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5" name="Line 10">
              <a:extLst>
                <a:ext uri="{FF2B5EF4-FFF2-40B4-BE49-F238E27FC236}">
                  <a16:creationId xmlns:a16="http://schemas.microsoft.com/office/drawing/2014/main" xmlns="" id="{49456F82-7FAD-4DA8-B4C4-BE676C68199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>
              <a:off x="9180512" y="10922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6" name="Line 12">
              <a:extLst>
                <a:ext uri="{FF2B5EF4-FFF2-40B4-BE49-F238E27FC236}">
                  <a16:creationId xmlns:a16="http://schemas.microsoft.com/office/drawing/2014/main" xmlns="" id="{BEBED2BB-2938-410A-BCEA-9C530C4696C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4665663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7" name="Line 13">
              <a:extLst>
                <a:ext uri="{FF2B5EF4-FFF2-40B4-BE49-F238E27FC236}">
                  <a16:creationId xmlns:a16="http://schemas.microsoft.com/office/drawing/2014/main" xmlns="" id="{B29057E5-40CF-4341-9ED6-795E8FCBED2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 flipV="1">
              <a:off x="9180512" y="440055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8" name="Line 14">
              <a:extLst>
                <a:ext uri="{FF2B5EF4-FFF2-40B4-BE49-F238E27FC236}">
                  <a16:creationId xmlns:a16="http://schemas.microsoft.com/office/drawing/2014/main" xmlns="" id="{9EAABA67-27A4-40A1-963F-298DCD2EAB3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80512" y="28098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9" name="Line 15">
              <a:extLst>
                <a:ext uri="{FF2B5EF4-FFF2-40B4-BE49-F238E27FC236}">
                  <a16:creationId xmlns:a16="http://schemas.microsoft.com/office/drawing/2014/main" xmlns="" id="{365D9848-FC41-4F8E-AE01-181684EE17C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>
              <a:off x="417513" y="520858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30" name="Line 17">
              <a:extLst>
                <a:ext uri="{FF2B5EF4-FFF2-40B4-BE49-F238E27FC236}">
                  <a16:creationId xmlns:a16="http://schemas.microsoft.com/office/drawing/2014/main" xmlns="" id="{ECD0CD1B-0DE4-4BA2-9715-10D5F6FB15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8656638" y="520858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 dirty="0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5281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</p:sldLayoutIdLst>
  <p:hf sldNum="0" hdr="0" ftr="0" dt="0"/>
  <p:txStyles>
    <p:titleStyle>
      <a:lvl1pPr algn="l" defTabSz="908696" rtl="0" eaLnBrk="1" latinLnBrk="0" hangingPunct="1">
        <a:spcBef>
          <a:spcPct val="0"/>
        </a:spcBef>
        <a:buNone/>
        <a:defRPr sz="2000" kern="120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0761" indent="-340761" algn="l" defTabSz="908696" rtl="0" eaLnBrk="1" latinLnBrk="0" hangingPunct="1">
        <a:spcBef>
          <a:spcPct val="20000"/>
        </a:spcBef>
        <a:buFont typeface="Arial" panose="020B0604020202020204" pitchFamily="34" charset="0"/>
        <a:buChar char="•"/>
        <a:defRPr sz="3180" kern="1200">
          <a:solidFill>
            <a:schemeClr val="tx1"/>
          </a:solidFill>
          <a:latin typeface="+mn-lt"/>
          <a:ea typeface="+mn-ea"/>
          <a:cs typeface="+mn-cs"/>
        </a:defRPr>
      </a:lvl1pPr>
      <a:lvl2pPr marL="738315" indent="-283967" algn="l" defTabSz="908696" rtl="0" eaLnBrk="1" latinLnBrk="0" hangingPunct="1">
        <a:spcBef>
          <a:spcPct val="20000"/>
        </a:spcBef>
        <a:buFont typeface="Arial" panose="020B0604020202020204" pitchFamily="34" charset="0"/>
        <a:buChar char="–"/>
        <a:defRPr sz="2783" kern="1200">
          <a:solidFill>
            <a:schemeClr val="tx1"/>
          </a:solidFill>
          <a:latin typeface="+mn-lt"/>
          <a:ea typeface="+mn-ea"/>
          <a:cs typeface="+mn-cs"/>
        </a:defRPr>
      </a:lvl2pPr>
      <a:lvl3pPr marL="1135869" indent="-227174" algn="l" defTabSz="9086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85" kern="1200">
          <a:solidFill>
            <a:schemeClr val="tx1"/>
          </a:solidFill>
          <a:latin typeface="+mn-lt"/>
          <a:ea typeface="+mn-ea"/>
          <a:cs typeface="+mn-cs"/>
        </a:defRPr>
      </a:lvl3pPr>
      <a:lvl4pPr marL="1590218" indent="-227174" algn="l" defTabSz="908696" rtl="0" eaLnBrk="1" latinLnBrk="0" hangingPunct="1">
        <a:spcBef>
          <a:spcPct val="20000"/>
        </a:spcBef>
        <a:buFont typeface="Arial" panose="020B0604020202020204" pitchFamily="34" charset="0"/>
        <a:buChar char="–"/>
        <a:defRPr sz="1988" kern="1200">
          <a:solidFill>
            <a:schemeClr val="tx1"/>
          </a:solidFill>
          <a:latin typeface="+mn-lt"/>
          <a:ea typeface="+mn-ea"/>
          <a:cs typeface="+mn-cs"/>
        </a:defRPr>
      </a:lvl4pPr>
      <a:lvl5pPr marL="2044565" indent="-227174" algn="l" defTabSz="908696" rtl="0" eaLnBrk="1" latinLnBrk="0" hangingPunct="1">
        <a:spcBef>
          <a:spcPct val="20000"/>
        </a:spcBef>
        <a:buFont typeface="Arial" panose="020B0604020202020204" pitchFamily="34" charset="0"/>
        <a:buChar char="»"/>
        <a:defRPr sz="1988" kern="1200">
          <a:solidFill>
            <a:schemeClr val="tx1"/>
          </a:solidFill>
          <a:latin typeface="+mn-lt"/>
          <a:ea typeface="+mn-ea"/>
          <a:cs typeface="+mn-cs"/>
        </a:defRPr>
      </a:lvl5pPr>
      <a:lvl6pPr marL="2498913" indent="-227174" algn="l" defTabSz="90869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88" kern="1200">
          <a:solidFill>
            <a:schemeClr val="tx1"/>
          </a:solidFill>
          <a:latin typeface="+mn-lt"/>
          <a:ea typeface="+mn-ea"/>
          <a:cs typeface="+mn-cs"/>
        </a:defRPr>
      </a:lvl6pPr>
      <a:lvl7pPr marL="2953261" indent="-227174" algn="l" defTabSz="90869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88" kern="1200">
          <a:solidFill>
            <a:schemeClr val="tx1"/>
          </a:solidFill>
          <a:latin typeface="+mn-lt"/>
          <a:ea typeface="+mn-ea"/>
          <a:cs typeface="+mn-cs"/>
        </a:defRPr>
      </a:lvl7pPr>
      <a:lvl8pPr marL="3407609" indent="-227174" algn="l" defTabSz="90869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88" kern="1200">
          <a:solidFill>
            <a:schemeClr val="tx1"/>
          </a:solidFill>
          <a:latin typeface="+mn-lt"/>
          <a:ea typeface="+mn-ea"/>
          <a:cs typeface="+mn-cs"/>
        </a:defRPr>
      </a:lvl8pPr>
      <a:lvl9pPr marL="3861958" indent="-227174" algn="l" defTabSz="90869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1pPr>
      <a:lvl2pPr marL="454348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2pPr>
      <a:lvl3pPr marL="908696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3pPr>
      <a:lvl4pPr marL="1363044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4pPr>
      <a:lvl5pPr marL="1817391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5pPr>
      <a:lvl6pPr marL="2271740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6pPr>
      <a:lvl7pPr marL="2726088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7pPr>
      <a:lvl8pPr marL="3180436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8pPr>
      <a:lvl9pPr marL="3634783" algn="l" defTabSz="908696" rtl="0" eaLnBrk="1" latinLnBrk="0" hangingPunct="1">
        <a:defRPr sz="17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F159EC5D-5B38-4BBA-9626-101D2D16FF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40" name="think-cell Folie" r:id="rId7" imgW="395" imgH="394" progId="TCLayout.ActiveDocument.1">
                  <p:embed/>
                </p:oleObj>
              </mc:Choice>
              <mc:Fallback>
                <p:oleObj name="think-cell Foli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F159EC5D-5B38-4BBA-9626-101D2D16FF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E813A50D-694D-4806-8447-57026C2AD32F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 fontAlgn="auto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bg1"/>
              </a:solidFill>
              <a:latin typeface="Nokia Pure Headline Light" panose="020B0304040602060303" pitchFamily="34" charset="0"/>
              <a:cs typeface="Arial" panose="020B0604020202020204" pitchFamily="34" charset="0"/>
              <a:sym typeface="Nokia Pure Headline Light" panose="020B03040406020603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9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657000" y="4815937"/>
            <a:ext cx="1800000" cy="12310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>
                <a:solidFill>
                  <a:schemeClr val="tx2"/>
                </a:solidFill>
                <a:latin typeface="+mn-lt"/>
                <a:cs typeface="Arial" charset="0"/>
              </a:rPr>
              <a:t>© Nokia 2019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1"/>
            <a:ext cx="691200" cy="111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464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</p:sldLayoutIdLst>
  <p:hf sldNum="0" hdr="0" dt="0"/>
  <p:txStyles>
    <p:titleStyle>
      <a:lvl1pPr algn="l" defTabSz="457141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141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141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141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141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141" algn="l" defTabSz="457141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281" algn="l" defTabSz="457141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420" algn="l" defTabSz="457141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561" algn="l" defTabSz="457141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58" indent="-230158" algn="l" defTabSz="457141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29" indent="-228569" algn="l" defTabSz="457141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799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123" indent="-225396" algn="l" defTabSz="457141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694" indent="-228569" algn="l" defTabSz="457141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2851" indent="-230158" algn="l" defTabSz="457141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271" indent="-228569" algn="l" defTabSz="45714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12" indent="-228569" algn="l" defTabSz="45714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53" indent="-228569" algn="l" defTabSz="45714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93" indent="-228569" algn="l" defTabSz="45714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1" algn="l" defTabSz="4571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1" algn="l" defTabSz="4571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0" algn="l" defTabSz="4571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61" algn="l" defTabSz="4571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02" algn="l" defTabSz="4571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42" algn="l" defTabSz="4571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82" algn="l" defTabSz="4571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22" algn="l" defTabSz="4571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3999" y="4816800"/>
            <a:ext cx="2716981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Ultra-optimized solution to de-risk your 5G deploymen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55776" y="4815162"/>
            <a:ext cx="1800000" cy="123876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19 Nokia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419103" y="4815325"/>
            <a:ext cx="252000" cy="123876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xmlns="" id="{75E626D8-2123-46C2-96D3-42E300B759F1}"/>
              </a:ext>
            </a:extLst>
          </p:cNvPr>
          <p:cNvGrpSpPr/>
          <p:nvPr userDrawn="1"/>
        </p:nvGrpSpPr>
        <p:grpSpPr>
          <a:xfrm>
            <a:off x="-179387" y="-147638"/>
            <a:ext cx="9503900" cy="5464226"/>
            <a:chOff x="-179388" y="-147638"/>
            <a:chExt cx="9503900" cy="5464226"/>
          </a:xfrm>
        </p:grpSpPr>
        <p:sp>
          <p:nvSpPr>
            <p:cNvPr id="10" name="Line 9">
              <a:extLst>
                <a:ext uri="{FF2B5EF4-FFF2-40B4-BE49-F238E27FC236}">
                  <a16:creationId xmlns:a16="http://schemas.microsoft.com/office/drawing/2014/main" xmlns="" id="{63EF7259-2A6E-47F4-9715-664693E20E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593725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Headline Light"/>
              </a:endParaRPr>
            </a:p>
          </p:txBody>
        </p:sp>
        <p:sp>
          <p:nvSpPr>
            <p:cNvPr id="11" name="Line 12">
              <a:extLst>
                <a:ext uri="{FF2B5EF4-FFF2-40B4-BE49-F238E27FC236}">
                  <a16:creationId xmlns:a16="http://schemas.microsoft.com/office/drawing/2014/main" xmlns="" id="{1D8E364D-F5BC-4555-8591-0635AE39BF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49149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xmlns="" id="{9F6CEECC-3E35-46E0-9E65-FCA64664C5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84613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xmlns="" id="{14A357EE-267E-40D6-A629-729DDE1F9F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179388" y="10922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4" name="Line 12">
              <a:extLst>
                <a:ext uri="{FF2B5EF4-FFF2-40B4-BE49-F238E27FC236}">
                  <a16:creationId xmlns:a16="http://schemas.microsoft.com/office/drawing/2014/main" xmlns="" id="{172C827D-FAC4-489A-AC92-BC41F309988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79388" y="4665663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5" name="Line 13">
              <a:extLst>
                <a:ext uri="{FF2B5EF4-FFF2-40B4-BE49-F238E27FC236}">
                  <a16:creationId xmlns:a16="http://schemas.microsoft.com/office/drawing/2014/main" xmlns="" id="{B5DD1171-DDCD-4F11-8236-99EDDF20F9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-179388" y="440055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6" name="Line 14">
              <a:extLst>
                <a:ext uri="{FF2B5EF4-FFF2-40B4-BE49-F238E27FC236}">
                  <a16:creationId xmlns:a16="http://schemas.microsoft.com/office/drawing/2014/main" xmlns="" id="{5CB81B44-1D25-419B-9E45-B2FE2FE467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79388" y="28098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7" name="Line 15">
              <a:extLst>
                <a:ext uri="{FF2B5EF4-FFF2-40B4-BE49-F238E27FC236}">
                  <a16:creationId xmlns:a16="http://schemas.microsoft.com/office/drawing/2014/main" xmlns="" id="{77B8D310-F8E6-458A-9601-8C2B24808E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7513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18" name="Line 17">
              <a:extLst>
                <a:ext uri="{FF2B5EF4-FFF2-40B4-BE49-F238E27FC236}">
                  <a16:creationId xmlns:a16="http://schemas.microsoft.com/office/drawing/2014/main" xmlns="" id="{2F9E619D-1FFF-47B7-A2E4-25A7A6E16D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56638" y="-14763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0" name="Line 9">
              <a:extLst>
                <a:ext uri="{FF2B5EF4-FFF2-40B4-BE49-F238E27FC236}">
                  <a16:creationId xmlns:a16="http://schemas.microsoft.com/office/drawing/2014/main" xmlns="" id="{63CFE0CF-842C-4156-96A9-1955A42F362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593725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Headline Light"/>
              </a:endParaRPr>
            </a:p>
          </p:txBody>
        </p:sp>
        <p:sp>
          <p:nvSpPr>
            <p:cNvPr id="22" name="Line 12">
              <a:extLst>
                <a:ext uri="{FF2B5EF4-FFF2-40B4-BE49-F238E27FC236}">
                  <a16:creationId xmlns:a16="http://schemas.microsoft.com/office/drawing/2014/main" xmlns="" id="{09A43713-E8A6-4848-ABAC-E686CBEF90A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49149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4" name="Line 9">
              <a:extLst>
                <a:ext uri="{FF2B5EF4-FFF2-40B4-BE49-F238E27FC236}">
                  <a16:creationId xmlns:a16="http://schemas.microsoft.com/office/drawing/2014/main" xmlns="" id="{A23F96BE-AB65-49CE-B033-4C2B704D54F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84613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5" name="Line 10">
              <a:extLst>
                <a:ext uri="{FF2B5EF4-FFF2-40B4-BE49-F238E27FC236}">
                  <a16:creationId xmlns:a16="http://schemas.microsoft.com/office/drawing/2014/main" xmlns="" id="{49456F82-7FAD-4DA8-B4C4-BE676C68199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>
              <a:off x="9180512" y="109220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6" name="Line 12">
              <a:extLst>
                <a:ext uri="{FF2B5EF4-FFF2-40B4-BE49-F238E27FC236}">
                  <a16:creationId xmlns:a16="http://schemas.microsoft.com/office/drawing/2014/main" xmlns="" id="{BEBED2BB-2938-410A-BCEA-9C530C4696C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180512" y="4665663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7" name="Line 13">
              <a:extLst>
                <a:ext uri="{FF2B5EF4-FFF2-40B4-BE49-F238E27FC236}">
                  <a16:creationId xmlns:a16="http://schemas.microsoft.com/office/drawing/2014/main" xmlns="" id="{B29057E5-40CF-4341-9ED6-795E8FCBED2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 flipV="1">
              <a:off x="9180512" y="4400550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8" name="Line 14">
              <a:extLst>
                <a:ext uri="{FF2B5EF4-FFF2-40B4-BE49-F238E27FC236}">
                  <a16:creationId xmlns:a16="http://schemas.microsoft.com/office/drawing/2014/main" xmlns="" id="{9EAABA67-27A4-40A1-963F-298DCD2EAB3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80512" y="280988"/>
              <a:ext cx="144000" cy="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29" name="Line 15">
              <a:extLst>
                <a:ext uri="{FF2B5EF4-FFF2-40B4-BE49-F238E27FC236}">
                  <a16:creationId xmlns:a16="http://schemas.microsoft.com/office/drawing/2014/main" xmlns="" id="{365D9848-FC41-4F8E-AE01-181684EE17C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H="1">
              <a:off x="417513" y="520858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  <p:sp>
          <p:nvSpPr>
            <p:cNvPr id="30" name="Line 17">
              <a:extLst>
                <a:ext uri="{FF2B5EF4-FFF2-40B4-BE49-F238E27FC236}">
                  <a16:creationId xmlns:a16="http://schemas.microsoft.com/office/drawing/2014/main" xmlns="" id="{ECD0CD1B-0DE4-4BA2-9715-10D5F6FB15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8656638" y="5208588"/>
              <a:ext cx="0" cy="108000"/>
            </a:xfrm>
            <a:prstGeom prst="line">
              <a:avLst/>
            </a:prstGeom>
            <a:noFill/>
            <a:ln w="3175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sz="1811">
                <a:solidFill>
                  <a:srgbClr val="124191"/>
                </a:solidFill>
                <a:latin typeface="Nokia Pure Text Light" panose="020B0304040602060303" pitchFamily="34" charset="0"/>
              </a:endParaRPr>
            </a:p>
          </p:txBody>
        </p:sp>
      </p:grp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xmlns="" id="{C9F7C012-EBCF-4BA4-9A27-93B7A3350C6A}"/>
              </a:ext>
            </a:extLst>
          </p:cNvPr>
          <p:cNvSpPr>
            <a:spLocks noChangeAspect="1"/>
          </p:cNvSpPr>
          <p:nvPr userDrawn="1"/>
        </p:nvSpPr>
        <p:spPr>
          <a:xfrm>
            <a:off x="8035124" y="4805994"/>
            <a:ext cx="690457" cy="112293"/>
          </a:xfrm>
          <a:custGeom>
            <a:avLst/>
            <a:gdLst>
              <a:gd name="connsiteX0" fmla="*/ 6960911 w 7924447"/>
              <a:gd name="connsiteY0" fmla="*/ 321135 h 1288800"/>
              <a:gd name="connsiteX1" fmla="*/ 6719487 w 7924447"/>
              <a:gd name="connsiteY1" fmla="*/ 779851 h 1288800"/>
              <a:gd name="connsiteX2" fmla="*/ 7204868 w 7924447"/>
              <a:gd name="connsiteY2" fmla="*/ 779851 h 1288800"/>
              <a:gd name="connsiteX3" fmla="*/ 2388009 w 7924447"/>
              <a:gd name="connsiteY3" fmla="*/ 315532 h 1288800"/>
              <a:gd name="connsiteX4" fmla="*/ 2313866 w 7924447"/>
              <a:gd name="connsiteY4" fmla="*/ 389523 h 1288800"/>
              <a:gd name="connsiteX5" fmla="*/ 2313866 w 7924447"/>
              <a:gd name="connsiteY5" fmla="*/ 895278 h 1288800"/>
              <a:gd name="connsiteX6" fmla="*/ 2388009 w 7924447"/>
              <a:gd name="connsiteY6" fmla="*/ 969269 h 1288800"/>
              <a:gd name="connsiteX7" fmla="*/ 3186375 w 7924447"/>
              <a:gd name="connsiteY7" fmla="*/ 969269 h 1288800"/>
              <a:gd name="connsiteX8" fmla="*/ 3260517 w 7924447"/>
              <a:gd name="connsiteY8" fmla="*/ 895278 h 1288800"/>
              <a:gd name="connsiteX9" fmla="*/ 3260517 w 7924447"/>
              <a:gd name="connsiteY9" fmla="*/ 389523 h 1288800"/>
              <a:gd name="connsiteX10" fmla="*/ 3186375 w 7924447"/>
              <a:gd name="connsiteY10" fmla="*/ 315532 h 1288800"/>
              <a:gd name="connsiteX11" fmla="*/ 5545757 w 7924447"/>
              <a:gd name="connsiteY11" fmla="*/ 14419 h 1288800"/>
              <a:gd name="connsiteX12" fmla="*/ 5939564 w 7924447"/>
              <a:gd name="connsiteY12" fmla="*/ 14419 h 1288800"/>
              <a:gd name="connsiteX13" fmla="*/ 5939564 w 7924447"/>
              <a:gd name="connsiteY13" fmla="*/ 1273030 h 1288800"/>
              <a:gd name="connsiteX14" fmla="*/ 5545757 w 7924447"/>
              <a:gd name="connsiteY14" fmla="*/ 1273030 h 1288800"/>
              <a:gd name="connsiteX15" fmla="*/ 3781683 w 7924447"/>
              <a:gd name="connsiteY15" fmla="*/ 14419 h 1288800"/>
              <a:gd name="connsiteX16" fmla="*/ 4175490 w 7924447"/>
              <a:gd name="connsiteY16" fmla="*/ 14419 h 1288800"/>
              <a:gd name="connsiteX17" fmla="*/ 4175490 w 7924447"/>
              <a:gd name="connsiteY17" fmla="*/ 1273030 h 1288800"/>
              <a:gd name="connsiteX18" fmla="*/ 3781683 w 7924447"/>
              <a:gd name="connsiteY18" fmla="*/ 1273030 h 1288800"/>
              <a:gd name="connsiteX19" fmla="*/ 6726931 w 7924447"/>
              <a:gd name="connsiteY19" fmla="*/ 14418 h 1288800"/>
              <a:gd name="connsiteX20" fmla="*/ 7216062 w 7924447"/>
              <a:gd name="connsiteY20" fmla="*/ 14418 h 1288800"/>
              <a:gd name="connsiteX21" fmla="*/ 7924447 w 7924447"/>
              <a:gd name="connsiteY21" fmla="*/ 1273030 h 1288800"/>
              <a:gd name="connsiteX22" fmla="*/ 7467155 w 7924447"/>
              <a:gd name="connsiteY22" fmla="*/ 1273030 h 1288800"/>
              <a:gd name="connsiteX23" fmla="*/ 7349796 w 7924447"/>
              <a:gd name="connsiteY23" fmla="*/ 1052360 h 1288800"/>
              <a:gd name="connsiteX24" fmla="*/ 6576065 w 7924447"/>
              <a:gd name="connsiteY24" fmla="*/ 1052360 h 1288800"/>
              <a:gd name="connsiteX25" fmla="*/ 6459926 w 7924447"/>
              <a:gd name="connsiteY25" fmla="*/ 1273030 h 1288800"/>
              <a:gd name="connsiteX26" fmla="*/ 6011821 w 7924447"/>
              <a:gd name="connsiteY26" fmla="*/ 1273030 h 1288800"/>
              <a:gd name="connsiteX27" fmla="*/ 139469 w 7924447"/>
              <a:gd name="connsiteY27" fmla="*/ 14418 h 1288800"/>
              <a:gd name="connsiteX28" fmla="*/ 657720 w 7924447"/>
              <a:gd name="connsiteY28" fmla="*/ 14418 h 1288800"/>
              <a:gd name="connsiteX29" fmla="*/ 1414558 w 7924447"/>
              <a:gd name="connsiteY29" fmla="*/ 955333 h 1288800"/>
              <a:gd name="connsiteX30" fmla="*/ 1414558 w 7924447"/>
              <a:gd name="connsiteY30" fmla="*/ 14420 h 1288800"/>
              <a:gd name="connsiteX31" fmla="*/ 1793219 w 7924447"/>
              <a:gd name="connsiteY31" fmla="*/ 14420 h 1288800"/>
              <a:gd name="connsiteX32" fmla="*/ 1793219 w 7924447"/>
              <a:gd name="connsiteY32" fmla="*/ 1273030 h 1288800"/>
              <a:gd name="connsiteX33" fmla="*/ 1151296 w 7924447"/>
              <a:gd name="connsiteY33" fmla="*/ 1273030 h 1288800"/>
              <a:gd name="connsiteX34" fmla="*/ 378661 w 7924447"/>
              <a:gd name="connsiteY34" fmla="*/ 311950 h 1288800"/>
              <a:gd name="connsiteX35" fmla="*/ 378661 w 7924447"/>
              <a:gd name="connsiteY35" fmla="*/ 1273030 h 1288800"/>
              <a:gd name="connsiteX36" fmla="*/ 0 w 7924447"/>
              <a:gd name="connsiteY36" fmla="*/ 1273030 h 1288800"/>
              <a:gd name="connsiteX37" fmla="*/ 0 w 7924447"/>
              <a:gd name="connsiteY37" fmla="*/ 14420 h 1288800"/>
              <a:gd name="connsiteX38" fmla="*/ 139470 w 7924447"/>
              <a:gd name="connsiteY38" fmla="*/ 14420 h 1288800"/>
              <a:gd name="connsiteX39" fmla="*/ 4850522 w 7924447"/>
              <a:gd name="connsiteY39" fmla="*/ 14418 h 1288800"/>
              <a:gd name="connsiteX40" fmla="*/ 5385591 w 7924447"/>
              <a:gd name="connsiteY40" fmla="*/ 14418 h 1288800"/>
              <a:gd name="connsiteX41" fmla="*/ 4668730 w 7924447"/>
              <a:gd name="connsiteY41" fmla="*/ 603446 h 1288800"/>
              <a:gd name="connsiteX42" fmla="*/ 5474313 w 7924447"/>
              <a:gd name="connsiteY42" fmla="*/ 1273029 h 1288800"/>
              <a:gd name="connsiteX43" fmla="*/ 4911442 w 7924447"/>
              <a:gd name="connsiteY43" fmla="*/ 1273029 h 1288800"/>
              <a:gd name="connsiteX44" fmla="*/ 4178297 w 7924447"/>
              <a:gd name="connsiteY44" fmla="*/ 616444 h 1288800"/>
              <a:gd name="connsiteX45" fmla="*/ 2308976 w 7924447"/>
              <a:gd name="connsiteY45" fmla="*/ 0 h 1288800"/>
              <a:gd name="connsiteX46" fmla="*/ 3257392 w 7924447"/>
              <a:gd name="connsiteY46" fmla="*/ 0 h 1288800"/>
              <a:gd name="connsiteX47" fmla="*/ 3620245 w 7924447"/>
              <a:gd name="connsiteY47" fmla="*/ 334112 h 1288800"/>
              <a:gd name="connsiteX48" fmla="*/ 3620245 w 7924447"/>
              <a:gd name="connsiteY48" fmla="*/ 950689 h 1288800"/>
              <a:gd name="connsiteX49" fmla="*/ 3261400 w 7924447"/>
              <a:gd name="connsiteY49" fmla="*/ 1284801 h 1288800"/>
              <a:gd name="connsiteX50" fmla="*/ 2333021 w 7924447"/>
              <a:gd name="connsiteY50" fmla="*/ 1288800 h 1288800"/>
              <a:gd name="connsiteX51" fmla="*/ 1954138 w 7924447"/>
              <a:gd name="connsiteY51" fmla="*/ 950689 h 1288800"/>
              <a:gd name="connsiteX52" fmla="*/ 1954138 w 7924447"/>
              <a:gd name="connsiteY52" fmla="*/ 334112 h 1288800"/>
              <a:gd name="connsiteX53" fmla="*/ 2308976 w 7924447"/>
              <a:gd name="connsiteY53" fmla="*/ 0 h 128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924447" h="1288800">
                <a:moveTo>
                  <a:pt x="6960911" y="321135"/>
                </a:moveTo>
                <a:lnTo>
                  <a:pt x="6719487" y="779851"/>
                </a:lnTo>
                <a:lnTo>
                  <a:pt x="7204868" y="779851"/>
                </a:lnTo>
                <a:close/>
                <a:moveTo>
                  <a:pt x="2388009" y="315532"/>
                </a:moveTo>
                <a:cubicBezTo>
                  <a:pt x="2347061" y="315532"/>
                  <a:pt x="2313866" y="348659"/>
                  <a:pt x="2313866" y="389523"/>
                </a:cubicBezTo>
                <a:lnTo>
                  <a:pt x="2313866" y="895278"/>
                </a:lnTo>
                <a:cubicBezTo>
                  <a:pt x="2313866" y="936142"/>
                  <a:pt x="2347061" y="969269"/>
                  <a:pt x="2388009" y="969269"/>
                </a:cubicBezTo>
                <a:lnTo>
                  <a:pt x="3186375" y="969269"/>
                </a:lnTo>
                <a:cubicBezTo>
                  <a:pt x="3227323" y="969269"/>
                  <a:pt x="3260517" y="936142"/>
                  <a:pt x="3260517" y="895278"/>
                </a:cubicBezTo>
                <a:lnTo>
                  <a:pt x="3260517" y="389523"/>
                </a:lnTo>
                <a:cubicBezTo>
                  <a:pt x="3260517" y="348659"/>
                  <a:pt x="3227323" y="315532"/>
                  <a:pt x="3186375" y="315532"/>
                </a:cubicBezTo>
                <a:close/>
                <a:moveTo>
                  <a:pt x="5545757" y="14419"/>
                </a:moveTo>
                <a:lnTo>
                  <a:pt x="5939564" y="14419"/>
                </a:lnTo>
                <a:lnTo>
                  <a:pt x="5939564" y="1273030"/>
                </a:lnTo>
                <a:lnTo>
                  <a:pt x="5545757" y="1273030"/>
                </a:lnTo>
                <a:close/>
                <a:moveTo>
                  <a:pt x="3781683" y="14419"/>
                </a:moveTo>
                <a:lnTo>
                  <a:pt x="4175490" y="14419"/>
                </a:lnTo>
                <a:lnTo>
                  <a:pt x="4175490" y="1273030"/>
                </a:lnTo>
                <a:lnTo>
                  <a:pt x="3781683" y="1273030"/>
                </a:lnTo>
                <a:close/>
                <a:moveTo>
                  <a:pt x="6726931" y="14418"/>
                </a:moveTo>
                <a:lnTo>
                  <a:pt x="7216062" y="14418"/>
                </a:lnTo>
                <a:lnTo>
                  <a:pt x="7924447" y="1273030"/>
                </a:lnTo>
                <a:lnTo>
                  <a:pt x="7467155" y="1273030"/>
                </a:lnTo>
                <a:lnTo>
                  <a:pt x="7349796" y="1052360"/>
                </a:lnTo>
                <a:lnTo>
                  <a:pt x="6576065" y="1052360"/>
                </a:lnTo>
                <a:lnTo>
                  <a:pt x="6459926" y="1273030"/>
                </a:lnTo>
                <a:lnTo>
                  <a:pt x="6011821" y="1273030"/>
                </a:lnTo>
                <a:close/>
                <a:moveTo>
                  <a:pt x="139469" y="14418"/>
                </a:moveTo>
                <a:lnTo>
                  <a:pt x="657720" y="14418"/>
                </a:lnTo>
                <a:lnTo>
                  <a:pt x="1414558" y="955333"/>
                </a:lnTo>
                <a:lnTo>
                  <a:pt x="1414558" y="14420"/>
                </a:lnTo>
                <a:lnTo>
                  <a:pt x="1793219" y="14420"/>
                </a:lnTo>
                <a:lnTo>
                  <a:pt x="1793219" y="1273030"/>
                </a:lnTo>
                <a:lnTo>
                  <a:pt x="1151296" y="1273030"/>
                </a:lnTo>
                <a:lnTo>
                  <a:pt x="378661" y="311950"/>
                </a:lnTo>
                <a:lnTo>
                  <a:pt x="378661" y="1273030"/>
                </a:lnTo>
                <a:lnTo>
                  <a:pt x="0" y="1273030"/>
                </a:lnTo>
                <a:lnTo>
                  <a:pt x="0" y="14420"/>
                </a:lnTo>
                <a:lnTo>
                  <a:pt x="139470" y="14420"/>
                </a:lnTo>
                <a:close/>
                <a:moveTo>
                  <a:pt x="4850522" y="14418"/>
                </a:moveTo>
                <a:lnTo>
                  <a:pt x="5385591" y="14418"/>
                </a:lnTo>
                <a:lnTo>
                  <a:pt x="4668730" y="603446"/>
                </a:lnTo>
                <a:lnTo>
                  <a:pt x="5474313" y="1273029"/>
                </a:lnTo>
                <a:lnTo>
                  <a:pt x="4911442" y="1273029"/>
                </a:lnTo>
                <a:lnTo>
                  <a:pt x="4178297" y="616444"/>
                </a:lnTo>
                <a:close/>
                <a:moveTo>
                  <a:pt x="2308976" y="0"/>
                </a:moveTo>
                <a:lnTo>
                  <a:pt x="3257392" y="0"/>
                </a:lnTo>
                <a:cubicBezTo>
                  <a:pt x="3442298" y="0"/>
                  <a:pt x="3624253" y="119593"/>
                  <a:pt x="3620245" y="334112"/>
                </a:cubicBezTo>
                <a:lnTo>
                  <a:pt x="3620245" y="950689"/>
                </a:lnTo>
                <a:cubicBezTo>
                  <a:pt x="3620245" y="1159210"/>
                  <a:pt x="3446305" y="1284801"/>
                  <a:pt x="3261400" y="1284801"/>
                </a:cubicBezTo>
                <a:lnTo>
                  <a:pt x="2333021" y="1288800"/>
                </a:lnTo>
                <a:cubicBezTo>
                  <a:pt x="2148115" y="1286801"/>
                  <a:pt x="1954138" y="1181205"/>
                  <a:pt x="1954138" y="950689"/>
                </a:cubicBezTo>
                <a:lnTo>
                  <a:pt x="1954138" y="334112"/>
                </a:lnTo>
                <a:cubicBezTo>
                  <a:pt x="1962153" y="113594"/>
                  <a:pt x="2124071" y="0"/>
                  <a:pt x="2308976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endParaRPr lang="en-US" sz="1811">
              <a:latin typeface="+mn-lt"/>
            </a:endParaRPr>
          </a:p>
        </p:txBody>
      </p:sp>
      <p:sp>
        <p:nvSpPr>
          <p:cNvPr id="34" name="Title Placeholder 1">
            <a:extLst>
              <a:ext uri="{FF2B5EF4-FFF2-40B4-BE49-F238E27FC236}">
                <a16:creationId xmlns:a16="http://schemas.microsoft.com/office/drawing/2014/main" xmlns="" id="{4F82A268-B90C-4847-B1A7-4E340190348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7600" y="280989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headline</a:t>
            </a:r>
          </a:p>
        </p:txBody>
      </p:sp>
      <p:sp>
        <p:nvSpPr>
          <p:cNvPr id="2" name="Rechteck 1">
            <a:hlinkClick r:id="" action="ppaction://hlinkshowjump?jump=firstslide"/>
            <a:extLst>
              <a:ext uri="{FF2B5EF4-FFF2-40B4-BE49-F238E27FC236}">
                <a16:creationId xmlns:a16="http://schemas.microsoft.com/office/drawing/2014/main" xmlns="" id="{F25AE201-51C6-4981-AB77-477F95AEC9DA}"/>
              </a:ext>
            </a:extLst>
          </p:cNvPr>
          <p:cNvSpPr/>
          <p:nvPr userDrawn="1"/>
        </p:nvSpPr>
        <p:spPr>
          <a:xfrm>
            <a:off x="7832740" y="4665662"/>
            <a:ext cx="1311260" cy="477838"/>
          </a:xfrm>
          <a:prstGeom prst="rect">
            <a:avLst/>
          </a:prstGeom>
          <a:solidFill>
            <a:srgbClr val="FFFF00">
              <a:alpha val="0"/>
            </a:srgbClr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207">
              <a:solidFill>
                <a:schemeClr val="bg1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xmlns="" id="{6D4C4937-4825-47D9-8220-9D3DFA9F9CCD}"/>
              </a:ext>
            </a:extLst>
          </p:cNvPr>
          <p:cNvGrpSpPr/>
          <p:nvPr userDrawn="1"/>
        </p:nvGrpSpPr>
        <p:grpSpPr>
          <a:xfrm>
            <a:off x="5028433" y="4672845"/>
            <a:ext cx="2449107" cy="362236"/>
            <a:chOff x="4997005" y="4644000"/>
            <a:chExt cx="2433800" cy="360000"/>
          </a:xfrm>
        </p:grpSpPr>
        <p:sp>
          <p:nvSpPr>
            <p:cNvPr id="33" name="&lt; forward">
              <a:hlinkClick r:id="" action="ppaction://hlinkshowjump?jump=nextslide"/>
              <a:extLst>
                <a:ext uri="{FF2B5EF4-FFF2-40B4-BE49-F238E27FC236}">
                  <a16:creationId xmlns:a16="http://schemas.microsoft.com/office/drawing/2014/main" xmlns="" id="{EB69401C-3CF4-4A87-92BC-16C0320A71C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002325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7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&lt; back">
              <a:hlinkClick r:id="" action="ppaction://hlinkshowjump?jump=previousslide"/>
              <a:extLst>
                <a:ext uri="{FF2B5EF4-FFF2-40B4-BE49-F238E27FC236}">
                  <a16:creationId xmlns:a16="http://schemas.microsoft.com/office/drawing/2014/main" xmlns="" id="{918DB41E-12A7-4991-8C75-A3BD819F4F57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6105771" y="4804666"/>
              <a:ext cx="93800" cy="99082"/>
            </a:xfrm>
            <a:custGeom>
              <a:avLst/>
              <a:gdLst>
                <a:gd name="connsiteX0" fmla="*/ 65408 w 153292"/>
                <a:gd name="connsiteY0" fmla="*/ 0 h 161924"/>
                <a:gd name="connsiteX1" fmla="*/ 90769 w 153292"/>
                <a:gd name="connsiteY1" fmla="*/ 0 h 161924"/>
                <a:gd name="connsiteX2" fmla="*/ 153292 w 153292"/>
                <a:gd name="connsiteY2" fmla="*/ 80962 h 161924"/>
                <a:gd name="connsiteX3" fmla="*/ 90769 w 153292"/>
                <a:gd name="connsiteY3" fmla="*/ 161924 h 161924"/>
                <a:gd name="connsiteX4" fmla="*/ 65408 w 153292"/>
                <a:gd name="connsiteY4" fmla="*/ 161924 h 161924"/>
                <a:gd name="connsiteX5" fmla="*/ 127931 w 153292"/>
                <a:gd name="connsiteY5" fmla="*/ 80962 h 161924"/>
                <a:gd name="connsiteX6" fmla="*/ 0 w 153292"/>
                <a:gd name="connsiteY6" fmla="*/ 0 h 161924"/>
                <a:gd name="connsiteX7" fmla="*/ 25361 w 153292"/>
                <a:gd name="connsiteY7" fmla="*/ 0 h 161924"/>
                <a:gd name="connsiteX8" fmla="*/ 87884 w 153292"/>
                <a:gd name="connsiteY8" fmla="*/ 80962 h 161924"/>
                <a:gd name="connsiteX9" fmla="*/ 25361 w 153292"/>
                <a:gd name="connsiteY9" fmla="*/ 161924 h 161924"/>
                <a:gd name="connsiteX10" fmla="*/ 0 w 153292"/>
                <a:gd name="connsiteY10" fmla="*/ 161924 h 161924"/>
                <a:gd name="connsiteX11" fmla="*/ 62523 w 153292"/>
                <a:gd name="connsiteY11" fmla="*/ 80962 h 161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292" h="161924">
                  <a:moveTo>
                    <a:pt x="65408" y="0"/>
                  </a:moveTo>
                  <a:lnTo>
                    <a:pt x="90769" y="0"/>
                  </a:lnTo>
                  <a:lnTo>
                    <a:pt x="153292" y="80962"/>
                  </a:lnTo>
                  <a:lnTo>
                    <a:pt x="90769" y="161924"/>
                  </a:lnTo>
                  <a:lnTo>
                    <a:pt x="65408" y="161924"/>
                  </a:lnTo>
                  <a:lnTo>
                    <a:pt x="127931" y="80962"/>
                  </a:lnTo>
                  <a:close/>
                  <a:moveTo>
                    <a:pt x="0" y="0"/>
                  </a:moveTo>
                  <a:lnTo>
                    <a:pt x="25361" y="0"/>
                  </a:lnTo>
                  <a:lnTo>
                    <a:pt x="87884" y="80962"/>
                  </a:lnTo>
                  <a:lnTo>
                    <a:pt x="25361" y="161924"/>
                  </a:lnTo>
                  <a:lnTo>
                    <a:pt x="0" y="161924"/>
                  </a:lnTo>
                  <a:lnTo>
                    <a:pt x="62523" y="80962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7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back link">
              <a:hlinkClick r:id="" action="ppaction://hlinkshowjump?jump=previous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BDB4A18A-1BAC-479F-AA5C-265AA783D6E3}"/>
                </a:ext>
              </a:extLst>
            </p:cNvPr>
            <p:cNvSpPr/>
            <p:nvPr userDrawn="1"/>
          </p:nvSpPr>
          <p:spPr>
            <a:xfrm>
              <a:off x="5731557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3" b="0" i="0" u="none" strike="noStrike" kern="0" cap="none" spc="0" normalizeH="0" baseline="0" noProof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revious</a:t>
              </a:r>
            </a:p>
          </p:txBody>
        </p:sp>
        <p:sp>
          <p:nvSpPr>
            <p:cNvPr id="37" name="forward link">
              <a:hlinkClick r:id="" action="ppaction://hlinkshowjump?jump=nextslide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32E6AD86-C60F-4E0C-AA2E-4C7F08622221}"/>
                </a:ext>
              </a:extLst>
            </p:cNvPr>
            <p:cNvSpPr/>
            <p:nvPr userDrawn="1"/>
          </p:nvSpPr>
          <p:spPr>
            <a:xfrm>
              <a:off x="67972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80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503" b="0" i="0" u="none" strike="noStrike" kern="0" cap="none" spc="0" normalizeH="0" baseline="0" noProof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ext</a:t>
              </a:r>
            </a:p>
          </p:txBody>
        </p:sp>
        <p:sp>
          <p:nvSpPr>
            <p:cNvPr id="38" name="Freihandform: Form 37">
              <a:hlinkClick r:id="" action="ppaction://hlinkshowjump?jump=lastslideviewed"/>
              <a:extLst>
                <a:ext uri="{FF2B5EF4-FFF2-40B4-BE49-F238E27FC236}">
                  <a16:creationId xmlns:a16="http://schemas.microsoft.com/office/drawing/2014/main" xmlns="" id="{55828CAC-AC0B-4145-9187-DB473ED582CA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>
              <a:off x="5410986" y="4804666"/>
              <a:ext cx="53776" cy="99082"/>
            </a:xfrm>
            <a:custGeom>
              <a:avLst/>
              <a:gdLst>
                <a:gd name="connsiteX0" fmla="*/ 23824 w 82557"/>
                <a:gd name="connsiteY0" fmla="*/ 0 h 152109"/>
                <a:gd name="connsiteX1" fmla="*/ 0 w 82557"/>
                <a:gd name="connsiteY1" fmla="*/ 0 h 152109"/>
                <a:gd name="connsiteX2" fmla="*/ 58734 w 82557"/>
                <a:gd name="connsiteY2" fmla="*/ 76055 h 152109"/>
                <a:gd name="connsiteX3" fmla="*/ 0 w 82557"/>
                <a:gd name="connsiteY3" fmla="*/ 152109 h 152109"/>
                <a:gd name="connsiteX4" fmla="*/ 23824 w 82557"/>
                <a:gd name="connsiteY4" fmla="*/ 152109 h 152109"/>
                <a:gd name="connsiteX5" fmla="*/ 82557 w 82557"/>
                <a:gd name="connsiteY5" fmla="*/ 76055 h 152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557" h="152109">
                  <a:moveTo>
                    <a:pt x="23824" y="0"/>
                  </a:moveTo>
                  <a:lnTo>
                    <a:pt x="0" y="0"/>
                  </a:lnTo>
                  <a:lnTo>
                    <a:pt x="58734" y="76055"/>
                  </a:lnTo>
                  <a:lnTo>
                    <a:pt x="0" y="152109"/>
                  </a:lnTo>
                  <a:lnTo>
                    <a:pt x="23824" y="152109"/>
                  </a:lnTo>
                  <a:lnTo>
                    <a:pt x="82557" y="76055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7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back link">
              <a:hlinkClick r:id="" action="ppaction://hlinkshowjump?jump=lastslideviewed"/>
              <a:hlinkHover r:id="" action="ppaction://noaction" highlightClick="1"/>
              <a:extLst>
                <a:ext uri="{FF2B5EF4-FFF2-40B4-BE49-F238E27FC236}">
                  <a16:creationId xmlns:a16="http://schemas.microsoft.com/office/drawing/2014/main" xmlns="" id="{7D084EC0-FFC9-4399-AFB3-86A4222110EF}"/>
                </a:ext>
              </a:extLst>
            </p:cNvPr>
            <p:cNvSpPr/>
            <p:nvPr userDrawn="1"/>
          </p:nvSpPr>
          <p:spPr>
            <a:xfrm>
              <a:off x="4997005" y="4644000"/>
              <a:ext cx="633600" cy="360000"/>
            </a:xfrm>
            <a:prstGeom prst="rect">
              <a:avLst/>
            </a:prstGeom>
            <a:solidFill>
              <a:srgbClr val="FFFF00">
                <a:alpha val="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08000" tIns="72000" rIns="10800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2006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3" b="0" i="0" u="none" strike="noStrike" kern="0" cap="none" spc="0" normalizeH="0" baseline="0" noProof="0">
                  <a:ln>
                    <a:noFill/>
                  </a:ln>
                  <a:solidFill>
                    <a:schemeClr val="accent2">
                      <a:alpha val="50000"/>
                    </a:schemeClr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last vis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87082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</p:sldLayoutIdLst>
  <p:hf sldNum="0" hdr="0" dt="0"/>
  <p:txStyles>
    <p:titleStyle>
      <a:lvl1pPr algn="l" defTabSz="914365" rtl="0" eaLnBrk="1" latinLnBrk="0" hangingPunct="1">
        <a:spcBef>
          <a:spcPct val="0"/>
        </a:spcBef>
        <a:buNone/>
        <a:defRPr sz="2012" kern="120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887" indent="-342887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22" indent="-285739" algn="l" defTabSz="9143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6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9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21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03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6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8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51" indent="-228592" algn="l" defTabSz="9143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5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7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9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2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4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7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0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1.xml"/><Relationship Id="rId5" Type="http://schemas.openxmlformats.org/officeDocument/2006/relationships/video" Target="../media/media1.mp4"/><Relationship Id="rId10" Type="http://schemas.openxmlformats.org/officeDocument/2006/relationships/image" Target="../media/image20.png"/><Relationship Id="rId4" Type="http://schemas.microsoft.com/office/2007/relationships/media" Target="../media/media1.mp4"/><Relationship Id="rId9" Type="http://schemas.openxmlformats.org/officeDocument/2006/relationships/image" Target="../media/image19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g"/><Relationship Id="rId3" Type="http://schemas.openxmlformats.org/officeDocument/2006/relationships/tags" Target="../tags/tag25.xml"/><Relationship Id="rId7" Type="http://schemas.openxmlformats.org/officeDocument/2006/relationships/image" Target="../media/image19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43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tags" Target="../tags/tag51.xml"/><Relationship Id="rId21" Type="http://schemas.openxmlformats.org/officeDocument/2006/relationships/tags" Target="../tags/tag46.xml"/><Relationship Id="rId42" Type="http://schemas.openxmlformats.org/officeDocument/2006/relationships/tags" Target="../tags/tag67.xml"/><Relationship Id="rId47" Type="http://schemas.openxmlformats.org/officeDocument/2006/relationships/tags" Target="../tags/tag72.xml"/><Relationship Id="rId63" Type="http://schemas.openxmlformats.org/officeDocument/2006/relationships/tags" Target="../tags/tag88.xml"/><Relationship Id="rId68" Type="http://schemas.openxmlformats.org/officeDocument/2006/relationships/tags" Target="../tags/tag93.xml"/><Relationship Id="rId84" Type="http://schemas.openxmlformats.org/officeDocument/2006/relationships/tags" Target="../tags/tag109.xml"/><Relationship Id="rId89" Type="http://schemas.openxmlformats.org/officeDocument/2006/relationships/tags" Target="../tags/tag114.xml"/><Relationship Id="rId16" Type="http://schemas.openxmlformats.org/officeDocument/2006/relationships/tags" Target="../tags/tag41.xml"/><Relationship Id="rId11" Type="http://schemas.openxmlformats.org/officeDocument/2006/relationships/tags" Target="../tags/tag36.xml"/><Relationship Id="rId32" Type="http://schemas.openxmlformats.org/officeDocument/2006/relationships/tags" Target="../tags/tag57.xml"/><Relationship Id="rId37" Type="http://schemas.openxmlformats.org/officeDocument/2006/relationships/tags" Target="../tags/tag62.xml"/><Relationship Id="rId53" Type="http://schemas.openxmlformats.org/officeDocument/2006/relationships/tags" Target="../tags/tag78.xml"/><Relationship Id="rId58" Type="http://schemas.openxmlformats.org/officeDocument/2006/relationships/tags" Target="../tags/tag83.xml"/><Relationship Id="rId74" Type="http://schemas.openxmlformats.org/officeDocument/2006/relationships/tags" Target="../tags/tag99.xml"/><Relationship Id="rId79" Type="http://schemas.openxmlformats.org/officeDocument/2006/relationships/tags" Target="../tags/tag104.xml"/><Relationship Id="rId5" Type="http://schemas.openxmlformats.org/officeDocument/2006/relationships/tags" Target="../tags/tag30.xml"/><Relationship Id="rId90" Type="http://schemas.openxmlformats.org/officeDocument/2006/relationships/tags" Target="../tags/tag115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43" Type="http://schemas.openxmlformats.org/officeDocument/2006/relationships/tags" Target="../tags/tag68.xml"/><Relationship Id="rId48" Type="http://schemas.openxmlformats.org/officeDocument/2006/relationships/tags" Target="../tags/tag73.xml"/><Relationship Id="rId64" Type="http://schemas.openxmlformats.org/officeDocument/2006/relationships/tags" Target="../tags/tag89.xml"/><Relationship Id="rId69" Type="http://schemas.openxmlformats.org/officeDocument/2006/relationships/tags" Target="../tags/tag94.xml"/><Relationship Id="rId8" Type="http://schemas.openxmlformats.org/officeDocument/2006/relationships/tags" Target="../tags/tag33.xml"/><Relationship Id="rId51" Type="http://schemas.openxmlformats.org/officeDocument/2006/relationships/tags" Target="../tags/tag76.xml"/><Relationship Id="rId72" Type="http://schemas.openxmlformats.org/officeDocument/2006/relationships/tags" Target="../tags/tag97.xml"/><Relationship Id="rId80" Type="http://schemas.openxmlformats.org/officeDocument/2006/relationships/tags" Target="../tags/tag105.xml"/><Relationship Id="rId85" Type="http://schemas.openxmlformats.org/officeDocument/2006/relationships/tags" Target="../tags/tag110.xml"/><Relationship Id="rId93" Type="http://schemas.openxmlformats.org/officeDocument/2006/relationships/slideLayout" Target="../slideLayouts/slideLayout32.xml"/><Relationship Id="rId3" Type="http://schemas.openxmlformats.org/officeDocument/2006/relationships/tags" Target="../tags/tag28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tags" Target="../tags/tag58.xml"/><Relationship Id="rId38" Type="http://schemas.openxmlformats.org/officeDocument/2006/relationships/tags" Target="../tags/tag63.xml"/><Relationship Id="rId46" Type="http://schemas.openxmlformats.org/officeDocument/2006/relationships/tags" Target="../tags/tag71.xml"/><Relationship Id="rId59" Type="http://schemas.openxmlformats.org/officeDocument/2006/relationships/tags" Target="../tags/tag84.xml"/><Relationship Id="rId67" Type="http://schemas.openxmlformats.org/officeDocument/2006/relationships/tags" Target="../tags/tag92.xml"/><Relationship Id="rId20" Type="http://schemas.openxmlformats.org/officeDocument/2006/relationships/tags" Target="../tags/tag45.xml"/><Relationship Id="rId41" Type="http://schemas.openxmlformats.org/officeDocument/2006/relationships/tags" Target="../tags/tag66.xml"/><Relationship Id="rId54" Type="http://schemas.openxmlformats.org/officeDocument/2006/relationships/tags" Target="../tags/tag79.xml"/><Relationship Id="rId62" Type="http://schemas.openxmlformats.org/officeDocument/2006/relationships/tags" Target="../tags/tag87.xml"/><Relationship Id="rId70" Type="http://schemas.openxmlformats.org/officeDocument/2006/relationships/tags" Target="../tags/tag95.xml"/><Relationship Id="rId75" Type="http://schemas.openxmlformats.org/officeDocument/2006/relationships/tags" Target="../tags/tag100.xml"/><Relationship Id="rId83" Type="http://schemas.openxmlformats.org/officeDocument/2006/relationships/tags" Target="../tags/tag108.xml"/><Relationship Id="rId88" Type="http://schemas.openxmlformats.org/officeDocument/2006/relationships/tags" Target="../tags/tag113.xml"/><Relationship Id="rId91" Type="http://schemas.openxmlformats.org/officeDocument/2006/relationships/tags" Target="../tags/tag116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36" Type="http://schemas.openxmlformats.org/officeDocument/2006/relationships/tags" Target="../tags/tag61.xml"/><Relationship Id="rId49" Type="http://schemas.openxmlformats.org/officeDocument/2006/relationships/tags" Target="../tags/tag74.xml"/><Relationship Id="rId57" Type="http://schemas.openxmlformats.org/officeDocument/2006/relationships/tags" Target="../tags/tag82.xml"/><Relationship Id="rId10" Type="http://schemas.openxmlformats.org/officeDocument/2006/relationships/tags" Target="../tags/tag35.xml"/><Relationship Id="rId31" Type="http://schemas.openxmlformats.org/officeDocument/2006/relationships/tags" Target="../tags/tag56.xml"/><Relationship Id="rId44" Type="http://schemas.openxmlformats.org/officeDocument/2006/relationships/tags" Target="../tags/tag69.xml"/><Relationship Id="rId52" Type="http://schemas.openxmlformats.org/officeDocument/2006/relationships/tags" Target="../tags/tag77.xml"/><Relationship Id="rId60" Type="http://schemas.openxmlformats.org/officeDocument/2006/relationships/tags" Target="../tags/tag85.xml"/><Relationship Id="rId65" Type="http://schemas.openxmlformats.org/officeDocument/2006/relationships/tags" Target="../tags/tag90.xml"/><Relationship Id="rId73" Type="http://schemas.openxmlformats.org/officeDocument/2006/relationships/tags" Target="../tags/tag98.xml"/><Relationship Id="rId78" Type="http://schemas.openxmlformats.org/officeDocument/2006/relationships/tags" Target="../tags/tag103.xml"/><Relationship Id="rId81" Type="http://schemas.openxmlformats.org/officeDocument/2006/relationships/tags" Target="../tags/tag106.xml"/><Relationship Id="rId86" Type="http://schemas.openxmlformats.org/officeDocument/2006/relationships/tags" Target="../tags/tag111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9" Type="http://schemas.openxmlformats.org/officeDocument/2006/relationships/tags" Target="../tags/tag64.xml"/><Relationship Id="rId34" Type="http://schemas.openxmlformats.org/officeDocument/2006/relationships/tags" Target="../tags/tag59.xml"/><Relationship Id="rId50" Type="http://schemas.openxmlformats.org/officeDocument/2006/relationships/tags" Target="../tags/tag75.xml"/><Relationship Id="rId55" Type="http://schemas.openxmlformats.org/officeDocument/2006/relationships/tags" Target="../tags/tag80.xml"/><Relationship Id="rId76" Type="http://schemas.openxmlformats.org/officeDocument/2006/relationships/tags" Target="../tags/tag101.xml"/><Relationship Id="rId7" Type="http://schemas.openxmlformats.org/officeDocument/2006/relationships/tags" Target="../tags/tag32.xml"/><Relationship Id="rId71" Type="http://schemas.openxmlformats.org/officeDocument/2006/relationships/tags" Target="../tags/tag96.xml"/><Relationship Id="rId92" Type="http://schemas.openxmlformats.org/officeDocument/2006/relationships/tags" Target="../tags/tag117.xml"/><Relationship Id="rId2" Type="http://schemas.openxmlformats.org/officeDocument/2006/relationships/tags" Target="../tags/tag27.xml"/><Relationship Id="rId29" Type="http://schemas.openxmlformats.org/officeDocument/2006/relationships/tags" Target="../tags/tag54.xml"/><Relationship Id="rId24" Type="http://schemas.openxmlformats.org/officeDocument/2006/relationships/tags" Target="../tags/tag49.xml"/><Relationship Id="rId40" Type="http://schemas.openxmlformats.org/officeDocument/2006/relationships/tags" Target="../tags/tag65.xml"/><Relationship Id="rId45" Type="http://schemas.openxmlformats.org/officeDocument/2006/relationships/tags" Target="../tags/tag70.xml"/><Relationship Id="rId66" Type="http://schemas.openxmlformats.org/officeDocument/2006/relationships/tags" Target="../tags/tag91.xml"/><Relationship Id="rId87" Type="http://schemas.openxmlformats.org/officeDocument/2006/relationships/tags" Target="../tags/tag112.xml"/><Relationship Id="rId61" Type="http://schemas.openxmlformats.org/officeDocument/2006/relationships/tags" Target="../tags/tag86.xml"/><Relationship Id="rId82" Type="http://schemas.openxmlformats.org/officeDocument/2006/relationships/tags" Target="../tags/tag107.xml"/><Relationship Id="rId19" Type="http://schemas.openxmlformats.org/officeDocument/2006/relationships/tags" Target="../tags/tag44.xml"/><Relationship Id="rId14" Type="http://schemas.openxmlformats.org/officeDocument/2006/relationships/tags" Target="../tags/tag39.xml"/><Relationship Id="rId30" Type="http://schemas.openxmlformats.org/officeDocument/2006/relationships/tags" Target="../tags/tag55.xml"/><Relationship Id="rId35" Type="http://schemas.openxmlformats.org/officeDocument/2006/relationships/tags" Target="../tags/tag60.xml"/><Relationship Id="rId56" Type="http://schemas.openxmlformats.org/officeDocument/2006/relationships/tags" Target="../tags/tag81.xml"/><Relationship Id="rId77" Type="http://schemas.openxmlformats.org/officeDocument/2006/relationships/tags" Target="../tags/tag10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19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media" Target="../media/media5.mp4"/><Relationship Id="rId13" Type="http://schemas.openxmlformats.org/officeDocument/2006/relationships/image" Target="../media/image36.emf"/><Relationship Id="rId3" Type="http://schemas.openxmlformats.org/officeDocument/2006/relationships/tags" Target="../tags/tag121.xml"/><Relationship Id="rId7" Type="http://schemas.openxmlformats.org/officeDocument/2006/relationships/video" Target="../media/media4.mp4"/><Relationship Id="rId12" Type="http://schemas.openxmlformats.org/officeDocument/2006/relationships/oleObject" Target="../embeddings/oleObject18.bin"/><Relationship Id="rId2" Type="http://schemas.openxmlformats.org/officeDocument/2006/relationships/tags" Target="../tags/tag120.xml"/><Relationship Id="rId16" Type="http://schemas.openxmlformats.org/officeDocument/2006/relationships/image" Target="../media/image48.png"/><Relationship Id="rId1" Type="http://schemas.openxmlformats.org/officeDocument/2006/relationships/vmlDrawing" Target="../drawings/vmlDrawing18.vml"/><Relationship Id="rId6" Type="http://schemas.microsoft.com/office/2007/relationships/media" Target="../media/media4.mp4"/><Relationship Id="rId11" Type="http://schemas.openxmlformats.org/officeDocument/2006/relationships/notesSlide" Target="../notesSlides/notesSlide9.xml"/><Relationship Id="rId5" Type="http://schemas.openxmlformats.org/officeDocument/2006/relationships/video" Target="../media/media3.mp4"/><Relationship Id="rId15" Type="http://schemas.openxmlformats.org/officeDocument/2006/relationships/image" Target="../media/image47.png"/><Relationship Id="rId10" Type="http://schemas.openxmlformats.org/officeDocument/2006/relationships/slideLayout" Target="../slideLayouts/slideLayout1.xml"/><Relationship Id="rId4" Type="http://schemas.microsoft.com/office/2007/relationships/media" Target="../media/media3.mp4"/><Relationship Id="rId9" Type="http://schemas.openxmlformats.org/officeDocument/2006/relationships/video" Target="../media/media5.mp4"/><Relationship Id="rId14" Type="http://schemas.openxmlformats.org/officeDocument/2006/relationships/image" Target="../media/image4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123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9.vml"/><Relationship Id="rId6" Type="http://schemas.openxmlformats.org/officeDocument/2006/relationships/slideLayout" Target="../slideLayouts/slideLayout49.xml"/><Relationship Id="rId5" Type="http://schemas.openxmlformats.org/officeDocument/2006/relationships/video" Target="../media/media6.mp4"/><Relationship Id="rId10" Type="http://schemas.openxmlformats.org/officeDocument/2006/relationships/image" Target="../media/image49.png"/><Relationship Id="rId4" Type="http://schemas.microsoft.com/office/2007/relationships/media" Target="../media/media6.mp4"/><Relationship Id="rId9" Type="http://schemas.openxmlformats.org/officeDocument/2006/relationships/image" Target="../media/image36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25.xml"/><Relationship Id="rId7" Type="http://schemas.openxmlformats.org/officeDocument/2006/relationships/notesSlide" Target="../notesSlides/notesSlide11.xml"/><Relationship Id="rId12" Type="http://schemas.openxmlformats.org/officeDocument/2006/relationships/image" Target="../media/image52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20.v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51.png"/><Relationship Id="rId5" Type="http://schemas.openxmlformats.org/officeDocument/2006/relationships/video" Target="../media/media7.mp4"/><Relationship Id="rId10" Type="http://schemas.openxmlformats.org/officeDocument/2006/relationships/image" Target="../media/image50.png"/><Relationship Id="rId4" Type="http://schemas.microsoft.com/office/2007/relationships/media" Target="../media/media7.mp4"/><Relationship Id="rId9" Type="http://schemas.openxmlformats.org/officeDocument/2006/relationships/image" Target="../media/image36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27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21.vml"/><Relationship Id="rId6" Type="http://schemas.openxmlformats.org/officeDocument/2006/relationships/slideLayout" Target="../slideLayouts/slideLayout1.xml"/><Relationship Id="rId5" Type="http://schemas.openxmlformats.org/officeDocument/2006/relationships/video" Target="../media/media8.mp4"/><Relationship Id="rId10" Type="http://schemas.openxmlformats.org/officeDocument/2006/relationships/image" Target="../media/image53.png"/><Relationship Id="rId4" Type="http://schemas.microsoft.com/office/2007/relationships/media" Target="../media/media8.mp4"/><Relationship Id="rId9" Type="http://schemas.openxmlformats.org/officeDocument/2006/relationships/image" Target="../media/image36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15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1.xml"/><Relationship Id="rId5" Type="http://schemas.openxmlformats.org/officeDocument/2006/relationships/video" Target="../media/media2.mp4"/><Relationship Id="rId10" Type="http://schemas.openxmlformats.org/officeDocument/2006/relationships/image" Target="../media/image21.png"/><Relationship Id="rId4" Type="http://schemas.microsoft.com/office/2007/relationships/media" Target="../media/media2.mp4"/><Relationship Id="rId9" Type="http://schemas.openxmlformats.org/officeDocument/2006/relationships/image" Target="../media/image19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58.jpeg"/><Relationship Id="rId7" Type="http://schemas.openxmlformats.org/officeDocument/2006/relationships/image" Target="../media/image62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61.jpeg"/><Relationship Id="rId5" Type="http://schemas.openxmlformats.org/officeDocument/2006/relationships/image" Target="../media/image60.jpeg"/><Relationship Id="rId4" Type="http://schemas.openxmlformats.org/officeDocument/2006/relationships/image" Target="../media/image59.jpeg"/><Relationship Id="rId9" Type="http://schemas.openxmlformats.org/officeDocument/2006/relationships/image" Target="../media/image64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4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29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2.vml"/><Relationship Id="rId6" Type="http://schemas.openxmlformats.org/officeDocument/2006/relationships/slideLayout" Target="../slideLayouts/slideLayout1.xml"/><Relationship Id="rId5" Type="http://schemas.openxmlformats.org/officeDocument/2006/relationships/video" Target="../media/media9.mp4"/><Relationship Id="rId10" Type="http://schemas.openxmlformats.org/officeDocument/2006/relationships/image" Target="../media/image66.png"/><Relationship Id="rId4" Type="http://schemas.microsoft.com/office/2007/relationships/media" Target="../media/media9.mp4"/><Relationship Id="rId9" Type="http://schemas.openxmlformats.org/officeDocument/2006/relationships/image" Target="../media/image3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5.png"/><Relationship Id="rId3" Type="http://schemas.openxmlformats.org/officeDocument/2006/relationships/tags" Target="../tags/tag17.xml"/><Relationship Id="rId7" Type="http://schemas.openxmlformats.org/officeDocument/2006/relationships/image" Target="../media/image19.emf"/><Relationship Id="rId12" Type="http://schemas.openxmlformats.org/officeDocument/2006/relationships/image" Target="../media/image2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11" Type="http://schemas.microsoft.com/office/2007/relationships/hdphoto" Target="../media/hdphoto3.wdp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1.xml"/><Relationship Id="rId9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9.xml"/><Relationship Id="rId7" Type="http://schemas.openxmlformats.org/officeDocument/2006/relationships/image" Target="../media/image19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29.jp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8.jp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21.xml"/><Relationship Id="rId7" Type="http://schemas.openxmlformats.org/officeDocument/2006/relationships/image" Target="../media/image19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35.jp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4.jp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g"/><Relationship Id="rId3" Type="http://schemas.openxmlformats.org/officeDocument/2006/relationships/tags" Target="../tags/tag23.xml"/><Relationship Id="rId7" Type="http://schemas.openxmlformats.org/officeDocument/2006/relationships/image" Target="../media/image36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31" name="think-cell Folie" r:id="rId8" imgW="359" imgH="355" progId="TCLayout.ActiveDocument.1">
                  <p:embed/>
                </p:oleObj>
              </mc:Choice>
              <mc:Fallback>
                <p:oleObj name="think-cell Folie" r:id="rId8" imgW="359" imgH="35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AT" sz="2000" dirty="0">
              <a:latin typeface="Verdana" panose="020B0604030504040204" pitchFamily="34" charset="0"/>
              <a:ea typeface="+mj-ea"/>
              <a:sym typeface="Verdana" panose="020B0604030504040204" pitchFamily="34" charset="0"/>
            </a:endParaRPr>
          </a:p>
        </p:txBody>
      </p:sp>
      <p:pic>
        <p:nvPicPr>
          <p:cNvPr id="13" name="lp_frau">
            <a:hlinkClick r:id="" action="ppaction://media"/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158750" y="3701897"/>
            <a:ext cx="7998487" cy="1072199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3000" b="1" dirty="0">
                <a:solidFill>
                  <a:schemeClr val="bg1"/>
                </a:solidFill>
              </a:rPr>
              <a:t>5G </a:t>
            </a:r>
            <a:r>
              <a:rPr lang="en-US" sz="3000" b="1" dirty="0" err="1" smtClean="0">
                <a:solidFill>
                  <a:schemeClr val="bg1"/>
                </a:solidFill>
              </a:rPr>
              <a:t>бъдеще</a:t>
            </a:r>
            <a:r>
              <a:rPr lang="bg-BG" sz="3000" b="1" dirty="0" smtClean="0">
                <a:solidFill>
                  <a:schemeClr val="bg1"/>
                </a:solidFill>
              </a:rPr>
              <a:t> за нови хоризонти</a:t>
            </a:r>
            <a:endParaRPr lang="bg-BG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826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70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29">
            <a:extLst>
              <a:ext uri="{FF2B5EF4-FFF2-40B4-BE49-F238E27FC236}">
                <a16:creationId xmlns:a16="http://schemas.microsoft.com/office/drawing/2014/main" xmlns="" id="{223D50CB-3D53-42F0-8821-AE858EDF8D10}"/>
              </a:ext>
            </a:extLst>
          </p:cNvPr>
          <p:cNvSpPr/>
          <p:nvPr/>
        </p:nvSpPr>
        <p:spPr>
          <a:xfrm>
            <a:off x="413074" y="1063038"/>
            <a:ext cx="2789812" cy="161145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>
              <a:spcAft>
                <a:spcPts val="600"/>
              </a:spcAft>
              <a:buClr>
                <a:srgbClr val="DA291C"/>
              </a:buClr>
              <a:buFont typeface="Wingdings" panose="05000000000000000000" pitchFamily="2" charset="2"/>
              <a:buChar char="§"/>
              <a:defRPr/>
            </a:pPr>
            <a:r>
              <a:rPr lang="bg-BG" sz="1000" dirty="0">
                <a:solidFill>
                  <a:srgbClr val="000000"/>
                </a:solidFill>
                <a:latin typeface="Verdana"/>
                <a:cs typeface="Verdana"/>
              </a:rPr>
              <a:t>Много добро </a:t>
            </a:r>
            <a:r>
              <a:rPr lang="ru-RU" sz="1000" dirty="0">
                <a:solidFill>
                  <a:srgbClr val="000000"/>
                </a:solidFill>
                <a:latin typeface="Verdana"/>
                <a:cs typeface="Verdana"/>
              </a:rPr>
              <a:t>покритие на закрито</a:t>
            </a:r>
          </a:p>
          <a:p>
            <a:pPr marL="180000" indent="-180000">
              <a:spcAft>
                <a:spcPts val="600"/>
              </a:spcAft>
              <a:buClr>
                <a:srgbClr val="DA291C"/>
              </a:buClr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solidFill>
                  <a:srgbClr val="000000"/>
                </a:solidFill>
                <a:latin typeface="Verdana"/>
                <a:cs typeface="Verdana"/>
              </a:rPr>
              <a:t>Отделен честотен слой за eMBB</a:t>
            </a:r>
          </a:p>
          <a:p>
            <a:pPr defTabSz="457171">
              <a:lnSpc>
                <a:spcPct val="90000"/>
              </a:lnSpc>
              <a:spcAft>
                <a:spcPts val="400"/>
              </a:spcAft>
              <a:defRPr/>
            </a:pPr>
            <a:r>
              <a:rPr lang="ru-RU" sz="1100" kern="0" dirty="0" smtClean="0">
                <a:solidFill>
                  <a:schemeClr val="bg1"/>
                </a:solidFill>
              </a:rPr>
              <a:t>за eMBB</a:t>
            </a:r>
            <a:endParaRPr lang="ru-RU" sz="1100" kern="0" dirty="0">
              <a:solidFill>
                <a:schemeClr val="bg1"/>
              </a:solidFill>
            </a:endParaRPr>
          </a:p>
        </p:txBody>
      </p:sp>
      <p:sp>
        <p:nvSpPr>
          <p:cNvPr id="86" name="Rectangle 30">
            <a:extLst>
              <a:ext uri="{FF2B5EF4-FFF2-40B4-BE49-F238E27FC236}">
                <a16:creationId xmlns:a16="http://schemas.microsoft.com/office/drawing/2014/main" xmlns="" id="{975DAEE7-0087-49E6-82F9-C77AD22393EE}"/>
              </a:ext>
            </a:extLst>
          </p:cNvPr>
          <p:cNvSpPr/>
          <p:nvPr/>
        </p:nvSpPr>
        <p:spPr>
          <a:xfrm>
            <a:off x="3254311" y="1063038"/>
            <a:ext cx="2798218" cy="161145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lvl="0" indent="-180000">
              <a:lnSpc>
                <a:spcPct val="90000"/>
              </a:lnSpc>
              <a:spcAft>
                <a:spcPts val="600"/>
              </a:spcAft>
              <a:buClr>
                <a:srgbClr val="DA291C"/>
              </a:buClr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solidFill>
                  <a:srgbClr val="000000"/>
                </a:solidFill>
                <a:latin typeface="Verdana"/>
                <a:cs typeface="Verdana"/>
              </a:rPr>
              <a:t>5G eMBB покритие на </a:t>
            </a:r>
            <a:r>
              <a:rPr lang="ru-RU" sz="1000" dirty="0" smtClean="0">
                <a:solidFill>
                  <a:srgbClr val="000000"/>
                </a:solidFill>
                <a:latin typeface="Verdana"/>
                <a:cs typeface="Verdana"/>
              </a:rPr>
              <a:t>4G </a:t>
            </a:r>
            <a:r>
              <a:rPr lang="ru-RU" sz="1000" dirty="0">
                <a:solidFill>
                  <a:srgbClr val="000000"/>
                </a:solidFill>
                <a:latin typeface="Verdana"/>
                <a:cs typeface="Verdana"/>
              </a:rPr>
              <a:t>мрежа</a:t>
            </a:r>
          </a:p>
          <a:p>
            <a:pPr marL="180000" lvl="0" indent="-180000">
              <a:lnSpc>
                <a:spcPct val="90000"/>
              </a:lnSpc>
              <a:spcAft>
                <a:spcPts val="600"/>
              </a:spcAft>
              <a:buClr>
                <a:srgbClr val="DA291C"/>
              </a:buClr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solidFill>
                  <a:srgbClr val="000000"/>
                </a:solidFill>
                <a:latin typeface="Verdana"/>
                <a:cs typeface="Verdana"/>
              </a:rPr>
              <a:t>Япония, Южна Корея, Китай, ЕС</a:t>
            </a:r>
            <a:endParaRPr lang="ru-RU" sz="1100" kern="0" dirty="0">
              <a:solidFill>
                <a:srgbClr val="001135"/>
              </a:solidFill>
            </a:endParaRPr>
          </a:p>
        </p:txBody>
      </p:sp>
      <p:sp>
        <p:nvSpPr>
          <p:cNvPr id="38" name="Rectangle 31">
            <a:extLst>
              <a:ext uri="{FF2B5EF4-FFF2-40B4-BE49-F238E27FC236}">
                <a16:creationId xmlns:a16="http://schemas.microsoft.com/office/drawing/2014/main" xmlns="" id="{D54BA5F4-D236-4D8F-9FF8-BB5BFAE57257}"/>
              </a:ext>
            </a:extLst>
          </p:cNvPr>
          <p:cNvSpPr/>
          <p:nvPr/>
        </p:nvSpPr>
        <p:spPr>
          <a:xfrm>
            <a:off x="6103952" y="1063038"/>
            <a:ext cx="2585242" cy="161145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>
              <a:lnSpc>
                <a:spcPct val="90000"/>
              </a:lnSpc>
              <a:spcAft>
                <a:spcPts val="600"/>
              </a:spcAft>
              <a:buClr>
                <a:srgbClr val="DA291C"/>
              </a:buClr>
              <a:buFont typeface="Wingdings" panose="05000000000000000000" pitchFamily="2" charset="2"/>
              <a:buChar char="§"/>
              <a:defRPr/>
            </a:pPr>
            <a:r>
              <a:rPr lang="bg-BG" sz="1000" dirty="0" smtClean="0">
                <a:solidFill>
                  <a:srgbClr val="000000"/>
                </a:solidFill>
                <a:latin typeface="Verdana"/>
                <a:cs typeface="Verdana"/>
              </a:rPr>
              <a:t>Супер</a:t>
            </a:r>
            <a:r>
              <a:rPr lang="ru-RU" sz="1000" dirty="0" smtClean="0">
                <a:solidFill>
                  <a:srgbClr val="000000"/>
                </a:solidFill>
                <a:latin typeface="Verdana"/>
                <a:cs typeface="Verdana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Verdana"/>
                <a:cs typeface="Verdana"/>
              </a:rPr>
              <a:t>скорости на трансфер на </a:t>
            </a:r>
            <a:r>
              <a:rPr lang="ru-RU" sz="1000" dirty="0" smtClean="0">
                <a:solidFill>
                  <a:srgbClr val="000000"/>
                </a:solidFill>
                <a:latin typeface="Verdana"/>
                <a:cs typeface="Verdana"/>
              </a:rPr>
              <a:t>данни</a:t>
            </a:r>
            <a:endParaRPr lang="ru-RU" sz="1000" dirty="0">
              <a:solidFill>
                <a:srgbClr val="000000"/>
              </a:solidFill>
              <a:latin typeface="Verdana"/>
              <a:cs typeface="Verdana"/>
            </a:endParaRPr>
          </a:p>
          <a:p>
            <a:pPr marL="180000" indent="-180000">
              <a:lnSpc>
                <a:spcPct val="90000"/>
              </a:lnSpc>
              <a:spcAft>
                <a:spcPts val="600"/>
              </a:spcAft>
              <a:buClr>
                <a:srgbClr val="DA291C"/>
              </a:buClr>
              <a:buFont typeface="Wingdings" panose="05000000000000000000" pitchFamily="2" charset="2"/>
              <a:buChar char="§"/>
              <a:defRPr/>
            </a:pPr>
            <a:r>
              <a:rPr lang="bg-BG" sz="1000" dirty="0" smtClean="0">
                <a:solidFill>
                  <a:srgbClr val="000000"/>
                </a:solidFill>
                <a:latin typeface="Verdana"/>
                <a:cs typeface="Verdana"/>
              </a:rPr>
              <a:t>Използван в</a:t>
            </a:r>
            <a:r>
              <a:rPr lang="ru-RU" sz="1000" dirty="0" smtClean="0">
                <a:solidFill>
                  <a:srgbClr val="000000"/>
                </a:solidFill>
                <a:latin typeface="Verdana"/>
                <a:cs typeface="Verdana"/>
              </a:rPr>
              <a:t> САЩ, поради липса на </a:t>
            </a:r>
            <a:r>
              <a:rPr lang="ru-RU" sz="1000" dirty="0">
                <a:solidFill>
                  <a:srgbClr val="000000"/>
                </a:solidFill>
                <a:latin typeface="Verdana"/>
                <a:cs typeface="Verdana"/>
              </a:rPr>
              <a:t>честоти в диапазона 3-6 </a:t>
            </a:r>
            <a:r>
              <a:rPr lang="ru-RU" sz="1000" dirty="0" smtClean="0">
                <a:solidFill>
                  <a:srgbClr val="000000"/>
                </a:solidFill>
                <a:latin typeface="Verdana"/>
                <a:cs typeface="Verdana"/>
              </a:rPr>
              <a:t>GHz; и за </a:t>
            </a:r>
            <a:r>
              <a:rPr lang="ru-RU" sz="1000" dirty="0">
                <a:solidFill>
                  <a:srgbClr val="000000"/>
                </a:solidFill>
                <a:latin typeface="Verdana"/>
                <a:cs typeface="Verdana"/>
              </a:rPr>
              <a:t>Олимпийските игри в Корея</a:t>
            </a:r>
          </a:p>
        </p:txBody>
      </p:sp>
      <p:sp>
        <p:nvSpPr>
          <p:cNvPr id="481" name="Rectangle 20">
            <a:extLst>
              <a:ext uri="{FF2B5EF4-FFF2-40B4-BE49-F238E27FC236}">
                <a16:creationId xmlns:a16="http://schemas.microsoft.com/office/drawing/2014/main" xmlns="" id="{76BD5BDD-2E1B-403F-9BEA-5DC66FA990EB}"/>
              </a:ext>
            </a:extLst>
          </p:cNvPr>
          <p:cNvSpPr/>
          <p:nvPr/>
        </p:nvSpPr>
        <p:spPr>
          <a:xfrm>
            <a:off x="417923" y="2626125"/>
            <a:ext cx="8271270" cy="428192"/>
          </a:xfrm>
          <a:prstGeom prst="rect">
            <a:avLst/>
          </a:prstGeom>
          <a:solidFill>
            <a:srgbClr val="666666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6203" marR="0" lvl="0" indent="-176203" algn="l" defTabSz="457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sp>
        <p:nvSpPr>
          <p:cNvPr id="50" name="Rectangle 20">
            <a:extLst>
              <a:ext uri="{FF2B5EF4-FFF2-40B4-BE49-F238E27FC236}">
                <a16:creationId xmlns:a16="http://schemas.microsoft.com/office/drawing/2014/main" xmlns="" id="{C8CB0C8E-F4C4-4278-AA9C-5367B56C3958}"/>
              </a:ext>
            </a:extLst>
          </p:cNvPr>
          <p:cNvSpPr/>
          <p:nvPr/>
        </p:nvSpPr>
        <p:spPr>
          <a:xfrm>
            <a:off x="417923" y="3467756"/>
            <a:ext cx="8271270" cy="359972"/>
          </a:xfrm>
          <a:prstGeom prst="rect">
            <a:avLst/>
          </a:prstGeom>
          <a:solidFill>
            <a:srgbClr val="666666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6203" lvl="0" indent="-176203" defTabSz="457171">
              <a:defRPr/>
            </a:pPr>
            <a:r>
              <a:rPr lang="bg-BG" sz="1000" b="1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икова скорост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xmlns="" id="{4C72C543-B424-4124-A0EA-990A9775BB89}"/>
              </a:ext>
            </a:extLst>
          </p:cNvPr>
          <p:cNvGrpSpPr/>
          <p:nvPr/>
        </p:nvGrpSpPr>
        <p:grpSpPr>
          <a:xfrm>
            <a:off x="413073" y="4283286"/>
            <a:ext cx="8276119" cy="359972"/>
            <a:chOff x="392978" y="4824414"/>
            <a:chExt cx="2719295" cy="519747"/>
          </a:xfrm>
        </p:grpSpPr>
        <p:sp>
          <p:nvSpPr>
            <p:cNvPr id="91" name="Right Triangle 35">
              <a:extLst>
                <a:ext uri="{FF2B5EF4-FFF2-40B4-BE49-F238E27FC236}">
                  <a16:creationId xmlns:a16="http://schemas.microsoft.com/office/drawing/2014/main" xmlns="" id="{E6E3B311-8A1F-4F8C-AA32-E01DA37DA1CE}"/>
                </a:ext>
              </a:extLst>
            </p:cNvPr>
            <p:cNvSpPr/>
            <p:nvPr/>
          </p:nvSpPr>
          <p:spPr>
            <a:xfrm rot="5400000" flipH="1">
              <a:off x="1518801" y="3750688"/>
              <a:ext cx="467650" cy="2719295"/>
            </a:xfrm>
            <a:prstGeom prst="rtTriangle">
              <a:avLst/>
            </a:prstGeom>
            <a:solidFill>
              <a:srgbClr val="666666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vert270" wrap="square" lIns="71994" tIns="71994" rIns="71994" bIns="7199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6203" lvl="0" indent="-176203" defTabSz="457171">
                <a:defRPr/>
              </a:pPr>
              <a:r>
                <a:rPr lang="bg-BG" sz="1200" kern="0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Обхват на клетките</a:t>
              </a:r>
            </a:p>
          </p:txBody>
        </p:sp>
        <p:sp>
          <p:nvSpPr>
            <p:cNvPr id="92" name="Right Triangle 37">
              <a:extLst>
                <a:ext uri="{FF2B5EF4-FFF2-40B4-BE49-F238E27FC236}">
                  <a16:creationId xmlns:a16="http://schemas.microsoft.com/office/drawing/2014/main" xmlns="" id="{B1254503-9B7B-4F60-8E2B-403DC24DFE1B}"/>
                </a:ext>
              </a:extLst>
            </p:cNvPr>
            <p:cNvSpPr/>
            <p:nvPr/>
          </p:nvSpPr>
          <p:spPr>
            <a:xfrm rot="16200000" flipH="1">
              <a:off x="1518801" y="3698591"/>
              <a:ext cx="467650" cy="2719295"/>
            </a:xfrm>
            <a:prstGeom prst="rtTriangle">
              <a:avLst/>
            </a:prstGeom>
            <a:solidFill>
              <a:srgbClr val="DA291C"/>
            </a:solidFill>
            <a:ln w="6350" cap="flat" cmpd="sng" algn="ctr">
              <a:solidFill>
                <a:srgbClr val="DA291C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vert" wrap="square" lIns="71994" tIns="71994" rIns="71994" bIns="7199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6203" lvl="0" indent="-176203" algn="r" defTabSz="457171">
                <a:defRPr/>
              </a:pPr>
              <a:r>
                <a:rPr lang="ru-RU" sz="1200" kern="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Скорост при преноса на данни</a:t>
              </a:r>
            </a:p>
          </p:txBody>
        </p:sp>
      </p:grpSp>
      <p:sp>
        <p:nvSpPr>
          <p:cNvPr id="46" name="Rectangle 20">
            <a:extLst>
              <a:ext uri="{FF2B5EF4-FFF2-40B4-BE49-F238E27FC236}">
                <a16:creationId xmlns:a16="http://schemas.microsoft.com/office/drawing/2014/main" xmlns="" id="{183FCFB8-3B7F-4809-B938-23C8E21FEA3C}"/>
              </a:ext>
            </a:extLst>
          </p:cNvPr>
          <p:cNvSpPr/>
          <p:nvPr/>
        </p:nvSpPr>
        <p:spPr>
          <a:xfrm>
            <a:off x="417923" y="3058772"/>
            <a:ext cx="8271270" cy="359972"/>
          </a:xfrm>
          <a:prstGeom prst="rect">
            <a:avLst/>
          </a:prstGeom>
          <a:solidFill>
            <a:srgbClr val="666666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6203" marR="0" lvl="0" indent="-176203" algn="l" defTabSz="457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bg-BG" sz="1000" b="1" kern="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критие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Rectangle 17">
            <a:extLst>
              <a:ext uri="{FF2B5EF4-FFF2-40B4-BE49-F238E27FC236}">
                <a16:creationId xmlns:a16="http://schemas.microsoft.com/office/drawing/2014/main" xmlns="" id="{48951D3F-ECD2-4002-BC0A-DDE77DB6785A}"/>
              </a:ext>
            </a:extLst>
          </p:cNvPr>
          <p:cNvSpPr/>
          <p:nvPr/>
        </p:nvSpPr>
        <p:spPr>
          <a:xfrm>
            <a:off x="1907911" y="3058772"/>
            <a:ext cx="2022780" cy="359972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5997" tIns="71994" rIns="35997" bIns="71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1">
              <a:defRPr/>
            </a:pPr>
            <a:r>
              <a:rPr lang="bg-BG" sz="1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олямо покритие на закрито</a:t>
            </a:r>
            <a:endParaRPr lang="en-US" sz="1000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R="0" lvl="0" defTabSz="45717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1 km</a:t>
            </a:r>
          </a:p>
        </p:txBody>
      </p:sp>
      <p:sp>
        <p:nvSpPr>
          <p:cNvPr id="48" name="Rectangle 18">
            <a:extLst>
              <a:ext uri="{FF2B5EF4-FFF2-40B4-BE49-F238E27FC236}">
                <a16:creationId xmlns:a16="http://schemas.microsoft.com/office/drawing/2014/main" xmlns="" id="{06349260-DE7E-4F6B-9B91-2B2A9A02F275}"/>
              </a:ext>
            </a:extLst>
          </p:cNvPr>
          <p:cNvSpPr/>
          <p:nvPr/>
        </p:nvSpPr>
        <p:spPr>
          <a:xfrm>
            <a:off x="4142903" y="3058772"/>
            <a:ext cx="2298041" cy="359972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35997" tIns="71994" rIns="35997" bIns="71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1">
              <a:defRPr/>
            </a:pPr>
            <a:r>
              <a:rPr lang="bg-BG" sz="1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ъщата мрежа като </a:t>
            </a:r>
            <a:r>
              <a:rPr lang="en-US" sz="1000" kern="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G@1800</a:t>
            </a:r>
            <a:endParaRPr lang="en-US" sz="1000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457171">
              <a:defRPr/>
            </a:pPr>
            <a:r>
              <a:rPr lang="en-US" sz="1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~1 km</a:t>
            </a:r>
          </a:p>
        </p:txBody>
      </p:sp>
      <p:sp>
        <p:nvSpPr>
          <p:cNvPr id="51" name="Rectangle 19">
            <a:extLst>
              <a:ext uri="{FF2B5EF4-FFF2-40B4-BE49-F238E27FC236}">
                <a16:creationId xmlns:a16="http://schemas.microsoft.com/office/drawing/2014/main" xmlns="" id="{A0362671-0D17-4D48-8BE8-4EB31B671FE9}"/>
              </a:ext>
            </a:extLst>
          </p:cNvPr>
          <p:cNvSpPr/>
          <p:nvPr/>
        </p:nvSpPr>
        <p:spPr>
          <a:xfrm>
            <a:off x="6736321" y="3058772"/>
            <a:ext cx="1907295" cy="359972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457171">
              <a:defRPr/>
            </a:pPr>
            <a:r>
              <a:rPr lang="bg-BG" sz="1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орещи </a:t>
            </a:r>
            <a:r>
              <a:rPr lang="bg-BG" sz="1000" kern="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очки</a:t>
            </a:r>
            <a:endParaRPr lang="bg-BG" sz="1000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R="0" lvl="0" defTabSz="45717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0 m 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xmlns="" id="{402635E7-E99C-418A-871A-D8C1452721D4}"/>
              </a:ext>
            </a:extLst>
          </p:cNvPr>
          <p:cNvGrpSpPr/>
          <p:nvPr/>
        </p:nvGrpSpPr>
        <p:grpSpPr>
          <a:xfrm>
            <a:off x="417923" y="2241847"/>
            <a:ext cx="8271271" cy="815122"/>
            <a:chOff x="417600" y="1795914"/>
            <a:chExt cx="8271913" cy="1186035"/>
          </a:xfrm>
        </p:grpSpPr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xmlns="" id="{70F3A257-DF25-4EE4-A8F9-41B3DAC82F56}"/>
                </a:ext>
              </a:extLst>
            </p:cNvPr>
            <p:cNvSpPr/>
            <p:nvPr/>
          </p:nvSpPr>
          <p:spPr>
            <a:xfrm>
              <a:off x="417600" y="1795914"/>
              <a:ext cx="8271913" cy="1186035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7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xmlns="" id="{552DD533-F1F2-4464-8427-E80AD4196FD9}"/>
                </a:ext>
              </a:extLst>
            </p:cNvPr>
            <p:cNvSpPr/>
            <p:nvPr/>
          </p:nvSpPr>
          <p:spPr>
            <a:xfrm>
              <a:off x="3203691" y="2075343"/>
              <a:ext cx="3237398" cy="570758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prstDash val="solid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7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  <p:sp>
          <p:nvSpPr>
            <p:cNvPr id="42" name="Rectangle 10">
              <a:extLst>
                <a:ext uri="{FF2B5EF4-FFF2-40B4-BE49-F238E27FC236}">
                  <a16:creationId xmlns:a16="http://schemas.microsoft.com/office/drawing/2014/main" xmlns="" id="{37B6B9BE-3A28-46F7-A465-F2B4C2D4733E}"/>
                </a:ext>
              </a:extLst>
            </p:cNvPr>
            <p:cNvSpPr/>
            <p:nvPr/>
          </p:nvSpPr>
          <p:spPr>
            <a:xfrm>
              <a:off x="4142871" y="1910722"/>
              <a:ext cx="865601" cy="9000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1994" tIns="71994" rIns="71994" bIns="7199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6203" lvl="0" indent="-176203" algn="ctr" defTabSz="457171">
                <a:defRPr/>
              </a:pPr>
              <a:r>
                <a:rPr lang="bg-BG" sz="1200" b="1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Среден</a:t>
              </a:r>
            </a:p>
            <a:p>
              <a:pPr marL="176203" lvl="0" indent="-176203" algn="ctr" defTabSz="457171">
                <a:defRPr/>
              </a:pPr>
              <a:r>
                <a:rPr lang="bg-BG" sz="1200" b="1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спектър</a:t>
              </a:r>
            </a:p>
            <a:p>
              <a:pPr marL="176203" indent="-176203" algn="ctr" defTabSz="457171">
                <a:defRPr/>
              </a:pPr>
              <a:r>
                <a:rPr lang="bg-BG" sz="800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–6 </a:t>
              </a:r>
              <a:r>
                <a:rPr lang="en-US" sz="800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Hz</a:t>
              </a:r>
            </a:p>
          </p:txBody>
        </p: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xmlns="" id="{D56DD165-A626-4414-9EFB-D0DAD7FAAFAD}"/>
                </a:ext>
              </a:extLst>
            </p:cNvPr>
            <p:cNvGrpSpPr/>
            <p:nvPr/>
          </p:nvGrpSpPr>
          <p:grpSpPr>
            <a:xfrm>
              <a:off x="5548870" y="2150685"/>
              <a:ext cx="2190795" cy="352975"/>
              <a:chOff x="3622822" y="2691680"/>
              <a:chExt cx="2190795" cy="352975"/>
            </a:xfrm>
            <a:solidFill>
              <a:schemeClr val="accent1">
                <a:alpha val="80000"/>
              </a:schemeClr>
            </a:solidFill>
          </p:grpSpPr>
          <p:sp>
            <p:nvSpPr>
              <p:cNvPr id="5" name="Ellipse 4">
                <a:extLst>
                  <a:ext uri="{FF2B5EF4-FFF2-40B4-BE49-F238E27FC236}">
                    <a16:creationId xmlns:a16="http://schemas.microsoft.com/office/drawing/2014/main" xmlns="" id="{024AE7FE-085B-4DD0-8A7C-CDD56C0A86FF}"/>
                  </a:ext>
                </a:extLst>
              </p:cNvPr>
              <p:cNvSpPr/>
              <p:nvPr/>
            </p:nvSpPr>
            <p:spPr>
              <a:xfrm>
                <a:off x="3622822" y="2867930"/>
                <a:ext cx="1083878" cy="162800"/>
              </a:xfrm>
              <a:prstGeom prst="ellipse">
                <a:avLst/>
              </a:prstGeom>
              <a:solidFill>
                <a:srgbClr val="DA291C"/>
              </a:solidFill>
              <a:ln w="12700">
                <a:noFill/>
                <a:prstDash val="solid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685774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36" name="Ellipse 35">
                <a:extLst>
                  <a:ext uri="{FF2B5EF4-FFF2-40B4-BE49-F238E27FC236}">
                    <a16:creationId xmlns:a16="http://schemas.microsoft.com/office/drawing/2014/main" xmlns="" id="{27C6EC7D-195E-4EBD-BB96-22D8C6EC98A5}"/>
                  </a:ext>
                </a:extLst>
              </p:cNvPr>
              <p:cNvSpPr/>
              <p:nvPr/>
            </p:nvSpPr>
            <p:spPr>
              <a:xfrm>
                <a:off x="4366217" y="2691680"/>
                <a:ext cx="1083878" cy="162800"/>
              </a:xfrm>
              <a:prstGeom prst="ellipse">
                <a:avLst/>
              </a:prstGeom>
              <a:solidFill>
                <a:srgbClr val="DA291C"/>
              </a:solidFill>
              <a:ln w="12700">
                <a:noFill/>
                <a:prstDash val="solid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685774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37" name="Ellipse 36">
                <a:extLst>
                  <a:ext uri="{FF2B5EF4-FFF2-40B4-BE49-F238E27FC236}">
                    <a16:creationId xmlns:a16="http://schemas.microsoft.com/office/drawing/2014/main" xmlns="" id="{B271994B-3C91-4433-BA3D-B79311D1C1E2}"/>
                  </a:ext>
                </a:extLst>
              </p:cNvPr>
              <p:cNvSpPr/>
              <p:nvPr/>
            </p:nvSpPr>
            <p:spPr>
              <a:xfrm>
                <a:off x="4729739" y="2881855"/>
                <a:ext cx="1083878" cy="162800"/>
              </a:xfrm>
              <a:prstGeom prst="ellipse">
                <a:avLst/>
              </a:prstGeom>
              <a:solidFill>
                <a:srgbClr val="DA291C"/>
              </a:solidFill>
              <a:ln w="12700">
                <a:noFill/>
                <a:prstDash val="solid"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685774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</p:grpSp>
        <p:sp>
          <p:nvSpPr>
            <p:cNvPr id="52" name="Rectangle 9">
              <a:extLst>
                <a:ext uri="{FF2B5EF4-FFF2-40B4-BE49-F238E27FC236}">
                  <a16:creationId xmlns:a16="http://schemas.microsoft.com/office/drawing/2014/main" xmlns="" id="{85A99130-7753-440A-985F-D3B5853434FF}"/>
                </a:ext>
              </a:extLst>
            </p:cNvPr>
            <p:cNvSpPr/>
            <p:nvPr/>
          </p:nvSpPr>
          <p:spPr>
            <a:xfrm>
              <a:off x="1577214" y="1910722"/>
              <a:ext cx="1432617" cy="9000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1994" tIns="71994" rIns="71994" bIns="7199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6203" lvl="0" indent="-176203" algn="ctr" defTabSz="457171">
                <a:defRPr/>
              </a:pPr>
              <a:r>
                <a:rPr lang="bg-BG" sz="1200" b="1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Нисък</a:t>
              </a:r>
            </a:p>
            <a:p>
              <a:pPr marL="176203" lvl="0" indent="-176203" algn="ctr" defTabSz="457171">
                <a:defRPr/>
              </a:pPr>
              <a:r>
                <a:rPr lang="bg-BG" sz="1200" b="1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спектър</a:t>
              </a:r>
            </a:p>
            <a:p>
              <a:pPr marL="176203" lvl="0" indent="-176203" algn="ctr" defTabSz="457171">
                <a:defRPr/>
              </a:pPr>
              <a:r>
                <a:rPr lang="bg-BG" sz="800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&lt; 3 </a:t>
              </a:r>
              <a:r>
                <a:rPr lang="en-US" sz="800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Hz</a:t>
              </a:r>
            </a:p>
          </p:txBody>
        </p:sp>
        <p:sp>
          <p:nvSpPr>
            <p:cNvPr id="41" name="Rectangle 11">
              <a:extLst>
                <a:ext uri="{FF2B5EF4-FFF2-40B4-BE49-F238E27FC236}">
                  <a16:creationId xmlns:a16="http://schemas.microsoft.com/office/drawing/2014/main" xmlns="" id="{0B65AD68-3BCB-4C2C-B929-7140CB932179}"/>
                </a:ext>
              </a:extLst>
            </p:cNvPr>
            <p:cNvSpPr/>
            <p:nvPr/>
          </p:nvSpPr>
          <p:spPr>
            <a:xfrm>
              <a:off x="6736488" y="1910722"/>
              <a:ext cx="909364" cy="90000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5997" tIns="71994" rIns="35997" bIns="7199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6203" indent="-176203" algn="ctr" defTabSz="457171">
                <a:defRPr/>
              </a:pPr>
              <a:r>
                <a:rPr lang="bg-BG" sz="1200" b="1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Висок</a:t>
              </a:r>
            </a:p>
            <a:p>
              <a:pPr marL="176203" indent="-176203" algn="ctr" defTabSz="457171">
                <a:defRPr/>
              </a:pPr>
              <a:r>
                <a:rPr lang="bg-BG" sz="1200" b="1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спектър</a:t>
              </a:r>
            </a:p>
            <a:p>
              <a:pPr marL="176203" lvl="0" indent="-176203" algn="ctr" defTabSz="457171">
                <a:defRPr/>
              </a:pPr>
              <a:r>
                <a:rPr lang="bg-BG" sz="800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&gt; 24 </a:t>
              </a:r>
              <a:r>
                <a:rPr lang="en-US" sz="800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Hz</a:t>
              </a:r>
            </a:p>
          </p:txBody>
        </p:sp>
      </p:grpSp>
      <p:sp>
        <p:nvSpPr>
          <p:cNvPr id="53" name="Rectangle 17">
            <a:extLst>
              <a:ext uri="{FF2B5EF4-FFF2-40B4-BE49-F238E27FC236}">
                <a16:creationId xmlns:a16="http://schemas.microsoft.com/office/drawing/2014/main" xmlns="" id="{46BA97D5-150C-4D96-A73E-4B7ED8E602C6}"/>
              </a:ext>
            </a:extLst>
          </p:cNvPr>
          <p:cNvSpPr/>
          <p:nvPr/>
        </p:nvSpPr>
        <p:spPr>
          <a:xfrm>
            <a:off x="1907911" y="3458844"/>
            <a:ext cx="1119152" cy="359972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5997" tIns="71994" rIns="35997" bIns="71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~ 100 Mbps</a:t>
            </a:r>
          </a:p>
        </p:txBody>
      </p:sp>
      <p:sp>
        <p:nvSpPr>
          <p:cNvPr id="56" name="Rectangle 17">
            <a:extLst>
              <a:ext uri="{FF2B5EF4-FFF2-40B4-BE49-F238E27FC236}">
                <a16:creationId xmlns:a16="http://schemas.microsoft.com/office/drawing/2014/main" xmlns="" id="{7D521210-25D4-453F-A2C9-76BB686BAEE2}"/>
              </a:ext>
            </a:extLst>
          </p:cNvPr>
          <p:cNvSpPr/>
          <p:nvPr/>
        </p:nvSpPr>
        <p:spPr>
          <a:xfrm>
            <a:off x="4142904" y="3458844"/>
            <a:ext cx="1119152" cy="359972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5997" tIns="71994" rIns="35997" bIns="71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defTabSz="45717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~ 1 Gbps</a:t>
            </a:r>
          </a:p>
        </p:txBody>
      </p:sp>
      <p:sp>
        <p:nvSpPr>
          <p:cNvPr id="58" name="Rectangle 17">
            <a:extLst>
              <a:ext uri="{FF2B5EF4-FFF2-40B4-BE49-F238E27FC236}">
                <a16:creationId xmlns:a16="http://schemas.microsoft.com/office/drawing/2014/main" xmlns="" id="{54751F2B-D9FC-4B46-9610-E9F614BBB2DD}"/>
              </a:ext>
            </a:extLst>
          </p:cNvPr>
          <p:cNvSpPr/>
          <p:nvPr/>
        </p:nvSpPr>
        <p:spPr>
          <a:xfrm>
            <a:off x="6736321" y="3458844"/>
            <a:ext cx="1119152" cy="359972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5997" tIns="71994" rIns="35997" bIns="71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~ 10 Gbps</a:t>
            </a:r>
          </a:p>
        </p:txBody>
      </p:sp>
      <p:sp>
        <p:nvSpPr>
          <p:cNvPr id="59" name="Rectangle 20">
            <a:extLst>
              <a:ext uri="{FF2B5EF4-FFF2-40B4-BE49-F238E27FC236}">
                <a16:creationId xmlns:a16="http://schemas.microsoft.com/office/drawing/2014/main" xmlns="" id="{4618D9E4-29BA-42D6-A104-A660AAC29499}"/>
              </a:ext>
            </a:extLst>
          </p:cNvPr>
          <p:cNvSpPr/>
          <p:nvPr/>
        </p:nvSpPr>
        <p:spPr>
          <a:xfrm>
            <a:off x="417923" y="3867393"/>
            <a:ext cx="8271270" cy="359972"/>
          </a:xfrm>
          <a:prstGeom prst="rect">
            <a:avLst/>
          </a:prstGeom>
          <a:solidFill>
            <a:srgbClr val="666666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1994" tIns="71994" rIns="71994" bIns="71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6203" lvl="0" indent="-176203" defTabSz="457171">
              <a:defRPr/>
            </a:pPr>
            <a:r>
              <a:rPr lang="bg-BG" sz="1000" b="1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рафик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Rectangle 25">
            <a:extLst>
              <a:ext uri="{FF2B5EF4-FFF2-40B4-BE49-F238E27FC236}">
                <a16:creationId xmlns:a16="http://schemas.microsoft.com/office/drawing/2014/main" xmlns="" id="{B1E6FFE9-2FC8-4694-BD1A-12BB013CBD37}"/>
              </a:ext>
            </a:extLst>
          </p:cNvPr>
          <p:cNvSpPr/>
          <p:nvPr/>
        </p:nvSpPr>
        <p:spPr>
          <a:xfrm>
            <a:off x="1907911" y="3865408"/>
            <a:ext cx="1885909" cy="359972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5997" tIns="71994" rIns="35997" bIns="71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1">
              <a:defRPr/>
            </a:pPr>
            <a:r>
              <a:rPr lang="en-US" sz="1000" kern="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 </a:t>
            </a:r>
            <a:r>
              <a:rPr lang="en-US" sz="1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Hz</a:t>
            </a:r>
          </a:p>
        </p:txBody>
      </p:sp>
      <p:sp>
        <p:nvSpPr>
          <p:cNvPr id="61" name="Rectangle 26">
            <a:extLst>
              <a:ext uri="{FF2B5EF4-FFF2-40B4-BE49-F238E27FC236}">
                <a16:creationId xmlns:a16="http://schemas.microsoft.com/office/drawing/2014/main" xmlns="" id="{DA1FF8F6-5F70-4D33-AADE-888F81023884}"/>
              </a:ext>
            </a:extLst>
          </p:cNvPr>
          <p:cNvSpPr/>
          <p:nvPr/>
        </p:nvSpPr>
        <p:spPr>
          <a:xfrm>
            <a:off x="4142905" y="3860619"/>
            <a:ext cx="1693380" cy="359972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5997" tIns="71994" rIns="35997" bIns="71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1">
              <a:defRPr/>
            </a:pPr>
            <a:r>
              <a:rPr lang="en-US" sz="1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100 MHz</a:t>
            </a:r>
          </a:p>
        </p:txBody>
      </p:sp>
      <p:sp>
        <p:nvSpPr>
          <p:cNvPr id="63" name="Rectangle 26">
            <a:extLst>
              <a:ext uri="{FF2B5EF4-FFF2-40B4-BE49-F238E27FC236}">
                <a16:creationId xmlns:a16="http://schemas.microsoft.com/office/drawing/2014/main" xmlns="" id="{2572DD86-A827-4CDE-A8F0-91B89C0AF70B}"/>
              </a:ext>
            </a:extLst>
          </p:cNvPr>
          <p:cNvSpPr/>
          <p:nvPr/>
        </p:nvSpPr>
        <p:spPr>
          <a:xfrm>
            <a:off x="6736321" y="3860619"/>
            <a:ext cx="1693380" cy="359972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5997" tIns="71994" rIns="35997" bIns="71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1">
              <a:defRPr/>
            </a:pPr>
            <a:r>
              <a:rPr lang="en-US" sz="1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1 GHz</a:t>
            </a:r>
          </a:p>
        </p:txBody>
      </p:sp>
      <p:sp>
        <p:nvSpPr>
          <p:cNvPr id="96" name="Trigger-UC -">
            <a:extLst>
              <a:ext uri="{FF2B5EF4-FFF2-40B4-BE49-F238E27FC236}">
                <a16:creationId xmlns:a16="http://schemas.microsoft.com/office/drawing/2014/main" xmlns="" id="{8C776C96-FCD6-4E6B-8B75-8BC67D626D40}"/>
              </a:ext>
            </a:extLst>
          </p:cNvPr>
          <p:cNvSpPr>
            <a:spLocks noChangeAspect="1"/>
          </p:cNvSpPr>
          <p:nvPr/>
        </p:nvSpPr>
        <p:spPr>
          <a:xfrm>
            <a:off x="8263797" y="2540429"/>
            <a:ext cx="215983" cy="215983"/>
          </a:xfrm>
          <a:prstGeom prst="ellipse">
            <a:avLst/>
          </a:prstGeom>
          <a:solidFill>
            <a:schemeClr val="accent1"/>
          </a:solidFill>
          <a:ln w="254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4" tIns="71994" rIns="71994" bIns="1079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8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-</a:t>
            </a:r>
          </a:p>
        </p:txBody>
      </p:sp>
      <p:sp>
        <p:nvSpPr>
          <p:cNvPr id="97" name="Trigger-UC +">
            <a:extLst>
              <a:ext uri="{FF2B5EF4-FFF2-40B4-BE49-F238E27FC236}">
                <a16:creationId xmlns:a16="http://schemas.microsoft.com/office/drawing/2014/main" xmlns="" id="{8FC6E3C8-92C2-442F-9C7E-7D3763F00244}"/>
              </a:ext>
            </a:extLst>
          </p:cNvPr>
          <p:cNvSpPr>
            <a:spLocks noChangeAspect="1"/>
          </p:cNvSpPr>
          <p:nvPr/>
        </p:nvSpPr>
        <p:spPr>
          <a:xfrm>
            <a:off x="8263797" y="2540429"/>
            <a:ext cx="215983" cy="215983"/>
          </a:xfrm>
          <a:prstGeom prst="ellipse">
            <a:avLst/>
          </a:prstGeom>
          <a:solidFill>
            <a:srgbClr val="D6DADF"/>
          </a:solidFill>
          <a:ln w="254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4" tIns="71994" rIns="71994" bIns="719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8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+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xmlns="" id="{20FC1062-3433-492A-A887-BBE8801FFEDF}"/>
              </a:ext>
            </a:extLst>
          </p:cNvPr>
          <p:cNvCxnSpPr/>
          <p:nvPr/>
        </p:nvCxnSpPr>
        <p:spPr>
          <a:xfrm>
            <a:off x="1690110" y="3058772"/>
            <a:ext cx="0" cy="1173048"/>
          </a:xfrm>
          <a:prstGeom prst="line">
            <a:avLst/>
          </a:prstGeom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xmlns="" id="{1921172F-E723-47C1-A2E8-EC9E6BFCE323}"/>
              </a:ext>
            </a:extLst>
          </p:cNvPr>
          <p:cNvSpPr/>
          <p:nvPr/>
        </p:nvSpPr>
        <p:spPr>
          <a:xfrm>
            <a:off x="2735938" y="2221458"/>
            <a:ext cx="3368012" cy="70039"/>
          </a:xfrm>
          <a:custGeom>
            <a:avLst/>
            <a:gdLst>
              <a:gd name="connsiteX0" fmla="*/ 0 w 3368274"/>
              <a:gd name="connsiteY0" fmla="*/ 0 h 45719"/>
              <a:gd name="connsiteX1" fmla="*/ 3368274 w 3368274"/>
              <a:gd name="connsiteY1" fmla="*/ 0 h 45719"/>
              <a:gd name="connsiteX2" fmla="*/ 3368274 w 3368274"/>
              <a:gd name="connsiteY2" fmla="*/ 45719 h 45719"/>
              <a:gd name="connsiteX3" fmla="*/ 0 w 3368274"/>
              <a:gd name="connsiteY3" fmla="*/ 45719 h 45719"/>
              <a:gd name="connsiteX4" fmla="*/ 0 w 3368274"/>
              <a:gd name="connsiteY4" fmla="*/ 0 h 45719"/>
              <a:gd name="connsiteX0" fmla="*/ 0 w 3368274"/>
              <a:gd name="connsiteY0" fmla="*/ 18344 h 64063"/>
              <a:gd name="connsiteX1" fmla="*/ 3368274 w 3368274"/>
              <a:gd name="connsiteY1" fmla="*/ 18344 h 64063"/>
              <a:gd name="connsiteX2" fmla="*/ 3368274 w 3368274"/>
              <a:gd name="connsiteY2" fmla="*/ 64063 h 64063"/>
              <a:gd name="connsiteX3" fmla="*/ 0 w 3368274"/>
              <a:gd name="connsiteY3" fmla="*/ 64063 h 64063"/>
              <a:gd name="connsiteX4" fmla="*/ 0 w 3368274"/>
              <a:gd name="connsiteY4" fmla="*/ 18344 h 64063"/>
              <a:gd name="connsiteX0" fmla="*/ 0 w 3368274"/>
              <a:gd name="connsiteY0" fmla="*/ 24326 h 70045"/>
              <a:gd name="connsiteX1" fmla="*/ 3368274 w 3368274"/>
              <a:gd name="connsiteY1" fmla="*/ 24326 h 70045"/>
              <a:gd name="connsiteX2" fmla="*/ 3368274 w 3368274"/>
              <a:gd name="connsiteY2" fmla="*/ 70045 h 70045"/>
              <a:gd name="connsiteX3" fmla="*/ 0 w 3368274"/>
              <a:gd name="connsiteY3" fmla="*/ 70045 h 70045"/>
              <a:gd name="connsiteX4" fmla="*/ 0 w 3368274"/>
              <a:gd name="connsiteY4" fmla="*/ 24326 h 70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68274" h="70045">
                <a:moveTo>
                  <a:pt x="0" y="24326"/>
                </a:moveTo>
                <a:cubicBezTo>
                  <a:pt x="1154508" y="-16949"/>
                  <a:pt x="2251866" y="2101"/>
                  <a:pt x="3368274" y="24326"/>
                </a:cubicBezTo>
                <a:lnTo>
                  <a:pt x="3368274" y="70045"/>
                </a:lnTo>
                <a:lnTo>
                  <a:pt x="0" y="70045"/>
                </a:lnTo>
                <a:lnTo>
                  <a:pt x="0" y="24326"/>
                </a:lnTo>
                <a:close/>
              </a:path>
            </a:pathLst>
          </a:custGeom>
          <a:solidFill>
            <a:schemeClr val="bg1"/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77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 panose="020B0403020202020204" pitchFamily="34" charset="0"/>
              <a:ea typeface="Nokia Pure Text Light" panose="020B0403020202020204" pitchFamily="34" charset="0"/>
              <a:cs typeface="+mn-cs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xmlns="" id="{9460C1BF-FB20-4F34-BFF5-D4590DB86ACB}"/>
              </a:ext>
            </a:extLst>
          </p:cNvPr>
          <p:cNvGrpSpPr/>
          <p:nvPr/>
        </p:nvGrpSpPr>
        <p:grpSpPr>
          <a:xfrm flipH="1">
            <a:off x="2774316" y="1945786"/>
            <a:ext cx="3317222" cy="473876"/>
            <a:chOff x="58190" y="1237585"/>
            <a:chExt cx="9085811" cy="1297939"/>
          </a:xfrm>
        </p:grpSpPr>
        <p:grpSp>
          <p:nvGrpSpPr>
            <p:cNvPr id="99" name="Gruppieren 98">
              <a:extLst>
                <a:ext uri="{FF2B5EF4-FFF2-40B4-BE49-F238E27FC236}">
                  <a16:creationId xmlns:a16="http://schemas.microsoft.com/office/drawing/2014/main" xmlns="" id="{519BAB8B-4CF2-4A73-9C67-ED5440C9869B}"/>
                </a:ext>
              </a:extLst>
            </p:cNvPr>
            <p:cNvGrpSpPr/>
            <p:nvPr/>
          </p:nvGrpSpPr>
          <p:grpSpPr>
            <a:xfrm>
              <a:off x="1615435" y="1237585"/>
              <a:ext cx="544117" cy="861592"/>
              <a:chOff x="656913" y="1310374"/>
              <a:chExt cx="617546" cy="971828"/>
            </a:xfrm>
            <a:noFill/>
          </p:grpSpPr>
          <p:sp>
            <p:nvSpPr>
              <p:cNvPr id="100" name="Rechteck 251">
                <a:extLst>
                  <a:ext uri="{FF2B5EF4-FFF2-40B4-BE49-F238E27FC236}">
                    <a16:creationId xmlns:a16="http://schemas.microsoft.com/office/drawing/2014/main" xmlns="" id="{D87C1044-CEF3-4098-AB9C-C7485DC67C71}"/>
                  </a:ext>
                </a:extLst>
              </p:cNvPr>
              <p:cNvSpPr/>
              <p:nvPr/>
            </p:nvSpPr>
            <p:spPr>
              <a:xfrm>
                <a:off x="965107" y="1528620"/>
                <a:ext cx="309352" cy="753582"/>
              </a:xfrm>
              <a:custGeom>
                <a:avLst/>
                <a:gdLst>
                  <a:gd name="connsiteX0" fmla="*/ 0 w 314521"/>
                  <a:gd name="connsiteY0" fmla="*/ 0 h 970338"/>
                  <a:gd name="connsiteX1" fmla="*/ 314521 w 314521"/>
                  <a:gd name="connsiteY1" fmla="*/ 0 h 970338"/>
                  <a:gd name="connsiteX2" fmla="*/ 314521 w 314521"/>
                  <a:gd name="connsiteY2" fmla="*/ 970338 h 970338"/>
                  <a:gd name="connsiteX3" fmla="*/ 0 w 314521"/>
                  <a:gd name="connsiteY3" fmla="*/ 970338 h 970338"/>
                  <a:gd name="connsiteX4" fmla="*/ 0 w 314521"/>
                  <a:gd name="connsiteY4" fmla="*/ 0 h 970338"/>
                  <a:gd name="connsiteX0" fmla="*/ 0 w 314521"/>
                  <a:gd name="connsiteY0" fmla="*/ 0 h 1069990"/>
                  <a:gd name="connsiteX1" fmla="*/ 314521 w 314521"/>
                  <a:gd name="connsiteY1" fmla="*/ 0 h 1069990"/>
                  <a:gd name="connsiteX2" fmla="*/ 314521 w 314521"/>
                  <a:gd name="connsiteY2" fmla="*/ 970338 h 1069990"/>
                  <a:gd name="connsiteX3" fmla="*/ 122964 w 314521"/>
                  <a:gd name="connsiteY3" fmla="*/ 1069984 h 1069990"/>
                  <a:gd name="connsiteX4" fmla="*/ 0 w 314521"/>
                  <a:gd name="connsiteY4" fmla="*/ 970338 h 1069990"/>
                  <a:gd name="connsiteX5" fmla="*/ 0 w 314521"/>
                  <a:gd name="connsiteY5" fmla="*/ 0 h 1069990"/>
                  <a:gd name="connsiteX0" fmla="*/ 0 w 314521"/>
                  <a:gd name="connsiteY0" fmla="*/ 0 h 1107360"/>
                  <a:gd name="connsiteX1" fmla="*/ 314521 w 314521"/>
                  <a:gd name="connsiteY1" fmla="*/ 0 h 1107360"/>
                  <a:gd name="connsiteX2" fmla="*/ 314521 w 314521"/>
                  <a:gd name="connsiteY2" fmla="*/ 970338 h 1107360"/>
                  <a:gd name="connsiteX3" fmla="*/ 275364 w 314521"/>
                  <a:gd name="connsiteY3" fmla="*/ 1103321 h 1107360"/>
                  <a:gd name="connsiteX4" fmla="*/ 122964 w 314521"/>
                  <a:gd name="connsiteY4" fmla="*/ 1069984 h 1107360"/>
                  <a:gd name="connsiteX5" fmla="*/ 0 w 314521"/>
                  <a:gd name="connsiteY5" fmla="*/ 970338 h 1107360"/>
                  <a:gd name="connsiteX6" fmla="*/ 0 w 314521"/>
                  <a:gd name="connsiteY6" fmla="*/ 0 h 1107360"/>
                  <a:gd name="connsiteX0" fmla="*/ 122964 w 366804"/>
                  <a:gd name="connsiteY0" fmla="*/ 1069984 h 1194761"/>
                  <a:gd name="connsiteX1" fmla="*/ 0 w 366804"/>
                  <a:gd name="connsiteY1" fmla="*/ 970338 h 1194761"/>
                  <a:gd name="connsiteX2" fmla="*/ 0 w 366804"/>
                  <a:gd name="connsiteY2" fmla="*/ 0 h 1194761"/>
                  <a:gd name="connsiteX3" fmla="*/ 314521 w 366804"/>
                  <a:gd name="connsiteY3" fmla="*/ 0 h 1194761"/>
                  <a:gd name="connsiteX4" fmla="*/ 314521 w 366804"/>
                  <a:gd name="connsiteY4" fmla="*/ 970338 h 1194761"/>
                  <a:gd name="connsiteX5" fmla="*/ 366804 w 366804"/>
                  <a:gd name="connsiteY5" fmla="*/ 1194761 h 1194761"/>
                  <a:gd name="connsiteX0" fmla="*/ 122964 w 314521"/>
                  <a:gd name="connsiteY0" fmla="*/ 1069984 h 1069984"/>
                  <a:gd name="connsiteX1" fmla="*/ 0 w 314521"/>
                  <a:gd name="connsiteY1" fmla="*/ 970338 h 1069984"/>
                  <a:gd name="connsiteX2" fmla="*/ 0 w 314521"/>
                  <a:gd name="connsiteY2" fmla="*/ 0 h 1069984"/>
                  <a:gd name="connsiteX3" fmla="*/ 314521 w 314521"/>
                  <a:gd name="connsiteY3" fmla="*/ 0 h 1069984"/>
                  <a:gd name="connsiteX4" fmla="*/ 314521 w 314521"/>
                  <a:gd name="connsiteY4" fmla="*/ 970338 h 1069984"/>
                  <a:gd name="connsiteX0" fmla="*/ 0 w 314521"/>
                  <a:gd name="connsiteY0" fmla="*/ 970338 h 970338"/>
                  <a:gd name="connsiteX1" fmla="*/ 0 w 314521"/>
                  <a:gd name="connsiteY1" fmla="*/ 0 h 970338"/>
                  <a:gd name="connsiteX2" fmla="*/ 314521 w 314521"/>
                  <a:gd name="connsiteY2" fmla="*/ 0 h 970338"/>
                  <a:gd name="connsiteX3" fmla="*/ 314521 w 314521"/>
                  <a:gd name="connsiteY3" fmla="*/ 970338 h 970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4521" h="970338">
                    <a:moveTo>
                      <a:pt x="0" y="970338"/>
                    </a:moveTo>
                    <a:lnTo>
                      <a:pt x="0" y="0"/>
                    </a:lnTo>
                    <a:lnTo>
                      <a:pt x="314521" y="0"/>
                    </a:lnTo>
                    <a:lnTo>
                      <a:pt x="314521" y="970338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01" name="Rechteck 251">
                <a:extLst>
                  <a:ext uri="{FF2B5EF4-FFF2-40B4-BE49-F238E27FC236}">
                    <a16:creationId xmlns:a16="http://schemas.microsoft.com/office/drawing/2014/main" xmlns="" id="{AD167072-2159-4F8B-9D6D-986FA761630D}"/>
                  </a:ext>
                </a:extLst>
              </p:cNvPr>
              <p:cNvSpPr/>
              <p:nvPr/>
            </p:nvSpPr>
            <p:spPr>
              <a:xfrm>
                <a:off x="656913" y="1310374"/>
                <a:ext cx="309352" cy="970338"/>
              </a:xfrm>
              <a:custGeom>
                <a:avLst/>
                <a:gdLst>
                  <a:gd name="connsiteX0" fmla="*/ 0 w 314521"/>
                  <a:gd name="connsiteY0" fmla="*/ 0 h 970338"/>
                  <a:gd name="connsiteX1" fmla="*/ 314521 w 314521"/>
                  <a:gd name="connsiteY1" fmla="*/ 0 h 970338"/>
                  <a:gd name="connsiteX2" fmla="*/ 314521 w 314521"/>
                  <a:gd name="connsiteY2" fmla="*/ 970338 h 970338"/>
                  <a:gd name="connsiteX3" fmla="*/ 0 w 314521"/>
                  <a:gd name="connsiteY3" fmla="*/ 970338 h 970338"/>
                  <a:gd name="connsiteX4" fmla="*/ 0 w 314521"/>
                  <a:gd name="connsiteY4" fmla="*/ 0 h 970338"/>
                  <a:gd name="connsiteX0" fmla="*/ 0 w 314521"/>
                  <a:gd name="connsiteY0" fmla="*/ 0 h 1069990"/>
                  <a:gd name="connsiteX1" fmla="*/ 314521 w 314521"/>
                  <a:gd name="connsiteY1" fmla="*/ 0 h 1069990"/>
                  <a:gd name="connsiteX2" fmla="*/ 314521 w 314521"/>
                  <a:gd name="connsiteY2" fmla="*/ 970338 h 1069990"/>
                  <a:gd name="connsiteX3" fmla="*/ 122964 w 314521"/>
                  <a:gd name="connsiteY3" fmla="*/ 1069984 h 1069990"/>
                  <a:gd name="connsiteX4" fmla="*/ 0 w 314521"/>
                  <a:gd name="connsiteY4" fmla="*/ 970338 h 1069990"/>
                  <a:gd name="connsiteX5" fmla="*/ 0 w 314521"/>
                  <a:gd name="connsiteY5" fmla="*/ 0 h 1069990"/>
                  <a:gd name="connsiteX0" fmla="*/ 0 w 314521"/>
                  <a:gd name="connsiteY0" fmla="*/ 0 h 1107360"/>
                  <a:gd name="connsiteX1" fmla="*/ 314521 w 314521"/>
                  <a:gd name="connsiteY1" fmla="*/ 0 h 1107360"/>
                  <a:gd name="connsiteX2" fmla="*/ 314521 w 314521"/>
                  <a:gd name="connsiteY2" fmla="*/ 970338 h 1107360"/>
                  <a:gd name="connsiteX3" fmla="*/ 275364 w 314521"/>
                  <a:gd name="connsiteY3" fmla="*/ 1103321 h 1107360"/>
                  <a:gd name="connsiteX4" fmla="*/ 122964 w 314521"/>
                  <a:gd name="connsiteY4" fmla="*/ 1069984 h 1107360"/>
                  <a:gd name="connsiteX5" fmla="*/ 0 w 314521"/>
                  <a:gd name="connsiteY5" fmla="*/ 970338 h 1107360"/>
                  <a:gd name="connsiteX6" fmla="*/ 0 w 314521"/>
                  <a:gd name="connsiteY6" fmla="*/ 0 h 1107360"/>
                  <a:gd name="connsiteX0" fmla="*/ 122964 w 366804"/>
                  <a:gd name="connsiteY0" fmla="*/ 1069984 h 1194761"/>
                  <a:gd name="connsiteX1" fmla="*/ 0 w 366804"/>
                  <a:gd name="connsiteY1" fmla="*/ 970338 h 1194761"/>
                  <a:gd name="connsiteX2" fmla="*/ 0 w 366804"/>
                  <a:gd name="connsiteY2" fmla="*/ 0 h 1194761"/>
                  <a:gd name="connsiteX3" fmla="*/ 314521 w 366804"/>
                  <a:gd name="connsiteY3" fmla="*/ 0 h 1194761"/>
                  <a:gd name="connsiteX4" fmla="*/ 314521 w 366804"/>
                  <a:gd name="connsiteY4" fmla="*/ 970338 h 1194761"/>
                  <a:gd name="connsiteX5" fmla="*/ 366804 w 366804"/>
                  <a:gd name="connsiteY5" fmla="*/ 1194761 h 1194761"/>
                  <a:gd name="connsiteX0" fmla="*/ 122964 w 314521"/>
                  <a:gd name="connsiteY0" fmla="*/ 1069984 h 1069984"/>
                  <a:gd name="connsiteX1" fmla="*/ 0 w 314521"/>
                  <a:gd name="connsiteY1" fmla="*/ 970338 h 1069984"/>
                  <a:gd name="connsiteX2" fmla="*/ 0 w 314521"/>
                  <a:gd name="connsiteY2" fmla="*/ 0 h 1069984"/>
                  <a:gd name="connsiteX3" fmla="*/ 314521 w 314521"/>
                  <a:gd name="connsiteY3" fmla="*/ 0 h 1069984"/>
                  <a:gd name="connsiteX4" fmla="*/ 314521 w 314521"/>
                  <a:gd name="connsiteY4" fmla="*/ 970338 h 1069984"/>
                  <a:gd name="connsiteX0" fmla="*/ 0 w 314521"/>
                  <a:gd name="connsiteY0" fmla="*/ 970338 h 970338"/>
                  <a:gd name="connsiteX1" fmla="*/ 0 w 314521"/>
                  <a:gd name="connsiteY1" fmla="*/ 0 h 970338"/>
                  <a:gd name="connsiteX2" fmla="*/ 314521 w 314521"/>
                  <a:gd name="connsiteY2" fmla="*/ 0 h 970338"/>
                  <a:gd name="connsiteX3" fmla="*/ 314521 w 314521"/>
                  <a:gd name="connsiteY3" fmla="*/ 970338 h 970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4521" h="970338">
                    <a:moveTo>
                      <a:pt x="0" y="970338"/>
                    </a:moveTo>
                    <a:lnTo>
                      <a:pt x="0" y="0"/>
                    </a:lnTo>
                    <a:lnTo>
                      <a:pt x="314521" y="0"/>
                    </a:lnTo>
                    <a:lnTo>
                      <a:pt x="314521" y="970338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02" name="Freeform 179">
                <a:extLst>
                  <a:ext uri="{FF2B5EF4-FFF2-40B4-BE49-F238E27FC236}">
                    <a16:creationId xmlns:a16="http://schemas.microsoft.com/office/drawing/2014/main" xmlns="" id="{1A89C1BF-EF6B-407B-A005-6F9F6ABD557B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026364" y="1576492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03" name="Freeform 179">
                <a:extLst>
                  <a:ext uri="{FF2B5EF4-FFF2-40B4-BE49-F238E27FC236}">
                    <a16:creationId xmlns:a16="http://schemas.microsoft.com/office/drawing/2014/main" xmlns="" id="{973D8819-AC9E-4641-9493-DB6517D546B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026364" y="1728512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04" name="Freeform 179">
                <a:extLst>
                  <a:ext uri="{FF2B5EF4-FFF2-40B4-BE49-F238E27FC236}">
                    <a16:creationId xmlns:a16="http://schemas.microsoft.com/office/drawing/2014/main" xmlns="" id="{E9DF7208-820B-4A74-8DF3-94C964553490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159307" y="1728512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05" name="Freeform 179">
                <a:extLst>
                  <a:ext uri="{FF2B5EF4-FFF2-40B4-BE49-F238E27FC236}">
                    <a16:creationId xmlns:a16="http://schemas.microsoft.com/office/drawing/2014/main" xmlns="" id="{845C773B-39DA-41B2-9716-9E009DD1E45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026364" y="1871476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06" name="Freeform 179">
                <a:extLst>
                  <a:ext uri="{FF2B5EF4-FFF2-40B4-BE49-F238E27FC236}">
                    <a16:creationId xmlns:a16="http://schemas.microsoft.com/office/drawing/2014/main" xmlns="" id="{B74D822B-A526-467F-85D0-365E8B0495A3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159307" y="1871476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07" name="Freeform 179">
                <a:extLst>
                  <a:ext uri="{FF2B5EF4-FFF2-40B4-BE49-F238E27FC236}">
                    <a16:creationId xmlns:a16="http://schemas.microsoft.com/office/drawing/2014/main" xmlns="" id="{E1F8F09B-8778-406E-A99A-6EFDFE018E4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026364" y="2035362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08" name="Freeform 179">
                <a:extLst>
                  <a:ext uri="{FF2B5EF4-FFF2-40B4-BE49-F238E27FC236}">
                    <a16:creationId xmlns:a16="http://schemas.microsoft.com/office/drawing/2014/main" xmlns="" id="{62C09A1A-1B1D-49CD-9A24-C4792783B5F1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159307" y="2035362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09" name="Freeform 179">
                <a:extLst>
                  <a:ext uri="{FF2B5EF4-FFF2-40B4-BE49-F238E27FC236}">
                    <a16:creationId xmlns:a16="http://schemas.microsoft.com/office/drawing/2014/main" xmlns="" id="{A3590C2B-2048-4504-A4A9-F967F2FC97C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093962" y="1576492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10" name="Freeform 179">
                <a:extLst>
                  <a:ext uri="{FF2B5EF4-FFF2-40B4-BE49-F238E27FC236}">
                    <a16:creationId xmlns:a16="http://schemas.microsoft.com/office/drawing/2014/main" xmlns="" id="{87A9FFF4-B8C0-4FD8-B6BA-0791DD20A67A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23298" y="1367687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11" name="Freeform 179">
                <a:extLst>
                  <a:ext uri="{FF2B5EF4-FFF2-40B4-BE49-F238E27FC236}">
                    <a16:creationId xmlns:a16="http://schemas.microsoft.com/office/drawing/2014/main" xmlns="" id="{F43A8981-E31B-446C-9D6B-CCCEE1010DC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23298" y="1531583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12" name="Freeform 179">
                <a:extLst>
                  <a:ext uri="{FF2B5EF4-FFF2-40B4-BE49-F238E27FC236}">
                    <a16:creationId xmlns:a16="http://schemas.microsoft.com/office/drawing/2014/main" xmlns="" id="{2798C9F5-C0EF-4E10-BB91-2EB8D6132C2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56241" y="1531583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13" name="Freeform 179">
                <a:extLst>
                  <a:ext uri="{FF2B5EF4-FFF2-40B4-BE49-F238E27FC236}">
                    <a16:creationId xmlns:a16="http://schemas.microsoft.com/office/drawing/2014/main" xmlns="" id="{292EFC8A-0039-4905-BE66-B17898118E0A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23298" y="1695479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14" name="Freeform 179">
                <a:extLst>
                  <a:ext uri="{FF2B5EF4-FFF2-40B4-BE49-F238E27FC236}">
                    <a16:creationId xmlns:a16="http://schemas.microsoft.com/office/drawing/2014/main" xmlns="" id="{272F9D0E-2006-43E8-95AA-CA563580AD53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56241" y="1695479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15" name="Freeform 179">
                <a:extLst>
                  <a:ext uri="{FF2B5EF4-FFF2-40B4-BE49-F238E27FC236}">
                    <a16:creationId xmlns:a16="http://schemas.microsoft.com/office/drawing/2014/main" xmlns="" id="{357C5DBC-3E53-4CF5-B371-836EBB9A186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23298" y="1859375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16" name="Freeform 179">
                <a:extLst>
                  <a:ext uri="{FF2B5EF4-FFF2-40B4-BE49-F238E27FC236}">
                    <a16:creationId xmlns:a16="http://schemas.microsoft.com/office/drawing/2014/main" xmlns="" id="{1C99B46F-7988-4A23-AEEE-08B132A1A0C1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56241" y="1859375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17" name="Freeform 179">
                <a:extLst>
                  <a:ext uri="{FF2B5EF4-FFF2-40B4-BE49-F238E27FC236}">
                    <a16:creationId xmlns:a16="http://schemas.microsoft.com/office/drawing/2014/main" xmlns="" id="{1F369396-CF9A-4402-AA4D-92A646CE5693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90896" y="1367687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18" name="Freeform 179">
                <a:extLst>
                  <a:ext uri="{FF2B5EF4-FFF2-40B4-BE49-F238E27FC236}">
                    <a16:creationId xmlns:a16="http://schemas.microsoft.com/office/drawing/2014/main" xmlns="" id="{9BD86140-3C04-4D22-8B62-A097DEE6240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23298" y="2023270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19" name="Freeform 179">
                <a:extLst>
                  <a:ext uri="{FF2B5EF4-FFF2-40B4-BE49-F238E27FC236}">
                    <a16:creationId xmlns:a16="http://schemas.microsoft.com/office/drawing/2014/main" xmlns="" id="{D0344D7A-E673-44B4-B12E-F6E8B6B88DD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56241" y="2023270"/>
                <a:ext cx="46800" cy="118800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</p:grpSp>
        <p:grpSp>
          <p:nvGrpSpPr>
            <p:cNvPr id="120" name="Gruppieren 119">
              <a:extLst>
                <a:ext uri="{FF2B5EF4-FFF2-40B4-BE49-F238E27FC236}">
                  <a16:creationId xmlns:a16="http://schemas.microsoft.com/office/drawing/2014/main" xmlns="" id="{3E38D3DD-EB04-4792-9DC1-920B8F7418BD}"/>
                </a:ext>
              </a:extLst>
            </p:cNvPr>
            <p:cNvGrpSpPr/>
            <p:nvPr/>
          </p:nvGrpSpPr>
          <p:grpSpPr>
            <a:xfrm>
              <a:off x="2183024" y="1574562"/>
              <a:ext cx="569120" cy="747124"/>
              <a:chOff x="1959410" y="1458289"/>
              <a:chExt cx="645924" cy="842715"/>
            </a:xfrm>
            <a:noFill/>
          </p:grpSpPr>
          <p:sp>
            <p:nvSpPr>
              <p:cNvPr id="121" name="Freeform 200">
                <a:extLst>
                  <a:ext uri="{FF2B5EF4-FFF2-40B4-BE49-F238E27FC236}">
                    <a16:creationId xmlns:a16="http://schemas.microsoft.com/office/drawing/2014/main" xmlns="" id="{0B310A36-F990-4050-B2B9-918B4A5A572E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266207" y="1716200"/>
                <a:ext cx="279825" cy="563022"/>
              </a:xfrm>
              <a:custGeom>
                <a:avLst/>
                <a:gdLst>
                  <a:gd name="T0" fmla="*/ 166 w 166"/>
                  <a:gd name="T1" fmla="*/ 334 h 334"/>
                  <a:gd name="T2" fmla="*/ 166 w 166"/>
                  <a:gd name="T3" fmla="*/ 0 h 334"/>
                  <a:gd name="T4" fmla="*/ 0 w 166"/>
                  <a:gd name="T5" fmla="*/ 98 h 334"/>
                  <a:gd name="T6" fmla="*/ 0 w 166"/>
                  <a:gd name="T7" fmla="*/ 334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6" h="334">
                    <a:moveTo>
                      <a:pt x="166" y="334"/>
                    </a:moveTo>
                    <a:lnTo>
                      <a:pt x="166" y="0"/>
                    </a:lnTo>
                    <a:lnTo>
                      <a:pt x="0" y="98"/>
                    </a:lnTo>
                    <a:lnTo>
                      <a:pt x="0" y="334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22" name="Rechteck 251">
                <a:extLst>
                  <a:ext uri="{FF2B5EF4-FFF2-40B4-BE49-F238E27FC236}">
                    <a16:creationId xmlns:a16="http://schemas.microsoft.com/office/drawing/2014/main" xmlns="" id="{291CF757-2592-4BAD-938F-36E793A57975}"/>
                  </a:ext>
                </a:extLst>
              </p:cNvPr>
              <p:cNvSpPr/>
              <p:nvPr/>
            </p:nvSpPr>
            <p:spPr>
              <a:xfrm>
                <a:off x="2012316" y="1542802"/>
                <a:ext cx="217705" cy="753582"/>
              </a:xfrm>
              <a:custGeom>
                <a:avLst/>
                <a:gdLst>
                  <a:gd name="connsiteX0" fmla="*/ 0 w 314521"/>
                  <a:gd name="connsiteY0" fmla="*/ 0 h 970338"/>
                  <a:gd name="connsiteX1" fmla="*/ 314521 w 314521"/>
                  <a:gd name="connsiteY1" fmla="*/ 0 h 970338"/>
                  <a:gd name="connsiteX2" fmla="*/ 314521 w 314521"/>
                  <a:gd name="connsiteY2" fmla="*/ 970338 h 970338"/>
                  <a:gd name="connsiteX3" fmla="*/ 0 w 314521"/>
                  <a:gd name="connsiteY3" fmla="*/ 970338 h 970338"/>
                  <a:gd name="connsiteX4" fmla="*/ 0 w 314521"/>
                  <a:gd name="connsiteY4" fmla="*/ 0 h 970338"/>
                  <a:gd name="connsiteX0" fmla="*/ 0 w 314521"/>
                  <a:gd name="connsiteY0" fmla="*/ 0 h 1069990"/>
                  <a:gd name="connsiteX1" fmla="*/ 314521 w 314521"/>
                  <a:gd name="connsiteY1" fmla="*/ 0 h 1069990"/>
                  <a:gd name="connsiteX2" fmla="*/ 314521 w 314521"/>
                  <a:gd name="connsiteY2" fmla="*/ 970338 h 1069990"/>
                  <a:gd name="connsiteX3" fmla="*/ 122964 w 314521"/>
                  <a:gd name="connsiteY3" fmla="*/ 1069984 h 1069990"/>
                  <a:gd name="connsiteX4" fmla="*/ 0 w 314521"/>
                  <a:gd name="connsiteY4" fmla="*/ 970338 h 1069990"/>
                  <a:gd name="connsiteX5" fmla="*/ 0 w 314521"/>
                  <a:gd name="connsiteY5" fmla="*/ 0 h 1069990"/>
                  <a:gd name="connsiteX0" fmla="*/ 0 w 314521"/>
                  <a:gd name="connsiteY0" fmla="*/ 0 h 1107360"/>
                  <a:gd name="connsiteX1" fmla="*/ 314521 w 314521"/>
                  <a:gd name="connsiteY1" fmla="*/ 0 h 1107360"/>
                  <a:gd name="connsiteX2" fmla="*/ 314521 w 314521"/>
                  <a:gd name="connsiteY2" fmla="*/ 970338 h 1107360"/>
                  <a:gd name="connsiteX3" fmla="*/ 275364 w 314521"/>
                  <a:gd name="connsiteY3" fmla="*/ 1103321 h 1107360"/>
                  <a:gd name="connsiteX4" fmla="*/ 122964 w 314521"/>
                  <a:gd name="connsiteY4" fmla="*/ 1069984 h 1107360"/>
                  <a:gd name="connsiteX5" fmla="*/ 0 w 314521"/>
                  <a:gd name="connsiteY5" fmla="*/ 970338 h 1107360"/>
                  <a:gd name="connsiteX6" fmla="*/ 0 w 314521"/>
                  <a:gd name="connsiteY6" fmla="*/ 0 h 1107360"/>
                  <a:gd name="connsiteX0" fmla="*/ 122964 w 366804"/>
                  <a:gd name="connsiteY0" fmla="*/ 1069984 h 1194761"/>
                  <a:gd name="connsiteX1" fmla="*/ 0 w 366804"/>
                  <a:gd name="connsiteY1" fmla="*/ 970338 h 1194761"/>
                  <a:gd name="connsiteX2" fmla="*/ 0 w 366804"/>
                  <a:gd name="connsiteY2" fmla="*/ 0 h 1194761"/>
                  <a:gd name="connsiteX3" fmla="*/ 314521 w 366804"/>
                  <a:gd name="connsiteY3" fmla="*/ 0 h 1194761"/>
                  <a:gd name="connsiteX4" fmla="*/ 314521 w 366804"/>
                  <a:gd name="connsiteY4" fmla="*/ 970338 h 1194761"/>
                  <a:gd name="connsiteX5" fmla="*/ 366804 w 366804"/>
                  <a:gd name="connsiteY5" fmla="*/ 1194761 h 1194761"/>
                  <a:gd name="connsiteX0" fmla="*/ 122964 w 314521"/>
                  <a:gd name="connsiteY0" fmla="*/ 1069984 h 1069984"/>
                  <a:gd name="connsiteX1" fmla="*/ 0 w 314521"/>
                  <a:gd name="connsiteY1" fmla="*/ 970338 h 1069984"/>
                  <a:gd name="connsiteX2" fmla="*/ 0 w 314521"/>
                  <a:gd name="connsiteY2" fmla="*/ 0 h 1069984"/>
                  <a:gd name="connsiteX3" fmla="*/ 314521 w 314521"/>
                  <a:gd name="connsiteY3" fmla="*/ 0 h 1069984"/>
                  <a:gd name="connsiteX4" fmla="*/ 314521 w 314521"/>
                  <a:gd name="connsiteY4" fmla="*/ 970338 h 1069984"/>
                  <a:gd name="connsiteX0" fmla="*/ 0 w 314521"/>
                  <a:gd name="connsiteY0" fmla="*/ 970338 h 970338"/>
                  <a:gd name="connsiteX1" fmla="*/ 0 w 314521"/>
                  <a:gd name="connsiteY1" fmla="*/ 0 h 970338"/>
                  <a:gd name="connsiteX2" fmla="*/ 314521 w 314521"/>
                  <a:gd name="connsiteY2" fmla="*/ 0 h 970338"/>
                  <a:gd name="connsiteX3" fmla="*/ 314521 w 314521"/>
                  <a:gd name="connsiteY3" fmla="*/ 970338 h 970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4521" h="970338">
                    <a:moveTo>
                      <a:pt x="0" y="970338"/>
                    </a:moveTo>
                    <a:lnTo>
                      <a:pt x="0" y="0"/>
                    </a:lnTo>
                    <a:lnTo>
                      <a:pt x="314521" y="0"/>
                    </a:lnTo>
                    <a:lnTo>
                      <a:pt x="314521" y="970338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23" name="Freeform 174">
                <a:extLst>
                  <a:ext uri="{FF2B5EF4-FFF2-40B4-BE49-F238E27FC236}">
                    <a16:creationId xmlns:a16="http://schemas.microsoft.com/office/drawing/2014/main" xmlns="" id="{7D0E266E-A85D-4CF4-B9A0-960BDA979FA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166751" y="1557745"/>
                <a:ext cx="40457" cy="99456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24" name="Freeform 175">
                <a:extLst>
                  <a:ext uri="{FF2B5EF4-FFF2-40B4-BE49-F238E27FC236}">
                    <a16:creationId xmlns:a16="http://schemas.microsoft.com/office/drawing/2014/main" xmlns="" id="{EE51156D-18CC-47EA-95F4-4AFB85009ED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166751" y="1674058"/>
                <a:ext cx="40457" cy="99456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25" name="Freeform 176">
                <a:extLst>
                  <a:ext uri="{FF2B5EF4-FFF2-40B4-BE49-F238E27FC236}">
                    <a16:creationId xmlns:a16="http://schemas.microsoft.com/office/drawing/2014/main" xmlns="" id="{47407C68-CCD8-480D-8F37-4ED4D899E25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166751" y="1798799"/>
                <a:ext cx="40457" cy="99456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26" name="Freeform 177">
                <a:extLst>
                  <a:ext uri="{FF2B5EF4-FFF2-40B4-BE49-F238E27FC236}">
                    <a16:creationId xmlns:a16="http://schemas.microsoft.com/office/drawing/2014/main" xmlns="" id="{C2CCB666-B4A9-4CE4-9871-4D0CD9FFBD5F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166751" y="1915112"/>
                <a:ext cx="40457" cy="97770"/>
              </a:xfrm>
              <a:custGeom>
                <a:avLst/>
                <a:gdLst>
                  <a:gd name="T0" fmla="*/ 24 w 24"/>
                  <a:gd name="T1" fmla="*/ 0 h 58"/>
                  <a:gd name="T2" fmla="*/ 0 w 24"/>
                  <a:gd name="T3" fmla="*/ 0 h 58"/>
                  <a:gd name="T4" fmla="*/ 0 w 24"/>
                  <a:gd name="T5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8">
                    <a:moveTo>
                      <a:pt x="24" y="0"/>
                    </a:moveTo>
                    <a:lnTo>
                      <a:pt x="0" y="0"/>
                    </a:lnTo>
                    <a:lnTo>
                      <a:pt x="0" y="58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27" name="Freeform 178">
                <a:extLst>
                  <a:ext uri="{FF2B5EF4-FFF2-40B4-BE49-F238E27FC236}">
                    <a16:creationId xmlns:a16="http://schemas.microsoft.com/office/drawing/2014/main" xmlns="" id="{8D682A9B-B65F-4E0E-A013-CCF5A7ACEB4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166751" y="2038168"/>
                <a:ext cx="40457" cy="99456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28" name="Freeform 179">
                <a:extLst>
                  <a:ext uri="{FF2B5EF4-FFF2-40B4-BE49-F238E27FC236}">
                    <a16:creationId xmlns:a16="http://schemas.microsoft.com/office/drawing/2014/main" xmlns="" id="{30CC2412-7D0A-4C3F-9A16-63427FE48472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166751" y="2154481"/>
                <a:ext cx="40457" cy="99456"/>
              </a:xfrm>
              <a:custGeom>
                <a:avLst/>
                <a:gdLst>
                  <a:gd name="T0" fmla="*/ 24 w 24"/>
                  <a:gd name="T1" fmla="*/ 0 h 59"/>
                  <a:gd name="T2" fmla="*/ 0 w 24"/>
                  <a:gd name="T3" fmla="*/ 0 h 59"/>
                  <a:gd name="T4" fmla="*/ 0 w 24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24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29" name="Freeform 180">
                <a:extLst>
                  <a:ext uri="{FF2B5EF4-FFF2-40B4-BE49-F238E27FC236}">
                    <a16:creationId xmlns:a16="http://schemas.microsoft.com/office/drawing/2014/main" xmlns="" id="{5BE6449C-F9D1-4918-883C-0C320A46610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101008" y="1557745"/>
                <a:ext cx="40457" cy="99456"/>
              </a:xfrm>
              <a:custGeom>
                <a:avLst/>
                <a:gdLst>
                  <a:gd name="T0" fmla="*/ 0 w 24"/>
                  <a:gd name="T1" fmla="*/ 59 h 59"/>
                  <a:gd name="T2" fmla="*/ 0 w 24"/>
                  <a:gd name="T3" fmla="*/ 0 h 59"/>
                  <a:gd name="T4" fmla="*/ 24 w 24"/>
                  <a:gd name="T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0" y="59"/>
                    </a:moveTo>
                    <a:lnTo>
                      <a:pt x="0" y="0"/>
                    </a:lnTo>
                    <a:lnTo>
                      <a:pt x="24" y="0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30" name="Freeform 181">
                <a:extLst>
                  <a:ext uri="{FF2B5EF4-FFF2-40B4-BE49-F238E27FC236}">
                    <a16:creationId xmlns:a16="http://schemas.microsoft.com/office/drawing/2014/main" xmlns="" id="{770F8229-881A-4382-97FA-E4EA77FE68F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101008" y="1674058"/>
                <a:ext cx="40457" cy="99456"/>
              </a:xfrm>
              <a:custGeom>
                <a:avLst/>
                <a:gdLst>
                  <a:gd name="T0" fmla="*/ 0 w 24"/>
                  <a:gd name="T1" fmla="*/ 59 h 59"/>
                  <a:gd name="T2" fmla="*/ 0 w 24"/>
                  <a:gd name="T3" fmla="*/ 0 h 59"/>
                  <a:gd name="T4" fmla="*/ 24 w 24"/>
                  <a:gd name="T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0" y="59"/>
                    </a:moveTo>
                    <a:lnTo>
                      <a:pt x="0" y="0"/>
                    </a:lnTo>
                    <a:lnTo>
                      <a:pt x="24" y="0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31" name="Freeform 182">
                <a:extLst>
                  <a:ext uri="{FF2B5EF4-FFF2-40B4-BE49-F238E27FC236}">
                    <a16:creationId xmlns:a16="http://schemas.microsoft.com/office/drawing/2014/main" xmlns="" id="{BD4CD92F-886A-4756-A4A8-AB963E747295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101008" y="1798799"/>
                <a:ext cx="40457" cy="99456"/>
              </a:xfrm>
              <a:custGeom>
                <a:avLst/>
                <a:gdLst>
                  <a:gd name="T0" fmla="*/ 0 w 24"/>
                  <a:gd name="T1" fmla="*/ 59 h 59"/>
                  <a:gd name="T2" fmla="*/ 0 w 24"/>
                  <a:gd name="T3" fmla="*/ 0 h 59"/>
                  <a:gd name="T4" fmla="*/ 24 w 24"/>
                  <a:gd name="T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0" y="59"/>
                    </a:moveTo>
                    <a:lnTo>
                      <a:pt x="0" y="0"/>
                    </a:lnTo>
                    <a:lnTo>
                      <a:pt x="24" y="0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32" name="Freeform 183">
                <a:extLst>
                  <a:ext uri="{FF2B5EF4-FFF2-40B4-BE49-F238E27FC236}">
                    <a16:creationId xmlns:a16="http://schemas.microsoft.com/office/drawing/2014/main" xmlns="" id="{E3B8BF0C-73AE-43FC-8471-D9BBE106AB91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101008" y="1915112"/>
                <a:ext cx="40457" cy="97770"/>
              </a:xfrm>
              <a:custGeom>
                <a:avLst/>
                <a:gdLst>
                  <a:gd name="T0" fmla="*/ 0 w 24"/>
                  <a:gd name="T1" fmla="*/ 58 h 58"/>
                  <a:gd name="T2" fmla="*/ 0 w 24"/>
                  <a:gd name="T3" fmla="*/ 0 h 58"/>
                  <a:gd name="T4" fmla="*/ 24 w 24"/>
                  <a:gd name="T5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8">
                    <a:moveTo>
                      <a:pt x="0" y="58"/>
                    </a:moveTo>
                    <a:lnTo>
                      <a:pt x="0" y="0"/>
                    </a:lnTo>
                    <a:lnTo>
                      <a:pt x="24" y="0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33" name="Freeform 184">
                <a:extLst>
                  <a:ext uri="{FF2B5EF4-FFF2-40B4-BE49-F238E27FC236}">
                    <a16:creationId xmlns:a16="http://schemas.microsoft.com/office/drawing/2014/main" xmlns="" id="{DFA2701D-E3E0-49B2-B105-81DFBCC317F1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101008" y="2038168"/>
                <a:ext cx="40457" cy="99456"/>
              </a:xfrm>
              <a:custGeom>
                <a:avLst/>
                <a:gdLst>
                  <a:gd name="T0" fmla="*/ 0 w 24"/>
                  <a:gd name="T1" fmla="*/ 59 h 59"/>
                  <a:gd name="T2" fmla="*/ 0 w 24"/>
                  <a:gd name="T3" fmla="*/ 0 h 59"/>
                  <a:gd name="T4" fmla="*/ 24 w 24"/>
                  <a:gd name="T5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59">
                    <a:moveTo>
                      <a:pt x="0" y="59"/>
                    </a:moveTo>
                    <a:lnTo>
                      <a:pt x="0" y="0"/>
                    </a:lnTo>
                    <a:lnTo>
                      <a:pt x="24" y="0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34" name="Freeform 185">
                <a:extLst>
                  <a:ext uri="{FF2B5EF4-FFF2-40B4-BE49-F238E27FC236}">
                    <a16:creationId xmlns:a16="http://schemas.microsoft.com/office/drawing/2014/main" xmlns="" id="{1B434060-4B6A-40F2-8C8D-BC7B6CC3EC9B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101008" y="2154481"/>
                <a:ext cx="40457" cy="33714"/>
              </a:xfrm>
              <a:custGeom>
                <a:avLst/>
                <a:gdLst>
                  <a:gd name="T0" fmla="*/ 0 w 24"/>
                  <a:gd name="T1" fmla="*/ 20 h 20"/>
                  <a:gd name="T2" fmla="*/ 0 w 24"/>
                  <a:gd name="T3" fmla="*/ 0 h 20"/>
                  <a:gd name="T4" fmla="*/ 24 w 24"/>
                  <a:gd name="T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20">
                    <a:moveTo>
                      <a:pt x="0" y="20"/>
                    </a:moveTo>
                    <a:lnTo>
                      <a:pt x="0" y="0"/>
                    </a:lnTo>
                    <a:lnTo>
                      <a:pt x="24" y="0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35" name="Freeform 186">
                <a:extLst>
                  <a:ext uri="{FF2B5EF4-FFF2-40B4-BE49-F238E27FC236}">
                    <a16:creationId xmlns:a16="http://schemas.microsoft.com/office/drawing/2014/main" xmlns="" id="{7650A079-A016-4780-936C-32E8647CD24A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101008" y="2211004"/>
                <a:ext cx="40457" cy="90000"/>
              </a:xfrm>
              <a:custGeom>
                <a:avLst/>
                <a:gdLst>
                  <a:gd name="T0" fmla="*/ 0 w 24"/>
                  <a:gd name="T1" fmla="*/ 45 h 45"/>
                  <a:gd name="T2" fmla="*/ 0 w 24"/>
                  <a:gd name="T3" fmla="*/ 0 h 45"/>
                  <a:gd name="T4" fmla="*/ 24 w 24"/>
                  <a:gd name="T5" fmla="*/ 0 h 45"/>
                  <a:gd name="T6" fmla="*/ 24 w 24"/>
                  <a:gd name="T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45">
                    <a:moveTo>
                      <a:pt x="0" y="45"/>
                    </a:moveTo>
                    <a:lnTo>
                      <a:pt x="0" y="0"/>
                    </a:lnTo>
                    <a:lnTo>
                      <a:pt x="24" y="0"/>
                    </a:lnTo>
                    <a:lnTo>
                      <a:pt x="24" y="45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36" name="Freeform 187">
                <a:extLst>
                  <a:ext uri="{FF2B5EF4-FFF2-40B4-BE49-F238E27FC236}">
                    <a16:creationId xmlns:a16="http://schemas.microsoft.com/office/drawing/2014/main" xmlns="" id="{B49189D5-9D84-488A-89FC-02C97E05B3C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033581" y="1557745"/>
                <a:ext cx="42142" cy="99456"/>
              </a:xfrm>
              <a:custGeom>
                <a:avLst/>
                <a:gdLst>
                  <a:gd name="T0" fmla="*/ 25 w 25"/>
                  <a:gd name="T1" fmla="*/ 0 h 59"/>
                  <a:gd name="T2" fmla="*/ 0 w 25"/>
                  <a:gd name="T3" fmla="*/ 0 h 59"/>
                  <a:gd name="T4" fmla="*/ 0 w 25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59">
                    <a:moveTo>
                      <a:pt x="25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37" name="Freeform 188">
                <a:extLst>
                  <a:ext uri="{FF2B5EF4-FFF2-40B4-BE49-F238E27FC236}">
                    <a16:creationId xmlns:a16="http://schemas.microsoft.com/office/drawing/2014/main" xmlns="" id="{53820EC7-6347-403C-8F1B-30592AC7287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033581" y="1674058"/>
                <a:ext cx="42142" cy="99456"/>
              </a:xfrm>
              <a:custGeom>
                <a:avLst/>
                <a:gdLst>
                  <a:gd name="T0" fmla="*/ 25 w 25"/>
                  <a:gd name="T1" fmla="*/ 0 h 59"/>
                  <a:gd name="T2" fmla="*/ 0 w 25"/>
                  <a:gd name="T3" fmla="*/ 0 h 59"/>
                  <a:gd name="T4" fmla="*/ 0 w 25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59">
                    <a:moveTo>
                      <a:pt x="25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38" name="Freeform 189">
                <a:extLst>
                  <a:ext uri="{FF2B5EF4-FFF2-40B4-BE49-F238E27FC236}">
                    <a16:creationId xmlns:a16="http://schemas.microsoft.com/office/drawing/2014/main" xmlns="" id="{94A04FBC-1A9F-49A3-85C3-E42DF102C57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033581" y="1798799"/>
                <a:ext cx="42142" cy="99456"/>
              </a:xfrm>
              <a:custGeom>
                <a:avLst/>
                <a:gdLst>
                  <a:gd name="T0" fmla="*/ 25 w 25"/>
                  <a:gd name="T1" fmla="*/ 0 h 59"/>
                  <a:gd name="T2" fmla="*/ 0 w 25"/>
                  <a:gd name="T3" fmla="*/ 0 h 59"/>
                  <a:gd name="T4" fmla="*/ 0 w 25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59">
                    <a:moveTo>
                      <a:pt x="25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39" name="Freeform 190">
                <a:extLst>
                  <a:ext uri="{FF2B5EF4-FFF2-40B4-BE49-F238E27FC236}">
                    <a16:creationId xmlns:a16="http://schemas.microsoft.com/office/drawing/2014/main" xmlns="" id="{D2637FD4-3FB8-4C8F-8621-B78DFCCDB8BC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033581" y="1915112"/>
                <a:ext cx="42142" cy="97770"/>
              </a:xfrm>
              <a:custGeom>
                <a:avLst/>
                <a:gdLst>
                  <a:gd name="T0" fmla="*/ 25 w 25"/>
                  <a:gd name="T1" fmla="*/ 0 h 58"/>
                  <a:gd name="T2" fmla="*/ 0 w 25"/>
                  <a:gd name="T3" fmla="*/ 0 h 58"/>
                  <a:gd name="T4" fmla="*/ 0 w 25"/>
                  <a:gd name="T5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58">
                    <a:moveTo>
                      <a:pt x="25" y="0"/>
                    </a:moveTo>
                    <a:lnTo>
                      <a:pt x="0" y="0"/>
                    </a:lnTo>
                    <a:lnTo>
                      <a:pt x="0" y="58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40" name="Freeform 191">
                <a:extLst>
                  <a:ext uri="{FF2B5EF4-FFF2-40B4-BE49-F238E27FC236}">
                    <a16:creationId xmlns:a16="http://schemas.microsoft.com/office/drawing/2014/main" xmlns="" id="{F5F2DF3A-42EC-4C02-AB25-CE338EAF41F2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033581" y="2038168"/>
                <a:ext cx="42142" cy="99456"/>
              </a:xfrm>
              <a:custGeom>
                <a:avLst/>
                <a:gdLst>
                  <a:gd name="T0" fmla="*/ 25 w 25"/>
                  <a:gd name="T1" fmla="*/ 0 h 59"/>
                  <a:gd name="T2" fmla="*/ 0 w 25"/>
                  <a:gd name="T3" fmla="*/ 0 h 59"/>
                  <a:gd name="T4" fmla="*/ 0 w 25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59">
                    <a:moveTo>
                      <a:pt x="25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41" name="Freeform 192">
                <a:extLst>
                  <a:ext uri="{FF2B5EF4-FFF2-40B4-BE49-F238E27FC236}">
                    <a16:creationId xmlns:a16="http://schemas.microsoft.com/office/drawing/2014/main" xmlns="" id="{C526251F-AB7F-494A-8F13-85D22384E46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033581" y="2154481"/>
                <a:ext cx="42142" cy="99456"/>
              </a:xfrm>
              <a:custGeom>
                <a:avLst/>
                <a:gdLst>
                  <a:gd name="T0" fmla="*/ 25 w 25"/>
                  <a:gd name="T1" fmla="*/ 0 h 59"/>
                  <a:gd name="T2" fmla="*/ 0 w 25"/>
                  <a:gd name="T3" fmla="*/ 0 h 59"/>
                  <a:gd name="T4" fmla="*/ 0 w 25"/>
                  <a:gd name="T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59">
                    <a:moveTo>
                      <a:pt x="25" y="0"/>
                    </a:moveTo>
                    <a:lnTo>
                      <a:pt x="0" y="0"/>
                    </a:lnTo>
                    <a:lnTo>
                      <a:pt x="0" y="59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42" name="Freeform 193">
                <a:extLst>
                  <a:ext uri="{FF2B5EF4-FFF2-40B4-BE49-F238E27FC236}">
                    <a16:creationId xmlns:a16="http://schemas.microsoft.com/office/drawing/2014/main" xmlns="" id="{43615593-2261-4ECA-A7C6-A67A038537F6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2001552" y="1458289"/>
                <a:ext cx="239369" cy="84285"/>
              </a:xfrm>
              <a:custGeom>
                <a:avLst/>
                <a:gdLst>
                  <a:gd name="T0" fmla="*/ 142 w 142"/>
                  <a:gd name="T1" fmla="*/ 50 h 50"/>
                  <a:gd name="T2" fmla="*/ 98 w 142"/>
                  <a:gd name="T3" fmla="*/ 0 h 50"/>
                  <a:gd name="T4" fmla="*/ 49 w 142"/>
                  <a:gd name="T5" fmla="*/ 0 h 50"/>
                  <a:gd name="T6" fmla="*/ 0 w 142"/>
                  <a:gd name="T7" fmla="*/ 50 h 50"/>
                  <a:gd name="T8" fmla="*/ 142 w 142"/>
                  <a:gd name="T9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50">
                    <a:moveTo>
                      <a:pt x="142" y="50"/>
                    </a:moveTo>
                    <a:lnTo>
                      <a:pt x="98" y="0"/>
                    </a:lnTo>
                    <a:lnTo>
                      <a:pt x="49" y="0"/>
                    </a:lnTo>
                    <a:lnTo>
                      <a:pt x="0" y="50"/>
                    </a:lnTo>
                    <a:lnTo>
                      <a:pt x="142" y="5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43" name="Line 194">
                <a:extLst>
                  <a:ext uri="{FF2B5EF4-FFF2-40B4-BE49-F238E27FC236}">
                    <a16:creationId xmlns:a16="http://schemas.microsoft.com/office/drawing/2014/main" xmlns="" id="{04D11DE2-F7B9-4A14-B386-3D2C2DBCC8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505575" y="1856113"/>
                <a:ext cx="0" cy="423109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44" name="Line 195">
                <a:extLst>
                  <a:ext uri="{FF2B5EF4-FFF2-40B4-BE49-F238E27FC236}">
                    <a16:creationId xmlns:a16="http://schemas.microsoft.com/office/drawing/2014/main" xmlns="" id="{8F866002-D586-4C48-AC60-7EDD6F33BB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463433" y="1839256"/>
                <a:ext cx="0" cy="439966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45" name="Line 196">
                <a:extLst>
                  <a:ext uri="{FF2B5EF4-FFF2-40B4-BE49-F238E27FC236}">
                    <a16:creationId xmlns:a16="http://schemas.microsoft.com/office/drawing/2014/main" xmlns="" id="{C1FC015E-BD29-4790-B3C5-64C97792A1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422976" y="1815656"/>
                <a:ext cx="0" cy="463566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46" name="Line 197">
                <a:extLst>
                  <a:ext uri="{FF2B5EF4-FFF2-40B4-BE49-F238E27FC236}">
                    <a16:creationId xmlns:a16="http://schemas.microsoft.com/office/drawing/2014/main" xmlns="" id="{648A6D78-CF0B-4E7C-8FE5-69D7D2CDB0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380834" y="1790371"/>
                <a:ext cx="0" cy="488852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47" name="Line 198">
                <a:extLst>
                  <a:ext uri="{FF2B5EF4-FFF2-40B4-BE49-F238E27FC236}">
                    <a16:creationId xmlns:a16="http://schemas.microsoft.com/office/drawing/2014/main" xmlns="" id="{38E8018D-4DCB-4DAD-95E7-80E98A5ACD5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348806" y="1765086"/>
                <a:ext cx="0" cy="514137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48" name="Line 199">
                <a:extLst>
                  <a:ext uri="{FF2B5EF4-FFF2-40B4-BE49-F238E27FC236}">
                    <a16:creationId xmlns:a16="http://schemas.microsoft.com/office/drawing/2014/main" xmlns="" id="{D958CF56-E0C4-4C3F-9533-E84BC2E5A6D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306663" y="1739800"/>
                <a:ext cx="0" cy="539422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49" name="Line 201">
                <a:extLst>
                  <a:ext uri="{FF2B5EF4-FFF2-40B4-BE49-F238E27FC236}">
                    <a16:creationId xmlns:a16="http://schemas.microsoft.com/office/drawing/2014/main" xmlns="" id="{382FEA3F-613B-4EDC-AEE8-A655C09818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141768" y="2296384"/>
                <a:ext cx="463566" cy="0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50" name="Line 202">
                <a:extLst>
                  <a:ext uri="{FF2B5EF4-FFF2-40B4-BE49-F238E27FC236}">
                    <a16:creationId xmlns:a16="http://schemas.microsoft.com/office/drawing/2014/main" xmlns="" id="{234AB043-F101-4EE5-BF03-DA7CC13BF1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959410" y="2296384"/>
                <a:ext cx="141598" cy="0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</p:grpSp>
        <p:grpSp>
          <p:nvGrpSpPr>
            <p:cNvPr id="151" name="Gruppieren 363">
              <a:extLst>
                <a:ext uri="{FF2B5EF4-FFF2-40B4-BE49-F238E27FC236}">
                  <a16:creationId xmlns:a16="http://schemas.microsoft.com/office/drawing/2014/main" xmlns="" id="{C719C4D0-14F3-467B-A0BB-0E4B4569A443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7180530" y="2107774"/>
              <a:ext cx="102194" cy="217631"/>
              <a:chOff x="2519772" y="2429466"/>
              <a:chExt cx="278016" cy="588409"/>
            </a:xfrm>
            <a:solidFill>
              <a:schemeClr val="bg1"/>
            </a:solidFill>
          </p:grpSpPr>
          <p:sp>
            <p:nvSpPr>
              <p:cNvPr id="152" name="Ellipse 364">
                <a:extLst>
                  <a:ext uri="{FF2B5EF4-FFF2-40B4-BE49-F238E27FC236}">
                    <a16:creationId xmlns:a16="http://schemas.microsoft.com/office/drawing/2014/main" xmlns="" id="{70E4F6DA-BDF7-42BA-B522-59146433FD63}"/>
                  </a:ext>
                </a:extLst>
              </p:cNvPr>
              <p:cNvSpPr/>
              <p:nvPr/>
            </p:nvSpPr>
            <p:spPr>
              <a:xfrm>
                <a:off x="2519772" y="2429466"/>
                <a:ext cx="278016" cy="278016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cxnSp>
            <p:nvCxnSpPr>
              <p:cNvPr id="153" name="Gerader Verbinder 365">
                <a:extLst>
                  <a:ext uri="{FF2B5EF4-FFF2-40B4-BE49-F238E27FC236}">
                    <a16:creationId xmlns:a16="http://schemas.microsoft.com/office/drawing/2014/main" xmlns="" id="{0947B1CF-EEDD-4DA5-BE26-19B5343680F1}"/>
                  </a:ext>
                </a:extLst>
              </p:cNvPr>
              <p:cNvCxnSpPr/>
              <p:nvPr/>
            </p:nvCxnSpPr>
            <p:spPr>
              <a:xfrm>
                <a:off x="2658780" y="2709863"/>
                <a:ext cx="0" cy="308012"/>
              </a:xfrm>
              <a:prstGeom prst="lin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</p:cxnSp>
        </p:grpSp>
        <p:grpSp>
          <p:nvGrpSpPr>
            <p:cNvPr id="154" name="Gruppieren 153">
              <a:extLst>
                <a:ext uri="{FF2B5EF4-FFF2-40B4-BE49-F238E27FC236}">
                  <a16:creationId xmlns:a16="http://schemas.microsoft.com/office/drawing/2014/main" xmlns="" id="{C6A1059C-D914-4878-AF6E-E0BCA98AAE9C}"/>
                </a:ext>
              </a:extLst>
            </p:cNvPr>
            <p:cNvGrpSpPr/>
            <p:nvPr/>
          </p:nvGrpSpPr>
          <p:grpSpPr>
            <a:xfrm>
              <a:off x="6176221" y="1873063"/>
              <a:ext cx="928181" cy="452343"/>
              <a:chOff x="6236389" y="2128812"/>
              <a:chExt cx="928180" cy="449551"/>
            </a:xfrm>
            <a:noFill/>
          </p:grpSpPr>
          <p:grpSp>
            <p:nvGrpSpPr>
              <p:cNvPr id="155" name="Gruppieren 101">
                <a:extLst>
                  <a:ext uri="{FF2B5EF4-FFF2-40B4-BE49-F238E27FC236}">
                    <a16:creationId xmlns:a16="http://schemas.microsoft.com/office/drawing/2014/main" xmlns="" id="{91E10CDF-2563-475C-B7FA-7E53FD7FA459}"/>
                  </a:ext>
                </a:extLst>
              </p:cNvPr>
              <p:cNvGrpSpPr/>
              <p:nvPr/>
            </p:nvGrpSpPr>
            <p:grpSpPr>
              <a:xfrm flipH="1">
                <a:off x="6236389" y="2251264"/>
                <a:ext cx="290756" cy="327099"/>
                <a:chOff x="1902468" y="3554633"/>
                <a:chExt cx="270066" cy="303823"/>
              </a:xfrm>
              <a:grpFill/>
            </p:grpSpPr>
            <p:sp>
              <p:nvSpPr>
                <p:cNvPr id="175" name="Freihandform: Form 463">
                  <a:extLst>
                    <a:ext uri="{FF2B5EF4-FFF2-40B4-BE49-F238E27FC236}">
                      <a16:creationId xmlns:a16="http://schemas.microsoft.com/office/drawing/2014/main" xmlns="" id="{BC0C8BD4-5469-4199-ACA9-53E80DE222F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2012182" y="3554633"/>
                  <a:ext cx="160352" cy="301714"/>
                </a:xfrm>
                <a:custGeom>
                  <a:avLst/>
                  <a:gdLst>
                    <a:gd name="connsiteX0" fmla="*/ 0 w 361950"/>
                    <a:gd name="connsiteY0" fmla="*/ 681038 h 681038"/>
                    <a:gd name="connsiteX1" fmla="*/ 0 w 361950"/>
                    <a:gd name="connsiteY1" fmla="*/ 242888 h 681038"/>
                    <a:gd name="connsiteX2" fmla="*/ 361950 w 361950"/>
                    <a:gd name="connsiteY2" fmla="*/ 0 h 681038"/>
                    <a:gd name="connsiteX3" fmla="*/ 361950 w 361950"/>
                    <a:gd name="connsiteY3" fmla="*/ 250032 h 6810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1950" h="681038">
                      <a:moveTo>
                        <a:pt x="0" y="681038"/>
                      </a:moveTo>
                      <a:lnTo>
                        <a:pt x="0" y="242888"/>
                      </a:lnTo>
                      <a:lnTo>
                        <a:pt x="361950" y="0"/>
                      </a:lnTo>
                      <a:lnTo>
                        <a:pt x="361950" y="250032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76" name="Freihandform: Form 464">
                  <a:extLst>
                    <a:ext uri="{FF2B5EF4-FFF2-40B4-BE49-F238E27FC236}">
                      <a16:creationId xmlns:a16="http://schemas.microsoft.com/office/drawing/2014/main" xmlns="" id="{C642ACA8-34F5-413C-84A6-E76795C7DA3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902468" y="3669622"/>
                  <a:ext cx="128703" cy="188834"/>
                </a:xfrm>
                <a:custGeom>
                  <a:avLst/>
                  <a:gdLst>
                    <a:gd name="connsiteX0" fmla="*/ 0 w 290512"/>
                    <a:gd name="connsiteY0" fmla="*/ 423862 h 426243"/>
                    <a:gd name="connsiteX1" fmla="*/ 0 w 290512"/>
                    <a:gd name="connsiteY1" fmla="*/ 59531 h 426243"/>
                    <a:gd name="connsiteX2" fmla="*/ 145256 w 290512"/>
                    <a:gd name="connsiteY2" fmla="*/ 0 h 426243"/>
                    <a:gd name="connsiteX3" fmla="*/ 290512 w 290512"/>
                    <a:gd name="connsiteY3" fmla="*/ 61912 h 426243"/>
                    <a:gd name="connsiteX4" fmla="*/ 290512 w 290512"/>
                    <a:gd name="connsiteY4" fmla="*/ 426243 h 426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0512" h="426243">
                      <a:moveTo>
                        <a:pt x="0" y="423862"/>
                      </a:moveTo>
                      <a:lnTo>
                        <a:pt x="0" y="59531"/>
                      </a:lnTo>
                      <a:lnTo>
                        <a:pt x="145256" y="0"/>
                      </a:lnTo>
                      <a:lnTo>
                        <a:pt x="290512" y="61912"/>
                      </a:lnTo>
                      <a:lnTo>
                        <a:pt x="290512" y="426243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77" name="Freihandform: Form 469">
                  <a:extLst>
                    <a:ext uri="{FF2B5EF4-FFF2-40B4-BE49-F238E27FC236}">
                      <a16:creationId xmlns:a16="http://schemas.microsoft.com/office/drawing/2014/main" xmlns="" id="{D26CB952-F34C-4F59-84F1-F12058B9985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2117677" y="3730808"/>
                  <a:ext cx="24263" cy="37978"/>
                </a:xfrm>
                <a:custGeom>
                  <a:avLst/>
                  <a:gdLst>
                    <a:gd name="connsiteX0" fmla="*/ 0 w 54768"/>
                    <a:gd name="connsiteY0" fmla="*/ 85725 h 85725"/>
                    <a:gd name="connsiteX1" fmla="*/ 0 w 54768"/>
                    <a:gd name="connsiteY1" fmla="*/ 0 h 85725"/>
                    <a:gd name="connsiteX2" fmla="*/ 54768 w 54768"/>
                    <a:gd name="connsiteY2" fmla="*/ 0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68" h="85725">
                      <a:moveTo>
                        <a:pt x="0" y="85725"/>
                      </a:moveTo>
                      <a:lnTo>
                        <a:pt x="0" y="0"/>
                      </a:lnTo>
                      <a:lnTo>
                        <a:pt x="54768" y="0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78" name="Freihandform: Form 470">
                  <a:extLst>
                    <a:ext uri="{FF2B5EF4-FFF2-40B4-BE49-F238E27FC236}">
                      <a16:creationId xmlns:a16="http://schemas.microsoft.com/office/drawing/2014/main" xmlns="" id="{F5C50159-D213-4A00-B47D-58F6CB8A054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2054380" y="3649578"/>
                  <a:ext cx="24263" cy="37978"/>
                </a:xfrm>
                <a:custGeom>
                  <a:avLst/>
                  <a:gdLst>
                    <a:gd name="connsiteX0" fmla="*/ 0 w 54768"/>
                    <a:gd name="connsiteY0" fmla="*/ 85725 h 85725"/>
                    <a:gd name="connsiteX1" fmla="*/ 0 w 54768"/>
                    <a:gd name="connsiteY1" fmla="*/ 0 h 85725"/>
                    <a:gd name="connsiteX2" fmla="*/ 54768 w 54768"/>
                    <a:gd name="connsiteY2" fmla="*/ 0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68" h="85725">
                      <a:moveTo>
                        <a:pt x="0" y="85725"/>
                      </a:moveTo>
                      <a:lnTo>
                        <a:pt x="0" y="0"/>
                      </a:lnTo>
                      <a:lnTo>
                        <a:pt x="54768" y="0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79" name="Freihandform: Form 471">
                  <a:extLst>
                    <a:ext uri="{FF2B5EF4-FFF2-40B4-BE49-F238E27FC236}">
                      <a16:creationId xmlns:a16="http://schemas.microsoft.com/office/drawing/2014/main" xmlns="" id="{77A26189-CB6B-4004-931C-5D3AF0A25E8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982644" y="3711819"/>
                  <a:ext cx="24263" cy="37978"/>
                </a:xfrm>
                <a:custGeom>
                  <a:avLst/>
                  <a:gdLst>
                    <a:gd name="connsiteX0" fmla="*/ 0 w 54768"/>
                    <a:gd name="connsiteY0" fmla="*/ 85725 h 85725"/>
                    <a:gd name="connsiteX1" fmla="*/ 0 w 54768"/>
                    <a:gd name="connsiteY1" fmla="*/ 0 h 85725"/>
                    <a:gd name="connsiteX2" fmla="*/ 54768 w 54768"/>
                    <a:gd name="connsiteY2" fmla="*/ 0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68" h="85725">
                      <a:moveTo>
                        <a:pt x="0" y="85725"/>
                      </a:moveTo>
                      <a:lnTo>
                        <a:pt x="0" y="0"/>
                      </a:lnTo>
                      <a:lnTo>
                        <a:pt x="54768" y="0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80" name="Freihandform: Form 472">
                  <a:extLst>
                    <a:ext uri="{FF2B5EF4-FFF2-40B4-BE49-F238E27FC236}">
                      <a16:creationId xmlns:a16="http://schemas.microsoft.com/office/drawing/2014/main" xmlns="" id="{1D51594C-C3F4-449E-B4D0-F5933D69F5B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923567" y="3710764"/>
                  <a:ext cx="24263" cy="37978"/>
                </a:xfrm>
                <a:custGeom>
                  <a:avLst/>
                  <a:gdLst>
                    <a:gd name="connsiteX0" fmla="*/ 0 w 54768"/>
                    <a:gd name="connsiteY0" fmla="*/ 85725 h 85725"/>
                    <a:gd name="connsiteX1" fmla="*/ 0 w 54768"/>
                    <a:gd name="connsiteY1" fmla="*/ 0 h 85725"/>
                    <a:gd name="connsiteX2" fmla="*/ 54768 w 54768"/>
                    <a:gd name="connsiteY2" fmla="*/ 0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68" h="85725">
                      <a:moveTo>
                        <a:pt x="0" y="85725"/>
                      </a:moveTo>
                      <a:lnTo>
                        <a:pt x="0" y="0"/>
                      </a:lnTo>
                      <a:lnTo>
                        <a:pt x="54768" y="0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</p:grpSp>
          <p:grpSp>
            <p:nvGrpSpPr>
              <p:cNvPr id="156" name="Gruppieren 100">
                <a:extLst>
                  <a:ext uri="{FF2B5EF4-FFF2-40B4-BE49-F238E27FC236}">
                    <a16:creationId xmlns:a16="http://schemas.microsoft.com/office/drawing/2014/main" xmlns="" id="{B2ADCE5D-BB57-4ECF-BAF1-962B64B1C3A2}"/>
                  </a:ext>
                </a:extLst>
              </p:cNvPr>
              <p:cNvGrpSpPr/>
              <p:nvPr/>
            </p:nvGrpSpPr>
            <p:grpSpPr>
              <a:xfrm flipH="1">
                <a:off x="6785258" y="2305419"/>
                <a:ext cx="159140" cy="233490"/>
                <a:chOff x="1460312" y="3612022"/>
                <a:chExt cx="168637" cy="247425"/>
              </a:xfrm>
              <a:grpFill/>
            </p:grpSpPr>
            <p:sp>
              <p:nvSpPr>
                <p:cNvPr id="171" name="Freihandform: Form 467">
                  <a:extLst>
                    <a:ext uri="{FF2B5EF4-FFF2-40B4-BE49-F238E27FC236}">
                      <a16:creationId xmlns:a16="http://schemas.microsoft.com/office/drawing/2014/main" xmlns="" id="{41B42FD6-B9CA-45DC-A9C7-1F7EF0F0012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460312" y="3612022"/>
                  <a:ext cx="168637" cy="247425"/>
                </a:xfrm>
                <a:custGeom>
                  <a:avLst/>
                  <a:gdLst>
                    <a:gd name="connsiteX0" fmla="*/ 0 w 290512"/>
                    <a:gd name="connsiteY0" fmla="*/ 423862 h 426243"/>
                    <a:gd name="connsiteX1" fmla="*/ 0 w 290512"/>
                    <a:gd name="connsiteY1" fmla="*/ 59531 h 426243"/>
                    <a:gd name="connsiteX2" fmla="*/ 145256 w 290512"/>
                    <a:gd name="connsiteY2" fmla="*/ 0 h 426243"/>
                    <a:gd name="connsiteX3" fmla="*/ 290512 w 290512"/>
                    <a:gd name="connsiteY3" fmla="*/ 61912 h 426243"/>
                    <a:gd name="connsiteX4" fmla="*/ 290512 w 290512"/>
                    <a:gd name="connsiteY4" fmla="*/ 426243 h 426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0512" h="426243">
                      <a:moveTo>
                        <a:pt x="0" y="423862"/>
                      </a:moveTo>
                      <a:lnTo>
                        <a:pt x="0" y="59531"/>
                      </a:lnTo>
                      <a:lnTo>
                        <a:pt x="145256" y="0"/>
                      </a:lnTo>
                      <a:lnTo>
                        <a:pt x="290512" y="61912"/>
                      </a:lnTo>
                      <a:lnTo>
                        <a:pt x="290512" y="426243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72" name="Freihandform: Form 473">
                  <a:extLst>
                    <a:ext uri="{FF2B5EF4-FFF2-40B4-BE49-F238E27FC236}">
                      <a16:creationId xmlns:a16="http://schemas.microsoft.com/office/drawing/2014/main" xmlns="" id="{088E5CD5-75EE-47D1-8A4A-8346A179059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568608" y="3668566"/>
                  <a:ext cx="33699" cy="52748"/>
                </a:xfrm>
                <a:custGeom>
                  <a:avLst/>
                  <a:gdLst>
                    <a:gd name="connsiteX0" fmla="*/ 0 w 54768"/>
                    <a:gd name="connsiteY0" fmla="*/ 85725 h 85725"/>
                    <a:gd name="connsiteX1" fmla="*/ 0 w 54768"/>
                    <a:gd name="connsiteY1" fmla="*/ 0 h 85725"/>
                    <a:gd name="connsiteX2" fmla="*/ 54768 w 54768"/>
                    <a:gd name="connsiteY2" fmla="*/ 0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68" h="85725">
                      <a:moveTo>
                        <a:pt x="0" y="85725"/>
                      </a:moveTo>
                      <a:lnTo>
                        <a:pt x="0" y="0"/>
                      </a:lnTo>
                      <a:lnTo>
                        <a:pt x="54768" y="0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73" name="Freihandform: Form 474">
                  <a:extLst>
                    <a:ext uri="{FF2B5EF4-FFF2-40B4-BE49-F238E27FC236}">
                      <a16:creationId xmlns:a16="http://schemas.microsoft.com/office/drawing/2014/main" xmlns="" id="{98E77900-169B-4442-BEE8-AAA0B3E1DC9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485536" y="3668566"/>
                  <a:ext cx="33699" cy="52748"/>
                </a:xfrm>
                <a:custGeom>
                  <a:avLst/>
                  <a:gdLst>
                    <a:gd name="connsiteX0" fmla="*/ 0 w 54768"/>
                    <a:gd name="connsiteY0" fmla="*/ 85725 h 85725"/>
                    <a:gd name="connsiteX1" fmla="*/ 0 w 54768"/>
                    <a:gd name="connsiteY1" fmla="*/ 0 h 85725"/>
                    <a:gd name="connsiteX2" fmla="*/ 54768 w 54768"/>
                    <a:gd name="connsiteY2" fmla="*/ 0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68" h="85725">
                      <a:moveTo>
                        <a:pt x="0" y="85725"/>
                      </a:moveTo>
                      <a:lnTo>
                        <a:pt x="0" y="0"/>
                      </a:lnTo>
                      <a:lnTo>
                        <a:pt x="54768" y="0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74" name="Freihandform: Form 475">
                  <a:extLst>
                    <a:ext uri="{FF2B5EF4-FFF2-40B4-BE49-F238E27FC236}">
                      <a16:creationId xmlns:a16="http://schemas.microsoft.com/office/drawing/2014/main" xmlns="" id="{F3E8CAD2-1F68-454B-9B8D-6D20C10F60E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485536" y="3772194"/>
                  <a:ext cx="33699" cy="52748"/>
                </a:xfrm>
                <a:custGeom>
                  <a:avLst/>
                  <a:gdLst>
                    <a:gd name="connsiteX0" fmla="*/ 0 w 54768"/>
                    <a:gd name="connsiteY0" fmla="*/ 85725 h 85725"/>
                    <a:gd name="connsiteX1" fmla="*/ 0 w 54768"/>
                    <a:gd name="connsiteY1" fmla="*/ 0 h 85725"/>
                    <a:gd name="connsiteX2" fmla="*/ 54768 w 54768"/>
                    <a:gd name="connsiteY2" fmla="*/ 0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68" h="85725">
                      <a:moveTo>
                        <a:pt x="0" y="85725"/>
                      </a:moveTo>
                      <a:lnTo>
                        <a:pt x="0" y="0"/>
                      </a:lnTo>
                      <a:lnTo>
                        <a:pt x="54768" y="0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</p:grpSp>
          <p:grpSp>
            <p:nvGrpSpPr>
              <p:cNvPr id="157" name="Gruppieren 102">
                <a:extLst>
                  <a:ext uri="{FF2B5EF4-FFF2-40B4-BE49-F238E27FC236}">
                    <a16:creationId xmlns:a16="http://schemas.microsoft.com/office/drawing/2014/main" xmlns="" id="{A3C3FB3B-06FA-45B0-A878-796A2475E0AA}"/>
                  </a:ext>
                </a:extLst>
              </p:cNvPr>
              <p:cNvGrpSpPr/>
              <p:nvPr/>
            </p:nvGrpSpPr>
            <p:grpSpPr>
              <a:xfrm flipH="1">
                <a:off x="6485672" y="2128812"/>
                <a:ext cx="285817" cy="279743"/>
                <a:chOff x="1686921" y="3424875"/>
                <a:chExt cx="214491" cy="209933"/>
              </a:xfrm>
              <a:grpFill/>
            </p:grpSpPr>
            <p:sp>
              <p:nvSpPr>
                <p:cNvPr id="162" name="Freihandform: Form 465">
                  <a:extLst>
                    <a:ext uri="{FF2B5EF4-FFF2-40B4-BE49-F238E27FC236}">
                      <a16:creationId xmlns:a16="http://schemas.microsoft.com/office/drawing/2014/main" xmlns="" id="{DA5C9BF3-9F86-48D5-A41F-A9CD09E9F34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686921" y="3490382"/>
                  <a:ext cx="84940" cy="141714"/>
                </a:xfrm>
                <a:custGeom>
                  <a:avLst/>
                  <a:gdLst>
                    <a:gd name="connsiteX0" fmla="*/ 0 w 271462"/>
                    <a:gd name="connsiteY0" fmla="*/ 469106 h 473868"/>
                    <a:gd name="connsiteX1" fmla="*/ 0 w 271462"/>
                    <a:gd name="connsiteY1" fmla="*/ 0 h 473868"/>
                    <a:gd name="connsiteX2" fmla="*/ 271462 w 271462"/>
                    <a:gd name="connsiteY2" fmla="*/ 0 h 473868"/>
                    <a:gd name="connsiteX3" fmla="*/ 271462 w 271462"/>
                    <a:gd name="connsiteY3" fmla="*/ 473868 h 4738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1462" h="473868">
                      <a:moveTo>
                        <a:pt x="0" y="469106"/>
                      </a:moveTo>
                      <a:lnTo>
                        <a:pt x="0" y="0"/>
                      </a:lnTo>
                      <a:lnTo>
                        <a:pt x="271462" y="0"/>
                      </a:lnTo>
                      <a:lnTo>
                        <a:pt x="271462" y="473868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63" name="Freihandform: Form 465">
                  <a:extLst>
                    <a:ext uri="{FF2B5EF4-FFF2-40B4-BE49-F238E27FC236}">
                      <a16:creationId xmlns:a16="http://schemas.microsoft.com/office/drawing/2014/main" xmlns="" id="{B57FD192-1287-4166-B6C7-C41D7204ED4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781149" y="3424875"/>
                  <a:ext cx="120263" cy="209933"/>
                </a:xfrm>
                <a:custGeom>
                  <a:avLst/>
                  <a:gdLst>
                    <a:gd name="connsiteX0" fmla="*/ 0 w 271462"/>
                    <a:gd name="connsiteY0" fmla="*/ 469106 h 473868"/>
                    <a:gd name="connsiteX1" fmla="*/ 0 w 271462"/>
                    <a:gd name="connsiteY1" fmla="*/ 0 h 473868"/>
                    <a:gd name="connsiteX2" fmla="*/ 271462 w 271462"/>
                    <a:gd name="connsiteY2" fmla="*/ 0 h 473868"/>
                    <a:gd name="connsiteX3" fmla="*/ 271462 w 271462"/>
                    <a:gd name="connsiteY3" fmla="*/ 473868 h 4738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1462" h="473868">
                      <a:moveTo>
                        <a:pt x="0" y="469106"/>
                      </a:moveTo>
                      <a:lnTo>
                        <a:pt x="0" y="0"/>
                      </a:lnTo>
                      <a:lnTo>
                        <a:pt x="271462" y="0"/>
                      </a:lnTo>
                      <a:lnTo>
                        <a:pt x="271462" y="473868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64" name="Freihandform: Form 477">
                  <a:extLst>
                    <a:ext uri="{FF2B5EF4-FFF2-40B4-BE49-F238E27FC236}">
                      <a16:creationId xmlns:a16="http://schemas.microsoft.com/office/drawing/2014/main" xmlns="" id="{15A30D10-FFE5-4370-ABCE-7D3EBF55CF0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738366" y="3579593"/>
                  <a:ext cx="15949" cy="24964"/>
                </a:xfrm>
                <a:custGeom>
                  <a:avLst/>
                  <a:gdLst>
                    <a:gd name="connsiteX0" fmla="*/ 0 w 54768"/>
                    <a:gd name="connsiteY0" fmla="*/ 85725 h 85725"/>
                    <a:gd name="connsiteX1" fmla="*/ 0 w 54768"/>
                    <a:gd name="connsiteY1" fmla="*/ 0 h 85725"/>
                    <a:gd name="connsiteX2" fmla="*/ 54768 w 54768"/>
                    <a:gd name="connsiteY2" fmla="*/ 0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68" h="85725">
                      <a:moveTo>
                        <a:pt x="0" y="85725"/>
                      </a:moveTo>
                      <a:lnTo>
                        <a:pt x="0" y="0"/>
                      </a:lnTo>
                      <a:lnTo>
                        <a:pt x="54768" y="0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65" name="Freihandform: Form 478">
                  <a:extLst>
                    <a:ext uri="{FF2B5EF4-FFF2-40B4-BE49-F238E27FC236}">
                      <a16:creationId xmlns:a16="http://schemas.microsoft.com/office/drawing/2014/main" xmlns="" id="{C1005EE2-ECBA-4BE4-BFE3-CCE2B830E9F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705204" y="3508770"/>
                  <a:ext cx="15949" cy="24964"/>
                </a:xfrm>
                <a:custGeom>
                  <a:avLst/>
                  <a:gdLst>
                    <a:gd name="connsiteX0" fmla="*/ 0 w 54768"/>
                    <a:gd name="connsiteY0" fmla="*/ 85725 h 85725"/>
                    <a:gd name="connsiteX1" fmla="*/ 0 w 54768"/>
                    <a:gd name="connsiteY1" fmla="*/ 0 h 85725"/>
                    <a:gd name="connsiteX2" fmla="*/ 54768 w 54768"/>
                    <a:gd name="connsiteY2" fmla="*/ 0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68" h="85725">
                      <a:moveTo>
                        <a:pt x="0" y="85725"/>
                      </a:moveTo>
                      <a:lnTo>
                        <a:pt x="0" y="0"/>
                      </a:lnTo>
                      <a:lnTo>
                        <a:pt x="54768" y="0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66" name="Freihandform: Form 479">
                  <a:extLst>
                    <a:ext uri="{FF2B5EF4-FFF2-40B4-BE49-F238E27FC236}">
                      <a16:creationId xmlns:a16="http://schemas.microsoft.com/office/drawing/2014/main" xmlns="" id="{AF72DB5B-664D-48A1-BE47-B65F267A3DC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860492" y="3446439"/>
                  <a:ext cx="15949" cy="24964"/>
                </a:xfrm>
                <a:custGeom>
                  <a:avLst/>
                  <a:gdLst>
                    <a:gd name="connsiteX0" fmla="*/ 0 w 54768"/>
                    <a:gd name="connsiteY0" fmla="*/ 85725 h 85725"/>
                    <a:gd name="connsiteX1" fmla="*/ 0 w 54768"/>
                    <a:gd name="connsiteY1" fmla="*/ 0 h 85725"/>
                    <a:gd name="connsiteX2" fmla="*/ 54768 w 54768"/>
                    <a:gd name="connsiteY2" fmla="*/ 0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68" h="85725">
                      <a:moveTo>
                        <a:pt x="0" y="85725"/>
                      </a:moveTo>
                      <a:lnTo>
                        <a:pt x="0" y="0"/>
                      </a:lnTo>
                      <a:lnTo>
                        <a:pt x="54768" y="0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67" name="Freihandform: Form 480">
                  <a:extLst>
                    <a:ext uri="{FF2B5EF4-FFF2-40B4-BE49-F238E27FC236}">
                      <a16:creationId xmlns:a16="http://schemas.microsoft.com/office/drawing/2014/main" xmlns="" id="{F05DB390-F095-4381-B178-566209FD913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860492" y="3481254"/>
                  <a:ext cx="15949" cy="24964"/>
                </a:xfrm>
                <a:custGeom>
                  <a:avLst/>
                  <a:gdLst>
                    <a:gd name="connsiteX0" fmla="*/ 0 w 54768"/>
                    <a:gd name="connsiteY0" fmla="*/ 85725 h 85725"/>
                    <a:gd name="connsiteX1" fmla="*/ 0 w 54768"/>
                    <a:gd name="connsiteY1" fmla="*/ 0 h 85725"/>
                    <a:gd name="connsiteX2" fmla="*/ 54768 w 54768"/>
                    <a:gd name="connsiteY2" fmla="*/ 0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68" h="85725">
                      <a:moveTo>
                        <a:pt x="0" y="85725"/>
                      </a:moveTo>
                      <a:lnTo>
                        <a:pt x="0" y="0"/>
                      </a:lnTo>
                      <a:lnTo>
                        <a:pt x="54768" y="0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68" name="Freihandform: Form 481">
                  <a:extLst>
                    <a:ext uri="{FF2B5EF4-FFF2-40B4-BE49-F238E27FC236}">
                      <a16:creationId xmlns:a16="http://schemas.microsoft.com/office/drawing/2014/main" xmlns="" id="{93D607BD-E132-4D26-9590-5C6C54F9771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804868" y="3481254"/>
                  <a:ext cx="15949" cy="24964"/>
                </a:xfrm>
                <a:custGeom>
                  <a:avLst/>
                  <a:gdLst>
                    <a:gd name="connsiteX0" fmla="*/ 0 w 54768"/>
                    <a:gd name="connsiteY0" fmla="*/ 85725 h 85725"/>
                    <a:gd name="connsiteX1" fmla="*/ 0 w 54768"/>
                    <a:gd name="connsiteY1" fmla="*/ 0 h 85725"/>
                    <a:gd name="connsiteX2" fmla="*/ 54768 w 54768"/>
                    <a:gd name="connsiteY2" fmla="*/ 0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68" h="85725">
                      <a:moveTo>
                        <a:pt x="0" y="85725"/>
                      </a:moveTo>
                      <a:lnTo>
                        <a:pt x="0" y="0"/>
                      </a:lnTo>
                      <a:lnTo>
                        <a:pt x="54768" y="0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69" name="Freihandform: Form 482">
                  <a:extLst>
                    <a:ext uri="{FF2B5EF4-FFF2-40B4-BE49-F238E27FC236}">
                      <a16:creationId xmlns:a16="http://schemas.microsoft.com/office/drawing/2014/main" xmlns="" id="{C0BFEFD9-7D16-4AA2-99BF-D2714D2018D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834627" y="3517359"/>
                  <a:ext cx="15949" cy="24964"/>
                </a:xfrm>
                <a:custGeom>
                  <a:avLst/>
                  <a:gdLst>
                    <a:gd name="connsiteX0" fmla="*/ 0 w 54768"/>
                    <a:gd name="connsiteY0" fmla="*/ 85725 h 85725"/>
                    <a:gd name="connsiteX1" fmla="*/ 0 w 54768"/>
                    <a:gd name="connsiteY1" fmla="*/ 0 h 85725"/>
                    <a:gd name="connsiteX2" fmla="*/ 54768 w 54768"/>
                    <a:gd name="connsiteY2" fmla="*/ 0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68" h="85725">
                      <a:moveTo>
                        <a:pt x="0" y="85725"/>
                      </a:moveTo>
                      <a:lnTo>
                        <a:pt x="0" y="0"/>
                      </a:lnTo>
                      <a:lnTo>
                        <a:pt x="54768" y="0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70" name="Freihandform: Form 483">
                  <a:extLst>
                    <a:ext uri="{FF2B5EF4-FFF2-40B4-BE49-F238E27FC236}">
                      <a16:creationId xmlns:a16="http://schemas.microsoft.com/office/drawing/2014/main" xmlns="" id="{6DE13AC7-3B46-47DD-9EE3-CBEE0F577DC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804868" y="3580753"/>
                  <a:ext cx="15949" cy="24964"/>
                </a:xfrm>
                <a:custGeom>
                  <a:avLst/>
                  <a:gdLst>
                    <a:gd name="connsiteX0" fmla="*/ 0 w 54768"/>
                    <a:gd name="connsiteY0" fmla="*/ 85725 h 85725"/>
                    <a:gd name="connsiteX1" fmla="*/ 0 w 54768"/>
                    <a:gd name="connsiteY1" fmla="*/ 0 h 85725"/>
                    <a:gd name="connsiteX2" fmla="*/ 54768 w 54768"/>
                    <a:gd name="connsiteY2" fmla="*/ 0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68" h="85725">
                      <a:moveTo>
                        <a:pt x="0" y="85725"/>
                      </a:moveTo>
                      <a:lnTo>
                        <a:pt x="0" y="0"/>
                      </a:lnTo>
                      <a:lnTo>
                        <a:pt x="54768" y="0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</p:grpSp>
          <p:grpSp>
            <p:nvGrpSpPr>
              <p:cNvPr id="158" name="Gruppieren 99">
                <a:extLst>
                  <a:ext uri="{FF2B5EF4-FFF2-40B4-BE49-F238E27FC236}">
                    <a16:creationId xmlns:a16="http://schemas.microsoft.com/office/drawing/2014/main" xmlns="" id="{2EAF4672-FC29-46D8-B4E0-6EF82D95E622}"/>
                  </a:ext>
                </a:extLst>
              </p:cNvPr>
              <p:cNvGrpSpPr/>
              <p:nvPr/>
            </p:nvGrpSpPr>
            <p:grpSpPr>
              <a:xfrm flipH="1">
                <a:off x="7003899" y="2422851"/>
                <a:ext cx="160670" cy="124030"/>
                <a:chOff x="1227001" y="3736462"/>
                <a:chExt cx="170259" cy="131432"/>
              </a:xfrm>
              <a:grpFill/>
            </p:grpSpPr>
            <p:sp>
              <p:nvSpPr>
                <p:cNvPr id="159" name="Freihandform: Form 468">
                  <a:extLst>
                    <a:ext uri="{FF2B5EF4-FFF2-40B4-BE49-F238E27FC236}">
                      <a16:creationId xmlns:a16="http://schemas.microsoft.com/office/drawing/2014/main" xmlns="" id="{69535046-9971-44E4-A127-A3B6B90033B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227001" y="3736462"/>
                  <a:ext cx="170259" cy="131432"/>
                </a:xfrm>
                <a:custGeom>
                  <a:avLst/>
                  <a:gdLst>
                    <a:gd name="connsiteX0" fmla="*/ 0 w 290512"/>
                    <a:gd name="connsiteY0" fmla="*/ 423862 h 426243"/>
                    <a:gd name="connsiteX1" fmla="*/ 0 w 290512"/>
                    <a:gd name="connsiteY1" fmla="*/ 59531 h 426243"/>
                    <a:gd name="connsiteX2" fmla="*/ 145256 w 290512"/>
                    <a:gd name="connsiteY2" fmla="*/ 0 h 426243"/>
                    <a:gd name="connsiteX3" fmla="*/ 290512 w 290512"/>
                    <a:gd name="connsiteY3" fmla="*/ 61912 h 426243"/>
                    <a:gd name="connsiteX4" fmla="*/ 290512 w 290512"/>
                    <a:gd name="connsiteY4" fmla="*/ 426243 h 426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0512" h="426243">
                      <a:moveTo>
                        <a:pt x="0" y="423862"/>
                      </a:moveTo>
                      <a:lnTo>
                        <a:pt x="0" y="59531"/>
                      </a:lnTo>
                      <a:lnTo>
                        <a:pt x="145256" y="0"/>
                      </a:lnTo>
                      <a:lnTo>
                        <a:pt x="290512" y="61912"/>
                      </a:lnTo>
                      <a:lnTo>
                        <a:pt x="290512" y="426243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60" name="Freihandform: Form 476">
                  <a:extLst>
                    <a:ext uri="{FF2B5EF4-FFF2-40B4-BE49-F238E27FC236}">
                      <a16:creationId xmlns:a16="http://schemas.microsoft.com/office/drawing/2014/main" xmlns="" id="{0290CE46-1595-459C-86DE-691030B8375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334465" y="3793269"/>
                  <a:ext cx="33699" cy="52748"/>
                </a:xfrm>
                <a:custGeom>
                  <a:avLst/>
                  <a:gdLst>
                    <a:gd name="connsiteX0" fmla="*/ 0 w 54768"/>
                    <a:gd name="connsiteY0" fmla="*/ 85725 h 85725"/>
                    <a:gd name="connsiteX1" fmla="*/ 0 w 54768"/>
                    <a:gd name="connsiteY1" fmla="*/ 0 h 85725"/>
                    <a:gd name="connsiteX2" fmla="*/ 54768 w 54768"/>
                    <a:gd name="connsiteY2" fmla="*/ 0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68" h="85725">
                      <a:moveTo>
                        <a:pt x="0" y="85725"/>
                      </a:moveTo>
                      <a:lnTo>
                        <a:pt x="0" y="0"/>
                      </a:lnTo>
                      <a:lnTo>
                        <a:pt x="54768" y="0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161" name="Freihandform: Form 284">
                  <a:extLst>
                    <a:ext uri="{FF2B5EF4-FFF2-40B4-BE49-F238E27FC236}">
                      <a16:creationId xmlns:a16="http://schemas.microsoft.com/office/drawing/2014/main" xmlns="" id="{7472D793-2B81-4F67-8129-2245B210C36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1262554" y="3793269"/>
                  <a:ext cx="33699" cy="52748"/>
                </a:xfrm>
                <a:custGeom>
                  <a:avLst/>
                  <a:gdLst>
                    <a:gd name="connsiteX0" fmla="*/ 0 w 54768"/>
                    <a:gd name="connsiteY0" fmla="*/ 85725 h 85725"/>
                    <a:gd name="connsiteX1" fmla="*/ 0 w 54768"/>
                    <a:gd name="connsiteY1" fmla="*/ 0 h 85725"/>
                    <a:gd name="connsiteX2" fmla="*/ 54768 w 54768"/>
                    <a:gd name="connsiteY2" fmla="*/ 0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68" h="85725">
                      <a:moveTo>
                        <a:pt x="0" y="85725"/>
                      </a:moveTo>
                      <a:lnTo>
                        <a:pt x="0" y="0"/>
                      </a:lnTo>
                      <a:lnTo>
                        <a:pt x="54768" y="0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</p:grpSp>
        </p:grpSp>
        <p:grpSp>
          <p:nvGrpSpPr>
            <p:cNvPr id="181" name="Gruppieren 17">
              <a:extLst>
                <a:ext uri="{FF2B5EF4-FFF2-40B4-BE49-F238E27FC236}">
                  <a16:creationId xmlns:a16="http://schemas.microsoft.com/office/drawing/2014/main" xmlns="" id="{21F3690D-F294-4B07-910E-8749E70CDB66}"/>
                </a:ext>
              </a:extLst>
            </p:cNvPr>
            <p:cNvGrpSpPr/>
            <p:nvPr/>
          </p:nvGrpSpPr>
          <p:grpSpPr>
            <a:xfrm flipH="1">
              <a:off x="7752803" y="2111786"/>
              <a:ext cx="376967" cy="213619"/>
              <a:chOff x="480550" y="3368087"/>
              <a:chExt cx="399465" cy="224971"/>
            </a:xfrm>
            <a:noFill/>
          </p:grpSpPr>
          <p:sp>
            <p:nvSpPr>
              <p:cNvPr id="182" name="Freihandform: Form 508">
                <a:extLst>
                  <a:ext uri="{FF2B5EF4-FFF2-40B4-BE49-F238E27FC236}">
                    <a16:creationId xmlns:a16="http://schemas.microsoft.com/office/drawing/2014/main" xmlns="" id="{79833F4B-4302-4B19-9C6E-1C24743B7761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731744" y="3368087"/>
                <a:ext cx="148271" cy="217545"/>
              </a:xfrm>
              <a:custGeom>
                <a:avLst/>
                <a:gdLst>
                  <a:gd name="connsiteX0" fmla="*/ 0 w 290512"/>
                  <a:gd name="connsiteY0" fmla="*/ 423862 h 426243"/>
                  <a:gd name="connsiteX1" fmla="*/ 0 w 290512"/>
                  <a:gd name="connsiteY1" fmla="*/ 59531 h 426243"/>
                  <a:gd name="connsiteX2" fmla="*/ 145256 w 290512"/>
                  <a:gd name="connsiteY2" fmla="*/ 0 h 426243"/>
                  <a:gd name="connsiteX3" fmla="*/ 290512 w 290512"/>
                  <a:gd name="connsiteY3" fmla="*/ 61912 h 426243"/>
                  <a:gd name="connsiteX4" fmla="*/ 290512 w 290512"/>
                  <a:gd name="connsiteY4" fmla="*/ 426243 h 426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512" h="426243">
                    <a:moveTo>
                      <a:pt x="0" y="423862"/>
                    </a:moveTo>
                    <a:lnTo>
                      <a:pt x="0" y="59531"/>
                    </a:lnTo>
                    <a:lnTo>
                      <a:pt x="145256" y="0"/>
                    </a:lnTo>
                    <a:lnTo>
                      <a:pt x="290512" y="61912"/>
                    </a:lnTo>
                    <a:lnTo>
                      <a:pt x="290512" y="426243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83" name="Freihandform: Form 509">
                <a:extLst>
                  <a:ext uri="{FF2B5EF4-FFF2-40B4-BE49-F238E27FC236}">
                    <a16:creationId xmlns:a16="http://schemas.microsoft.com/office/drawing/2014/main" xmlns="" id="{02AB03B2-5205-4CBA-8E2D-7E17225A1E6A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480550" y="3477498"/>
                <a:ext cx="195756" cy="115560"/>
              </a:xfrm>
              <a:custGeom>
                <a:avLst/>
                <a:gdLst>
                  <a:gd name="connsiteX0" fmla="*/ 0 w 290512"/>
                  <a:gd name="connsiteY0" fmla="*/ 423862 h 426243"/>
                  <a:gd name="connsiteX1" fmla="*/ 0 w 290512"/>
                  <a:gd name="connsiteY1" fmla="*/ 59531 h 426243"/>
                  <a:gd name="connsiteX2" fmla="*/ 145256 w 290512"/>
                  <a:gd name="connsiteY2" fmla="*/ 0 h 426243"/>
                  <a:gd name="connsiteX3" fmla="*/ 290512 w 290512"/>
                  <a:gd name="connsiteY3" fmla="*/ 61912 h 426243"/>
                  <a:gd name="connsiteX4" fmla="*/ 290512 w 290512"/>
                  <a:gd name="connsiteY4" fmla="*/ 426243 h 426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512" h="426243">
                    <a:moveTo>
                      <a:pt x="0" y="423862"/>
                    </a:moveTo>
                    <a:lnTo>
                      <a:pt x="0" y="59531"/>
                    </a:lnTo>
                    <a:lnTo>
                      <a:pt x="145256" y="0"/>
                    </a:lnTo>
                    <a:lnTo>
                      <a:pt x="290512" y="61912"/>
                    </a:lnTo>
                    <a:lnTo>
                      <a:pt x="290512" y="426243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84" name="Freihandform: Form 514">
                <a:extLst>
                  <a:ext uri="{FF2B5EF4-FFF2-40B4-BE49-F238E27FC236}">
                    <a16:creationId xmlns:a16="http://schemas.microsoft.com/office/drawing/2014/main" xmlns="" id="{63EB8D5D-EE4B-416B-8FB3-EF17B1555236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826961" y="3417802"/>
                <a:ext cx="29629" cy="46378"/>
              </a:xfrm>
              <a:custGeom>
                <a:avLst/>
                <a:gdLst>
                  <a:gd name="connsiteX0" fmla="*/ 0 w 54768"/>
                  <a:gd name="connsiteY0" fmla="*/ 85725 h 85725"/>
                  <a:gd name="connsiteX1" fmla="*/ 0 w 54768"/>
                  <a:gd name="connsiteY1" fmla="*/ 0 h 85725"/>
                  <a:gd name="connsiteX2" fmla="*/ 54768 w 54768"/>
                  <a:gd name="connsiteY2" fmla="*/ 0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768" h="85725">
                    <a:moveTo>
                      <a:pt x="0" y="85725"/>
                    </a:moveTo>
                    <a:lnTo>
                      <a:pt x="0" y="0"/>
                    </a:lnTo>
                    <a:lnTo>
                      <a:pt x="54768" y="0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85" name="Freihandform: Form 515">
                <a:extLst>
                  <a:ext uri="{FF2B5EF4-FFF2-40B4-BE49-F238E27FC236}">
                    <a16:creationId xmlns:a16="http://schemas.microsoft.com/office/drawing/2014/main" xmlns="" id="{F22FAA06-D4E4-4AEA-AC9C-49A3A51908BE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753921" y="3417802"/>
                <a:ext cx="29629" cy="46378"/>
              </a:xfrm>
              <a:custGeom>
                <a:avLst/>
                <a:gdLst>
                  <a:gd name="connsiteX0" fmla="*/ 0 w 54768"/>
                  <a:gd name="connsiteY0" fmla="*/ 85725 h 85725"/>
                  <a:gd name="connsiteX1" fmla="*/ 0 w 54768"/>
                  <a:gd name="connsiteY1" fmla="*/ 0 h 85725"/>
                  <a:gd name="connsiteX2" fmla="*/ 54768 w 54768"/>
                  <a:gd name="connsiteY2" fmla="*/ 0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768" h="85725">
                    <a:moveTo>
                      <a:pt x="0" y="85725"/>
                    </a:moveTo>
                    <a:lnTo>
                      <a:pt x="0" y="0"/>
                    </a:lnTo>
                    <a:lnTo>
                      <a:pt x="54768" y="0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86" name="Freihandform: Form 516">
                <a:extLst>
                  <a:ext uri="{FF2B5EF4-FFF2-40B4-BE49-F238E27FC236}">
                    <a16:creationId xmlns:a16="http://schemas.microsoft.com/office/drawing/2014/main" xmlns="" id="{DBD16FC1-248E-450C-9F98-71F00A84A65F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753921" y="3508915"/>
                <a:ext cx="29629" cy="46378"/>
              </a:xfrm>
              <a:custGeom>
                <a:avLst/>
                <a:gdLst>
                  <a:gd name="connsiteX0" fmla="*/ 0 w 54768"/>
                  <a:gd name="connsiteY0" fmla="*/ 85725 h 85725"/>
                  <a:gd name="connsiteX1" fmla="*/ 0 w 54768"/>
                  <a:gd name="connsiteY1" fmla="*/ 0 h 85725"/>
                  <a:gd name="connsiteX2" fmla="*/ 54768 w 54768"/>
                  <a:gd name="connsiteY2" fmla="*/ 0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768" h="85725">
                    <a:moveTo>
                      <a:pt x="0" y="85725"/>
                    </a:moveTo>
                    <a:lnTo>
                      <a:pt x="0" y="0"/>
                    </a:lnTo>
                    <a:lnTo>
                      <a:pt x="54768" y="0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87" name="Freihandform: Form 517">
                <a:extLst>
                  <a:ext uri="{FF2B5EF4-FFF2-40B4-BE49-F238E27FC236}">
                    <a16:creationId xmlns:a16="http://schemas.microsoft.com/office/drawing/2014/main" xmlns="" id="{C34CBB60-9CC7-4473-A8A0-1DEFFE55EA6B}"/>
                  </a:ext>
                </a:extLst>
              </p:cNvPr>
              <p:cNvSpPr>
                <a:spLocks noChangeAspect="1"/>
              </p:cNvSpPr>
              <p:nvPr/>
            </p:nvSpPr>
            <p:spPr>
              <a:xfrm flipH="1">
                <a:off x="601325" y="3527445"/>
                <a:ext cx="29629" cy="46378"/>
              </a:xfrm>
              <a:custGeom>
                <a:avLst/>
                <a:gdLst>
                  <a:gd name="connsiteX0" fmla="*/ 0 w 54768"/>
                  <a:gd name="connsiteY0" fmla="*/ 85725 h 85725"/>
                  <a:gd name="connsiteX1" fmla="*/ 0 w 54768"/>
                  <a:gd name="connsiteY1" fmla="*/ 0 h 85725"/>
                  <a:gd name="connsiteX2" fmla="*/ 54768 w 54768"/>
                  <a:gd name="connsiteY2" fmla="*/ 0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768" h="85725">
                    <a:moveTo>
                      <a:pt x="0" y="85725"/>
                    </a:moveTo>
                    <a:lnTo>
                      <a:pt x="0" y="0"/>
                    </a:lnTo>
                    <a:lnTo>
                      <a:pt x="54768" y="0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</p:grpSp>
        <p:grpSp>
          <p:nvGrpSpPr>
            <p:cNvPr id="188" name="Gruppieren 584">
              <a:extLst>
                <a:ext uri="{FF2B5EF4-FFF2-40B4-BE49-F238E27FC236}">
                  <a16:creationId xmlns:a16="http://schemas.microsoft.com/office/drawing/2014/main" xmlns="" id="{2CD64BB7-99B7-41B6-849A-2FE4CF7EFC1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778517" y="2198646"/>
              <a:ext cx="1234542" cy="125515"/>
              <a:chOff x="2444750" y="2740025"/>
              <a:chExt cx="3886682" cy="392717"/>
            </a:xfrm>
            <a:noFill/>
          </p:grpSpPr>
          <p:sp>
            <p:nvSpPr>
              <p:cNvPr id="189" name="Freihandform: Form 585">
                <a:extLst>
                  <a:ext uri="{FF2B5EF4-FFF2-40B4-BE49-F238E27FC236}">
                    <a16:creationId xmlns:a16="http://schemas.microsoft.com/office/drawing/2014/main" xmlns="" id="{757D7A36-480B-41D8-922E-5FD24933F82F}"/>
                  </a:ext>
                </a:extLst>
              </p:cNvPr>
              <p:cNvSpPr/>
              <p:nvPr/>
            </p:nvSpPr>
            <p:spPr>
              <a:xfrm>
                <a:off x="5598255" y="2742168"/>
                <a:ext cx="376737" cy="90399"/>
              </a:xfrm>
              <a:custGeom>
                <a:avLst/>
                <a:gdLst>
                  <a:gd name="connsiteX0" fmla="*/ 0 w 376737"/>
                  <a:gd name="connsiteY0" fmla="*/ 0 h 90399"/>
                  <a:gd name="connsiteX1" fmla="*/ 87929 w 376737"/>
                  <a:gd name="connsiteY1" fmla="*/ 239 h 90399"/>
                  <a:gd name="connsiteX2" fmla="*/ 369907 w 376737"/>
                  <a:gd name="connsiteY2" fmla="*/ 86337 h 90399"/>
                  <a:gd name="connsiteX3" fmla="*/ 376737 w 376737"/>
                  <a:gd name="connsiteY3" fmla="*/ 90399 h 90399"/>
                  <a:gd name="connsiteX4" fmla="*/ 70479 w 376737"/>
                  <a:gd name="connsiteY4" fmla="*/ 90399 h 90399"/>
                  <a:gd name="connsiteX5" fmla="*/ 0 w 376737"/>
                  <a:gd name="connsiteY5" fmla="*/ 19920 h 90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6737" h="90399">
                    <a:moveTo>
                      <a:pt x="0" y="0"/>
                    </a:moveTo>
                    <a:lnTo>
                      <a:pt x="87929" y="239"/>
                    </a:lnTo>
                    <a:cubicBezTo>
                      <a:pt x="165807" y="140"/>
                      <a:pt x="276500" y="37881"/>
                      <a:pt x="369907" y="86337"/>
                    </a:cubicBezTo>
                    <a:lnTo>
                      <a:pt x="376737" y="90399"/>
                    </a:lnTo>
                    <a:lnTo>
                      <a:pt x="70479" y="90399"/>
                    </a:lnTo>
                    <a:cubicBezTo>
                      <a:pt x="31555" y="90399"/>
                      <a:pt x="0" y="58844"/>
                      <a:pt x="0" y="19920"/>
                    </a:cubicBezTo>
                    <a:close/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90" name="Freihandform: Form 586">
                <a:extLst>
                  <a:ext uri="{FF2B5EF4-FFF2-40B4-BE49-F238E27FC236}">
                    <a16:creationId xmlns:a16="http://schemas.microsoft.com/office/drawing/2014/main" xmlns="" id="{D879D59A-F749-453C-977F-862F1F39DF0D}"/>
                  </a:ext>
                </a:extLst>
              </p:cNvPr>
              <p:cNvSpPr/>
              <p:nvPr/>
            </p:nvSpPr>
            <p:spPr>
              <a:xfrm>
                <a:off x="2444750" y="2740025"/>
                <a:ext cx="2327275" cy="292100"/>
              </a:xfrm>
              <a:custGeom>
                <a:avLst/>
                <a:gdLst>
                  <a:gd name="connsiteX0" fmla="*/ 3175 w 2327275"/>
                  <a:gd name="connsiteY0" fmla="*/ 0 h 292100"/>
                  <a:gd name="connsiteX1" fmla="*/ 2327275 w 2327275"/>
                  <a:gd name="connsiteY1" fmla="*/ 0 h 292100"/>
                  <a:gd name="connsiteX2" fmla="*/ 2327275 w 2327275"/>
                  <a:gd name="connsiteY2" fmla="*/ 292100 h 292100"/>
                  <a:gd name="connsiteX3" fmla="*/ 0 w 2327275"/>
                  <a:gd name="connsiteY3" fmla="*/ 292100 h 29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27275" h="292100">
                    <a:moveTo>
                      <a:pt x="3175" y="0"/>
                    </a:moveTo>
                    <a:lnTo>
                      <a:pt x="2327275" y="0"/>
                    </a:lnTo>
                    <a:lnTo>
                      <a:pt x="2327275" y="292100"/>
                    </a:lnTo>
                    <a:lnTo>
                      <a:pt x="0" y="292100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91" name="Freihandform: Form 587">
                <a:extLst>
                  <a:ext uri="{FF2B5EF4-FFF2-40B4-BE49-F238E27FC236}">
                    <a16:creationId xmlns:a16="http://schemas.microsoft.com/office/drawing/2014/main" xmlns="" id="{719F440E-FFC2-4974-B3C1-31FFC8FF1023}"/>
                  </a:ext>
                </a:extLst>
              </p:cNvPr>
              <p:cNvSpPr/>
              <p:nvPr/>
            </p:nvSpPr>
            <p:spPr>
              <a:xfrm>
                <a:off x="2638425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92" name="Freihandform: Form 588">
                <a:extLst>
                  <a:ext uri="{FF2B5EF4-FFF2-40B4-BE49-F238E27FC236}">
                    <a16:creationId xmlns:a16="http://schemas.microsoft.com/office/drawing/2014/main" xmlns="" id="{79E8A7BE-D044-4FB4-881A-7BC9B65F32CE}"/>
                  </a:ext>
                </a:extLst>
              </p:cNvPr>
              <p:cNvSpPr/>
              <p:nvPr/>
            </p:nvSpPr>
            <p:spPr>
              <a:xfrm>
                <a:off x="2884650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93" name="Freihandform: Form 589">
                <a:extLst>
                  <a:ext uri="{FF2B5EF4-FFF2-40B4-BE49-F238E27FC236}">
                    <a16:creationId xmlns:a16="http://schemas.microsoft.com/office/drawing/2014/main" xmlns="" id="{F92BDCBC-D890-4ADA-8AB3-3AD54F1DE030}"/>
                  </a:ext>
                </a:extLst>
              </p:cNvPr>
              <p:cNvSpPr/>
              <p:nvPr/>
            </p:nvSpPr>
            <p:spPr>
              <a:xfrm>
                <a:off x="3120748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94" name="Freihandform: Form 590">
                <a:extLst>
                  <a:ext uri="{FF2B5EF4-FFF2-40B4-BE49-F238E27FC236}">
                    <a16:creationId xmlns:a16="http://schemas.microsoft.com/office/drawing/2014/main" xmlns="" id="{95D0E97C-D830-4F4A-9104-F19F19DB277C}"/>
                  </a:ext>
                </a:extLst>
              </p:cNvPr>
              <p:cNvSpPr/>
              <p:nvPr/>
            </p:nvSpPr>
            <p:spPr>
              <a:xfrm>
                <a:off x="3366973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95" name="Freihandform: Form 591">
                <a:extLst>
                  <a:ext uri="{FF2B5EF4-FFF2-40B4-BE49-F238E27FC236}">
                    <a16:creationId xmlns:a16="http://schemas.microsoft.com/office/drawing/2014/main" xmlns="" id="{FFD5067B-A714-4023-B9A7-80852D5F94CE}"/>
                  </a:ext>
                </a:extLst>
              </p:cNvPr>
              <p:cNvSpPr/>
              <p:nvPr/>
            </p:nvSpPr>
            <p:spPr>
              <a:xfrm>
                <a:off x="3602163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96" name="Freihandform: Form 592">
                <a:extLst>
                  <a:ext uri="{FF2B5EF4-FFF2-40B4-BE49-F238E27FC236}">
                    <a16:creationId xmlns:a16="http://schemas.microsoft.com/office/drawing/2014/main" xmlns="" id="{03827398-E898-43A2-8EF3-D8288D95C0B4}"/>
                  </a:ext>
                </a:extLst>
              </p:cNvPr>
              <p:cNvSpPr/>
              <p:nvPr userDrawn="1"/>
            </p:nvSpPr>
            <p:spPr>
              <a:xfrm>
                <a:off x="3848388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97" name="Freihandform: Form 593">
                <a:extLst>
                  <a:ext uri="{FF2B5EF4-FFF2-40B4-BE49-F238E27FC236}">
                    <a16:creationId xmlns:a16="http://schemas.microsoft.com/office/drawing/2014/main" xmlns="" id="{A26A4DEE-35D0-4537-A260-37A51397A88D}"/>
                  </a:ext>
                </a:extLst>
              </p:cNvPr>
              <p:cNvSpPr/>
              <p:nvPr/>
            </p:nvSpPr>
            <p:spPr>
              <a:xfrm>
                <a:off x="4077256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98" name="Freihandform: Form 594">
                <a:extLst>
                  <a:ext uri="{FF2B5EF4-FFF2-40B4-BE49-F238E27FC236}">
                    <a16:creationId xmlns:a16="http://schemas.microsoft.com/office/drawing/2014/main" xmlns="" id="{935C923A-68C8-48E1-AD54-A3B40CE0B28B}"/>
                  </a:ext>
                </a:extLst>
              </p:cNvPr>
              <p:cNvSpPr/>
              <p:nvPr/>
            </p:nvSpPr>
            <p:spPr>
              <a:xfrm>
                <a:off x="4323481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199" name="Freihandform: Form 595">
                <a:extLst>
                  <a:ext uri="{FF2B5EF4-FFF2-40B4-BE49-F238E27FC236}">
                    <a16:creationId xmlns:a16="http://schemas.microsoft.com/office/drawing/2014/main" xmlns="" id="{FFE3B01F-5C23-4544-BD44-7A0CD0BF87D2}"/>
                  </a:ext>
                </a:extLst>
              </p:cNvPr>
              <p:cNvSpPr/>
              <p:nvPr/>
            </p:nvSpPr>
            <p:spPr>
              <a:xfrm>
                <a:off x="4550877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200" name="Freihandform: Form 596">
                <a:extLst>
                  <a:ext uri="{FF2B5EF4-FFF2-40B4-BE49-F238E27FC236}">
                    <a16:creationId xmlns:a16="http://schemas.microsoft.com/office/drawing/2014/main" xmlns="" id="{DC481F6C-920F-4353-A13E-B101736FF903}"/>
                  </a:ext>
                </a:extLst>
              </p:cNvPr>
              <p:cNvSpPr/>
              <p:nvPr/>
            </p:nvSpPr>
            <p:spPr>
              <a:xfrm>
                <a:off x="4909182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201" name="Freihandform: Form 597">
                <a:extLst>
                  <a:ext uri="{FF2B5EF4-FFF2-40B4-BE49-F238E27FC236}">
                    <a16:creationId xmlns:a16="http://schemas.microsoft.com/office/drawing/2014/main" xmlns="" id="{17F52B22-B68C-475C-A6E4-62A19B8F2F9F}"/>
                  </a:ext>
                </a:extLst>
              </p:cNvPr>
              <p:cNvSpPr/>
              <p:nvPr/>
            </p:nvSpPr>
            <p:spPr>
              <a:xfrm>
                <a:off x="5155407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202" name="Freihandform: Form 598">
                <a:extLst>
                  <a:ext uri="{FF2B5EF4-FFF2-40B4-BE49-F238E27FC236}">
                    <a16:creationId xmlns:a16="http://schemas.microsoft.com/office/drawing/2014/main" xmlns="" id="{0F6C9570-B4B8-4BAE-9985-E7B63F0A5A6C}"/>
                  </a:ext>
                </a:extLst>
              </p:cNvPr>
              <p:cNvSpPr/>
              <p:nvPr/>
            </p:nvSpPr>
            <p:spPr>
              <a:xfrm>
                <a:off x="5382803" y="2740025"/>
                <a:ext cx="92075" cy="104775"/>
              </a:xfrm>
              <a:custGeom>
                <a:avLst/>
                <a:gdLst>
                  <a:gd name="connsiteX0" fmla="*/ 92075 w 92075"/>
                  <a:gd name="connsiteY0" fmla="*/ 0 h 104775"/>
                  <a:gd name="connsiteX1" fmla="*/ 92075 w 92075"/>
                  <a:gd name="connsiteY1" fmla="*/ 104775 h 104775"/>
                  <a:gd name="connsiteX2" fmla="*/ 0 w 92075"/>
                  <a:gd name="connsiteY2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075" h="104775">
                    <a:moveTo>
                      <a:pt x="92075" y="0"/>
                    </a:moveTo>
                    <a:lnTo>
                      <a:pt x="92075" y="104775"/>
                    </a:lnTo>
                    <a:lnTo>
                      <a:pt x="0" y="104775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203" name="Freihandform: Form 599">
                <a:extLst>
                  <a:ext uri="{FF2B5EF4-FFF2-40B4-BE49-F238E27FC236}">
                    <a16:creationId xmlns:a16="http://schemas.microsoft.com/office/drawing/2014/main" xmlns="" id="{18D50386-A165-4A3D-B503-80BEB8709836}"/>
                  </a:ext>
                </a:extLst>
              </p:cNvPr>
              <p:cNvSpPr/>
              <p:nvPr/>
            </p:nvSpPr>
            <p:spPr>
              <a:xfrm flipH="1">
                <a:off x="4811559" y="2740025"/>
                <a:ext cx="1335690" cy="294482"/>
              </a:xfrm>
              <a:custGeom>
                <a:avLst/>
                <a:gdLst>
                  <a:gd name="connsiteX0" fmla="*/ 3175 w 2327275"/>
                  <a:gd name="connsiteY0" fmla="*/ 0 h 292100"/>
                  <a:gd name="connsiteX1" fmla="*/ 2327275 w 2327275"/>
                  <a:gd name="connsiteY1" fmla="*/ 0 h 292100"/>
                  <a:gd name="connsiteX2" fmla="*/ 2327275 w 2327275"/>
                  <a:gd name="connsiteY2" fmla="*/ 292100 h 292100"/>
                  <a:gd name="connsiteX3" fmla="*/ 0 w 2327275"/>
                  <a:gd name="connsiteY3" fmla="*/ 292100 h 292100"/>
                  <a:gd name="connsiteX0" fmla="*/ 3175 w 2327275"/>
                  <a:gd name="connsiteY0" fmla="*/ 0 h 292100"/>
                  <a:gd name="connsiteX1" fmla="*/ 2327275 w 2327275"/>
                  <a:gd name="connsiteY1" fmla="*/ 0 h 292100"/>
                  <a:gd name="connsiteX2" fmla="*/ 2327275 w 2327275"/>
                  <a:gd name="connsiteY2" fmla="*/ 292100 h 292100"/>
                  <a:gd name="connsiteX3" fmla="*/ 0 w 2327275"/>
                  <a:gd name="connsiteY3" fmla="*/ 292100 h 292100"/>
                  <a:gd name="connsiteX4" fmla="*/ 3175 w 2327275"/>
                  <a:gd name="connsiteY4" fmla="*/ 0 h 292100"/>
                  <a:gd name="connsiteX0" fmla="*/ 298508 w 2622608"/>
                  <a:gd name="connsiteY0" fmla="*/ 0 h 294482"/>
                  <a:gd name="connsiteX1" fmla="*/ 2622608 w 2622608"/>
                  <a:gd name="connsiteY1" fmla="*/ 0 h 294482"/>
                  <a:gd name="connsiteX2" fmla="*/ 2622608 w 2622608"/>
                  <a:gd name="connsiteY2" fmla="*/ 292100 h 294482"/>
                  <a:gd name="connsiteX3" fmla="*/ 0 w 2622608"/>
                  <a:gd name="connsiteY3" fmla="*/ 294482 h 294482"/>
                  <a:gd name="connsiteX4" fmla="*/ 298508 w 2622608"/>
                  <a:gd name="connsiteY4" fmla="*/ 0 h 294482"/>
                  <a:gd name="connsiteX0" fmla="*/ 784055 w 2622608"/>
                  <a:gd name="connsiteY0" fmla="*/ 2381 h 294482"/>
                  <a:gd name="connsiteX1" fmla="*/ 2622608 w 2622608"/>
                  <a:gd name="connsiteY1" fmla="*/ 0 h 294482"/>
                  <a:gd name="connsiteX2" fmla="*/ 2622608 w 2622608"/>
                  <a:gd name="connsiteY2" fmla="*/ 292100 h 294482"/>
                  <a:gd name="connsiteX3" fmla="*/ 0 w 2622608"/>
                  <a:gd name="connsiteY3" fmla="*/ 294482 h 294482"/>
                  <a:gd name="connsiteX4" fmla="*/ 784055 w 2622608"/>
                  <a:gd name="connsiteY4" fmla="*/ 2381 h 294482"/>
                  <a:gd name="connsiteX0" fmla="*/ 784055 w 2622608"/>
                  <a:gd name="connsiteY0" fmla="*/ 2381 h 294482"/>
                  <a:gd name="connsiteX1" fmla="*/ 2622608 w 2622608"/>
                  <a:gd name="connsiteY1" fmla="*/ 0 h 294482"/>
                  <a:gd name="connsiteX2" fmla="*/ 2622608 w 2622608"/>
                  <a:gd name="connsiteY2" fmla="*/ 292100 h 294482"/>
                  <a:gd name="connsiteX3" fmla="*/ 0 w 2622608"/>
                  <a:gd name="connsiteY3" fmla="*/ 294482 h 294482"/>
                  <a:gd name="connsiteX4" fmla="*/ 784055 w 2622608"/>
                  <a:gd name="connsiteY4" fmla="*/ 2381 h 294482"/>
                  <a:gd name="connsiteX0" fmla="*/ 971201 w 2809754"/>
                  <a:gd name="connsiteY0" fmla="*/ 2381 h 294482"/>
                  <a:gd name="connsiteX1" fmla="*/ 2809754 w 2809754"/>
                  <a:gd name="connsiteY1" fmla="*/ 0 h 294482"/>
                  <a:gd name="connsiteX2" fmla="*/ 2809754 w 2809754"/>
                  <a:gd name="connsiteY2" fmla="*/ 292100 h 294482"/>
                  <a:gd name="connsiteX3" fmla="*/ 187146 w 2809754"/>
                  <a:gd name="connsiteY3" fmla="*/ 294482 h 294482"/>
                  <a:gd name="connsiteX4" fmla="*/ 971201 w 2809754"/>
                  <a:gd name="connsiteY4" fmla="*/ 2381 h 294482"/>
                  <a:gd name="connsiteX0" fmla="*/ 965143 w 2803696"/>
                  <a:gd name="connsiteY0" fmla="*/ 2381 h 294482"/>
                  <a:gd name="connsiteX1" fmla="*/ 2803696 w 2803696"/>
                  <a:gd name="connsiteY1" fmla="*/ 0 h 294482"/>
                  <a:gd name="connsiteX2" fmla="*/ 2803696 w 2803696"/>
                  <a:gd name="connsiteY2" fmla="*/ 292100 h 294482"/>
                  <a:gd name="connsiteX3" fmla="*/ 181088 w 2803696"/>
                  <a:gd name="connsiteY3" fmla="*/ 294482 h 294482"/>
                  <a:gd name="connsiteX4" fmla="*/ 965143 w 2803696"/>
                  <a:gd name="connsiteY4" fmla="*/ 2381 h 294482"/>
                  <a:gd name="connsiteX0" fmla="*/ 969206 w 2807759"/>
                  <a:gd name="connsiteY0" fmla="*/ 2381 h 294482"/>
                  <a:gd name="connsiteX1" fmla="*/ 2807759 w 2807759"/>
                  <a:gd name="connsiteY1" fmla="*/ 0 h 294482"/>
                  <a:gd name="connsiteX2" fmla="*/ 2807759 w 2807759"/>
                  <a:gd name="connsiteY2" fmla="*/ 292100 h 294482"/>
                  <a:gd name="connsiteX3" fmla="*/ 185151 w 2807759"/>
                  <a:gd name="connsiteY3" fmla="*/ 294482 h 294482"/>
                  <a:gd name="connsiteX4" fmla="*/ 969206 w 2807759"/>
                  <a:gd name="connsiteY4" fmla="*/ 2381 h 294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07759" h="294482">
                    <a:moveTo>
                      <a:pt x="969206" y="2381"/>
                    </a:moveTo>
                    <a:lnTo>
                      <a:pt x="2807759" y="0"/>
                    </a:lnTo>
                    <a:lnTo>
                      <a:pt x="2807759" y="292100"/>
                    </a:lnTo>
                    <a:lnTo>
                      <a:pt x="185151" y="294482"/>
                    </a:lnTo>
                    <a:cubicBezTo>
                      <a:pt x="-394443" y="270934"/>
                      <a:pt x="532656" y="2117"/>
                      <a:pt x="969206" y="2381"/>
                    </a:cubicBezTo>
                    <a:close/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grpSp>
            <p:nvGrpSpPr>
              <p:cNvPr id="204" name="Gruppieren 600">
                <a:extLst>
                  <a:ext uri="{FF2B5EF4-FFF2-40B4-BE49-F238E27FC236}">
                    <a16:creationId xmlns:a16="http://schemas.microsoft.com/office/drawing/2014/main" xmlns="" id="{87B01F8B-44C5-40B2-92AE-484571DC4DA2}"/>
                  </a:ext>
                </a:extLst>
              </p:cNvPr>
              <p:cNvGrpSpPr/>
              <p:nvPr/>
            </p:nvGrpSpPr>
            <p:grpSpPr>
              <a:xfrm>
                <a:off x="2446936" y="3082933"/>
                <a:ext cx="3884496" cy="49809"/>
                <a:chOff x="2294536" y="2930533"/>
                <a:chExt cx="3884496" cy="49809"/>
              </a:xfrm>
              <a:grpFill/>
            </p:grpSpPr>
            <p:cxnSp>
              <p:nvCxnSpPr>
                <p:cNvPr id="205" name="Gerader Verbinder 601">
                  <a:extLst>
                    <a:ext uri="{FF2B5EF4-FFF2-40B4-BE49-F238E27FC236}">
                      <a16:creationId xmlns:a16="http://schemas.microsoft.com/office/drawing/2014/main" xmlns="" id="{FBB439E1-B9F4-433B-8C10-CA4D37460A43}"/>
                    </a:ext>
                  </a:extLst>
                </p:cNvPr>
                <p:cNvCxnSpPr/>
                <p:nvPr/>
              </p:nvCxnSpPr>
              <p:spPr>
                <a:xfrm>
                  <a:off x="2294536" y="2955437"/>
                  <a:ext cx="3884496" cy="0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06" name="Gerader Verbinder 602">
                  <a:extLst>
                    <a:ext uri="{FF2B5EF4-FFF2-40B4-BE49-F238E27FC236}">
                      <a16:creationId xmlns:a16="http://schemas.microsoft.com/office/drawing/2014/main" xmlns="" id="{255BC46A-284E-4A41-8824-FEC632B02F31}"/>
                    </a:ext>
                  </a:extLst>
                </p:cNvPr>
                <p:cNvCxnSpPr/>
                <p:nvPr/>
              </p:nvCxnSpPr>
              <p:spPr>
                <a:xfrm>
                  <a:off x="2410655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07" name="Gerader Verbinder 603">
                  <a:extLst>
                    <a:ext uri="{FF2B5EF4-FFF2-40B4-BE49-F238E27FC236}">
                      <a16:creationId xmlns:a16="http://schemas.microsoft.com/office/drawing/2014/main" xmlns="" id="{6819566B-0C32-47A7-B439-7E5D2DE8E390}"/>
                    </a:ext>
                  </a:extLst>
                </p:cNvPr>
                <p:cNvCxnSpPr/>
                <p:nvPr/>
              </p:nvCxnSpPr>
              <p:spPr>
                <a:xfrm>
                  <a:off x="2639026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08" name="Gerader Verbinder 604">
                  <a:extLst>
                    <a:ext uri="{FF2B5EF4-FFF2-40B4-BE49-F238E27FC236}">
                      <a16:creationId xmlns:a16="http://schemas.microsoft.com/office/drawing/2014/main" xmlns="" id="{7CEA6761-1AEE-4C12-9132-4A4082C16CF5}"/>
                    </a:ext>
                  </a:extLst>
                </p:cNvPr>
                <p:cNvCxnSpPr/>
                <p:nvPr/>
              </p:nvCxnSpPr>
              <p:spPr>
                <a:xfrm>
                  <a:off x="2867397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09" name="Gerader Verbinder 605">
                  <a:extLst>
                    <a:ext uri="{FF2B5EF4-FFF2-40B4-BE49-F238E27FC236}">
                      <a16:creationId xmlns:a16="http://schemas.microsoft.com/office/drawing/2014/main" xmlns="" id="{B98925ED-6A1C-4C5D-A75F-3E50B6385FE7}"/>
                    </a:ext>
                  </a:extLst>
                </p:cNvPr>
                <p:cNvCxnSpPr/>
                <p:nvPr/>
              </p:nvCxnSpPr>
              <p:spPr>
                <a:xfrm>
                  <a:off x="3095768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10" name="Gerader Verbinder 606">
                  <a:extLst>
                    <a:ext uri="{FF2B5EF4-FFF2-40B4-BE49-F238E27FC236}">
                      <a16:creationId xmlns:a16="http://schemas.microsoft.com/office/drawing/2014/main" xmlns="" id="{4F0CACF4-FF60-4B6F-9CE1-D63ABEA42560}"/>
                    </a:ext>
                  </a:extLst>
                </p:cNvPr>
                <p:cNvCxnSpPr/>
                <p:nvPr/>
              </p:nvCxnSpPr>
              <p:spPr>
                <a:xfrm>
                  <a:off x="3324139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11" name="Gerader Verbinder 607">
                  <a:extLst>
                    <a:ext uri="{FF2B5EF4-FFF2-40B4-BE49-F238E27FC236}">
                      <a16:creationId xmlns:a16="http://schemas.microsoft.com/office/drawing/2014/main" xmlns="" id="{BF317DEF-5382-43F0-98AF-76543792C9F1}"/>
                    </a:ext>
                  </a:extLst>
                </p:cNvPr>
                <p:cNvCxnSpPr/>
                <p:nvPr/>
              </p:nvCxnSpPr>
              <p:spPr>
                <a:xfrm>
                  <a:off x="3552510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12" name="Gerader Verbinder 608">
                  <a:extLst>
                    <a:ext uri="{FF2B5EF4-FFF2-40B4-BE49-F238E27FC236}">
                      <a16:creationId xmlns:a16="http://schemas.microsoft.com/office/drawing/2014/main" xmlns="" id="{511C9734-787A-4644-AAC1-91531A386E5F}"/>
                    </a:ext>
                  </a:extLst>
                </p:cNvPr>
                <p:cNvCxnSpPr/>
                <p:nvPr/>
              </p:nvCxnSpPr>
              <p:spPr>
                <a:xfrm>
                  <a:off x="3780881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13" name="Gerader Verbinder 609">
                  <a:extLst>
                    <a:ext uri="{FF2B5EF4-FFF2-40B4-BE49-F238E27FC236}">
                      <a16:creationId xmlns:a16="http://schemas.microsoft.com/office/drawing/2014/main" xmlns="" id="{1184C154-9CAD-4587-A124-BABB94E82A8E}"/>
                    </a:ext>
                  </a:extLst>
                </p:cNvPr>
                <p:cNvCxnSpPr/>
                <p:nvPr/>
              </p:nvCxnSpPr>
              <p:spPr>
                <a:xfrm>
                  <a:off x="4009252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14" name="Gerader Verbinder 610">
                  <a:extLst>
                    <a:ext uri="{FF2B5EF4-FFF2-40B4-BE49-F238E27FC236}">
                      <a16:creationId xmlns:a16="http://schemas.microsoft.com/office/drawing/2014/main" xmlns="" id="{F6702A66-22A8-4A52-8532-441AD50550CE}"/>
                    </a:ext>
                  </a:extLst>
                </p:cNvPr>
                <p:cNvCxnSpPr/>
                <p:nvPr/>
              </p:nvCxnSpPr>
              <p:spPr>
                <a:xfrm>
                  <a:off x="4237623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15" name="Gerader Verbinder 611">
                  <a:extLst>
                    <a:ext uri="{FF2B5EF4-FFF2-40B4-BE49-F238E27FC236}">
                      <a16:creationId xmlns:a16="http://schemas.microsoft.com/office/drawing/2014/main" xmlns="" id="{8D38266F-A71F-4F13-8052-F3817CC43FBC}"/>
                    </a:ext>
                  </a:extLst>
                </p:cNvPr>
                <p:cNvCxnSpPr/>
                <p:nvPr/>
              </p:nvCxnSpPr>
              <p:spPr>
                <a:xfrm>
                  <a:off x="4465994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16" name="Gerader Verbinder 612">
                  <a:extLst>
                    <a:ext uri="{FF2B5EF4-FFF2-40B4-BE49-F238E27FC236}">
                      <a16:creationId xmlns:a16="http://schemas.microsoft.com/office/drawing/2014/main" xmlns="" id="{F6532EEE-C2A0-4771-94A0-9C7E8C5690CE}"/>
                    </a:ext>
                  </a:extLst>
                </p:cNvPr>
                <p:cNvCxnSpPr/>
                <p:nvPr/>
              </p:nvCxnSpPr>
              <p:spPr>
                <a:xfrm>
                  <a:off x="4694365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17" name="Gerader Verbinder 613">
                  <a:extLst>
                    <a:ext uri="{FF2B5EF4-FFF2-40B4-BE49-F238E27FC236}">
                      <a16:creationId xmlns:a16="http://schemas.microsoft.com/office/drawing/2014/main" xmlns="" id="{9DE17C99-B1AA-4AA1-8BBC-B661998FBE9D}"/>
                    </a:ext>
                  </a:extLst>
                </p:cNvPr>
                <p:cNvCxnSpPr/>
                <p:nvPr/>
              </p:nvCxnSpPr>
              <p:spPr>
                <a:xfrm>
                  <a:off x="4922736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18" name="Gerader Verbinder 614">
                  <a:extLst>
                    <a:ext uri="{FF2B5EF4-FFF2-40B4-BE49-F238E27FC236}">
                      <a16:creationId xmlns:a16="http://schemas.microsoft.com/office/drawing/2014/main" xmlns="" id="{15F86E44-A3CA-410F-8375-4F40E39FFF35}"/>
                    </a:ext>
                  </a:extLst>
                </p:cNvPr>
                <p:cNvCxnSpPr/>
                <p:nvPr/>
              </p:nvCxnSpPr>
              <p:spPr>
                <a:xfrm>
                  <a:off x="5151107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19" name="Gerader Verbinder 615">
                  <a:extLst>
                    <a:ext uri="{FF2B5EF4-FFF2-40B4-BE49-F238E27FC236}">
                      <a16:creationId xmlns:a16="http://schemas.microsoft.com/office/drawing/2014/main" xmlns="" id="{90E6CD21-18EA-4F4B-AE66-2FFC44113421}"/>
                    </a:ext>
                  </a:extLst>
                </p:cNvPr>
                <p:cNvCxnSpPr/>
                <p:nvPr/>
              </p:nvCxnSpPr>
              <p:spPr>
                <a:xfrm>
                  <a:off x="5379478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20" name="Gerader Verbinder 616">
                  <a:extLst>
                    <a:ext uri="{FF2B5EF4-FFF2-40B4-BE49-F238E27FC236}">
                      <a16:creationId xmlns:a16="http://schemas.microsoft.com/office/drawing/2014/main" xmlns="" id="{46566CC6-1A8F-4286-B70B-F76093F0434B}"/>
                    </a:ext>
                  </a:extLst>
                </p:cNvPr>
                <p:cNvCxnSpPr/>
                <p:nvPr/>
              </p:nvCxnSpPr>
              <p:spPr>
                <a:xfrm>
                  <a:off x="5607849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21" name="Gerader Verbinder 617">
                  <a:extLst>
                    <a:ext uri="{FF2B5EF4-FFF2-40B4-BE49-F238E27FC236}">
                      <a16:creationId xmlns:a16="http://schemas.microsoft.com/office/drawing/2014/main" xmlns="" id="{D8FE9F94-4732-4AD1-98E0-982D34EB7D0C}"/>
                    </a:ext>
                  </a:extLst>
                </p:cNvPr>
                <p:cNvCxnSpPr/>
                <p:nvPr/>
              </p:nvCxnSpPr>
              <p:spPr>
                <a:xfrm>
                  <a:off x="5836220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22" name="Gerader Verbinder 618">
                  <a:extLst>
                    <a:ext uri="{FF2B5EF4-FFF2-40B4-BE49-F238E27FC236}">
                      <a16:creationId xmlns:a16="http://schemas.microsoft.com/office/drawing/2014/main" xmlns="" id="{25EF3090-B23F-46E5-B9F0-B77D9F4DF0CE}"/>
                    </a:ext>
                  </a:extLst>
                </p:cNvPr>
                <p:cNvCxnSpPr/>
                <p:nvPr/>
              </p:nvCxnSpPr>
              <p:spPr>
                <a:xfrm>
                  <a:off x="6064595" y="2930533"/>
                  <a:ext cx="0" cy="49809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</p:grpSp>
        </p:grpSp>
        <p:grpSp>
          <p:nvGrpSpPr>
            <p:cNvPr id="223" name="Gruppieren 637">
              <a:extLst>
                <a:ext uri="{FF2B5EF4-FFF2-40B4-BE49-F238E27FC236}">
                  <a16:creationId xmlns:a16="http://schemas.microsoft.com/office/drawing/2014/main" xmlns="" id="{1C5695F6-7956-4A8A-8266-C8D476373AA6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7599388" y="2107774"/>
              <a:ext cx="102194" cy="217631"/>
              <a:chOff x="2519772" y="2429466"/>
              <a:chExt cx="278016" cy="588409"/>
            </a:xfrm>
            <a:solidFill>
              <a:schemeClr val="bg1"/>
            </a:solidFill>
          </p:grpSpPr>
          <p:sp>
            <p:nvSpPr>
              <p:cNvPr id="224" name="Ellipse 638">
                <a:extLst>
                  <a:ext uri="{FF2B5EF4-FFF2-40B4-BE49-F238E27FC236}">
                    <a16:creationId xmlns:a16="http://schemas.microsoft.com/office/drawing/2014/main" xmlns="" id="{B68896D9-12BF-4FA0-BAB9-AC7FE3F56663}"/>
                  </a:ext>
                </a:extLst>
              </p:cNvPr>
              <p:cNvSpPr/>
              <p:nvPr/>
            </p:nvSpPr>
            <p:spPr>
              <a:xfrm>
                <a:off x="2519772" y="2429466"/>
                <a:ext cx="278016" cy="278016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cxnSp>
            <p:nvCxnSpPr>
              <p:cNvPr id="225" name="Gerader Verbinder 639">
                <a:extLst>
                  <a:ext uri="{FF2B5EF4-FFF2-40B4-BE49-F238E27FC236}">
                    <a16:creationId xmlns:a16="http://schemas.microsoft.com/office/drawing/2014/main" xmlns="" id="{B0CDC060-EE43-4540-B351-ED4C3E14F7CD}"/>
                  </a:ext>
                </a:extLst>
              </p:cNvPr>
              <p:cNvCxnSpPr/>
              <p:nvPr/>
            </p:nvCxnSpPr>
            <p:spPr>
              <a:xfrm>
                <a:off x="2658780" y="2709863"/>
                <a:ext cx="0" cy="308012"/>
              </a:xfrm>
              <a:prstGeom prst="lin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</p:cxnSp>
        </p:grpSp>
        <p:grpSp>
          <p:nvGrpSpPr>
            <p:cNvPr id="226" name="Gruppieren 252">
              <a:extLst>
                <a:ext uri="{FF2B5EF4-FFF2-40B4-BE49-F238E27FC236}">
                  <a16:creationId xmlns:a16="http://schemas.microsoft.com/office/drawing/2014/main" xmlns="" id="{A432088A-703A-4BC6-8C5F-E49C57B82AA1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2007418" y="2008190"/>
              <a:ext cx="91625" cy="195125"/>
              <a:chOff x="2519772" y="2429466"/>
              <a:chExt cx="278016" cy="588409"/>
            </a:xfrm>
            <a:solidFill>
              <a:schemeClr val="bg1"/>
            </a:solidFill>
          </p:grpSpPr>
          <p:sp>
            <p:nvSpPr>
              <p:cNvPr id="227" name="Ellipse 253">
                <a:extLst>
                  <a:ext uri="{FF2B5EF4-FFF2-40B4-BE49-F238E27FC236}">
                    <a16:creationId xmlns:a16="http://schemas.microsoft.com/office/drawing/2014/main" xmlns="" id="{B9FC9C0C-E436-485F-9F43-AAB7B3096B40}"/>
                  </a:ext>
                </a:extLst>
              </p:cNvPr>
              <p:cNvSpPr/>
              <p:nvPr/>
            </p:nvSpPr>
            <p:spPr>
              <a:xfrm>
                <a:off x="2519772" y="2429466"/>
                <a:ext cx="278016" cy="278016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cxnSp>
            <p:nvCxnSpPr>
              <p:cNvPr id="228" name="Gerader Verbinder 254">
                <a:extLst>
                  <a:ext uri="{FF2B5EF4-FFF2-40B4-BE49-F238E27FC236}">
                    <a16:creationId xmlns:a16="http://schemas.microsoft.com/office/drawing/2014/main" xmlns="" id="{B45E1592-87E4-428B-A5E7-82336B08CB78}"/>
                  </a:ext>
                </a:extLst>
              </p:cNvPr>
              <p:cNvCxnSpPr/>
              <p:nvPr/>
            </p:nvCxnSpPr>
            <p:spPr>
              <a:xfrm>
                <a:off x="2658780" y="2709863"/>
                <a:ext cx="0" cy="308012"/>
              </a:xfrm>
              <a:prstGeom prst="lin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</p:cxnSp>
        </p:grpSp>
        <p:grpSp>
          <p:nvGrpSpPr>
            <p:cNvPr id="229" name="Gruppieren 387">
              <a:extLst>
                <a:ext uri="{FF2B5EF4-FFF2-40B4-BE49-F238E27FC236}">
                  <a16:creationId xmlns:a16="http://schemas.microsoft.com/office/drawing/2014/main" xmlns="" id="{8111514B-7BE0-4BAA-AC6C-DFC6E18C0DE2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2120818" y="2064563"/>
              <a:ext cx="91625" cy="195125"/>
              <a:chOff x="2519772" y="2429466"/>
              <a:chExt cx="278016" cy="588409"/>
            </a:xfrm>
            <a:solidFill>
              <a:schemeClr val="bg1"/>
            </a:solidFill>
          </p:grpSpPr>
          <p:sp>
            <p:nvSpPr>
              <p:cNvPr id="230" name="Ellipse 388">
                <a:extLst>
                  <a:ext uri="{FF2B5EF4-FFF2-40B4-BE49-F238E27FC236}">
                    <a16:creationId xmlns:a16="http://schemas.microsoft.com/office/drawing/2014/main" xmlns="" id="{1586D494-518E-4F01-8D6F-47C7251696D4}"/>
                  </a:ext>
                </a:extLst>
              </p:cNvPr>
              <p:cNvSpPr/>
              <p:nvPr/>
            </p:nvSpPr>
            <p:spPr>
              <a:xfrm>
                <a:off x="2519772" y="2429466"/>
                <a:ext cx="278016" cy="278016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cxnSp>
            <p:nvCxnSpPr>
              <p:cNvPr id="231" name="Gerader Verbinder 389">
                <a:extLst>
                  <a:ext uri="{FF2B5EF4-FFF2-40B4-BE49-F238E27FC236}">
                    <a16:creationId xmlns:a16="http://schemas.microsoft.com/office/drawing/2014/main" xmlns="" id="{E7B19115-DCF1-4CFC-83CC-23A46079A8EB}"/>
                  </a:ext>
                </a:extLst>
              </p:cNvPr>
              <p:cNvCxnSpPr/>
              <p:nvPr/>
            </p:nvCxnSpPr>
            <p:spPr>
              <a:xfrm>
                <a:off x="2658780" y="2709863"/>
                <a:ext cx="0" cy="308012"/>
              </a:xfrm>
              <a:prstGeom prst="lin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</p:cxnSp>
        </p:grpSp>
        <p:grpSp>
          <p:nvGrpSpPr>
            <p:cNvPr id="232" name="Gruppieren 390">
              <a:extLst>
                <a:ext uri="{FF2B5EF4-FFF2-40B4-BE49-F238E27FC236}">
                  <a16:creationId xmlns:a16="http://schemas.microsoft.com/office/drawing/2014/main" xmlns="" id="{1DC6EC08-4E41-4718-ACC6-762A92131877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1878978" y="2118301"/>
              <a:ext cx="91625" cy="195125"/>
              <a:chOff x="2519772" y="2429466"/>
              <a:chExt cx="278016" cy="588409"/>
            </a:xfrm>
            <a:solidFill>
              <a:schemeClr val="bg1"/>
            </a:solidFill>
          </p:grpSpPr>
          <p:sp>
            <p:nvSpPr>
              <p:cNvPr id="233" name="Ellipse 391">
                <a:extLst>
                  <a:ext uri="{FF2B5EF4-FFF2-40B4-BE49-F238E27FC236}">
                    <a16:creationId xmlns:a16="http://schemas.microsoft.com/office/drawing/2014/main" xmlns="" id="{3C14D383-7B9A-4A30-B58B-7ED9FBA968EE}"/>
                  </a:ext>
                </a:extLst>
              </p:cNvPr>
              <p:cNvSpPr/>
              <p:nvPr/>
            </p:nvSpPr>
            <p:spPr>
              <a:xfrm>
                <a:off x="2519772" y="2429466"/>
                <a:ext cx="278016" cy="278016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cxnSp>
            <p:nvCxnSpPr>
              <p:cNvPr id="234" name="Gerader Verbinder 392">
                <a:extLst>
                  <a:ext uri="{FF2B5EF4-FFF2-40B4-BE49-F238E27FC236}">
                    <a16:creationId xmlns:a16="http://schemas.microsoft.com/office/drawing/2014/main" xmlns="" id="{0A4BEDED-9E3E-4751-A3D7-752C647FEE4E}"/>
                  </a:ext>
                </a:extLst>
              </p:cNvPr>
              <p:cNvCxnSpPr/>
              <p:nvPr/>
            </p:nvCxnSpPr>
            <p:spPr>
              <a:xfrm>
                <a:off x="2658780" y="2709863"/>
                <a:ext cx="0" cy="308012"/>
              </a:xfrm>
              <a:prstGeom prst="lin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</p:cxnSp>
        </p:grpSp>
        <p:grpSp>
          <p:nvGrpSpPr>
            <p:cNvPr id="235" name="Gruppieren 234">
              <a:extLst>
                <a:ext uri="{FF2B5EF4-FFF2-40B4-BE49-F238E27FC236}">
                  <a16:creationId xmlns:a16="http://schemas.microsoft.com/office/drawing/2014/main" xmlns="" id="{6D1AA23D-49B4-4327-8D8C-64A3BA990D75}"/>
                </a:ext>
              </a:extLst>
            </p:cNvPr>
            <p:cNvGrpSpPr/>
            <p:nvPr/>
          </p:nvGrpSpPr>
          <p:grpSpPr>
            <a:xfrm>
              <a:off x="176236" y="2067988"/>
              <a:ext cx="559500" cy="254108"/>
              <a:chOff x="2564735" y="1675740"/>
              <a:chExt cx="559500" cy="252539"/>
            </a:xfrm>
            <a:noFill/>
          </p:grpSpPr>
          <p:grpSp>
            <p:nvGrpSpPr>
              <p:cNvPr id="236" name="Gruppieren 297">
                <a:extLst>
                  <a:ext uri="{FF2B5EF4-FFF2-40B4-BE49-F238E27FC236}">
                    <a16:creationId xmlns:a16="http://schemas.microsoft.com/office/drawing/2014/main" xmlns="" id="{FBC6BE26-C84E-4934-A431-6E3B81DCC1C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564735" y="1675740"/>
                <a:ext cx="532868" cy="247344"/>
                <a:chOff x="1585913" y="981550"/>
                <a:chExt cx="5862636" cy="2721294"/>
              </a:xfrm>
              <a:grpFill/>
            </p:grpSpPr>
            <p:sp>
              <p:nvSpPr>
                <p:cNvPr id="240" name="Trapezoid 239">
                  <a:extLst>
                    <a:ext uri="{FF2B5EF4-FFF2-40B4-BE49-F238E27FC236}">
                      <a16:creationId xmlns:a16="http://schemas.microsoft.com/office/drawing/2014/main" xmlns="" id="{66AA6987-A374-4C80-A9A5-8707094FA704}"/>
                    </a:ext>
                  </a:extLst>
                </p:cNvPr>
                <p:cNvSpPr/>
                <p:nvPr/>
              </p:nvSpPr>
              <p:spPr>
                <a:xfrm flipV="1">
                  <a:off x="1585913" y="981550"/>
                  <a:ext cx="5862636" cy="2721293"/>
                </a:xfrm>
                <a:prstGeom prst="trapezoid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41" name="Freihandform: Form 404">
                  <a:extLst>
                    <a:ext uri="{FF2B5EF4-FFF2-40B4-BE49-F238E27FC236}">
                      <a16:creationId xmlns:a16="http://schemas.microsoft.com/office/drawing/2014/main" xmlns="" id="{DFD126F7-6022-414D-91C8-CB5C9F24E0C8}"/>
                    </a:ext>
                  </a:extLst>
                </p:cNvPr>
                <p:cNvSpPr/>
                <p:nvPr/>
              </p:nvSpPr>
              <p:spPr>
                <a:xfrm>
                  <a:off x="2772271" y="1122998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  <a:gd name="connsiteX0" fmla="*/ 1191 w 495300"/>
                    <a:gd name="connsiteY0" fmla="*/ 516731 h 516731"/>
                    <a:gd name="connsiteX1" fmla="*/ 0 w 495300"/>
                    <a:gd name="connsiteY1" fmla="*/ 1 h 516731"/>
                    <a:gd name="connsiteX2" fmla="*/ 0 w 495300"/>
                    <a:gd name="connsiteY2" fmla="*/ 0 h 516731"/>
                    <a:gd name="connsiteX3" fmla="*/ 495300 w 495300"/>
                    <a:gd name="connsiteY3" fmla="*/ 0 h 516731"/>
                    <a:gd name="connsiteX4" fmla="*/ 495300 w 495300"/>
                    <a:gd name="connsiteY4" fmla="*/ 1 h 51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300" h="516731">
                      <a:moveTo>
                        <a:pt x="1191" y="516731"/>
                      </a:moveTo>
                      <a:cubicBezTo>
                        <a:pt x="0" y="344488"/>
                        <a:pt x="1191" y="172244"/>
                        <a:pt x="0" y="1"/>
                      </a:cubicBezTo>
                      <a:lnTo>
                        <a:pt x="0" y="0"/>
                      </a:lnTo>
                      <a:lnTo>
                        <a:pt x="495300" y="0"/>
                      </a:lnTo>
                      <a:lnTo>
                        <a:pt x="495300" y="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42" name="Freihandform: Form 405">
                  <a:extLst>
                    <a:ext uri="{FF2B5EF4-FFF2-40B4-BE49-F238E27FC236}">
                      <a16:creationId xmlns:a16="http://schemas.microsoft.com/office/drawing/2014/main" xmlns="" id="{D1C23F9D-47E1-4F30-912E-FED2D262144D}"/>
                    </a:ext>
                  </a:extLst>
                </p:cNvPr>
                <p:cNvSpPr/>
                <p:nvPr/>
              </p:nvSpPr>
              <p:spPr>
                <a:xfrm>
                  <a:off x="2002632" y="1122998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  <a:gd name="connsiteX0" fmla="*/ 1191 w 495300"/>
                    <a:gd name="connsiteY0" fmla="*/ 516731 h 516731"/>
                    <a:gd name="connsiteX1" fmla="*/ 0 w 495300"/>
                    <a:gd name="connsiteY1" fmla="*/ 1 h 516731"/>
                    <a:gd name="connsiteX2" fmla="*/ 0 w 495300"/>
                    <a:gd name="connsiteY2" fmla="*/ 0 h 516731"/>
                    <a:gd name="connsiteX3" fmla="*/ 495300 w 495300"/>
                    <a:gd name="connsiteY3" fmla="*/ 0 h 516731"/>
                    <a:gd name="connsiteX4" fmla="*/ 495300 w 495300"/>
                    <a:gd name="connsiteY4" fmla="*/ 1 h 51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300" h="516731">
                      <a:moveTo>
                        <a:pt x="1191" y="516731"/>
                      </a:moveTo>
                      <a:cubicBezTo>
                        <a:pt x="0" y="344488"/>
                        <a:pt x="1191" y="172244"/>
                        <a:pt x="0" y="1"/>
                      </a:cubicBezTo>
                      <a:lnTo>
                        <a:pt x="0" y="0"/>
                      </a:lnTo>
                      <a:lnTo>
                        <a:pt x="495300" y="0"/>
                      </a:lnTo>
                      <a:lnTo>
                        <a:pt x="495300" y="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43" name="Freihandform: Form 406">
                  <a:extLst>
                    <a:ext uri="{FF2B5EF4-FFF2-40B4-BE49-F238E27FC236}">
                      <a16:creationId xmlns:a16="http://schemas.microsoft.com/office/drawing/2014/main" xmlns="" id="{FC076408-1332-421C-81CD-6086DC4667A4}"/>
                    </a:ext>
                  </a:extLst>
                </p:cNvPr>
                <p:cNvSpPr/>
                <p:nvPr/>
              </p:nvSpPr>
              <p:spPr>
                <a:xfrm>
                  <a:off x="4311549" y="1122998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  <a:gd name="connsiteX0" fmla="*/ 1191 w 495300"/>
                    <a:gd name="connsiteY0" fmla="*/ 516731 h 516731"/>
                    <a:gd name="connsiteX1" fmla="*/ 0 w 495300"/>
                    <a:gd name="connsiteY1" fmla="*/ 1 h 516731"/>
                    <a:gd name="connsiteX2" fmla="*/ 0 w 495300"/>
                    <a:gd name="connsiteY2" fmla="*/ 0 h 516731"/>
                    <a:gd name="connsiteX3" fmla="*/ 495300 w 495300"/>
                    <a:gd name="connsiteY3" fmla="*/ 0 h 516731"/>
                    <a:gd name="connsiteX4" fmla="*/ 495300 w 495300"/>
                    <a:gd name="connsiteY4" fmla="*/ 1 h 51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300" h="516731">
                      <a:moveTo>
                        <a:pt x="1191" y="516731"/>
                      </a:moveTo>
                      <a:cubicBezTo>
                        <a:pt x="0" y="344488"/>
                        <a:pt x="1191" y="172244"/>
                        <a:pt x="0" y="1"/>
                      </a:cubicBezTo>
                      <a:lnTo>
                        <a:pt x="0" y="0"/>
                      </a:lnTo>
                      <a:lnTo>
                        <a:pt x="495300" y="0"/>
                      </a:lnTo>
                      <a:lnTo>
                        <a:pt x="495300" y="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44" name="Freihandform: Form 407">
                  <a:extLst>
                    <a:ext uri="{FF2B5EF4-FFF2-40B4-BE49-F238E27FC236}">
                      <a16:creationId xmlns:a16="http://schemas.microsoft.com/office/drawing/2014/main" xmlns="" id="{614954FA-AB60-44E9-8F24-70A547754AA3}"/>
                    </a:ext>
                  </a:extLst>
                </p:cNvPr>
                <p:cNvSpPr/>
                <p:nvPr/>
              </p:nvSpPr>
              <p:spPr>
                <a:xfrm>
                  <a:off x="3541910" y="1122998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  <a:gd name="connsiteX0" fmla="*/ 1191 w 495300"/>
                    <a:gd name="connsiteY0" fmla="*/ 516731 h 516731"/>
                    <a:gd name="connsiteX1" fmla="*/ 0 w 495300"/>
                    <a:gd name="connsiteY1" fmla="*/ 1 h 516731"/>
                    <a:gd name="connsiteX2" fmla="*/ 0 w 495300"/>
                    <a:gd name="connsiteY2" fmla="*/ 0 h 516731"/>
                    <a:gd name="connsiteX3" fmla="*/ 495300 w 495300"/>
                    <a:gd name="connsiteY3" fmla="*/ 0 h 516731"/>
                    <a:gd name="connsiteX4" fmla="*/ 495300 w 495300"/>
                    <a:gd name="connsiteY4" fmla="*/ 1 h 51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300" h="516731">
                      <a:moveTo>
                        <a:pt x="1191" y="516731"/>
                      </a:moveTo>
                      <a:cubicBezTo>
                        <a:pt x="0" y="344488"/>
                        <a:pt x="1191" y="172244"/>
                        <a:pt x="0" y="1"/>
                      </a:cubicBezTo>
                      <a:lnTo>
                        <a:pt x="0" y="0"/>
                      </a:lnTo>
                      <a:lnTo>
                        <a:pt x="495300" y="0"/>
                      </a:lnTo>
                      <a:lnTo>
                        <a:pt x="495300" y="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45" name="Freihandform: Form 408">
                  <a:extLst>
                    <a:ext uri="{FF2B5EF4-FFF2-40B4-BE49-F238E27FC236}">
                      <a16:creationId xmlns:a16="http://schemas.microsoft.com/office/drawing/2014/main" xmlns="" id="{EF4F57E7-ADB2-48E5-87A5-8E26B9D1BF82}"/>
                    </a:ext>
                  </a:extLst>
                </p:cNvPr>
                <p:cNvSpPr/>
                <p:nvPr/>
              </p:nvSpPr>
              <p:spPr>
                <a:xfrm>
                  <a:off x="5850827" y="1122998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  <a:gd name="connsiteX0" fmla="*/ 1191 w 495300"/>
                    <a:gd name="connsiteY0" fmla="*/ 516731 h 516731"/>
                    <a:gd name="connsiteX1" fmla="*/ 0 w 495300"/>
                    <a:gd name="connsiteY1" fmla="*/ 1 h 516731"/>
                    <a:gd name="connsiteX2" fmla="*/ 0 w 495300"/>
                    <a:gd name="connsiteY2" fmla="*/ 0 h 516731"/>
                    <a:gd name="connsiteX3" fmla="*/ 495300 w 495300"/>
                    <a:gd name="connsiteY3" fmla="*/ 0 h 516731"/>
                    <a:gd name="connsiteX4" fmla="*/ 495300 w 495300"/>
                    <a:gd name="connsiteY4" fmla="*/ 1 h 51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300" h="516731">
                      <a:moveTo>
                        <a:pt x="1191" y="516731"/>
                      </a:moveTo>
                      <a:cubicBezTo>
                        <a:pt x="0" y="344488"/>
                        <a:pt x="1191" y="172244"/>
                        <a:pt x="0" y="1"/>
                      </a:cubicBezTo>
                      <a:lnTo>
                        <a:pt x="0" y="0"/>
                      </a:lnTo>
                      <a:lnTo>
                        <a:pt x="495300" y="0"/>
                      </a:lnTo>
                      <a:lnTo>
                        <a:pt x="495300" y="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46" name="Freihandform: Form 409">
                  <a:extLst>
                    <a:ext uri="{FF2B5EF4-FFF2-40B4-BE49-F238E27FC236}">
                      <a16:creationId xmlns:a16="http://schemas.microsoft.com/office/drawing/2014/main" xmlns="" id="{635382F7-6661-403E-9DF5-FB1F7CB1E0B2}"/>
                    </a:ext>
                  </a:extLst>
                </p:cNvPr>
                <p:cNvSpPr/>
                <p:nvPr/>
              </p:nvSpPr>
              <p:spPr>
                <a:xfrm>
                  <a:off x="5081188" y="1122998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  <a:gd name="connsiteX0" fmla="*/ 1191 w 495300"/>
                    <a:gd name="connsiteY0" fmla="*/ 516731 h 516731"/>
                    <a:gd name="connsiteX1" fmla="*/ 0 w 495300"/>
                    <a:gd name="connsiteY1" fmla="*/ 1 h 516731"/>
                    <a:gd name="connsiteX2" fmla="*/ 0 w 495300"/>
                    <a:gd name="connsiteY2" fmla="*/ 0 h 516731"/>
                    <a:gd name="connsiteX3" fmla="*/ 495300 w 495300"/>
                    <a:gd name="connsiteY3" fmla="*/ 0 h 516731"/>
                    <a:gd name="connsiteX4" fmla="*/ 495300 w 495300"/>
                    <a:gd name="connsiteY4" fmla="*/ 1 h 51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300" h="516731">
                      <a:moveTo>
                        <a:pt x="1191" y="516731"/>
                      </a:moveTo>
                      <a:cubicBezTo>
                        <a:pt x="0" y="344488"/>
                        <a:pt x="1191" y="172244"/>
                        <a:pt x="0" y="1"/>
                      </a:cubicBezTo>
                      <a:lnTo>
                        <a:pt x="0" y="0"/>
                      </a:lnTo>
                      <a:lnTo>
                        <a:pt x="495300" y="0"/>
                      </a:lnTo>
                      <a:lnTo>
                        <a:pt x="495300" y="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47" name="Freihandform: Form 410">
                  <a:extLst>
                    <a:ext uri="{FF2B5EF4-FFF2-40B4-BE49-F238E27FC236}">
                      <a16:creationId xmlns:a16="http://schemas.microsoft.com/office/drawing/2014/main" xmlns="" id="{4C48E3CA-AE3A-49C0-B164-B522B0AEBF6F}"/>
                    </a:ext>
                  </a:extLst>
                </p:cNvPr>
                <p:cNvSpPr/>
                <p:nvPr/>
              </p:nvSpPr>
              <p:spPr>
                <a:xfrm>
                  <a:off x="6620469" y="1122998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  <a:gd name="connsiteX0" fmla="*/ 1191 w 495300"/>
                    <a:gd name="connsiteY0" fmla="*/ 516731 h 516731"/>
                    <a:gd name="connsiteX1" fmla="*/ 0 w 495300"/>
                    <a:gd name="connsiteY1" fmla="*/ 1 h 516731"/>
                    <a:gd name="connsiteX2" fmla="*/ 0 w 495300"/>
                    <a:gd name="connsiteY2" fmla="*/ 0 h 516731"/>
                    <a:gd name="connsiteX3" fmla="*/ 495300 w 495300"/>
                    <a:gd name="connsiteY3" fmla="*/ 0 h 516731"/>
                    <a:gd name="connsiteX4" fmla="*/ 495300 w 495300"/>
                    <a:gd name="connsiteY4" fmla="*/ 1 h 51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300" h="516731">
                      <a:moveTo>
                        <a:pt x="1191" y="516731"/>
                      </a:moveTo>
                      <a:cubicBezTo>
                        <a:pt x="0" y="344488"/>
                        <a:pt x="1191" y="172244"/>
                        <a:pt x="0" y="1"/>
                      </a:cubicBezTo>
                      <a:lnTo>
                        <a:pt x="0" y="0"/>
                      </a:lnTo>
                      <a:lnTo>
                        <a:pt x="495300" y="0"/>
                      </a:lnTo>
                      <a:lnTo>
                        <a:pt x="495300" y="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48" name="Freihandform: Form 461">
                  <a:extLst>
                    <a:ext uri="{FF2B5EF4-FFF2-40B4-BE49-F238E27FC236}">
                      <a16:creationId xmlns:a16="http://schemas.microsoft.com/office/drawing/2014/main" xmlns="" id="{53A97B10-94A4-4362-AD04-A57CB85FCFCC}"/>
                    </a:ext>
                  </a:extLst>
                </p:cNvPr>
                <p:cNvSpPr/>
                <p:nvPr/>
              </p:nvSpPr>
              <p:spPr>
                <a:xfrm>
                  <a:off x="2360961" y="2020014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  <a:gd name="connsiteX0" fmla="*/ 1191 w 495300"/>
                    <a:gd name="connsiteY0" fmla="*/ 516731 h 516731"/>
                    <a:gd name="connsiteX1" fmla="*/ 0 w 495300"/>
                    <a:gd name="connsiteY1" fmla="*/ 1 h 516731"/>
                    <a:gd name="connsiteX2" fmla="*/ 0 w 495300"/>
                    <a:gd name="connsiteY2" fmla="*/ 0 h 516731"/>
                    <a:gd name="connsiteX3" fmla="*/ 495300 w 495300"/>
                    <a:gd name="connsiteY3" fmla="*/ 0 h 516731"/>
                    <a:gd name="connsiteX4" fmla="*/ 495300 w 495300"/>
                    <a:gd name="connsiteY4" fmla="*/ 1 h 51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300" h="516731">
                      <a:moveTo>
                        <a:pt x="1191" y="516731"/>
                      </a:moveTo>
                      <a:cubicBezTo>
                        <a:pt x="0" y="344488"/>
                        <a:pt x="1191" y="172244"/>
                        <a:pt x="0" y="1"/>
                      </a:cubicBezTo>
                      <a:lnTo>
                        <a:pt x="0" y="0"/>
                      </a:lnTo>
                      <a:lnTo>
                        <a:pt x="495300" y="0"/>
                      </a:lnTo>
                      <a:lnTo>
                        <a:pt x="495300" y="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49" name="Freihandform: Form 462">
                  <a:extLst>
                    <a:ext uri="{FF2B5EF4-FFF2-40B4-BE49-F238E27FC236}">
                      <a16:creationId xmlns:a16="http://schemas.microsoft.com/office/drawing/2014/main" xmlns="" id="{B56229B8-7832-47FE-ABF4-8BDCFA4A32B3}"/>
                    </a:ext>
                  </a:extLst>
                </p:cNvPr>
                <p:cNvSpPr/>
                <p:nvPr/>
              </p:nvSpPr>
              <p:spPr>
                <a:xfrm>
                  <a:off x="3900239" y="2020014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  <a:gd name="connsiteX0" fmla="*/ 1191 w 495300"/>
                    <a:gd name="connsiteY0" fmla="*/ 516731 h 516731"/>
                    <a:gd name="connsiteX1" fmla="*/ 0 w 495300"/>
                    <a:gd name="connsiteY1" fmla="*/ 1 h 516731"/>
                    <a:gd name="connsiteX2" fmla="*/ 0 w 495300"/>
                    <a:gd name="connsiteY2" fmla="*/ 0 h 516731"/>
                    <a:gd name="connsiteX3" fmla="*/ 495300 w 495300"/>
                    <a:gd name="connsiteY3" fmla="*/ 0 h 516731"/>
                    <a:gd name="connsiteX4" fmla="*/ 495300 w 495300"/>
                    <a:gd name="connsiteY4" fmla="*/ 1 h 51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300" h="516731">
                      <a:moveTo>
                        <a:pt x="1191" y="516731"/>
                      </a:moveTo>
                      <a:cubicBezTo>
                        <a:pt x="0" y="344488"/>
                        <a:pt x="1191" y="172244"/>
                        <a:pt x="0" y="1"/>
                      </a:cubicBezTo>
                      <a:lnTo>
                        <a:pt x="0" y="0"/>
                      </a:lnTo>
                      <a:lnTo>
                        <a:pt x="495300" y="0"/>
                      </a:lnTo>
                      <a:lnTo>
                        <a:pt x="495300" y="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50" name="Freihandform: Form 484">
                  <a:extLst>
                    <a:ext uri="{FF2B5EF4-FFF2-40B4-BE49-F238E27FC236}">
                      <a16:creationId xmlns:a16="http://schemas.microsoft.com/office/drawing/2014/main" xmlns="" id="{30C908DA-E8E4-4601-B665-10BC9A809F34}"/>
                    </a:ext>
                  </a:extLst>
                </p:cNvPr>
                <p:cNvSpPr/>
                <p:nvPr/>
              </p:nvSpPr>
              <p:spPr>
                <a:xfrm>
                  <a:off x="3130600" y="2020014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  <a:gd name="connsiteX0" fmla="*/ 1191 w 495300"/>
                    <a:gd name="connsiteY0" fmla="*/ 516731 h 516731"/>
                    <a:gd name="connsiteX1" fmla="*/ 0 w 495300"/>
                    <a:gd name="connsiteY1" fmla="*/ 1 h 516731"/>
                    <a:gd name="connsiteX2" fmla="*/ 0 w 495300"/>
                    <a:gd name="connsiteY2" fmla="*/ 0 h 516731"/>
                    <a:gd name="connsiteX3" fmla="*/ 495300 w 495300"/>
                    <a:gd name="connsiteY3" fmla="*/ 0 h 516731"/>
                    <a:gd name="connsiteX4" fmla="*/ 495300 w 495300"/>
                    <a:gd name="connsiteY4" fmla="*/ 1 h 51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300" h="516731">
                      <a:moveTo>
                        <a:pt x="1191" y="516731"/>
                      </a:moveTo>
                      <a:cubicBezTo>
                        <a:pt x="0" y="344488"/>
                        <a:pt x="1191" y="172244"/>
                        <a:pt x="0" y="1"/>
                      </a:cubicBezTo>
                      <a:lnTo>
                        <a:pt x="0" y="0"/>
                      </a:lnTo>
                      <a:lnTo>
                        <a:pt x="495300" y="0"/>
                      </a:lnTo>
                      <a:lnTo>
                        <a:pt x="495300" y="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51" name="Freihandform: Form 485">
                  <a:extLst>
                    <a:ext uri="{FF2B5EF4-FFF2-40B4-BE49-F238E27FC236}">
                      <a16:creationId xmlns:a16="http://schemas.microsoft.com/office/drawing/2014/main" xmlns="" id="{EDA4B87A-2DBC-401B-A32B-861594D6B3B4}"/>
                    </a:ext>
                  </a:extLst>
                </p:cNvPr>
                <p:cNvSpPr/>
                <p:nvPr/>
              </p:nvSpPr>
              <p:spPr>
                <a:xfrm>
                  <a:off x="5439517" y="2020014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  <a:gd name="connsiteX0" fmla="*/ 1191 w 495300"/>
                    <a:gd name="connsiteY0" fmla="*/ 516731 h 516731"/>
                    <a:gd name="connsiteX1" fmla="*/ 0 w 495300"/>
                    <a:gd name="connsiteY1" fmla="*/ 1 h 516731"/>
                    <a:gd name="connsiteX2" fmla="*/ 0 w 495300"/>
                    <a:gd name="connsiteY2" fmla="*/ 0 h 516731"/>
                    <a:gd name="connsiteX3" fmla="*/ 495300 w 495300"/>
                    <a:gd name="connsiteY3" fmla="*/ 0 h 516731"/>
                    <a:gd name="connsiteX4" fmla="*/ 495300 w 495300"/>
                    <a:gd name="connsiteY4" fmla="*/ 1 h 51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300" h="516731">
                      <a:moveTo>
                        <a:pt x="1191" y="516731"/>
                      </a:moveTo>
                      <a:cubicBezTo>
                        <a:pt x="0" y="344488"/>
                        <a:pt x="1191" y="172244"/>
                        <a:pt x="0" y="1"/>
                      </a:cubicBezTo>
                      <a:lnTo>
                        <a:pt x="0" y="0"/>
                      </a:lnTo>
                      <a:lnTo>
                        <a:pt x="495300" y="0"/>
                      </a:lnTo>
                      <a:lnTo>
                        <a:pt x="495300" y="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52" name="Freihandform: Form 486">
                  <a:extLst>
                    <a:ext uri="{FF2B5EF4-FFF2-40B4-BE49-F238E27FC236}">
                      <a16:creationId xmlns:a16="http://schemas.microsoft.com/office/drawing/2014/main" xmlns="" id="{59FE9F46-7955-408E-8E0B-BC3F6A22A5EC}"/>
                    </a:ext>
                  </a:extLst>
                </p:cNvPr>
                <p:cNvSpPr/>
                <p:nvPr/>
              </p:nvSpPr>
              <p:spPr>
                <a:xfrm>
                  <a:off x="4669878" y="2020014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  <a:gd name="connsiteX0" fmla="*/ 1191 w 495300"/>
                    <a:gd name="connsiteY0" fmla="*/ 516731 h 516731"/>
                    <a:gd name="connsiteX1" fmla="*/ 0 w 495300"/>
                    <a:gd name="connsiteY1" fmla="*/ 1 h 516731"/>
                    <a:gd name="connsiteX2" fmla="*/ 0 w 495300"/>
                    <a:gd name="connsiteY2" fmla="*/ 0 h 516731"/>
                    <a:gd name="connsiteX3" fmla="*/ 495300 w 495300"/>
                    <a:gd name="connsiteY3" fmla="*/ 0 h 516731"/>
                    <a:gd name="connsiteX4" fmla="*/ 495300 w 495300"/>
                    <a:gd name="connsiteY4" fmla="*/ 1 h 51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300" h="516731">
                      <a:moveTo>
                        <a:pt x="1191" y="516731"/>
                      </a:moveTo>
                      <a:cubicBezTo>
                        <a:pt x="0" y="344488"/>
                        <a:pt x="1191" y="172244"/>
                        <a:pt x="0" y="1"/>
                      </a:cubicBezTo>
                      <a:lnTo>
                        <a:pt x="0" y="0"/>
                      </a:lnTo>
                      <a:lnTo>
                        <a:pt x="495300" y="0"/>
                      </a:lnTo>
                      <a:lnTo>
                        <a:pt x="495300" y="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53" name="Freihandform: Form 487">
                  <a:extLst>
                    <a:ext uri="{FF2B5EF4-FFF2-40B4-BE49-F238E27FC236}">
                      <a16:creationId xmlns:a16="http://schemas.microsoft.com/office/drawing/2014/main" xmlns="" id="{640BDA89-AA43-411C-ADF9-DDFB773758BD}"/>
                    </a:ext>
                  </a:extLst>
                </p:cNvPr>
                <p:cNvSpPr/>
                <p:nvPr/>
              </p:nvSpPr>
              <p:spPr>
                <a:xfrm>
                  <a:off x="6209159" y="2020014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  <a:gd name="connsiteX0" fmla="*/ 1191 w 495300"/>
                    <a:gd name="connsiteY0" fmla="*/ 516731 h 516731"/>
                    <a:gd name="connsiteX1" fmla="*/ 0 w 495300"/>
                    <a:gd name="connsiteY1" fmla="*/ 1 h 516731"/>
                    <a:gd name="connsiteX2" fmla="*/ 0 w 495300"/>
                    <a:gd name="connsiteY2" fmla="*/ 0 h 516731"/>
                    <a:gd name="connsiteX3" fmla="*/ 495300 w 495300"/>
                    <a:gd name="connsiteY3" fmla="*/ 0 h 516731"/>
                    <a:gd name="connsiteX4" fmla="*/ 495300 w 495300"/>
                    <a:gd name="connsiteY4" fmla="*/ 1 h 516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300" h="516731">
                      <a:moveTo>
                        <a:pt x="1191" y="516731"/>
                      </a:moveTo>
                      <a:cubicBezTo>
                        <a:pt x="0" y="344488"/>
                        <a:pt x="1191" y="172244"/>
                        <a:pt x="0" y="1"/>
                      </a:cubicBezTo>
                      <a:lnTo>
                        <a:pt x="0" y="0"/>
                      </a:lnTo>
                      <a:lnTo>
                        <a:pt x="495300" y="0"/>
                      </a:lnTo>
                      <a:lnTo>
                        <a:pt x="495300" y="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cxnSp>
              <p:nvCxnSpPr>
                <p:cNvPr id="254" name="Gerader Verbinder 488">
                  <a:extLst>
                    <a:ext uri="{FF2B5EF4-FFF2-40B4-BE49-F238E27FC236}">
                      <a16:creationId xmlns:a16="http://schemas.microsoft.com/office/drawing/2014/main" xmlns="" id="{89F5B594-E619-4948-9B4B-414BD882F67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034302" y="2795110"/>
                  <a:ext cx="4968240" cy="0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255" name="Gerader Verbinder 489">
                  <a:extLst>
                    <a:ext uri="{FF2B5EF4-FFF2-40B4-BE49-F238E27FC236}">
                      <a16:creationId xmlns:a16="http://schemas.microsoft.com/office/drawing/2014/main" xmlns="" id="{301BC3DE-8163-44C6-A2BB-AD3C7B8FAD9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11657" y="1887379"/>
                  <a:ext cx="5410674" cy="0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sp>
              <p:nvSpPr>
                <p:cNvPr id="256" name="Freihandform: Form 491">
                  <a:extLst>
                    <a:ext uri="{FF2B5EF4-FFF2-40B4-BE49-F238E27FC236}">
                      <a16:creationId xmlns:a16="http://schemas.microsoft.com/office/drawing/2014/main" xmlns="" id="{8BD12630-2DFB-47AF-B9DF-77E35638B22A}"/>
                    </a:ext>
                  </a:extLst>
                </p:cNvPr>
                <p:cNvSpPr/>
                <p:nvPr/>
              </p:nvSpPr>
              <p:spPr>
                <a:xfrm>
                  <a:off x="3130601" y="2938463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5300" h="764381">
                      <a:moveTo>
                        <a:pt x="1191" y="764381"/>
                      </a:moveTo>
                      <a:cubicBezTo>
                        <a:pt x="0" y="592138"/>
                        <a:pt x="1191" y="419894"/>
                        <a:pt x="0" y="247651"/>
                      </a:cubicBezTo>
                      <a:lnTo>
                        <a:pt x="0" y="247650"/>
                      </a:lnTo>
                      <a:cubicBezTo>
                        <a:pt x="0" y="110877"/>
                        <a:pt x="110877" y="0"/>
                        <a:pt x="247650" y="0"/>
                      </a:cubicBezTo>
                      <a:cubicBezTo>
                        <a:pt x="384423" y="0"/>
                        <a:pt x="495300" y="110877"/>
                        <a:pt x="495300" y="247650"/>
                      </a:cubicBezTo>
                      <a:lnTo>
                        <a:pt x="495300" y="24765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57" name="Freihandform: Form 497">
                  <a:extLst>
                    <a:ext uri="{FF2B5EF4-FFF2-40B4-BE49-F238E27FC236}">
                      <a16:creationId xmlns:a16="http://schemas.microsoft.com/office/drawing/2014/main" xmlns="" id="{6EE80C06-0760-4CB5-BAC2-8861AB848EA9}"/>
                    </a:ext>
                  </a:extLst>
                </p:cNvPr>
                <p:cNvSpPr/>
                <p:nvPr/>
              </p:nvSpPr>
              <p:spPr>
                <a:xfrm>
                  <a:off x="3900241" y="2938463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5300" h="764381">
                      <a:moveTo>
                        <a:pt x="1191" y="764381"/>
                      </a:moveTo>
                      <a:cubicBezTo>
                        <a:pt x="0" y="592138"/>
                        <a:pt x="1191" y="419894"/>
                        <a:pt x="0" y="247651"/>
                      </a:cubicBezTo>
                      <a:lnTo>
                        <a:pt x="0" y="247650"/>
                      </a:lnTo>
                      <a:cubicBezTo>
                        <a:pt x="0" y="110877"/>
                        <a:pt x="110877" y="0"/>
                        <a:pt x="247650" y="0"/>
                      </a:cubicBezTo>
                      <a:cubicBezTo>
                        <a:pt x="384423" y="0"/>
                        <a:pt x="495300" y="110877"/>
                        <a:pt x="495300" y="247650"/>
                      </a:cubicBezTo>
                      <a:lnTo>
                        <a:pt x="495300" y="24765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58" name="Freihandform: Form 498">
                  <a:extLst>
                    <a:ext uri="{FF2B5EF4-FFF2-40B4-BE49-F238E27FC236}">
                      <a16:creationId xmlns:a16="http://schemas.microsoft.com/office/drawing/2014/main" xmlns="" id="{8EE9C303-03DE-4DB0-AFA6-0B40A3B02B33}"/>
                    </a:ext>
                  </a:extLst>
                </p:cNvPr>
                <p:cNvSpPr/>
                <p:nvPr/>
              </p:nvSpPr>
              <p:spPr>
                <a:xfrm>
                  <a:off x="4669881" y="2938463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5300" h="764381">
                      <a:moveTo>
                        <a:pt x="1191" y="764381"/>
                      </a:moveTo>
                      <a:cubicBezTo>
                        <a:pt x="0" y="592138"/>
                        <a:pt x="1191" y="419894"/>
                        <a:pt x="0" y="247651"/>
                      </a:cubicBezTo>
                      <a:lnTo>
                        <a:pt x="0" y="247650"/>
                      </a:lnTo>
                      <a:cubicBezTo>
                        <a:pt x="0" y="110877"/>
                        <a:pt x="110877" y="0"/>
                        <a:pt x="247650" y="0"/>
                      </a:cubicBezTo>
                      <a:cubicBezTo>
                        <a:pt x="384423" y="0"/>
                        <a:pt x="495300" y="110877"/>
                        <a:pt x="495300" y="247650"/>
                      </a:cubicBezTo>
                      <a:lnTo>
                        <a:pt x="495300" y="24765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59" name="Freihandform: Form 503">
                  <a:extLst>
                    <a:ext uri="{FF2B5EF4-FFF2-40B4-BE49-F238E27FC236}">
                      <a16:creationId xmlns:a16="http://schemas.microsoft.com/office/drawing/2014/main" xmlns="" id="{B9E57BD8-FB3E-42ED-B435-3869258227F5}"/>
                    </a:ext>
                  </a:extLst>
                </p:cNvPr>
                <p:cNvSpPr/>
                <p:nvPr/>
              </p:nvSpPr>
              <p:spPr>
                <a:xfrm>
                  <a:off x="5439521" y="2938463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5300" h="764381">
                      <a:moveTo>
                        <a:pt x="1191" y="764381"/>
                      </a:moveTo>
                      <a:cubicBezTo>
                        <a:pt x="0" y="592138"/>
                        <a:pt x="1191" y="419894"/>
                        <a:pt x="0" y="247651"/>
                      </a:cubicBezTo>
                      <a:lnTo>
                        <a:pt x="0" y="247650"/>
                      </a:lnTo>
                      <a:cubicBezTo>
                        <a:pt x="0" y="110877"/>
                        <a:pt x="110877" y="0"/>
                        <a:pt x="247650" y="0"/>
                      </a:cubicBezTo>
                      <a:cubicBezTo>
                        <a:pt x="384423" y="0"/>
                        <a:pt x="495300" y="110877"/>
                        <a:pt x="495300" y="247650"/>
                      </a:cubicBezTo>
                      <a:lnTo>
                        <a:pt x="495300" y="24765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60" name="Freihandform: Form 504">
                  <a:extLst>
                    <a:ext uri="{FF2B5EF4-FFF2-40B4-BE49-F238E27FC236}">
                      <a16:creationId xmlns:a16="http://schemas.microsoft.com/office/drawing/2014/main" xmlns="" id="{0BA9611F-F47E-4E3B-945F-1E54C2256806}"/>
                    </a:ext>
                  </a:extLst>
                </p:cNvPr>
                <p:cNvSpPr/>
                <p:nvPr/>
              </p:nvSpPr>
              <p:spPr>
                <a:xfrm>
                  <a:off x="6209159" y="2938463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5300" h="764381">
                      <a:moveTo>
                        <a:pt x="1191" y="764381"/>
                      </a:moveTo>
                      <a:cubicBezTo>
                        <a:pt x="0" y="592138"/>
                        <a:pt x="1191" y="419894"/>
                        <a:pt x="0" y="247651"/>
                      </a:cubicBezTo>
                      <a:lnTo>
                        <a:pt x="0" y="247650"/>
                      </a:lnTo>
                      <a:cubicBezTo>
                        <a:pt x="0" y="110877"/>
                        <a:pt x="110877" y="0"/>
                        <a:pt x="247650" y="0"/>
                      </a:cubicBezTo>
                      <a:cubicBezTo>
                        <a:pt x="384423" y="0"/>
                        <a:pt x="495300" y="110877"/>
                        <a:pt x="495300" y="247650"/>
                      </a:cubicBezTo>
                      <a:lnTo>
                        <a:pt x="495300" y="24765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261" name="Freihandform: Form 505">
                  <a:extLst>
                    <a:ext uri="{FF2B5EF4-FFF2-40B4-BE49-F238E27FC236}">
                      <a16:creationId xmlns:a16="http://schemas.microsoft.com/office/drawing/2014/main" xmlns="" id="{94E071DC-01D2-4065-BFC5-61A638DFB213}"/>
                    </a:ext>
                  </a:extLst>
                </p:cNvPr>
                <p:cNvSpPr/>
                <p:nvPr/>
              </p:nvSpPr>
              <p:spPr>
                <a:xfrm>
                  <a:off x="2360961" y="2938463"/>
                  <a:ext cx="495300" cy="764381"/>
                </a:xfrm>
                <a:custGeom>
                  <a:avLst/>
                  <a:gdLst>
                    <a:gd name="connsiteX0" fmla="*/ 247650 w 495300"/>
                    <a:gd name="connsiteY0" fmla="*/ 0 h 247651"/>
                    <a:gd name="connsiteX1" fmla="*/ 495300 w 495300"/>
                    <a:gd name="connsiteY1" fmla="*/ 247650 h 247651"/>
                    <a:gd name="connsiteX2" fmla="*/ 495300 w 495300"/>
                    <a:gd name="connsiteY2" fmla="*/ 247651 h 247651"/>
                    <a:gd name="connsiteX3" fmla="*/ 0 w 495300"/>
                    <a:gd name="connsiteY3" fmla="*/ 247651 h 247651"/>
                    <a:gd name="connsiteX4" fmla="*/ 0 w 495300"/>
                    <a:gd name="connsiteY4" fmla="*/ 247650 h 247651"/>
                    <a:gd name="connsiteX5" fmla="*/ 247650 w 495300"/>
                    <a:gd name="connsiteY5" fmla="*/ 0 h 247651"/>
                    <a:gd name="connsiteX0" fmla="*/ 248841 w 496491"/>
                    <a:gd name="connsiteY0" fmla="*/ 0 h 759618"/>
                    <a:gd name="connsiteX1" fmla="*/ 496491 w 496491"/>
                    <a:gd name="connsiteY1" fmla="*/ 247650 h 759618"/>
                    <a:gd name="connsiteX2" fmla="*/ 496491 w 496491"/>
                    <a:gd name="connsiteY2" fmla="*/ 247651 h 759618"/>
                    <a:gd name="connsiteX3" fmla="*/ 0 w 496491"/>
                    <a:gd name="connsiteY3" fmla="*/ 759618 h 759618"/>
                    <a:gd name="connsiteX4" fmla="*/ 1191 w 496491"/>
                    <a:gd name="connsiteY4" fmla="*/ 247651 h 759618"/>
                    <a:gd name="connsiteX5" fmla="*/ 1191 w 496491"/>
                    <a:gd name="connsiteY5" fmla="*/ 247650 h 759618"/>
                    <a:gd name="connsiteX6" fmla="*/ 248841 w 496491"/>
                    <a:gd name="connsiteY6" fmla="*/ 0 h 759618"/>
                    <a:gd name="connsiteX0" fmla="*/ 248841 w 515315"/>
                    <a:gd name="connsiteY0" fmla="*/ 0 h 795422"/>
                    <a:gd name="connsiteX1" fmla="*/ 496491 w 515315"/>
                    <a:gd name="connsiteY1" fmla="*/ 247650 h 795422"/>
                    <a:gd name="connsiteX2" fmla="*/ 496491 w 515315"/>
                    <a:gd name="connsiteY2" fmla="*/ 247651 h 795422"/>
                    <a:gd name="connsiteX3" fmla="*/ 481013 w 515315"/>
                    <a:gd name="connsiteY3" fmla="*/ 745330 h 795422"/>
                    <a:gd name="connsiteX4" fmla="*/ 0 w 515315"/>
                    <a:gd name="connsiteY4" fmla="*/ 759618 h 795422"/>
                    <a:gd name="connsiteX5" fmla="*/ 1191 w 515315"/>
                    <a:gd name="connsiteY5" fmla="*/ 247651 h 795422"/>
                    <a:gd name="connsiteX6" fmla="*/ 1191 w 515315"/>
                    <a:gd name="connsiteY6" fmla="*/ 247650 h 795422"/>
                    <a:gd name="connsiteX7" fmla="*/ 248841 w 515315"/>
                    <a:gd name="connsiteY7" fmla="*/ 0 h 795422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72453"/>
                    <a:gd name="connsiteY0" fmla="*/ 759618 h 836770"/>
                    <a:gd name="connsiteX1" fmla="*/ 1191 w 572453"/>
                    <a:gd name="connsiteY1" fmla="*/ 247651 h 836770"/>
                    <a:gd name="connsiteX2" fmla="*/ 1191 w 572453"/>
                    <a:gd name="connsiteY2" fmla="*/ 247650 h 836770"/>
                    <a:gd name="connsiteX3" fmla="*/ 248841 w 572453"/>
                    <a:gd name="connsiteY3" fmla="*/ 0 h 836770"/>
                    <a:gd name="connsiteX4" fmla="*/ 496491 w 572453"/>
                    <a:gd name="connsiteY4" fmla="*/ 247650 h 836770"/>
                    <a:gd name="connsiteX5" fmla="*/ 496491 w 572453"/>
                    <a:gd name="connsiteY5" fmla="*/ 247651 h 836770"/>
                    <a:gd name="connsiteX6" fmla="*/ 572453 w 572453"/>
                    <a:gd name="connsiteY6" fmla="*/ 836770 h 836770"/>
                    <a:gd name="connsiteX0" fmla="*/ 0 w 501016"/>
                    <a:gd name="connsiteY0" fmla="*/ 759618 h 765333"/>
                    <a:gd name="connsiteX1" fmla="*/ 1191 w 501016"/>
                    <a:gd name="connsiteY1" fmla="*/ 247651 h 765333"/>
                    <a:gd name="connsiteX2" fmla="*/ 1191 w 501016"/>
                    <a:gd name="connsiteY2" fmla="*/ 247650 h 765333"/>
                    <a:gd name="connsiteX3" fmla="*/ 248841 w 501016"/>
                    <a:gd name="connsiteY3" fmla="*/ 0 h 765333"/>
                    <a:gd name="connsiteX4" fmla="*/ 496491 w 501016"/>
                    <a:gd name="connsiteY4" fmla="*/ 247650 h 765333"/>
                    <a:gd name="connsiteX5" fmla="*/ 496491 w 501016"/>
                    <a:gd name="connsiteY5" fmla="*/ 247651 h 765333"/>
                    <a:gd name="connsiteX6" fmla="*/ 501016 w 501016"/>
                    <a:gd name="connsiteY6" fmla="*/ 765333 h 765333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0571"/>
                    <a:gd name="connsiteX1" fmla="*/ 1191 w 498635"/>
                    <a:gd name="connsiteY1" fmla="*/ 247651 h 760571"/>
                    <a:gd name="connsiteX2" fmla="*/ 1191 w 498635"/>
                    <a:gd name="connsiteY2" fmla="*/ 247650 h 760571"/>
                    <a:gd name="connsiteX3" fmla="*/ 248841 w 498635"/>
                    <a:gd name="connsiteY3" fmla="*/ 0 h 760571"/>
                    <a:gd name="connsiteX4" fmla="*/ 496491 w 498635"/>
                    <a:gd name="connsiteY4" fmla="*/ 247650 h 760571"/>
                    <a:gd name="connsiteX5" fmla="*/ 496491 w 498635"/>
                    <a:gd name="connsiteY5" fmla="*/ 247651 h 760571"/>
                    <a:gd name="connsiteX6" fmla="*/ 498635 w 498635"/>
                    <a:gd name="connsiteY6" fmla="*/ 760571 h 760571"/>
                    <a:gd name="connsiteX0" fmla="*/ 0 w 498635"/>
                    <a:gd name="connsiteY0" fmla="*/ 759618 h 762953"/>
                    <a:gd name="connsiteX1" fmla="*/ 1191 w 498635"/>
                    <a:gd name="connsiteY1" fmla="*/ 247651 h 762953"/>
                    <a:gd name="connsiteX2" fmla="*/ 1191 w 498635"/>
                    <a:gd name="connsiteY2" fmla="*/ 247650 h 762953"/>
                    <a:gd name="connsiteX3" fmla="*/ 248841 w 498635"/>
                    <a:gd name="connsiteY3" fmla="*/ 0 h 762953"/>
                    <a:gd name="connsiteX4" fmla="*/ 496491 w 498635"/>
                    <a:gd name="connsiteY4" fmla="*/ 247650 h 762953"/>
                    <a:gd name="connsiteX5" fmla="*/ 496491 w 498635"/>
                    <a:gd name="connsiteY5" fmla="*/ 247651 h 762953"/>
                    <a:gd name="connsiteX6" fmla="*/ 498635 w 498635"/>
                    <a:gd name="connsiteY6" fmla="*/ 762953 h 762953"/>
                    <a:gd name="connsiteX0" fmla="*/ 0 w 496900"/>
                    <a:gd name="connsiteY0" fmla="*/ 759618 h 767715"/>
                    <a:gd name="connsiteX1" fmla="*/ 1191 w 496900"/>
                    <a:gd name="connsiteY1" fmla="*/ 247651 h 767715"/>
                    <a:gd name="connsiteX2" fmla="*/ 1191 w 496900"/>
                    <a:gd name="connsiteY2" fmla="*/ 247650 h 767715"/>
                    <a:gd name="connsiteX3" fmla="*/ 248841 w 496900"/>
                    <a:gd name="connsiteY3" fmla="*/ 0 h 767715"/>
                    <a:gd name="connsiteX4" fmla="*/ 496491 w 496900"/>
                    <a:gd name="connsiteY4" fmla="*/ 247650 h 767715"/>
                    <a:gd name="connsiteX5" fmla="*/ 496491 w 496900"/>
                    <a:gd name="connsiteY5" fmla="*/ 247651 h 767715"/>
                    <a:gd name="connsiteX6" fmla="*/ 496253 w 496900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3572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709"/>
                    <a:gd name="connsiteY0" fmla="*/ 764381 h 767715"/>
                    <a:gd name="connsiteX1" fmla="*/ 0 w 495709"/>
                    <a:gd name="connsiteY1" fmla="*/ 247651 h 767715"/>
                    <a:gd name="connsiteX2" fmla="*/ 0 w 495709"/>
                    <a:gd name="connsiteY2" fmla="*/ 247650 h 767715"/>
                    <a:gd name="connsiteX3" fmla="*/ 247650 w 495709"/>
                    <a:gd name="connsiteY3" fmla="*/ 0 h 767715"/>
                    <a:gd name="connsiteX4" fmla="*/ 495300 w 495709"/>
                    <a:gd name="connsiteY4" fmla="*/ 247650 h 767715"/>
                    <a:gd name="connsiteX5" fmla="*/ 495300 w 495709"/>
                    <a:gd name="connsiteY5" fmla="*/ 247651 h 767715"/>
                    <a:gd name="connsiteX6" fmla="*/ 495062 w 495709"/>
                    <a:gd name="connsiteY6" fmla="*/ 767715 h 767715"/>
                    <a:gd name="connsiteX0" fmla="*/ 1191 w 495300"/>
                    <a:gd name="connsiteY0" fmla="*/ 764381 h 764381"/>
                    <a:gd name="connsiteX1" fmla="*/ 0 w 495300"/>
                    <a:gd name="connsiteY1" fmla="*/ 247651 h 764381"/>
                    <a:gd name="connsiteX2" fmla="*/ 0 w 495300"/>
                    <a:gd name="connsiteY2" fmla="*/ 247650 h 764381"/>
                    <a:gd name="connsiteX3" fmla="*/ 247650 w 495300"/>
                    <a:gd name="connsiteY3" fmla="*/ 0 h 764381"/>
                    <a:gd name="connsiteX4" fmla="*/ 495300 w 495300"/>
                    <a:gd name="connsiteY4" fmla="*/ 247650 h 764381"/>
                    <a:gd name="connsiteX5" fmla="*/ 495300 w 495300"/>
                    <a:gd name="connsiteY5" fmla="*/ 247651 h 76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5300" h="764381">
                      <a:moveTo>
                        <a:pt x="1191" y="764381"/>
                      </a:moveTo>
                      <a:cubicBezTo>
                        <a:pt x="0" y="592138"/>
                        <a:pt x="1191" y="419894"/>
                        <a:pt x="0" y="247651"/>
                      </a:cubicBezTo>
                      <a:lnTo>
                        <a:pt x="0" y="247650"/>
                      </a:lnTo>
                      <a:cubicBezTo>
                        <a:pt x="0" y="110877"/>
                        <a:pt x="110877" y="0"/>
                        <a:pt x="247650" y="0"/>
                      </a:cubicBezTo>
                      <a:cubicBezTo>
                        <a:pt x="384423" y="0"/>
                        <a:pt x="495300" y="110877"/>
                        <a:pt x="495300" y="247650"/>
                      </a:cubicBezTo>
                      <a:lnTo>
                        <a:pt x="495300" y="247651"/>
                      </a:lnTo>
                    </a:path>
                  </a:pathLst>
                </a:cu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0869" tIns="45434" rIns="90869" bIns="4543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15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</p:grpSp>
          <p:grpSp>
            <p:nvGrpSpPr>
              <p:cNvPr id="237" name="Gruppieren 363">
                <a:extLst>
                  <a:ext uri="{FF2B5EF4-FFF2-40B4-BE49-F238E27FC236}">
                    <a16:creationId xmlns:a16="http://schemas.microsoft.com/office/drawing/2014/main" xmlns="" id="{38EA8FCD-240D-46E0-AF30-1223562646E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flipH="1">
                <a:off x="3050741" y="1772733"/>
                <a:ext cx="73494" cy="155546"/>
                <a:chOff x="2519772" y="2429466"/>
                <a:chExt cx="278016" cy="588409"/>
              </a:xfrm>
              <a:grpFill/>
            </p:grpSpPr>
            <p:sp>
              <p:nvSpPr>
                <p:cNvPr id="238" name="Ellipse 364">
                  <a:extLst>
                    <a:ext uri="{FF2B5EF4-FFF2-40B4-BE49-F238E27FC236}">
                      <a16:creationId xmlns:a16="http://schemas.microsoft.com/office/drawing/2014/main" xmlns="" id="{BAA38C3B-4025-431C-BEB3-ACED7649FD02}"/>
                    </a:ext>
                  </a:extLst>
                </p:cNvPr>
                <p:cNvSpPr/>
                <p:nvPr/>
              </p:nvSpPr>
              <p:spPr>
                <a:xfrm>
                  <a:off x="2519772" y="2429466"/>
                  <a:ext cx="278016" cy="278016"/>
                </a:xfrm>
                <a:prstGeom prst="ellips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1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cxnSp>
              <p:nvCxnSpPr>
                <p:cNvPr id="239" name="Gerader Verbinder 365">
                  <a:extLst>
                    <a:ext uri="{FF2B5EF4-FFF2-40B4-BE49-F238E27FC236}">
                      <a16:creationId xmlns:a16="http://schemas.microsoft.com/office/drawing/2014/main" xmlns="" id="{1904BAB6-6B3F-486E-9F96-D3B311CA2DD8}"/>
                    </a:ext>
                  </a:extLst>
                </p:cNvPr>
                <p:cNvCxnSpPr/>
                <p:nvPr/>
              </p:nvCxnSpPr>
              <p:spPr>
                <a:xfrm>
                  <a:off x="2658780" y="2709863"/>
                  <a:ext cx="0" cy="308012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</p:grpSp>
        </p:grpSp>
        <p:grpSp>
          <p:nvGrpSpPr>
            <p:cNvPr id="262" name="Gruppieren 363">
              <a:extLst>
                <a:ext uri="{FF2B5EF4-FFF2-40B4-BE49-F238E27FC236}">
                  <a16:creationId xmlns:a16="http://schemas.microsoft.com/office/drawing/2014/main" xmlns="" id="{891076CE-3596-40B6-9E76-04C6DA5431FC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7424017" y="2107774"/>
              <a:ext cx="102194" cy="217631"/>
              <a:chOff x="2519772" y="2429466"/>
              <a:chExt cx="278016" cy="588409"/>
            </a:xfrm>
            <a:solidFill>
              <a:schemeClr val="bg1"/>
            </a:solidFill>
          </p:grpSpPr>
          <p:sp>
            <p:nvSpPr>
              <p:cNvPr id="263" name="Ellipse 364">
                <a:extLst>
                  <a:ext uri="{FF2B5EF4-FFF2-40B4-BE49-F238E27FC236}">
                    <a16:creationId xmlns:a16="http://schemas.microsoft.com/office/drawing/2014/main" xmlns="" id="{98195444-04ED-4FF4-8B3C-0FF5C16BCB25}"/>
                  </a:ext>
                </a:extLst>
              </p:cNvPr>
              <p:cNvSpPr/>
              <p:nvPr/>
            </p:nvSpPr>
            <p:spPr>
              <a:xfrm>
                <a:off x="2519772" y="2429466"/>
                <a:ext cx="278016" cy="278016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cxnSp>
            <p:nvCxnSpPr>
              <p:cNvPr id="264" name="Gerader Verbinder 365">
                <a:extLst>
                  <a:ext uri="{FF2B5EF4-FFF2-40B4-BE49-F238E27FC236}">
                    <a16:creationId xmlns:a16="http://schemas.microsoft.com/office/drawing/2014/main" xmlns="" id="{1B7A2524-925C-4102-9A98-B56EAE3E9550}"/>
                  </a:ext>
                </a:extLst>
              </p:cNvPr>
              <p:cNvCxnSpPr/>
              <p:nvPr/>
            </p:nvCxnSpPr>
            <p:spPr>
              <a:xfrm>
                <a:off x="2658780" y="2709863"/>
                <a:ext cx="0" cy="308012"/>
              </a:xfrm>
              <a:prstGeom prst="lin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</p:cxnSp>
        </p:grpSp>
        <p:grpSp>
          <p:nvGrpSpPr>
            <p:cNvPr id="265" name="Gruppieren 363">
              <a:extLst>
                <a:ext uri="{FF2B5EF4-FFF2-40B4-BE49-F238E27FC236}">
                  <a16:creationId xmlns:a16="http://schemas.microsoft.com/office/drawing/2014/main" xmlns="" id="{EF5774E3-2262-42DE-8CCC-DDBADD342FF2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6014124" y="2107774"/>
              <a:ext cx="102194" cy="217631"/>
              <a:chOff x="2519772" y="2429466"/>
              <a:chExt cx="278016" cy="588409"/>
            </a:xfrm>
            <a:solidFill>
              <a:schemeClr val="bg1"/>
            </a:solidFill>
          </p:grpSpPr>
          <p:sp>
            <p:nvSpPr>
              <p:cNvPr id="266" name="Ellipse 364">
                <a:extLst>
                  <a:ext uri="{FF2B5EF4-FFF2-40B4-BE49-F238E27FC236}">
                    <a16:creationId xmlns:a16="http://schemas.microsoft.com/office/drawing/2014/main" xmlns="" id="{AFE37AE7-7E80-4C89-AFD5-91BFBA722BC8}"/>
                  </a:ext>
                </a:extLst>
              </p:cNvPr>
              <p:cNvSpPr/>
              <p:nvPr/>
            </p:nvSpPr>
            <p:spPr>
              <a:xfrm>
                <a:off x="2519772" y="2429466"/>
                <a:ext cx="278016" cy="278016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cxnSp>
            <p:nvCxnSpPr>
              <p:cNvPr id="267" name="Gerader Verbinder 365">
                <a:extLst>
                  <a:ext uri="{FF2B5EF4-FFF2-40B4-BE49-F238E27FC236}">
                    <a16:creationId xmlns:a16="http://schemas.microsoft.com/office/drawing/2014/main" xmlns="" id="{00C600D9-510F-4A70-8F08-12FE34B0D9DE}"/>
                  </a:ext>
                </a:extLst>
              </p:cNvPr>
              <p:cNvCxnSpPr/>
              <p:nvPr/>
            </p:nvCxnSpPr>
            <p:spPr>
              <a:xfrm>
                <a:off x="2658780" y="2709863"/>
                <a:ext cx="0" cy="308012"/>
              </a:xfrm>
              <a:prstGeom prst="lin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</p:cxnSp>
        </p:grpSp>
        <p:grpSp>
          <p:nvGrpSpPr>
            <p:cNvPr id="268" name="Gruppieren 267">
              <a:extLst>
                <a:ext uri="{FF2B5EF4-FFF2-40B4-BE49-F238E27FC236}">
                  <a16:creationId xmlns:a16="http://schemas.microsoft.com/office/drawing/2014/main" xmlns="" id="{37F8B21B-7B9B-46FC-9077-5FAE1B059406}"/>
                </a:ext>
              </a:extLst>
            </p:cNvPr>
            <p:cNvGrpSpPr/>
            <p:nvPr/>
          </p:nvGrpSpPr>
          <p:grpSpPr>
            <a:xfrm>
              <a:off x="7740388" y="1339960"/>
              <a:ext cx="366858" cy="164405"/>
              <a:chOff x="5713966" y="1777233"/>
              <a:chExt cx="366858" cy="163390"/>
            </a:xfrm>
            <a:solidFill>
              <a:schemeClr val="bg1"/>
            </a:solidFill>
          </p:grpSpPr>
          <p:sp>
            <p:nvSpPr>
              <p:cNvPr id="269" name="Freeform 146">
                <a:extLst>
                  <a:ext uri="{FF2B5EF4-FFF2-40B4-BE49-F238E27FC236}">
                    <a16:creationId xmlns:a16="http://schemas.microsoft.com/office/drawing/2014/main" xmlns="" id="{98892DE0-0B3C-4586-9775-2D0E9B6EE4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0999" y="1808061"/>
                <a:ext cx="252793" cy="132562"/>
              </a:xfrm>
              <a:custGeom>
                <a:avLst/>
                <a:gdLst>
                  <a:gd name="T0" fmla="*/ 0 w 328"/>
                  <a:gd name="T1" fmla="*/ 0 h 172"/>
                  <a:gd name="T2" fmla="*/ 0 w 328"/>
                  <a:gd name="T3" fmla="*/ 83 h 172"/>
                  <a:gd name="T4" fmla="*/ 34 w 328"/>
                  <a:gd name="T5" fmla="*/ 83 h 172"/>
                  <a:gd name="T6" fmla="*/ 34 w 328"/>
                  <a:gd name="T7" fmla="*/ 54 h 172"/>
                  <a:gd name="T8" fmla="*/ 127 w 328"/>
                  <a:gd name="T9" fmla="*/ 54 h 172"/>
                  <a:gd name="T10" fmla="*/ 157 w 328"/>
                  <a:gd name="T11" fmla="*/ 172 h 172"/>
                  <a:gd name="T12" fmla="*/ 176 w 328"/>
                  <a:gd name="T13" fmla="*/ 172 h 172"/>
                  <a:gd name="T14" fmla="*/ 201 w 328"/>
                  <a:gd name="T15" fmla="*/ 54 h 172"/>
                  <a:gd name="T16" fmla="*/ 294 w 328"/>
                  <a:gd name="T17" fmla="*/ 54 h 172"/>
                  <a:gd name="T18" fmla="*/ 294 w 328"/>
                  <a:gd name="T19" fmla="*/ 83 h 172"/>
                  <a:gd name="T20" fmla="*/ 328 w 328"/>
                  <a:gd name="T21" fmla="*/ 83 h 172"/>
                  <a:gd name="T22" fmla="*/ 328 w 328"/>
                  <a:gd name="T23" fmla="*/ 0 h 172"/>
                  <a:gd name="T24" fmla="*/ 294 w 328"/>
                  <a:gd name="T25" fmla="*/ 0 h 172"/>
                  <a:gd name="T26" fmla="*/ 294 w 328"/>
                  <a:gd name="T27" fmla="*/ 29 h 172"/>
                  <a:gd name="T28" fmla="*/ 162 w 328"/>
                  <a:gd name="T29" fmla="*/ 0 h 172"/>
                  <a:gd name="T30" fmla="*/ 34 w 328"/>
                  <a:gd name="T31" fmla="*/ 29 h 172"/>
                  <a:gd name="T32" fmla="*/ 34 w 328"/>
                  <a:gd name="T33" fmla="*/ 0 h 172"/>
                  <a:gd name="T34" fmla="*/ 0 w 328"/>
                  <a:gd name="T35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8" h="172">
                    <a:moveTo>
                      <a:pt x="0" y="0"/>
                    </a:moveTo>
                    <a:lnTo>
                      <a:pt x="0" y="83"/>
                    </a:lnTo>
                    <a:lnTo>
                      <a:pt x="34" y="83"/>
                    </a:lnTo>
                    <a:lnTo>
                      <a:pt x="34" y="54"/>
                    </a:lnTo>
                    <a:lnTo>
                      <a:pt x="127" y="54"/>
                    </a:lnTo>
                    <a:lnTo>
                      <a:pt x="157" y="172"/>
                    </a:lnTo>
                    <a:lnTo>
                      <a:pt x="176" y="172"/>
                    </a:lnTo>
                    <a:lnTo>
                      <a:pt x="201" y="54"/>
                    </a:lnTo>
                    <a:lnTo>
                      <a:pt x="294" y="54"/>
                    </a:lnTo>
                    <a:lnTo>
                      <a:pt x="294" y="83"/>
                    </a:lnTo>
                    <a:lnTo>
                      <a:pt x="328" y="83"/>
                    </a:lnTo>
                    <a:lnTo>
                      <a:pt x="328" y="0"/>
                    </a:lnTo>
                    <a:lnTo>
                      <a:pt x="294" y="0"/>
                    </a:lnTo>
                    <a:lnTo>
                      <a:pt x="294" y="29"/>
                    </a:lnTo>
                    <a:lnTo>
                      <a:pt x="162" y="0"/>
                    </a:lnTo>
                    <a:lnTo>
                      <a:pt x="34" y="29"/>
                    </a:lnTo>
                    <a:lnTo>
                      <a:pt x="3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7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70" name="Line 147">
                <a:extLst>
                  <a:ext uri="{FF2B5EF4-FFF2-40B4-BE49-F238E27FC236}">
                    <a16:creationId xmlns:a16="http://schemas.microsoft.com/office/drawing/2014/main" xmlns="" id="{35A929DF-4470-4F84-B59F-D83A97B8AC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13966" y="1792647"/>
                <a:ext cx="140269" cy="0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7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71" name="Line 148">
                <a:extLst>
                  <a:ext uri="{FF2B5EF4-FFF2-40B4-BE49-F238E27FC236}">
                    <a16:creationId xmlns:a16="http://schemas.microsoft.com/office/drawing/2014/main" xmlns="" id="{65529242-113C-4BAF-8AE4-6BB97940E5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67145" y="1777233"/>
                <a:ext cx="33911" cy="0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7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72" name="Line 149">
                <a:extLst>
                  <a:ext uri="{FF2B5EF4-FFF2-40B4-BE49-F238E27FC236}">
                    <a16:creationId xmlns:a16="http://schemas.microsoft.com/office/drawing/2014/main" xmlns="" id="{3663443D-F985-4767-989A-FAA4351E10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40555" y="1792647"/>
                <a:ext cx="140269" cy="0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7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73" name="Line 150">
                <a:extLst>
                  <a:ext uri="{FF2B5EF4-FFF2-40B4-BE49-F238E27FC236}">
                    <a16:creationId xmlns:a16="http://schemas.microsoft.com/office/drawing/2014/main" xmlns="" id="{B7576B9D-C50A-43FC-95B7-C5B51A1F760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93734" y="1777233"/>
                <a:ext cx="30058" cy="0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7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274" name="Group 9">
              <a:extLst>
                <a:ext uri="{FF2B5EF4-FFF2-40B4-BE49-F238E27FC236}">
                  <a16:creationId xmlns:a16="http://schemas.microsoft.com/office/drawing/2014/main" xmlns="" id="{617FE43B-B706-406A-8BFA-E0B144AE3FA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07805" y="2062167"/>
              <a:ext cx="171197" cy="255029"/>
              <a:chOff x="2711" y="1376"/>
              <a:chExt cx="333" cy="493"/>
            </a:xfrm>
            <a:noFill/>
          </p:grpSpPr>
          <p:sp>
            <p:nvSpPr>
              <p:cNvPr id="275" name="Freeform 10">
                <a:extLst>
                  <a:ext uri="{FF2B5EF4-FFF2-40B4-BE49-F238E27FC236}">
                    <a16:creationId xmlns:a16="http://schemas.microsoft.com/office/drawing/2014/main" xmlns="" id="{8844CED5-5132-42C9-8432-2D9DDBD27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5" y="1376"/>
                <a:ext cx="49" cy="30"/>
              </a:xfrm>
              <a:custGeom>
                <a:avLst/>
                <a:gdLst>
                  <a:gd name="T0" fmla="*/ 8 w 10"/>
                  <a:gd name="T1" fmla="*/ 6 h 6"/>
                  <a:gd name="T2" fmla="*/ 3 w 10"/>
                  <a:gd name="T3" fmla="*/ 6 h 6"/>
                  <a:gd name="T4" fmla="*/ 0 w 10"/>
                  <a:gd name="T5" fmla="*/ 3 h 6"/>
                  <a:gd name="T6" fmla="*/ 0 w 10"/>
                  <a:gd name="T7" fmla="*/ 3 h 6"/>
                  <a:gd name="T8" fmla="*/ 3 w 10"/>
                  <a:gd name="T9" fmla="*/ 0 h 6"/>
                  <a:gd name="T10" fmla="*/ 8 w 10"/>
                  <a:gd name="T11" fmla="*/ 0 h 6"/>
                  <a:gd name="T12" fmla="*/ 10 w 10"/>
                  <a:gd name="T13" fmla="*/ 3 h 6"/>
                  <a:gd name="T14" fmla="*/ 10 w 10"/>
                  <a:gd name="T15" fmla="*/ 3 h 6"/>
                  <a:gd name="T16" fmla="*/ 8 w 10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6">
                    <a:moveTo>
                      <a:pt x="8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0" y="1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4"/>
                      <a:pt x="9" y="6"/>
                      <a:pt x="8" y="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33" tIns="45716" rIns="91433" bIns="457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76" name="Freeform 11">
                <a:extLst>
                  <a:ext uri="{FF2B5EF4-FFF2-40B4-BE49-F238E27FC236}">
                    <a16:creationId xmlns:a16="http://schemas.microsoft.com/office/drawing/2014/main" xmlns="" id="{56BDB499-992D-4200-9690-7B87655623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1" y="1376"/>
                <a:ext cx="54" cy="30"/>
              </a:xfrm>
              <a:custGeom>
                <a:avLst/>
                <a:gdLst>
                  <a:gd name="T0" fmla="*/ 8 w 11"/>
                  <a:gd name="T1" fmla="*/ 6 h 6"/>
                  <a:gd name="T2" fmla="*/ 3 w 11"/>
                  <a:gd name="T3" fmla="*/ 6 h 6"/>
                  <a:gd name="T4" fmla="*/ 0 w 11"/>
                  <a:gd name="T5" fmla="*/ 3 h 6"/>
                  <a:gd name="T6" fmla="*/ 0 w 11"/>
                  <a:gd name="T7" fmla="*/ 3 h 6"/>
                  <a:gd name="T8" fmla="*/ 3 w 11"/>
                  <a:gd name="T9" fmla="*/ 0 h 6"/>
                  <a:gd name="T10" fmla="*/ 8 w 11"/>
                  <a:gd name="T11" fmla="*/ 0 h 6"/>
                  <a:gd name="T12" fmla="*/ 11 w 11"/>
                  <a:gd name="T13" fmla="*/ 3 h 6"/>
                  <a:gd name="T14" fmla="*/ 11 w 11"/>
                  <a:gd name="T15" fmla="*/ 3 h 6"/>
                  <a:gd name="T16" fmla="*/ 8 w 11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6">
                    <a:moveTo>
                      <a:pt x="8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2" y="6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0" y="0"/>
                      <a:pt x="11" y="1"/>
                      <a:pt x="11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4"/>
                      <a:pt x="10" y="6"/>
                      <a:pt x="8" y="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33" tIns="45716" rIns="91433" bIns="457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77" name="Freeform 12">
                <a:extLst>
                  <a:ext uri="{FF2B5EF4-FFF2-40B4-BE49-F238E27FC236}">
                    <a16:creationId xmlns:a16="http://schemas.microsoft.com/office/drawing/2014/main" xmlns="" id="{E0318B2C-C574-4955-A2D6-83FB5B53B8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376"/>
                <a:ext cx="127" cy="493"/>
              </a:xfrm>
              <a:custGeom>
                <a:avLst/>
                <a:gdLst>
                  <a:gd name="T0" fmla="*/ 0 w 26"/>
                  <a:gd name="T1" fmla="*/ 100 h 100"/>
                  <a:gd name="T2" fmla="*/ 0 w 26"/>
                  <a:gd name="T3" fmla="*/ 9 h 100"/>
                  <a:gd name="T4" fmla="*/ 26 w 26"/>
                  <a:gd name="T5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6" h="100">
                    <a:moveTo>
                      <a:pt x="0" y="10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10" y="0"/>
                      <a:pt x="26" y="0"/>
                    </a:cubicBez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33" tIns="45716" rIns="91433" bIns="457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78" name="Freeform 13">
                <a:extLst>
                  <a:ext uri="{FF2B5EF4-FFF2-40B4-BE49-F238E27FC236}">
                    <a16:creationId xmlns:a16="http://schemas.microsoft.com/office/drawing/2014/main" xmlns="" id="{38EE847F-2D8E-4C70-8D7C-37A5FACD37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0" y="1376"/>
                <a:ext cx="128" cy="45"/>
              </a:xfrm>
              <a:custGeom>
                <a:avLst/>
                <a:gdLst>
                  <a:gd name="T0" fmla="*/ 26 w 26"/>
                  <a:gd name="T1" fmla="*/ 9 h 9"/>
                  <a:gd name="T2" fmla="*/ 0 w 26"/>
                  <a:gd name="T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" h="9">
                    <a:moveTo>
                      <a:pt x="26" y="9"/>
                    </a:moveTo>
                    <a:cubicBezTo>
                      <a:pt x="26" y="9"/>
                      <a:pt x="16" y="0"/>
                      <a:pt x="0" y="0"/>
                    </a:cubicBez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33" tIns="45716" rIns="91433" bIns="457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279" name="Group 9">
              <a:extLst>
                <a:ext uri="{FF2B5EF4-FFF2-40B4-BE49-F238E27FC236}">
                  <a16:creationId xmlns:a16="http://schemas.microsoft.com/office/drawing/2014/main" xmlns="" id="{AAE0970F-4340-4EA9-AAD7-2C2E4BEE826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01786" y="2062167"/>
              <a:ext cx="171197" cy="255029"/>
              <a:chOff x="2711" y="1376"/>
              <a:chExt cx="333" cy="493"/>
            </a:xfrm>
            <a:noFill/>
          </p:grpSpPr>
          <p:sp>
            <p:nvSpPr>
              <p:cNvPr id="280" name="Freeform 10">
                <a:extLst>
                  <a:ext uri="{FF2B5EF4-FFF2-40B4-BE49-F238E27FC236}">
                    <a16:creationId xmlns:a16="http://schemas.microsoft.com/office/drawing/2014/main" xmlns="" id="{57115DCD-E6A1-4E93-976D-E10D39456A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5" y="1376"/>
                <a:ext cx="49" cy="30"/>
              </a:xfrm>
              <a:custGeom>
                <a:avLst/>
                <a:gdLst>
                  <a:gd name="T0" fmla="*/ 8 w 10"/>
                  <a:gd name="T1" fmla="*/ 6 h 6"/>
                  <a:gd name="T2" fmla="*/ 3 w 10"/>
                  <a:gd name="T3" fmla="*/ 6 h 6"/>
                  <a:gd name="T4" fmla="*/ 0 w 10"/>
                  <a:gd name="T5" fmla="*/ 3 h 6"/>
                  <a:gd name="T6" fmla="*/ 0 w 10"/>
                  <a:gd name="T7" fmla="*/ 3 h 6"/>
                  <a:gd name="T8" fmla="*/ 3 w 10"/>
                  <a:gd name="T9" fmla="*/ 0 h 6"/>
                  <a:gd name="T10" fmla="*/ 8 w 10"/>
                  <a:gd name="T11" fmla="*/ 0 h 6"/>
                  <a:gd name="T12" fmla="*/ 10 w 10"/>
                  <a:gd name="T13" fmla="*/ 3 h 6"/>
                  <a:gd name="T14" fmla="*/ 10 w 10"/>
                  <a:gd name="T15" fmla="*/ 3 h 6"/>
                  <a:gd name="T16" fmla="*/ 8 w 10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6">
                    <a:moveTo>
                      <a:pt x="8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0" y="1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4"/>
                      <a:pt x="9" y="6"/>
                      <a:pt x="8" y="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33" tIns="45716" rIns="91433" bIns="457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81" name="Freeform 11">
                <a:extLst>
                  <a:ext uri="{FF2B5EF4-FFF2-40B4-BE49-F238E27FC236}">
                    <a16:creationId xmlns:a16="http://schemas.microsoft.com/office/drawing/2014/main" xmlns="" id="{56368923-48D1-4A62-BABA-00B37D14B3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1" y="1376"/>
                <a:ext cx="54" cy="30"/>
              </a:xfrm>
              <a:custGeom>
                <a:avLst/>
                <a:gdLst>
                  <a:gd name="T0" fmla="*/ 8 w 11"/>
                  <a:gd name="T1" fmla="*/ 6 h 6"/>
                  <a:gd name="T2" fmla="*/ 3 w 11"/>
                  <a:gd name="T3" fmla="*/ 6 h 6"/>
                  <a:gd name="T4" fmla="*/ 0 w 11"/>
                  <a:gd name="T5" fmla="*/ 3 h 6"/>
                  <a:gd name="T6" fmla="*/ 0 w 11"/>
                  <a:gd name="T7" fmla="*/ 3 h 6"/>
                  <a:gd name="T8" fmla="*/ 3 w 11"/>
                  <a:gd name="T9" fmla="*/ 0 h 6"/>
                  <a:gd name="T10" fmla="*/ 8 w 11"/>
                  <a:gd name="T11" fmla="*/ 0 h 6"/>
                  <a:gd name="T12" fmla="*/ 11 w 11"/>
                  <a:gd name="T13" fmla="*/ 3 h 6"/>
                  <a:gd name="T14" fmla="*/ 11 w 11"/>
                  <a:gd name="T15" fmla="*/ 3 h 6"/>
                  <a:gd name="T16" fmla="*/ 8 w 11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6">
                    <a:moveTo>
                      <a:pt x="8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2" y="6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0" y="0"/>
                      <a:pt x="11" y="1"/>
                      <a:pt x="11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4"/>
                      <a:pt x="10" y="6"/>
                      <a:pt x="8" y="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33" tIns="45716" rIns="91433" bIns="457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82" name="Freeform 12">
                <a:extLst>
                  <a:ext uri="{FF2B5EF4-FFF2-40B4-BE49-F238E27FC236}">
                    <a16:creationId xmlns:a16="http://schemas.microsoft.com/office/drawing/2014/main" xmlns="" id="{E3E9C216-C4AE-45E9-A86D-4B4112C07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376"/>
                <a:ext cx="127" cy="493"/>
              </a:xfrm>
              <a:custGeom>
                <a:avLst/>
                <a:gdLst>
                  <a:gd name="T0" fmla="*/ 0 w 26"/>
                  <a:gd name="T1" fmla="*/ 100 h 100"/>
                  <a:gd name="T2" fmla="*/ 0 w 26"/>
                  <a:gd name="T3" fmla="*/ 9 h 100"/>
                  <a:gd name="T4" fmla="*/ 26 w 26"/>
                  <a:gd name="T5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6" h="100">
                    <a:moveTo>
                      <a:pt x="0" y="10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10" y="0"/>
                      <a:pt x="26" y="0"/>
                    </a:cubicBez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33" tIns="45716" rIns="91433" bIns="457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83" name="Freeform 13">
                <a:extLst>
                  <a:ext uri="{FF2B5EF4-FFF2-40B4-BE49-F238E27FC236}">
                    <a16:creationId xmlns:a16="http://schemas.microsoft.com/office/drawing/2014/main" xmlns="" id="{35F3B5C1-77AA-42B9-A9FC-A3CB2298E9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0" y="1376"/>
                <a:ext cx="128" cy="45"/>
              </a:xfrm>
              <a:custGeom>
                <a:avLst/>
                <a:gdLst>
                  <a:gd name="T0" fmla="*/ 26 w 26"/>
                  <a:gd name="T1" fmla="*/ 9 h 9"/>
                  <a:gd name="T2" fmla="*/ 0 w 26"/>
                  <a:gd name="T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" h="9">
                    <a:moveTo>
                      <a:pt x="26" y="9"/>
                    </a:moveTo>
                    <a:cubicBezTo>
                      <a:pt x="26" y="9"/>
                      <a:pt x="16" y="0"/>
                      <a:pt x="0" y="0"/>
                    </a:cubicBez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33" tIns="45716" rIns="91433" bIns="457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284" name="Group 9">
              <a:extLst>
                <a:ext uri="{FF2B5EF4-FFF2-40B4-BE49-F238E27FC236}">
                  <a16:creationId xmlns:a16="http://schemas.microsoft.com/office/drawing/2014/main" xmlns="" id="{653CD229-7468-4A21-8A20-2D3ACA147DA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97892" y="2062167"/>
              <a:ext cx="171197" cy="255029"/>
              <a:chOff x="2711" y="1376"/>
              <a:chExt cx="333" cy="493"/>
            </a:xfrm>
            <a:noFill/>
          </p:grpSpPr>
          <p:sp>
            <p:nvSpPr>
              <p:cNvPr id="285" name="Freeform 10">
                <a:extLst>
                  <a:ext uri="{FF2B5EF4-FFF2-40B4-BE49-F238E27FC236}">
                    <a16:creationId xmlns:a16="http://schemas.microsoft.com/office/drawing/2014/main" xmlns="" id="{37FED00A-D94B-436E-AE65-A38C367218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5" y="1376"/>
                <a:ext cx="49" cy="30"/>
              </a:xfrm>
              <a:custGeom>
                <a:avLst/>
                <a:gdLst>
                  <a:gd name="T0" fmla="*/ 8 w 10"/>
                  <a:gd name="T1" fmla="*/ 6 h 6"/>
                  <a:gd name="T2" fmla="*/ 3 w 10"/>
                  <a:gd name="T3" fmla="*/ 6 h 6"/>
                  <a:gd name="T4" fmla="*/ 0 w 10"/>
                  <a:gd name="T5" fmla="*/ 3 h 6"/>
                  <a:gd name="T6" fmla="*/ 0 w 10"/>
                  <a:gd name="T7" fmla="*/ 3 h 6"/>
                  <a:gd name="T8" fmla="*/ 3 w 10"/>
                  <a:gd name="T9" fmla="*/ 0 h 6"/>
                  <a:gd name="T10" fmla="*/ 8 w 10"/>
                  <a:gd name="T11" fmla="*/ 0 h 6"/>
                  <a:gd name="T12" fmla="*/ 10 w 10"/>
                  <a:gd name="T13" fmla="*/ 3 h 6"/>
                  <a:gd name="T14" fmla="*/ 10 w 10"/>
                  <a:gd name="T15" fmla="*/ 3 h 6"/>
                  <a:gd name="T16" fmla="*/ 8 w 10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6">
                    <a:moveTo>
                      <a:pt x="8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0" y="1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4"/>
                      <a:pt x="9" y="6"/>
                      <a:pt x="8" y="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33" tIns="45716" rIns="91433" bIns="457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86" name="Freeform 11">
                <a:extLst>
                  <a:ext uri="{FF2B5EF4-FFF2-40B4-BE49-F238E27FC236}">
                    <a16:creationId xmlns:a16="http://schemas.microsoft.com/office/drawing/2014/main" xmlns="" id="{265B6F88-8F6D-4DB7-973B-5061AE303C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1" y="1376"/>
                <a:ext cx="54" cy="30"/>
              </a:xfrm>
              <a:custGeom>
                <a:avLst/>
                <a:gdLst>
                  <a:gd name="T0" fmla="*/ 8 w 11"/>
                  <a:gd name="T1" fmla="*/ 6 h 6"/>
                  <a:gd name="T2" fmla="*/ 3 w 11"/>
                  <a:gd name="T3" fmla="*/ 6 h 6"/>
                  <a:gd name="T4" fmla="*/ 0 w 11"/>
                  <a:gd name="T5" fmla="*/ 3 h 6"/>
                  <a:gd name="T6" fmla="*/ 0 w 11"/>
                  <a:gd name="T7" fmla="*/ 3 h 6"/>
                  <a:gd name="T8" fmla="*/ 3 w 11"/>
                  <a:gd name="T9" fmla="*/ 0 h 6"/>
                  <a:gd name="T10" fmla="*/ 8 w 11"/>
                  <a:gd name="T11" fmla="*/ 0 h 6"/>
                  <a:gd name="T12" fmla="*/ 11 w 11"/>
                  <a:gd name="T13" fmla="*/ 3 h 6"/>
                  <a:gd name="T14" fmla="*/ 11 w 11"/>
                  <a:gd name="T15" fmla="*/ 3 h 6"/>
                  <a:gd name="T16" fmla="*/ 8 w 11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6">
                    <a:moveTo>
                      <a:pt x="8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2" y="6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0" y="0"/>
                      <a:pt x="11" y="1"/>
                      <a:pt x="11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4"/>
                      <a:pt x="10" y="6"/>
                      <a:pt x="8" y="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33" tIns="45716" rIns="91433" bIns="457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87" name="Freeform 12">
                <a:extLst>
                  <a:ext uri="{FF2B5EF4-FFF2-40B4-BE49-F238E27FC236}">
                    <a16:creationId xmlns:a16="http://schemas.microsoft.com/office/drawing/2014/main" xmlns="" id="{FA187DF7-BF43-4C89-95ED-46AF886F7B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376"/>
                <a:ext cx="127" cy="493"/>
              </a:xfrm>
              <a:custGeom>
                <a:avLst/>
                <a:gdLst>
                  <a:gd name="T0" fmla="*/ 0 w 26"/>
                  <a:gd name="T1" fmla="*/ 100 h 100"/>
                  <a:gd name="T2" fmla="*/ 0 w 26"/>
                  <a:gd name="T3" fmla="*/ 9 h 100"/>
                  <a:gd name="T4" fmla="*/ 26 w 26"/>
                  <a:gd name="T5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6" h="100">
                    <a:moveTo>
                      <a:pt x="0" y="10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10" y="0"/>
                      <a:pt x="26" y="0"/>
                    </a:cubicBez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33" tIns="45716" rIns="91433" bIns="457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88" name="Freeform 13">
                <a:extLst>
                  <a:ext uri="{FF2B5EF4-FFF2-40B4-BE49-F238E27FC236}">
                    <a16:creationId xmlns:a16="http://schemas.microsoft.com/office/drawing/2014/main" xmlns="" id="{88365CE6-A371-4133-85E3-9D4D7DBEAC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0" y="1376"/>
                <a:ext cx="128" cy="45"/>
              </a:xfrm>
              <a:custGeom>
                <a:avLst/>
                <a:gdLst>
                  <a:gd name="T0" fmla="*/ 26 w 26"/>
                  <a:gd name="T1" fmla="*/ 9 h 9"/>
                  <a:gd name="T2" fmla="*/ 0 w 26"/>
                  <a:gd name="T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" h="9">
                    <a:moveTo>
                      <a:pt x="26" y="9"/>
                    </a:moveTo>
                    <a:cubicBezTo>
                      <a:pt x="26" y="9"/>
                      <a:pt x="16" y="0"/>
                      <a:pt x="0" y="0"/>
                    </a:cubicBez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33" tIns="45716" rIns="91433" bIns="457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289" name="Gruppieren 619">
              <a:extLst>
                <a:ext uri="{FF2B5EF4-FFF2-40B4-BE49-F238E27FC236}">
                  <a16:creationId xmlns:a16="http://schemas.microsoft.com/office/drawing/2014/main" xmlns="" id="{A9204CA6-F0CB-43C0-B46B-22BD4BFF2AE2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3741749" y="2286710"/>
              <a:ext cx="319912" cy="139200"/>
              <a:chOff x="5076621" y="1541383"/>
              <a:chExt cx="2538994" cy="1097951"/>
            </a:xfrm>
            <a:solidFill>
              <a:srgbClr val="F2F4F6"/>
            </a:solidFill>
          </p:grpSpPr>
          <p:sp>
            <p:nvSpPr>
              <p:cNvPr id="290" name="Freihandform: Form 620">
                <a:extLst>
                  <a:ext uri="{FF2B5EF4-FFF2-40B4-BE49-F238E27FC236}">
                    <a16:creationId xmlns:a16="http://schemas.microsoft.com/office/drawing/2014/main" xmlns="" id="{74544D4B-4536-4701-BDAF-BE2EC4DEAAAE}"/>
                  </a:ext>
                </a:extLst>
              </p:cNvPr>
              <p:cNvSpPr/>
              <p:nvPr/>
            </p:nvSpPr>
            <p:spPr>
              <a:xfrm>
                <a:off x="5076621" y="1545984"/>
                <a:ext cx="2538994" cy="903690"/>
              </a:xfrm>
              <a:custGeom>
                <a:avLst/>
                <a:gdLst>
                  <a:gd name="connsiteX0" fmla="*/ 491341 w 6574345"/>
                  <a:gd name="connsiteY0" fmla="*/ 0 h 2339969"/>
                  <a:gd name="connsiteX1" fmla="*/ 5270535 w 6574345"/>
                  <a:gd name="connsiteY1" fmla="*/ 0 h 2339969"/>
                  <a:gd name="connsiteX2" fmla="*/ 6574345 w 6574345"/>
                  <a:gd name="connsiteY2" fmla="*/ 1124790 h 2339969"/>
                  <a:gd name="connsiteX3" fmla="*/ 6574345 w 6574345"/>
                  <a:gd name="connsiteY3" fmla="*/ 2339969 h 2339969"/>
                  <a:gd name="connsiteX4" fmla="*/ 6008420 w 6574345"/>
                  <a:gd name="connsiteY4" fmla="*/ 2339969 h 2339969"/>
                  <a:gd name="connsiteX5" fmla="*/ 6011287 w 6574345"/>
                  <a:gd name="connsiteY5" fmla="*/ 2311528 h 2339969"/>
                  <a:gd name="connsiteX6" fmla="*/ 5491746 w 6574345"/>
                  <a:gd name="connsiteY6" fmla="*/ 1791987 h 2339969"/>
                  <a:gd name="connsiteX7" fmla="*/ 4972205 w 6574345"/>
                  <a:gd name="connsiteY7" fmla="*/ 2311528 h 2339969"/>
                  <a:gd name="connsiteX8" fmla="*/ 4975072 w 6574345"/>
                  <a:gd name="connsiteY8" fmla="*/ 2339969 h 2339969"/>
                  <a:gd name="connsiteX9" fmla="*/ 2057927 w 6574345"/>
                  <a:gd name="connsiteY9" fmla="*/ 2339969 h 2339969"/>
                  <a:gd name="connsiteX10" fmla="*/ 2060794 w 6574345"/>
                  <a:gd name="connsiteY10" fmla="*/ 2311528 h 2339969"/>
                  <a:gd name="connsiteX11" fmla="*/ 1541253 w 6574345"/>
                  <a:gd name="connsiteY11" fmla="*/ 1791987 h 2339969"/>
                  <a:gd name="connsiteX12" fmla="*/ 1021712 w 6574345"/>
                  <a:gd name="connsiteY12" fmla="*/ 2311528 h 2339969"/>
                  <a:gd name="connsiteX13" fmla="*/ 1024579 w 6574345"/>
                  <a:gd name="connsiteY13" fmla="*/ 2339969 h 2339969"/>
                  <a:gd name="connsiteX14" fmla="*/ 0 w 6574345"/>
                  <a:gd name="connsiteY14" fmla="*/ 2339969 h 2339969"/>
                  <a:gd name="connsiteX15" fmla="*/ 0 w 6574345"/>
                  <a:gd name="connsiteY15" fmla="*/ 491341 h 2339969"/>
                  <a:gd name="connsiteX16" fmla="*/ 491341 w 6574345"/>
                  <a:gd name="connsiteY16" fmla="*/ 0 h 2339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574345" h="2339969">
                    <a:moveTo>
                      <a:pt x="491341" y="0"/>
                    </a:moveTo>
                    <a:lnTo>
                      <a:pt x="5270535" y="0"/>
                    </a:lnTo>
                    <a:cubicBezTo>
                      <a:pt x="6048038" y="3455"/>
                      <a:pt x="6239755" y="564122"/>
                      <a:pt x="6574345" y="1124790"/>
                    </a:cubicBezTo>
                    <a:lnTo>
                      <a:pt x="6574345" y="2339969"/>
                    </a:lnTo>
                    <a:lnTo>
                      <a:pt x="6008420" y="2339969"/>
                    </a:lnTo>
                    <a:lnTo>
                      <a:pt x="6011287" y="2311528"/>
                    </a:lnTo>
                    <a:cubicBezTo>
                      <a:pt x="6011287" y="2024593"/>
                      <a:pt x="5778681" y="1791987"/>
                      <a:pt x="5491746" y="1791987"/>
                    </a:cubicBezTo>
                    <a:cubicBezTo>
                      <a:pt x="5204811" y="1791987"/>
                      <a:pt x="4972205" y="2024593"/>
                      <a:pt x="4972205" y="2311528"/>
                    </a:cubicBezTo>
                    <a:lnTo>
                      <a:pt x="4975072" y="2339969"/>
                    </a:lnTo>
                    <a:lnTo>
                      <a:pt x="2057927" y="2339969"/>
                    </a:lnTo>
                    <a:lnTo>
                      <a:pt x="2060794" y="2311528"/>
                    </a:lnTo>
                    <a:cubicBezTo>
                      <a:pt x="2060794" y="2024593"/>
                      <a:pt x="1828188" y="1791987"/>
                      <a:pt x="1541253" y="1791987"/>
                    </a:cubicBezTo>
                    <a:cubicBezTo>
                      <a:pt x="1254318" y="1791987"/>
                      <a:pt x="1021712" y="2024593"/>
                      <a:pt x="1021712" y="2311528"/>
                    </a:cubicBezTo>
                    <a:lnTo>
                      <a:pt x="1024579" y="2339969"/>
                    </a:lnTo>
                    <a:lnTo>
                      <a:pt x="0" y="2339969"/>
                    </a:lnTo>
                    <a:lnTo>
                      <a:pt x="0" y="491341"/>
                    </a:lnTo>
                    <a:cubicBezTo>
                      <a:pt x="0" y="219981"/>
                      <a:pt x="219981" y="0"/>
                      <a:pt x="491341" y="0"/>
                    </a:cubicBezTo>
                    <a:close/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291" name="Freihandform: Form 621">
                <a:extLst>
                  <a:ext uri="{FF2B5EF4-FFF2-40B4-BE49-F238E27FC236}">
                    <a16:creationId xmlns:a16="http://schemas.microsoft.com/office/drawing/2014/main" xmlns="" id="{B50D45AF-0ABC-459E-B2D2-2877509BC2EB}"/>
                  </a:ext>
                </a:extLst>
              </p:cNvPr>
              <p:cNvSpPr/>
              <p:nvPr/>
            </p:nvSpPr>
            <p:spPr>
              <a:xfrm>
                <a:off x="7056479" y="1541383"/>
                <a:ext cx="515914" cy="369692"/>
              </a:xfrm>
              <a:custGeom>
                <a:avLst/>
                <a:gdLst>
                  <a:gd name="connsiteX0" fmla="*/ 0 w 1335881"/>
                  <a:gd name="connsiteY0" fmla="*/ 0 h 957262"/>
                  <a:gd name="connsiteX1" fmla="*/ 0 w 1335881"/>
                  <a:gd name="connsiteY1" fmla="*/ 957262 h 957262"/>
                  <a:gd name="connsiteX2" fmla="*/ 1335881 w 1335881"/>
                  <a:gd name="connsiteY2" fmla="*/ 957262 h 957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35881" h="957262">
                    <a:moveTo>
                      <a:pt x="0" y="0"/>
                    </a:moveTo>
                    <a:lnTo>
                      <a:pt x="0" y="957262"/>
                    </a:lnTo>
                    <a:lnTo>
                      <a:pt x="1335881" y="957262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292" name="Freihandform: Form 622">
                <a:extLst>
                  <a:ext uri="{FF2B5EF4-FFF2-40B4-BE49-F238E27FC236}">
                    <a16:creationId xmlns:a16="http://schemas.microsoft.com/office/drawing/2014/main" xmlns="" id="{44A451AC-B1FD-4CE6-9ADE-3F4F167ACCBE}"/>
                  </a:ext>
                </a:extLst>
              </p:cNvPr>
              <p:cNvSpPr/>
              <p:nvPr/>
            </p:nvSpPr>
            <p:spPr>
              <a:xfrm>
                <a:off x="5470839" y="2449121"/>
                <a:ext cx="400548" cy="190213"/>
              </a:xfrm>
              <a:custGeom>
                <a:avLst/>
                <a:gdLst>
                  <a:gd name="connsiteX0" fmla="*/ 0 w 1033348"/>
                  <a:gd name="connsiteY0" fmla="*/ 0 h 491100"/>
                  <a:gd name="connsiteX1" fmla="*/ 1033348 w 1033348"/>
                  <a:gd name="connsiteY1" fmla="*/ 0 h 491100"/>
                  <a:gd name="connsiteX2" fmla="*/ 1025660 w 1033348"/>
                  <a:gd name="connsiteY2" fmla="*/ 76265 h 491100"/>
                  <a:gd name="connsiteX3" fmla="*/ 516674 w 1033348"/>
                  <a:gd name="connsiteY3" fmla="*/ 491100 h 491100"/>
                  <a:gd name="connsiteX4" fmla="*/ 7688 w 1033348"/>
                  <a:gd name="connsiteY4" fmla="*/ 76265 h 491100"/>
                  <a:gd name="connsiteX0" fmla="*/ 1025716 w 1025716"/>
                  <a:gd name="connsiteY0" fmla="*/ 0 h 491100"/>
                  <a:gd name="connsiteX1" fmla="*/ 1018028 w 1025716"/>
                  <a:gd name="connsiteY1" fmla="*/ 76265 h 491100"/>
                  <a:gd name="connsiteX2" fmla="*/ 509042 w 1025716"/>
                  <a:gd name="connsiteY2" fmla="*/ 491100 h 491100"/>
                  <a:gd name="connsiteX3" fmla="*/ 56 w 1025716"/>
                  <a:gd name="connsiteY3" fmla="*/ 76265 h 491100"/>
                  <a:gd name="connsiteX4" fmla="*/ 83808 w 1025716"/>
                  <a:gd name="connsiteY4" fmla="*/ 91440 h 491100"/>
                  <a:gd name="connsiteX0" fmla="*/ 1037158 w 1037158"/>
                  <a:gd name="connsiteY0" fmla="*/ 1429 h 492529"/>
                  <a:gd name="connsiteX1" fmla="*/ 1029470 w 1037158"/>
                  <a:gd name="connsiteY1" fmla="*/ 77694 h 492529"/>
                  <a:gd name="connsiteX2" fmla="*/ 520484 w 1037158"/>
                  <a:gd name="connsiteY2" fmla="*/ 492529 h 492529"/>
                  <a:gd name="connsiteX3" fmla="*/ 11498 w 1037158"/>
                  <a:gd name="connsiteY3" fmla="*/ 77694 h 492529"/>
                  <a:gd name="connsiteX4" fmla="*/ 0 w 1037158"/>
                  <a:gd name="connsiteY4" fmla="*/ 0 h 492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7158" h="492529">
                    <a:moveTo>
                      <a:pt x="1037158" y="1429"/>
                    </a:moveTo>
                    <a:lnTo>
                      <a:pt x="1029470" y="77694"/>
                    </a:lnTo>
                    <a:cubicBezTo>
                      <a:pt x="981025" y="314440"/>
                      <a:pt x="771552" y="492529"/>
                      <a:pt x="520484" y="492529"/>
                    </a:cubicBezTo>
                    <a:cubicBezTo>
                      <a:pt x="269416" y="492529"/>
                      <a:pt x="59944" y="314440"/>
                      <a:pt x="11498" y="77694"/>
                    </a:cubicBezTo>
                    <a:cubicBezTo>
                      <a:pt x="8935" y="52272"/>
                      <a:pt x="0" y="0"/>
                      <a:pt x="0" y="0"/>
                    </a:cubicBez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293" name="Freihandform: Form 623">
                <a:extLst>
                  <a:ext uri="{FF2B5EF4-FFF2-40B4-BE49-F238E27FC236}">
                    <a16:creationId xmlns:a16="http://schemas.microsoft.com/office/drawing/2014/main" xmlns="" id="{15620166-B1EA-4CA2-A54C-B12D87AC49DD}"/>
                  </a:ext>
                </a:extLst>
              </p:cNvPr>
              <p:cNvSpPr/>
              <p:nvPr/>
            </p:nvSpPr>
            <p:spPr>
              <a:xfrm>
                <a:off x="6996887" y="2449121"/>
                <a:ext cx="400548" cy="190213"/>
              </a:xfrm>
              <a:custGeom>
                <a:avLst/>
                <a:gdLst>
                  <a:gd name="connsiteX0" fmla="*/ 0 w 1033348"/>
                  <a:gd name="connsiteY0" fmla="*/ 0 h 491100"/>
                  <a:gd name="connsiteX1" fmla="*/ 1033348 w 1033348"/>
                  <a:gd name="connsiteY1" fmla="*/ 0 h 491100"/>
                  <a:gd name="connsiteX2" fmla="*/ 1025660 w 1033348"/>
                  <a:gd name="connsiteY2" fmla="*/ 76265 h 491100"/>
                  <a:gd name="connsiteX3" fmla="*/ 516674 w 1033348"/>
                  <a:gd name="connsiteY3" fmla="*/ 491100 h 491100"/>
                  <a:gd name="connsiteX4" fmla="*/ 7688 w 1033348"/>
                  <a:gd name="connsiteY4" fmla="*/ 76265 h 491100"/>
                  <a:gd name="connsiteX0" fmla="*/ 1025716 w 1025716"/>
                  <a:gd name="connsiteY0" fmla="*/ 0 h 491100"/>
                  <a:gd name="connsiteX1" fmla="*/ 1018028 w 1025716"/>
                  <a:gd name="connsiteY1" fmla="*/ 76265 h 491100"/>
                  <a:gd name="connsiteX2" fmla="*/ 509042 w 1025716"/>
                  <a:gd name="connsiteY2" fmla="*/ 491100 h 491100"/>
                  <a:gd name="connsiteX3" fmla="*/ 56 w 1025716"/>
                  <a:gd name="connsiteY3" fmla="*/ 76265 h 491100"/>
                  <a:gd name="connsiteX4" fmla="*/ 83808 w 1025716"/>
                  <a:gd name="connsiteY4" fmla="*/ 91440 h 491100"/>
                  <a:gd name="connsiteX0" fmla="*/ 1037158 w 1037158"/>
                  <a:gd name="connsiteY0" fmla="*/ 1429 h 492529"/>
                  <a:gd name="connsiteX1" fmla="*/ 1029470 w 1037158"/>
                  <a:gd name="connsiteY1" fmla="*/ 77694 h 492529"/>
                  <a:gd name="connsiteX2" fmla="*/ 520484 w 1037158"/>
                  <a:gd name="connsiteY2" fmla="*/ 492529 h 492529"/>
                  <a:gd name="connsiteX3" fmla="*/ 11498 w 1037158"/>
                  <a:gd name="connsiteY3" fmla="*/ 77694 h 492529"/>
                  <a:gd name="connsiteX4" fmla="*/ 0 w 1037158"/>
                  <a:gd name="connsiteY4" fmla="*/ 0 h 492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7158" h="492529">
                    <a:moveTo>
                      <a:pt x="1037158" y="1429"/>
                    </a:moveTo>
                    <a:lnTo>
                      <a:pt x="1029470" y="77694"/>
                    </a:lnTo>
                    <a:cubicBezTo>
                      <a:pt x="981025" y="314440"/>
                      <a:pt x="771552" y="492529"/>
                      <a:pt x="520484" y="492529"/>
                    </a:cubicBezTo>
                    <a:cubicBezTo>
                      <a:pt x="269416" y="492529"/>
                      <a:pt x="59944" y="314440"/>
                      <a:pt x="11498" y="77694"/>
                    </a:cubicBezTo>
                    <a:cubicBezTo>
                      <a:pt x="8935" y="52272"/>
                      <a:pt x="0" y="0"/>
                      <a:pt x="0" y="0"/>
                    </a:cubicBez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</p:grpSp>
        <p:grpSp>
          <p:nvGrpSpPr>
            <p:cNvPr id="294" name="Gruppieren 624">
              <a:extLst>
                <a:ext uri="{FF2B5EF4-FFF2-40B4-BE49-F238E27FC236}">
                  <a16:creationId xmlns:a16="http://schemas.microsoft.com/office/drawing/2014/main" xmlns="" id="{8A273752-3C82-47D4-90A7-2FFDD88E9CF9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3353439" y="2286710"/>
              <a:ext cx="319912" cy="139200"/>
              <a:chOff x="5076621" y="1541383"/>
              <a:chExt cx="2538994" cy="1097951"/>
            </a:xfrm>
            <a:solidFill>
              <a:srgbClr val="F2F4F6"/>
            </a:solidFill>
          </p:grpSpPr>
          <p:sp>
            <p:nvSpPr>
              <p:cNvPr id="295" name="Freihandform: Form 625">
                <a:extLst>
                  <a:ext uri="{FF2B5EF4-FFF2-40B4-BE49-F238E27FC236}">
                    <a16:creationId xmlns:a16="http://schemas.microsoft.com/office/drawing/2014/main" xmlns="" id="{23D5E7FB-A44D-49F4-B49F-DF21629E08CA}"/>
                  </a:ext>
                </a:extLst>
              </p:cNvPr>
              <p:cNvSpPr/>
              <p:nvPr/>
            </p:nvSpPr>
            <p:spPr>
              <a:xfrm>
                <a:off x="5076621" y="1545984"/>
                <a:ext cx="2538994" cy="903690"/>
              </a:xfrm>
              <a:custGeom>
                <a:avLst/>
                <a:gdLst>
                  <a:gd name="connsiteX0" fmla="*/ 491341 w 6574345"/>
                  <a:gd name="connsiteY0" fmla="*/ 0 h 2339969"/>
                  <a:gd name="connsiteX1" fmla="*/ 5270535 w 6574345"/>
                  <a:gd name="connsiteY1" fmla="*/ 0 h 2339969"/>
                  <a:gd name="connsiteX2" fmla="*/ 6574345 w 6574345"/>
                  <a:gd name="connsiteY2" fmla="*/ 1124790 h 2339969"/>
                  <a:gd name="connsiteX3" fmla="*/ 6574345 w 6574345"/>
                  <a:gd name="connsiteY3" fmla="*/ 2339969 h 2339969"/>
                  <a:gd name="connsiteX4" fmla="*/ 6008420 w 6574345"/>
                  <a:gd name="connsiteY4" fmla="*/ 2339969 h 2339969"/>
                  <a:gd name="connsiteX5" fmla="*/ 6011287 w 6574345"/>
                  <a:gd name="connsiteY5" fmla="*/ 2311528 h 2339969"/>
                  <a:gd name="connsiteX6" fmla="*/ 5491746 w 6574345"/>
                  <a:gd name="connsiteY6" fmla="*/ 1791987 h 2339969"/>
                  <a:gd name="connsiteX7" fmla="*/ 4972205 w 6574345"/>
                  <a:gd name="connsiteY7" fmla="*/ 2311528 h 2339969"/>
                  <a:gd name="connsiteX8" fmla="*/ 4975072 w 6574345"/>
                  <a:gd name="connsiteY8" fmla="*/ 2339969 h 2339969"/>
                  <a:gd name="connsiteX9" fmla="*/ 2057927 w 6574345"/>
                  <a:gd name="connsiteY9" fmla="*/ 2339969 h 2339969"/>
                  <a:gd name="connsiteX10" fmla="*/ 2060794 w 6574345"/>
                  <a:gd name="connsiteY10" fmla="*/ 2311528 h 2339969"/>
                  <a:gd name="connsiteX11" fmla="*/ 1541253 w 6574345"/>
                  <a:gd name="connsiteY11" fmla="*/ 1791987 h 2339969"/>
                  <a:gd name="connsiteX12" fmla="*/ 1021712 w 6574345"/>
                  <a:gd name="connsiteY12" fmla="*/ 2311528 h 2339969"/>
                  <a:gd name="connsiteX13" fmla="*/ 1024579 w 6574345"/>
                  <a:gd name="connsiteY13" fmla="*/ 2339969 h 2339969"/>
                  <a:gd name="connsiteX14" fmla="*/ 0 w 6574345"/>
                  <a:gd name="connsiteY14" fmla="*/ 2339969 h 2339969"/>
                  <a:gd name="connsiteX15" fmla="*/ 0 w 6574345"/>
                  <a:gd name="connsiteY15" fmla="*/ 491341 h 2339969"/>
                  <a:gd name="connsiteX16" fmla="*/ 491341 w 6574345"/>
                  <a:gd name="connsiteY16" fmla="*/ 0 h 2339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574345" h="2339969">
                    <a:moveTo>
                      <a:pt x="491341" y="0"/>
                    </a:moveTo>
                    <a:lnTo>
                      <a:pt x="5270535" y="0"/>
                    </a:lnTo>
                    <a:cubicBezTo>
                      <a:pt x="6048038" y="3455"/>
                      <a:pt x="6239755" y="564122"/>
                      <a:pt x="6574345" y="1124790"/>
                    </a:cubicBezTo>
                    <a:lnTo>
                      <a:pt x="6574345" y="2339969"/>
                    </a:lnTo>
                    <a:lnTo>
                      <a:pt x="6008420" y="2339969"/>
                    </a:lnTo>
                    <a:lnTo>
                      <a:pt x="6011287" y="2311528"/>
                    </a:lnTo>
                    <a:cubicBezTo>
                      <a:pt x="6011287" y="2024593"/>
                      <a:pt x="5778681" y="1791987"/>
                      <a:pt x="5491746" y="1791987"/>
                    </a:cubicBezTo>
                    <a:cubicBezTo>
                      <a:pt x="5204811" y="1791987"/>
                      <a:pt x="4972205" y="2024593"/>
                      <a:pt x="4972205" y="2311528"/>
                    </a:cubicBezTo>
                    <a:lnTo>
                      <a:pt x="4975072" y="2339969"/>
                    </a:lnTo>
                    <a:lnTo>
                      <a:pt x="2057927" y="2339969"/>
                    </a:lnTo>
                    <a:lnTo>
                      <a:pt x="2060794" y="2311528"/>
                    </a:lnTo>
                    <a:cubicBezTo>
                      <a:pt x="2060794" y="2024593"/>
                      <a:pt x="1828188" y="1791987"/>
                      <a:pt x="1541253" y="1791987"/>
                    </a:cubicBezTo>
                    <a:cubicBezTo>
                      <a:pt x="1254318" y="1791987"/>
                      <a:pt x="1021712" y="2024593"/>
                      <a:pt x="1021712" y="2311528"/>
                    </a:cubicBezTo>
                    <a:lnTo>
                      <a:pt x="1024579" y="2339969"/>
                    </a:lnTo>
                    <a:lnTo>
                      <a:pt x="0" y="2339969"/>
                    </a:lnTo>
                    <a:lnTo>
                      <a:pt x="0" y="491341"/>
                    </a:lnTo>
                    <a:cubicBezTo>
                      <a:pt x="0" y="219981"/>
                      <a:pt x="219981" y="0"/>
                      <a:pt x="491341" y="0"/>
                    </a:cubicBezTo>
                    <a:close/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296" name="Freihandform: Form 626">
                <a:extLst>
                  <a:ext uri="{FF2B5EF4-FFF2-40B4-BE49-F238E27FC236}">
                    <a16:creationId xmlns:a16="http://schemas.microsoft.com/office/drawing/2014/main" xmlns="" id="{D327A17A-3421-4D6E-988E-C799C606CC50}"/>
                  </a:ext>
                </a:extLst>
              </p:cNvPr>
              <p:cNvSpPr/>
              <p:nvPr/>
            </p:nvSpPr>
            <p:spPr>
              <a:xfrm>
                <a:off x="7056479" y="1541383"/>
                <a:ext cx="515914" cy="369692"/>
              </a:xfrm>
              <a:custGeom>
                <a:avLst/>
                <a:gdLst>
                  <a:gd name="connsiteX0" fmla="*/ 0 w 1335881"/>
                  <a:gd name="connsiteY0" fmla="*/ 0 h 957262"/>
                  <a:gd name="connsiteX1" fmla="*/ 0 w 1335881"/>
                  <a:gd name="connsiteY1" fmla="*/ 957262 h 957262"/>
                  <a:gd name="connsiteX2" fmla="*/ 1335881 w 1335881"/>
                  <a:gd name="connsiteY2" fmla="*/ 957262 h 957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35881" h="957262">
                    <a:moveTo>
                      <a:pt x="0" y="0"/>
                    </a:moveTo>
                    <a:lnTo>
                      <a:pt x="0" y="957262"/>
                    </a:lnTo>
                    <a:lnTo>
                      <a:pt x="1335881" y="957262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297" name="Freihandform: Form 627">
                <a:extLst>
                  <a:ext uri="{FF2B5EF4-FFF2-40B4-BE49-F238E27FC236}">
                    <a16:creationId xmlns:a16="http://schemas.microsoft.com/office/drawing/2014/main" xmlns="" id="{5E0A25E5-9856-4BE2-832D-ABF9C1795250}"/>
                  </a:ext>
                </a:extLst>
              </p:cNvPr>
              <p:cNvSpPr/>
              <p:nvPr/>
            </p:nvSpPr>
            <p:spPr>
              <a:xfrm>
                <a:off x="5470839" y="2449121"/>
                <a:ext cx="400548" cy="190213"/>
              </a:xfrm>
              <a:custGeom>
                <a:avLst/>
                <a:gdLst>
                  <a:gd name="connsiteX0" fmla="*/ 0 w 1033348"/>
                  <a:gd name="connsiteY0" fmla="*/ 0 h 491100"/>
                  <a:gd name="connsiteX1" fmla="*/ 1033348 w 1033348"/>
                  <a:gd name="connsiteY1" fmla="*/ 0 h 491100"/>
                  <a:gd name="connsiteX2" fmla="*/ 1025660 w 1033348"/>
                  <a:gd name="connsiteY2" fmla="*/ 76265 h 491100"/>
                  <a:gd name="connsiteX3" fmla="*/ 516674 w 1033348"/>
                  <a:gd name="connsiteY3" fmla="*/ 491100 h 491100"/>
                  <a:gd name="connsiteX4" fmla="*/ 7688 w 1033348"/>
                  <a:gd name="connsiteY4" fmla="*/ 76265 h 491100"/>
                  <a:gd name="connsiteX0" fmla="*/ 1025716 w 1025716"/>
                  <a:gd name="connsiteY0" fmla="*/ 0 h 491100"/>
                  <a:gd name="connsiteX1" fmla="*/ 1018028 w 1025716"/>
                  <a:gd name="connsiteY1" fmla="*/ 76265 h 491100"/>
                  <a:gd name="connsiteX2" fmla="*/ 509042 w 1025716"/>
                  <a:gd name="connsiteY2" fmla="*/ 491100 h 491100"/>
                  <a:gd name="connsiteX3" fmla="*/ 56 w 1025716"/>
                  <a:gd name="connsiteY3" fmla="*/ 76265 h 491100"/>
                  <a:gd name="connsiteX4" fmla="*/ 83808 w 1025716"/>
                  <a:gd name="connsiteY4" fmla="*/ 91440 h 491100"/>
                  <a:gd name="connsiteX0" fmla="*/ 1037158 w 1037158"/>
                  <a:gd name="connsiteY0" fmla="*/ 1429 h 492529"/>
                  <a:gd name="connsiteX1" fmla="*/ 1029470 w 1037158"/>
                  <a:gd name="connsiteY1" fmla="*/ 77694 h 492529"/>
                  <a:gd name="connsiteX2" fmla="*/ 520484 w 1037158"/>
                  <a:gd name="connsiteY2" fmla="*/ 492529 h 492529"/>
                  <a:gd name="connsiteX3" fmla="*/ 11498 w 1037158"/>
                  <a:gd name="connsiteY3" fmla="*/ 77694 h 492529"/>
                  <a:gd name="connsiteX4" fmla="*/ 0 w 1037158"/>
                  <a:gd name="connsiteY4" fmla="*/ 0 h 492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7158" h="492529">
                    <a:moveTo>
                      <a:pt x="1037158" y="1429"/>
                    </a:moveTo>
                    <a:lnTo>
                      <a:pt x="1029470" y="77694"/>
                    </a:lnTo>
                    <a:cubicBezTo>
                      <a:pt x="981025" y="314440"/>
                      <a:pt x="771552" y="492529"/>
                      <a:pt x="520484" y="492529"/>
                    </a:cubicBezTo>
                    <a:cubicBezTo>
                      <a:pt x="269416" y="492529"/>
                      <a:pt x="59944" y="314440"/>
                      <a:pt x="11498" y="77694"/>
                    </a:cubicBezTo>
                    <a:cubicBezTo>
                      <a:pt x="8935" y="52272"/>
                      <a:pt x="0" y="0"/>
                      <a:pt x="0" y="0"/>
                    </a:cubicBez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298" name="Freihandform: Form 628">
                <a:extLst>
                  <a:ext uri="{FF2B5EF4-FFF2-40B4-BE49-F238E27FC236}">
                    <a16:creationId xmlns:a16="http://schemas.microsoft.com/office/drawing/2014/main" xmlns="" id="{0106BA82-B56C-4869-8A47-839D8E57474F}"/>
                  </a:ext>
                </a:extLst>
              </p:cNvPr>
              <p:cNvSpPr/>
              <p:nvPr/>
            </p:nvSpPr>
            <p:spPr>
              <a:xfrm>
                <a:off x="6996887" y="2449121"/>
                <a:ext cx="400548" cy="190213"/>
              </a:xfrm>
              <a:custGeom>
                <a:avLst/>
                <a:gdLst>
                  <a:gd name="connsiteX0" fmla="*/ 0 w 1033348"/>
                  <a:gd name="connsiteY0" fmla="*/ 0 h 491100"/>
                  <a:gd name="connsiteX1" fmla="*/ 1033348 w 1033348"/>
                  <a:gd name="connsiteY1" fmla="*/ 0 h 491100"/>
                  <a:gd name="connsiteX2" fmla="*/ 1025660 w 1033348"/>
                  <a:gd name="connsiteY2" fmla="*/ 76265 h 491100"/>
                  <a:gd name="connsiteX3" fmla="*/ 516674 w 1033348"/>
                  <a:gd name="connsiteY3" fmla="*/ 491100 h 491100"/>
                  <a:gd name="connsiteX4" fmla="*/ 7688 w 1033348"/>
                  <a:gd name="connsiteY4" fmla="*/ 76265 h 491100"/>
                  <a:gd name="connsiteX0" fmla="*/ 1025716 w 1025716"/>
                  <a:gd name="connsiteY0" fmla="*/ 0 h 491100"/>
                  <a:gd name="connsiteX1" fmla="*/ 1018028 w 1025716"/>
                  <a:gd name="connsiteY1" fmla="*/ 76265 h 491100"/>
                  <a:gd name="connsiteX2" fmla="*/ 509042 w 1025716"/>
                  <a:gd name="connsiteY2" fmla="*/ 491100 h 491100"/>
                  <a:gd name="connsiteX3" fmla="*/ 56 w 1025716"/>
                  <a:gd name="connsiteY3" fmla="*/ 76265 h 491100"/>
                  <a:gd name="connsiteX4" fmla="*/ 83808 w 1025716"/>
                  <a:gd name="connsiteY4" fmla="*/ 91440 h 491100"/>
                  <a:gd name="connsiteX0" fmla="*/ 1037158 w 1037158"/>
                  <a:gd name="connsiteY0" fmla="*/ 1429 h 492529"/>
                  <a:gd name="connsiteX1" fmla="*/ 1029470 w 1037158"/>
                  <a:gd name="connsiteY1" fmla="*/ 77694 h 492529"/>
                  <a:gd name="connsiteX2" fmla="*/ 520484 w 1037158"/>
                  <a:gd name="connsiteY2" fmla="*/ 492529 h 492529"/>
                  <a:gd name="connsiteX3" fmla="*/ 11498 w 1037158"/>
                  <a:gd name="connsiteY3" fmla="*/ 77694 h 492529"/>
                  <a:gd name="connsiteX4" fmla="*/ 0 w 1037158"/>
                  <a:gd name="connsiteY4" fmla="*/ 0 h 492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7158" h="492529">
                    <a:moveTo>
                      <a:pt x="1037158" y="1429"/>
                    </a:moveTo>
                    <a:lnTo>
                      <a:pt x="1029470" y="77694"/>
                    </a:lnTo>
                    <a:cubicBezTo>
                      <a:pt x="981025" y="314440"/>
                      <a:pt x="771552" y="492529"/>
                      <a:pt x="520484" y="492529"/>
                    </a:cubicBezTo>
                    <a:cubicBezTo>
                      <a:pt x="269416" y="492529"/>
                      <a:pt x="59944" y="314440"/>
                      <a:pt x="11498" y="77694"/>
                    </a:cubicBezTo>
                    <a:cubicBezTo>
                      <a:pt x="8935" y="52272"/>
                      <a:pt x="0" y="0"/>
                      <a:pt x="0" y="0"/>
                    </a:cubicBez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</p:grpSp>
        <p:grpSp>
          <p:nvGrpSpPr>
            <p:cNvPr id="299" name="Gruppieren 629">
              <a:extLst>
                <a:ext uri="{FF2B5EF4-FFF2-40B4-BE49-F238E27FC236}">
                  <a16:creationId xmlns:a16="http://schemas.microsoft.com/office/drawing/2014/main" xmlns="" id="{BD711AF1-6302-47AA-BFA1-4C8AA438BD69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2967537" y="2286710"/>
              <a:ext cx="319912" cy="139200"/>
              <a:chOff x="5076621" y="1541383"/>
              <a:chExt cx="2538994" cy="1097951"/>
            </a:xfrm>
            <a:solidFill>
              <a:srgbClr val="F2F4F6"/>
            </a:solidFill>
          </p:grpSpPr>
          <p:sp>
            <p:nvSpPr>
              <p:cNvPr id="300" name="Freihandform: Form 630">
                <a:extLst>
                  <a:ext uri="{FF2B5EF4-FFF2-40B4-BE49-F238E27FC236}">
                    <a16:creationId xmlns:a16="http://schemas.microsoft.com/office/drawing/2014/main" xmlns="" id="{BB725470-738F-4573-BF63-A4BDB178B4CA}"/>
                  </a:ext>
                </a:extLst>
              </p:cNvPr>
              <p:cNvSpPr/>
              <p:nvPr/>
            </p:nvSpPr>
            <p:spPr>
              <a:xfrm>
                <a:off x="5076621" y="1545984"/>
                <a:ext cx="2538994" cy="903690"/>
              </a:xfrm>
              <a:custGeom>
                <a:avLst/>
                <a:gdLst>
                  <a:gd name="connsiteX0" fmla="*/ 491341 w 6574345"/>
                  <a:gd name="connsiteY0" fmla="*/ 0 h 2339969"/>
                  <a:gd name="connsiteX1" fmla="*/ 5270535 w 6574345"/>
                  <a:gd name="connsiteY1" fmla="*/ 0 h 2339969"/>
                  <a:gd name="connsiteX2" fmla="*/ 6574345 w 6574345"/>
                  <a:gd name="connsiteY2" fmla="*/ 1124790 h 2339969"/>
                  <a:gd name="connsiteX3" fmla="*/ 6574345 w 6574345"/>
                  <a:gd name="connsiteY3" fmla="*/ 2339969 h 2339969"/>
                  <a:gd name="connsiteX4" fmla="*/ 6008420 w 6574345"/>
                  <a:gd name="connsiteY4" fmla="*/ 2339969 h 2339969"/>
                  <a:gd name="connsiteX5" fmla="*/ 6011287 w 6574345"/>
                  <a:gd name="connsiteY5" fmla="*/ 2311528 h 2339969"/>
                  <a:gd name="connsiteX6" fmla="*/ 5491746 w 6574345"/>
                  <a:gd name="connsiteY6" fmla="*/ 1791987 h 2339969"/>
                  <a:gd name="connsiteX7" fmla="*/ 4972205 w 6574345"/>
                  <a:gd name="connsiteY7" fmla="*/ 2311528 h 2339969"/>
                  <a:gd name="connsiteX8" fmla="*/ 4975072 w 6574345"/>
                  <a:gd name="connsiteY8" fmla="*/ 2339969 h 2339969"/>
                  <a:gd name="connsiteX9" fmla="*/ 2057927 w 6574345"/>
                  <a:gd name="connsiteY9" fmla="*/ 2339969 h 2339969"/>
                  <a:gd name="connsiteX10" fmla="*/ 2060794 w 6574345"/>
                  <a:gd name="connsiteY10" fmla="*/ 2311528 h 2339969"/>
                  <a:gd name="connsiteX11" fmla="*/ 1541253 w 6574345"/>
                  <a:gd name="connsiteY11" fmla="*/ 1791987 h 2339969"/>
                  <a:gd name="connsiteX12" fmla="*/ 1021712 w 6574345"/>
                  <a:gd name="connsiteY12" fmla="*/ 2311528 h 2339969"/>
                  <a:gd name="connsiteX13" fmla="*/ 1024579 w 6574345"/>
                  <a:gd name="connsiteY13" fmla="*/ 2339969 h 2339969"/>
                  <a:gd name="connsiteX14" fmla="*/ 0 w 6574345"/>
                  <a:gd name="connsiteY14" fmla="*/ 2339969 h 2339969"/>
                  <a:gd name="connsiteX15" fmla="*/ 0 w 6574345"/>
                  <a:gd name="connsiteY15" fmla="*/ 491341 h 2339969"/>
                  <a:gd name="connsiteX16" fmla="*/ 491341 w 6574345"/>
                  <a:gd name="connsiteY16" fmla="*/ 0 h 2339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574345" h="2339969">
                    <a:moveTo>
                      <a:pt x="491341" y="0"/>
                    </a:moveTo>
                    <a:lnTo>
                      <a:pt x="5270535" y="0"/>
                    </a:lnTo>
                    <a:cubicBezTo>
                      <a:pt x="6048038" y="3455"/>
                      <a:pt x="6239755" y="564122"/>
                      <a:pt x="6574345" y="1124790"/>
                    </a:cubicBezTo>
                    <a:lnTo>
                      <a:pt x="6574345" y="2339969"/>
                    </a:lnTo>
                    <a:lnTo>
                      <a:pt x="6008420" y="2339969"/>
                    </a:lnTo>
                    <a:lnTo>
                      <a:pt x="6011287" y="2311528"/>
                    </a:lnTo>
                    <a:cubicBezTo>
                      <a:pt x="6011287" y="2024593"/>
                      <a:pt x="5778681" y="1791987"/>
                      <a:pt x="5491746" y="1791987"/>
                    </a:cubicBezTo>
                    <a:cubicBezTo>
                      <a:pt x="5204811" y="1791987"/>
                      <a:pt x="4972205" y="2024593"/>
                      <a:pt x="4972205" y="2311528"/>
                    </a:cubicBezTo>
                    <a:lnTo>
                      <a:pt x="4975072" y="2339969"/>
                    </a:lnTo>
                    <a:lnTo>
                      <a:pt x="2057927" y="2339969"/>
                    </a:lnTo>
                    <a:lnTo>
                      <a:pt x="2060794" y="2311528"/>
                    </a:lnTo>
                    <a:cubicBezTo>
                      <a:pt x="2060794" y="2024593"/>
                      <a:pt x="1828188" y="1791987"/>
                      <a:pt x="1541253" y="1791987"/>
                    </a:cubicBezTo>
                    <a:cubicBezTo>
                      <a:pt x="1254318" y="1791987"/>
                      <a:pt x="1021712" y="2024593"/>
                      <a:pt x="1021712" y="2311528"/>
                    </a:cubicBezTo>
                    <a:lnTo>
                      <a:pt x="1024579" y="2339969"/>
                    </a:lnTo>
                    <a:lnTo>
                      <a:pt x="0" y="2339969"/>
                    </a:lnTo>
                    <a:lnTo>
                      <a:pt x="0" y="491341"/>
                    </a:lnTo>
                    <a:cubicBezTo>
                      <a:pt x="0" y="219981"/>
                      <a:pt x="219981" y="0"/>
                      <a:pt x="491341" y="0"/>
                    </a:cubicBezTo>
                    <a:close/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301" name="Freihandform: Form 631">
                <a:extLst>
                  <a:ext uri="{FF2B5EF4-FFF2-40B4-BE49-F238E27FC236}">
                    <a16:creationId xmlns:a16="http://schemas.microsoft.com/office/drawing/2014/main" xmlns="" id="{7B60ECBB-B3C5-4D27-B7FA-D089027A4342}"/>
                  </a:ext>
                </a:extLst>
              </p:cNvPr>
              <p:cNvSpPr/>
              <p:nvPr/>
            </p:nvSpPr>
            <p:spPr>
              <a:xfrm>
                <a:off x="7056479" y="1541383"/>
                <a:ext cx="515914" cy="369692"/>
              </a:xfrm>
              <a:custGeom>
                <a:avLst/>
                <a:gdLst>
                  <a:gd name="connsiteX0" fmla="*/ 0 w 1335881"/>
                  <a:gd name="connsiteY0" fmla="*/ 0 h 957262"/>
                  <a:gd name="connsiteX1" fmla="*/ 0 w 1335881"/>
                  <a:gd name="connsiteY1" fmla="*/ 957262 h 957262"/>
                  <a:gd name="connsiteX2" fmla="*/ 1335881 w 1335881"/>
                  <a:gd name="connsiteY2" fmla="*/ 957262 h 957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35881" h="957262">
                    <a:moveTo>
                      <a:pt x="0" y="0"/>
                    </a:moveTo>
                    <a:lnTo>
                      <a:pt x="0" y="957262"/>
                    </a:lnTo>
                    <a:lnTo>
                      <a:pt x="1335881" y="957262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302" name="Freihandform: Form 632">
                <a:extLst>
                  <a:ext uri="{FF2B5EF4-FFF2-40B4-BE49-F238E27FC236}">
                    <a16:creationId xmlns:a16="http://schemas.microsoft.com/office/drawing/2014/main" xmlns="" id="{BF192406-AD95-49CE-B2D1-2531D097FA86}"/>
                  </a:ext>
                </a:extLst>
              </p:cNvPr>
              <p:cNvSpPr/>
              <p:nvPr/>
            </p:nvSpPr>
            <p:spPr>
              <a:xfrm>
                <a:off x="5470839" y="2449121"/>
                <a:ext cx="400548" cy="190213"/>
              </a:xfrm>
              <a:custGeom>
                <a:avLst/>
                <a:gdLst>
                  <a:gd name="connsiteX0" fmla="*/ 0 w 1033348"/>
                  <a:gd name="connsiteY0" fmla="*/ 0 h 491100"/>
                  <a:gd name="connsiteX1" fmla="*/ 1033348 w 1033348"/>
                  <a:gd name="connsiteY1" fmla="*/ 0 h 491100"/>
                  <a:gd name="connsiteX2" fmla="*/ 1025660 w 1033348"/>
                  <a:gd name="connsiteY2" fmla="*/ 76265 h 491100"/>
                  <a:gd name="connsiteX3" fmla="*/ 516674 w 1033348"/>
                  <a:gd name="connsiteY3" fmla="*/ 491100 h 491100"/>
                  <a:gd name="connsiteX4" fmla="*/ 7688 w 1033348"/>
                  <a:gd name="connsiteY4" fmla="*/ 76265 h 491100"/>
                  <a:gd name="connsiteX0" fmla="*/ 1025716 w 1025716"/>
                  <a:gd name="connsiteY0" fmla="*/ 0 h 491100"/>
                  <a:gd name="connsiteX1" fmla="*/ 1018028 w 1025716"/>
                  <a:gd name="connsiteY1" fmla="*/ 76265 h 491100"/>
                  <a:gd name="connsiteX2" fmla="*/ 509042 w 1025716"/>
                  <a:gd name="connsiteY2" fmla="*/ 491100 h 491100"/>
                  <a:gd name="connsiteX3" fmla="*/ 56 w 1025716"/>
                  <a:gd name="connsiteY3" fmla="*/ 76265 h 491100"/>
                  <a:gd name="connsiteX4" fmla="*/ 83808 w 1025716"/>
                  <a:gd name="connsiteY4" fmla="*/ 91440 h 491100"/>
                  <a:gd name="connsiteX0" fmla="*/ 1037158 w 1037158"/>
                  <a:gd name="connsiteY0" fmla="*/ 1429 h 492529"/>
                  <a:gd name="connsiteX1" fmla="*/ 1029470 w 1037158"/>
                  <a:gd name="connsiteY1" fmla="*/ 77694 h 492529"/>
                  <a:gd name="connsiteX2" fmla="*/ 520484 w 1037158"/>
                  <a:gd name="connsiteY2" fmla="*/ 492529 h 492529"/>
                  <a:gd name="connsiteX3" fmla="*/ 11498 w 1037158"/>
                  <a:gd name="connsiteY3" fmla="*/ 77694 h 492529"/>
                  <a:gd name="connsiteX4" fmla="*/ 0 w 1037158"/>
                  <a:gd name="connsiteY4" fmla="*/ 0 h 492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7158" h="492529">
                    <a:moveTo>
                      <a:pt x="1037158" y="1429"/>
                    </a:moveTo>
                    <a:lnTo>
                      <a:pt x="1029470" y="77694"/>
                    </a:lnTo>
                    <a:cubicBezTo>
                      <a:pt x="981025" y="314440"/>
                      <a:pt x="771552" y="492529"/>
                      <a:pt x="520484" y="492529"/>
                    </a:cubicBezTo>
                    <a:cubicBezTo>
                      <a:pt x="269416" y="492529"/>
                      <a:pt x="59944" y="314440"/>
                      <a:pt x="11498" y="77694"/>
                    </a:cubicBezTo>
                    <a:cubicBezTo>
                      <a:pt x="8935" y="52272"/>
                      <a:pt x="0" y="0"/>
                      <a:pt x="0" y="0"/>
                    </a:cubicBez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303" name="Freihandform: Form 633">
                <a:extLst>
                  <a:ext uri="{FF2B5EF4-FFF2-40B4-BE49-F238E27FC236}">
                    <a16:creationId xmlns:a16="http://schemas.microsoft.com/office/drawing/2014/main" xmlns="" id="{A2498544-30F3-48CD-B93A-D6F8483AC018}"/>
                  </a:ext>
                </a:extLst>
              </p:cNvPr>
              <p:cNvSpPr/>
              <p:nvPr/>
            </p:nvSpPr>
            <p:spPr>
              <a:xfrm>
                <a:off x="6996887" y="2449121"/>
                <a:ext cx="400548" cy="190213"/>
              </a:xfrm>
              <a:custGeom>
                <a:avLst/>
                <a:gdLst>
                  <a:gd name="connsiteX0" fmla="*/ 0 w 1033348"/>
                  <a:gd name="connsiteY0" fmla="*/ 0 h 491100"/>
                  <a:gd name="connsiteX1" fmla="*/ 1033348 w 1033348"/>
                  <a:gd name="connsiteY1" fmla="*/ 0 h 491100"/>
                  <a:gd name="connsiteX2" fmla="*/ 1025660 w 1033348"/>
                  <a:gd name="connsiteY2" fmla="*/ 76265 h 491100"/>
                  <a:gd name="connsiteX3" fmla="*/ 516674 w 1033348"/>
                  <a:gd name="connsiteY3" fmla="*/ 491100 h 491100"/>
                  <a:gd name="connsiteX4" fmla="*/ 7688 w 1033348"/>
                  <a:gd name="connsiteY4" fmla="*/ 76265 h 491100"/>
                  <a:gd name="connsiteX0" fmla="*/ 1025716 w 1025716"/>
                  <a:gd name="connsiteY0" fmla="*/ 0 h 491100"/>
                  <a:gd name="connsiteX1" fmla="*/ 1018028 w 1025716"/>
                  <a:gd name="connsiteY1" fmla="*/ 76265 h 491100"/>
                  <a:gd name="connsiteX2" fmla="*/ 509042 w 1025716"/>
                  <a:gd name="connsiteY2" fmla="*/ 491100 h 491100"/>
                  <a:gd name="connsiteX3" fmla="*/ 56 w 1025716"/>
                  <a:gd name="connsiteY3" fmla="*/ 76265 h 491100"/>
                  <a:gd name="connsiteX4" fmla="*/ 83808 w 1025716"/>
                  <a:gd name="connsiteY4" fmla="*/ 91440 h 491100"/>
                  <a:gd name="connsiteX0" fmla="*/ 1037158 w 1037158"/>
                  <a:gd name="connsiteY0" fmla="*/ 1429 h 492529"/>
                  <a:gd name="connsiteX1" fmla="*/ 1029470 w 1037158"/>
                  <a:gd name="connsiteY1" fmla="*/ 77694 h 492529"/>
                  <a:gd name="connsiteX2" fmla="*/ 520484 w 1037158"/>
                  <a:gd name="connsiteY2" fmla="*/ 492529 h 492529"/>
                  <a:gd name="connsiteX3" fmla="*/ 11498 w 1037158"/>
                  <a:gd name="connsiteY3" fmla="*/ 77694 h 492529"/>
                  <a:gd name="connsiteX4" fmla="*/ 0 w 1037158"/>
                  <a:gd name="connsiteY4" fmla="*/ 0 h 492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7158" h="492529">
                    <a:moveTo>
                      <a:pt x="1037158" y="1429"/>
                    </a:moveTo>
                    <a:lnTo>
                      <a:pt x="1029470" y="77694"/>
                    </a:lnTo>
                    <a:cubicBezTo>
                      <a:pt x="981025" y="314440"/>
                      <a:pt x="771552" y="492529"/>
                      <a:pt x="520484" y="492529"/>
                    </a:cubicBezTo>
                    <a:cubicBezTo>
                      <a:pt x="269416" y="492529"/>
                      <a:pt x="59944" y="314440"/>
                      <a:pt x="11498" y="77694"/>
                    </a:cubicBezTo>
                    <a:cubicBezTo>
                      <a:pt x="8935" y="52272"/>
                      <a:pt x="0" y="0"/>
                      <a:pt x="0" y="0"/>
                    </a:cubicBez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</p:grpSp>
        <p:grpSp>
          <p:nvGrpSpPr>
            <p:cNvPr id="304" name="Gruppieren 303">
              <a:extLst>
                <a:ext uri="{FF2B5EF4-FFF2-40B4-BE49-F238E27FC236}">
                  <a16:creationId xmlns:a16="http://schemas.microsoft.com/office/drawing/2014/main" xmlns="" id="{9FCA5364-860A-433A-8612-0420179114F5}"/>
                </a:ext>
              </a:extLst>
            </p:cNvPr>
            <p:cNvGrpSpPr/>
            <p:nvPr/>
          </p:nvGrpSpPr>
          <p:grpSpPr>
            <a:xfrm>
              <a:off x="995098" y="1458326"/>
              <a:ext cx="612000" cy="863360"/>
              <a:chOff x="995097" y="1434515"/>
              <a:chExt cx="612000" cy="858030"/>
            </a:xfrm>
            <a:noFill/>
          </p:grpSpPr>
          <p:grpSp>
            <p:nvGrpSpPr>
              <p:cNvPr id="305" name="Gruppieren 304">
                <a:extLst>
                  <a:ext uri="{FF2B5EF4-FFF2-40B4-BE49-F238E27FC236}">
                    <a16:creationId xmlns:a16="http://schemas.microsoft.com/office/drawing/2014/main" xmlns="" id="{7CEA802F-03DE-4591-9750-09B127574106}"/>
                  </a:ext>
                </a:extLst>
              </p:cNvPr>
              <p:cNvGrpSpPr/>
              <p:nvPr/>
            </p:nvGrpSpPr>
            <p:grpSpPr>
              <a:xfrm>
                <a:off x="1027990" y="1434515"/>
                <a:ext cx="546215" cy="856273"/>
                <a:chOff x="656913" y="1310374"/>
                <a:chExt cx="619927" cy="971828"/>
              </a:xfrm>
              <a:grpFill/>
            </p:grpSpPr>
            <p:sp>
              <p:nvSpPr>
                <p:cNvPr id="307" name="Rechteck 251">
                  <a:extLst>
                    <a:ext uri="{FF2B5EF4-FFF2-40B4-BE49-F238E27FC236}">
                      <a16:creationId xmlns:a16="http://schemas.microsoft.com/office/drawing/2014/main" xmlns="" id="{91C23107-4511-4AC8-AEED-871D68578190}"/>
                    </a:ext>
                  </a:extLst>
                </p:cNvPr>
                <p:cNvSpPr/>
                <p:nvPr/>
              </p:nvSpPr>
              <p:spPr>
                <a:xfrm>
                  <a:off x="967488" y="1528620"/>
                  <a:ext cx="309352" cy="753582"/>
                </a:xfrm>
                <a:custGeom>
                  <a:avLst/>
                  <a:gdLst>
                    <a:gd name="connsiteX0" fmla="*/ 0 w 314521"/>
                    <a:gd name="connsiteY0" fmla="*/ 0 h 970338"/>
                    <a:gd name="connsiteX1" fmla="*/ 314521 w 314521"/>
                    <a:gd name="connsiteY1" fmla="*/ 0 h 970338"/>
                    <a:gd name="connsiteX2" fmla="*/ 314521 w 314521"/>
                    <a:gd name="connsiteY2" fmla="*/ 970338 h 970338"/>
                    <a:gd name="connsiteX3" fmla="*/ 0 w 314521"/>
                    <a:gd name="connsiteY3" fmla="*/ 970338 h 970338"/>
                    <a:gd name="connsiteX4" fmla="*/ 0 w 314521"/>
                    <a:gd name="connsiteY4" fmla="*/ 0 h 970338"/>
                    <a:gd name="connsiteX0" fmla="*/ 0 w 314521"/>
                    <a:gd name="connsiteY0" fmla="*/ 0 h 1069990"/>
                    <a:gd name="connsiteX1" fmla="*/ 314521 w 314521"/>
                    <a:gd name="connsiteY1" fmla="*/ 0 h 1069990"/>
                    <a:gd name="connsiteX2" fmla="*/ 314521 w 314521"/>
                    <a:gd name="connsiteY2" fmla="*/ 970338 h 1069990"/>
                    <a:gd name="connsiteX3" fmla="*/ 122964 w 314521"/>
                    <a:gd name="connsiteY3" fmla="*/ 1069984 h 1069990"/>
                    <a:gd name="connsiteX4" fmla="*/ 0 w 314521"/>
                    <a:gd name="connsiteY4" fmla="*/ 970338 h 1069990"/>
                    <a:gd name="connsiteX5" fmla="*/ 0 w 314521"/>
                    <a:gd name="connsiteY5" fmla="*/ 0 h 1069990"/>
                    <a:gd name="connsiteX0" fmla="*/ 0 w 314521"/>
                    <a:gd name="connsiteY0" fmla="*/ 0 h 1107360"/>
                    <a:gd name="connsiteX1" fmla="*/ 314521 w 314521"/>
                    <a:gd name="connsiteY1" fmla="*/ 0 h 1107360"/>
                    <a:gd name="connsiteX2" fmla="*/ 314521 w 314521"/>
                    <a:gd name="connsiteY2" fmla="*/ 970338 h 1107360"/>
                    <a:gd name="connsiteX3" fmla="*/ 275364 w 314521"/>
                    <a:gd name="connsiteY3" fmla="*/ 1103321 h 1107360"/>
                    <a:gd name="connsiteX4" fmla="*/ 122964 w 314521"/>
                    <a:gd name="connsiteY4" fmla="*/ 1069984 h 1107360"/>
                    <a:gd name="connsiteX5" fmla="*/ 0 w 314521"/>
                    <a:gd name="connsiteY5" fmla="*/ 970338 h 1107360"/>
                    <a:gd name="connsiteX6" fmla="*/ 0 w 314521"/>
                    <a:gd name="connsiteY6" fmla="*/ 0 h 1107360"/>
                    <a:gd name="connsiteX0" fmla="*/ 122964 w 366804"/>
                    <a:gd name="connsiteY0" fmla="*/ 1069984 h 1194761"/>
                    <a:gd name="connsiteX1" fmla="*/ 0 w 366804"/>
                    <a:gd name="connsiteY1" fmla="*/ 970338 h 1194761"/>
                    <a:gd name="connsiteX2" fmla="*/ 0 w 366804"/>
                    <a:gd name="connsiteY2" fmla="*/ 0 h 1194761"/>
                    <a:gd name="connsiteX3" fmla="*/ 314521 w 366804"/>
                    <a:gd name="connsiteY3" fmla="*/ 0 h 1194761"/>
                    <a:gd name="connsiteX4" fmla="*/ 314521 w 366804"/>
                    <a:gd name="connsiteY4" fmla="*/ 970338 h 1194761"/>
                    <a:gd name="connsiteX5" fmla="*/ 366804 w 366804"/>
                    <a:gd name="connsiteY5" fmla="*/ 1194761 h 1194761"/>
                    <a:gd name="connsiteX0" fmla="*/ 122964 w 314521"/>
                    <a:gd name="connsiteY0" fmla="*/ 1069984 h 1069984"/>
                    <a:gd name="connsiteX1" fmla="*/ 0 w 314521"/>
                    <a:gd name="connsiteY1" fmla="*/ 970338 h 1069984"/>
                    <a:gd name="connsiteX2" fmla="*/ 0 w 314521"/>
                    <a:gd name="connsiteY2" fmla="*/ 0 h 1069984"/>
                    <a:gd name="connsiteX3" fmla="*/ 314521 w 314521"/>
                    <a:gd name="connsiteY3" fmla="*/ 0 h 1069984"/>
                    <a:gd name="connsiteX4" fmla="*/ 314521 w 314521"/>
                    <a:gd name="connsiteY4" fmla="*/ 970338 h 1069984"/>
                    <a:gd name="connsiteX0" fmla="*/ 0 w 314521"/>
                    <a:gd name="connsiteY0" fmla="*/ 970338 h 970338"/>
                    <a:gd name="connsiteX1" fmla="*/ 0 w 314521"/>
                    <a:gd name="connsiteY1" fmla="*/ 0 h 970338"/>
                    <a:gd name="connsiteX2" fmla="*/ 314521 w 314521"/>
                    <a:gd name="connsiteY2" fmla="*/ 0 h 970338"/>
                    <a:gd name="connsiteX3" fmla="*/ 314521 w 314521"/>
                    <a:gd name="connsiteY3" fmla="*/ 970338 h 9703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4521" h="970338">
                      <a:moveTo>
                        <a:pt x="0" y="970338"/>
                      </a:moveTo>
                      <a:lnTo>
                        <a:pt x="0" y="0"/>
                      </a:lnTo>
                      <a:lnTo>
                        <a:pt x="314521" y="0"/>
                      </a:lnTo>
                      <a:lnTo>
                        <a:pt x="314521" y="970338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08" name="Rechteck 251">
                  <a:extLst>
                    <a:ext uri="{FF2B5EF4-FFF2-40B4-BE49-F238E27FC236}">
                      <a16:creationId xmlns:a16="http://schemas.microsoft.com/office/drawing/2014/main" xmlns="" id="{8988A24E-BB91-4D71-98A2-53CB0C23DF7E}"/>
                    </a:ext>
                  </a:extLst>
                </p:cNvPr>
                <p:cNvSpPr/>
                <p:nvPr/>
              </p:nvSpPr>
              <p:spPr>
                <a:xfrm>
                  <a:off x="656913" y="1310374"/>
                  <a:ext cx="309352" cy="970338"/>
                </a:xfrm>
                <a:custGeom>
                  <a:avLst/>
                  <a:gdLst>
                    <a:gd name="connsiteX0" fmla="*/ 0 w 314521"/>
                    <a:gd name="connsiteY0" fmla="*/ 0 h 970338"/>
                    <a:gd name="connsiteX1" fmla="*/ 314521 w 314521"/>
                    <a:gd name="connsiteY1" fmla="*/ 0 h 970338"/>
                    <a:gd name="connsiteX2" fmla="*/ 314521 w 314521"/>
                    <a:gd name="connsiteY2" fmla="*/ 970338 h 970338"/>
                    <a:gd name="connsiteX3" fmla="*/ 0 w 314521"/>
                    <a:gd name="connsiteY3" fmla="*/ 970338 h 970338"/>
                    <a:gd name="connsiteX4" fmla="*/ 0 w 314521"/>
                    <a:gd name="connsiteY4" fmla="*/ 0 h 970338"/>
                    <a:gd name="connsiteX0" fmla="*/ 0 w 314521"/>
                    <a:gd name="connsiteY0" fmla="*/ 0 h 1069990"/>
                    <a:gd name="connsiteX1" fmla="*/ 314521 w 314521"/>
                    <a:gd name="connsiteY1" fmla="*/ 0 h 1069990"/>
                    <a:gd name="connsiteX2" fmla="*/ 314521 w 314521"/>
                    <a:gd name="connsiteY2" fmla="*/ 970338 h 1069990"/>
                    <a:gd name="connsiteX3" fmla="*/ 122964 w 314521"/>
                    <a:gd name="connsiteY3" fmla="*/ 1069984 h 1069990"/>
                    <a:gd name="connsiteX4" fmla="*/ 0 w 314521"/>
                    <a:gd name="connsiteY4" fmla="*/ 970338 h 1069990"/>
                    <a:gd name="connsiteX5" fmla="*/ 0 w 314521"/>
                    <a:gd name="connsiteY5" fmla="*/ 0 h 1069990"/>
                    <a:gd name="connsiteX0" fmla="*/ 0 w 314521"/>
                    <a:gd name="connsiteY0" fmla="*/ 0 h 1107360"/>
                    <a:gd name="connsiteX1" fmla="*/ 314521 w 314521"/>
                    <a:gd name="connsiteY1" fmla="*/ 0 h 1107360"/>
                    <a:gd name="connsiteX2" fmla="*/ 314521 w 314521"/>
                    <a:gd name="connsiteY2" fmla="*/ 970338 h 1107360"/>
                    <a:gd name="connsiteX3" fmla="*/ 275364 w 314521"/>
                    <a:gd name="connsiteY3" fmla="*/ 1103321 h 1107360"/>
                    <a:gd name="connsiteX4" fmla="*/ 122964 w 314521"/>
                    <a:gd name="connsiteY4" fmla="*/ 1069984 h 1107360"/>
                    <a:gd name="connsiteX5" fmla="*/ 0 w 314521"/>
                    <a:gd name="connsiteY5" fmla="*/ 970338 h 1107360"/>
                    <a:gd name="connsiteX6" fmla="*/ 0 w 314521"/>
                    <a:gd name="connsiteY6" fmla="*/ 0 h 1107360"/>
                    <a:gd name="connsiteX0" fmla="*/ 122964 w 366804"/>
                    <a:gd name="connsiteY0" fmla="*/ 1069984 h 1194761"/>
                    <a:gd name="connsiteX1" fmla="*/ 0 w 366804"/>
                    <a:gd name="connsiteY1" fmla="*/ 970338 h 1194761"/>
                    <a:gd name="connsiteX2" fmla="*/ 0 w 366804"/>
                    <a:gd name="connsiteY2" fmla="*/ 0 h 1194761"/>
                    <a:gd name="connsiteX3" fmla="*/ 314521 w 366804"/>
                    <a:gd name="connsiteY3" fmla="*/ 0 h 1194761"/>
                    <a:gd name="connsiteX4" fmla="*/ 314521 w 366804"/>
                    <a:gd name="connsiteY4" fmla="*/ 970338 h 1194761"/>
                    <a:gd name="connsiteX5" fmla="*/ 366804 w 366804"/>
                    <a:gd name="connsiteY5" fmla="*/ 1194761 h 1194761"/>
                    <a:gd name="connsiteX0" fmla="*/ 122964 w 314521"/>
                    <a:gd name="connsiteY0" fmla="*/ 1069984 h 1069984"/>
                    <a:gd name="connsiteX1" fmla="*/ 0 w 314521"/>
                    <a:gd name="connsiteY1" fmla="*/ 970338 h 1069984"/>
                    <a:gd name="connsiteX2" fmla="*/ 0 w 314521"/>
                    <a:gd name="connsiteY2" fmla="*/ 0 h 1069984"/>
                    <a:gd name="connsiteX3" fmla="*/ 314521 w 314521"/>
                    <a:gd name="connsiteY3" fmla="*/ 0 h 1069984"/>
                    <a:gd name="connsiteX4" fmla="*/ 314521 w 314521"/>
                    <a:gd name="connsiteY4" fmla="*/ 970338 h 1069984"/>
                    <a:gd name="connsiteX0" fmla="*/ 0 w 314521"/>
                    <a:gd name="connsiteY0" fmla="*/ 970338 h 970338"/>
                    <a:gd name="connsiteX1" fmla="*/ 0 w 314521"/>
                    <a:gd name="connsiteY1" fmla="*/ 0 h 970338"/>
                    <a:gd name="connsiteX2" fmla="*/ 314521 w 314521"/>
                    <a:gd name="connsiteY2" fmla="*/ 0 h 970338"/>
                    <a:gd name="connsiteX3" fmla="*/ 314521 w 314521"/>
                    <a:gd name="connsiteY3" fmla="*/ 970338 h 9703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4521" h="970338">
                      <a:moveTo>
                        <a:pt x="0" y="970338"/>
                      </a:moveTo>
                      <a:lnTo>
                        <a:pt x="0" y="0"/>
                      </a:lnTo>
                      <a:lnTo>
                        <a:pt x="314521" y="0"/>
                      </a:lnTo>
                      <a:lnTo>
                        <a:pt x="314521" y="970338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09" name="Freeform 179">
                  <a:extLst>
                    <a:ext uri="{FF2B5EF4-FFF2-40B4-BE49-F238E27FC236}">
                      <a16:creationId xmlns:a16="http://schemas.microsoft.com/office/drawing/2014/main" xmlns="" id="{F0EF545C-9A0E-4C56-9CEA-1272AE62C1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1026364" y="1576492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10" name="Freeform 179">
                  <a:extLst>
                    <a:ext uri="{FF2B5EF4-FFF2-40B4-BE49-F238E27FC236}">
                      <a16:creationId xmlns:a16="http://schemas.microsoft.com/office/drawing/2014/main" xmlns="" id="{3843B3B4-9732-404A-B24A-8C3D16DD1D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1026364" y="1728512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11" name="Freeform 179">
                  <a:extLst>
                    <a:ext uri="{FF2B5EF4-FFF2-40B4-BE49-F238E27FC236}">
                      <a16:creationId xmlns:a16="http://schemas.microsoft.com/office/drawing/2014/main" xmlns="" id="{AB47C0F0-D7A7-440B-8914-EE9BBBC0EB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1159307" y="1728512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12" name="Freeform 179">
                  <a:extLst>
                    <a:ext uri="{FF2B5EF4-FFF2-40B4-BE49-F238E27FC236}">
                      <a16:creationId xmlns:a16="http://schemas.microsoft.com/office/drawing/2014/main" xmlns="" id="{3B622BE4-5EB7-48F2-8A1C-83B666DD21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1026364" y="1871476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13" name="Freeform 179">
                  <a:extLst>
                    <a:ext uri="{FF2B5EF4-FFF2-40B4-BE49-F238E27FC236}">
                      <a16:creationId xmlns:a16="http://schemas.microsoft.com/office/drawing/2014/main" xmlns="" id="{8D47C66B-B6BE-4442-9987-34064082AF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1159307" y="1871476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14" name="Freeform 179">
                  <a:extLst>
                    <a:ext uri="{FF2B5EF4-FFF2-40B4-BE49-F238E27FC236}">
                      <a16:creationId xmlns:a16="http://schemas.microsoft.com/office/drawing/2014/main" xmlns="" id="{0D85DCD7-0485-4A8B-BC9C-90FF555F05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1026364" y="2035362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15" name="Freeform 179">
                  <a:extLst>
                    <a:ext uri="{FF2B5EF4-FFF2-40B4-BE49-F238E27FC236}">
                      <a16:creationId xmlns:a16="http://schemas.microsoft.com/office/drawing/2014/main" xmlns="" id="{50755ECF-0B30-4F84-9497-1CFB4BE719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1159307" y="2035362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16" name="Freeform 179">
                  <a:extLst>
                    <a:ext uri="{FF2B5EF4-FFF2-40B4-BE49-F238E27FC236}">
                      <a16:creationId xmlns:a16="http://schemas.microsoft.com/office/drawing/2014/main" xmlns="" id="{3B339C0B-BE82-4D61-B7DD-D25F4CF28B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1093962" y="1576492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17" name="Freeform 179">
                  <a:extLst>
                    <a:ext uri="{FF2B5EF4-FFF2-40B4-BE49-F238E27FC236}">
                      <a16:creationId xmlns:a16="http://schemas.microsoft.com/office/drawing/2014/main" xmlns="" id="{7A2D1259-D078-4197-8182-A1D2F50163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723298" y="1367687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18" name="Freeform 179">
                  <a:extLst>
                    <a:ext uri="{FF2B5EF4-FFF2-40B4-BE49-F238E27FC236}">
                      <a16:creationId xmlns:a16="http://schemas.microsoft.com/office/drawing/2014/main" xmlns="" id="{184A6B52-2C09-4315-9EC2-8C3D35BCA3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723298" y="1531583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19" name="Freeform 179">
                  <a:extLst>
                    <a:ext uri="{FF2B5EF4-FFF2-40B4-BE49-F238E27FC236}">
                      <a16:creationId xmlns:a16="http://schemas.microsoft.com/office/drawing/2014/main" xmlns="" id="{4ABB23C1-E606-4463-8747-72466E502C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856241" y="1531583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20" name="Freeform 179">
                  <a:extLst>
                    <a:ext uri="{FF2B5EF4-FFF2-40B4-BE49-F238E27FC236}">
                      <a16:creationId xmlns:a16="http://schemas.microsoft.com/office/drawing/2014/main" xmlns="" id="{BDCE2597-4BE3-42CF-BCB4-9592DC6FB7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723298" y="1695479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21" name="Freeform 179">
                  <a:extLst>
                    <a:ext uri="{FF2B5EF4-FFF2-40B4-BE49-F238E27FC236}">
                      <a16:creationId xmlns:a16="http://schemas.microsoft.com/office/drawing/2014/main" xmlns="" id="{E3F147FF-AD45-49A1-AE8A-78ED4AECD6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856241" y="1695479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22" name="Freeform 179">
                  <a:extLst>
                    <a:ext uri="{FF2B5EF4-FFF2-40B4-BE49-F238E27FC236}">
                      <a16:creationId xmlns:a16="http://schemas.microsoft.com/office/drawing/2014/main" xmlns="" id="{F9E2C1BD-0C96-4591-9BF9-057FCAC513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723298" y="1859375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23" name="Freeform 179">
                  <a:extLst>
                    <a:ext uri="{FF2B5EF4-FFF2-40B4-BE49-F238E27FC236}">
                      <a16:creationId xmlns:a16="http://schemas.microsoft.com/office/drawing/2014/main" xmlns="" id="{6EED304D-78F1-4F78-B7DC-B0C829FD2C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856241" y="1859375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24" name="Freeform 179">
                  <a:extLst>
                    <a:ext uri="{FF2B5EF4-FFF2-40B4-BE49-F238E27FC236}">
                      <a16:creationId xmlns:a16="http://schemas.microsoft.com/office/drawing/2014/main" xmlns="" id="{74267986-5079-430C-BAB7-3E6B2471E7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790896" y="1367687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25" name="Freeform 179">
                  <a:extLst>
                    <a:ext uri="{FF2B5EF4-FFF2-40B4-BE49-F238E27FC236}">
                      <a16:creationId xmlns:a16="http://schemas.microsoft.com/office/drawing/2014/main" xmlns="" id="{FE3DF6ED-1D99-41C0-AACC-A45BB57EA7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723298" y="2023270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  <p:sp>
              <p:nvSpPr>
                <p:cNvPr id="326" name="Freeform 179">
                  <a:extLst>
                    <a:ext uri="{FF2B5EF4-FFF2-40B4-BE49-F238E27FC236}">
                      <a16:creationId xmlns:a16="http://schemas.microsoft.com/office/drawing/2014/main" xmlns="" id="{039750DF-F392-461D-A1B5-0862832120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856241" y="2023270"/>
                  <a:ext cx="46800" cy="118800"/>
                </a:xfrm>
                <a:custGeom>
                  <a:avLst/>
                  <a:gdLst>
                    <a:gd name="T0" fmla="*/ 24 w 24"/>
                    <a:gd name="T1" fmla="*/ 0 h 59"/>
                    <a:gd name="T2" fmla="*/ 0 w 24"/>
                    <a:gd name="T3" fmla="*/ 0 h 59"/>
                    <a:gd name="T4" fmla="*/ 0 w 24"/>
                    <a:gd name="T5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59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59"/>
                      </a:lnTo>
                    </a:path>
                  </a:pathLst>
                </a:custGeom>
                <a:grpFill/>
                <a:ln w="635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/>
              </p:spPr>
              <p:txBody>
                <a:bodyPr vert="horz" wrap="square" lIns="90869" tIns="45434" rIns="90869" bIns="4543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16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124191"/>
                    </a:solidFill>
                    <a:effectLst/>
                    <a:uLnTx/>
                    <a:uFillTx/>
                    <a:latin typeface="Nokia Pure Text Light" panose="020B0403020202020204" pitchFamily="34" charset="0"/>
                    <a:ea typeface="Nokia Pure Text Light" panose="020B0403020202020204" pitchFamily="34" charset="0"/>
                    <a:cs typeface="+mn-cs"/>
                  </a:endParaRPr>
                </a:p>
              </p:txBody>
            </p:sp>
          </p:grpSp>
          <p:sp>
            <p:nvSpPr>
              <p:cNvPr id="306" name="Line 201">
                <a:extLst>
                  <a:ext uri="{FF2B5EF4-FFF2-40B4-BE49-F238E27FC236}">
                    <a16:creationId xmlns:a16="http://schemas.microsoft.com/office/drawing/2014/main" xmlns="" id="{C52BE07D-76C0-46B2-BBF5-F1F80FADFB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95097" y="2292545"/>
                <a:ext cx="612000" cy="0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</p:grpSp>
        <p:grpSp>
          <p:nvGrpSpPr>
            <p:cNvPr id="327" name="Gruppieren 326">
              <a:extLst>
                <a:ext uri="{FF2B5EF4-FFF2-40B4-BE49-F238E27FC236}">
                  <a16:creationId xmlns:a16="http://schemas.microsoft.com/office/drawing/2014/main" xmlns="" id="{6D163F76-A247-479C-9876-D9A7707AD2D2}"/>
                </a:ext>
              </a:extLst>
            </p:cNvPr>
            <p:cNvGrpSpPr/>
            <p:nvPr/>
          </p:nvGrpSpPr>
          <p:grpSpPr>
            <a:xfrm>
              <a:off x="4108079" y="1846367"/>
              <a:ext cx="612000" cy="468929"/>
              <a:chOff x="4317506" y="1841320"/>
              <a:chExt cx="612000" cy="466034"/>
            </a:xfrm>
            <a:noFill/>
          </p:grpSpPr>
          <p:sp>
            <p:nvSpPr>
              <p:cNvPr id="328" name="Freihandform: Form 322">
                <a:extLst>
                  <a:ext uri="{FF2B5EF4-FFF2-40B4-BE49-F238E27FC236}">
                    <a16:creationId xmlns:a16="http://schemas.microsoft.com/office/drawing/2014/main" xmlns="" id="{9FF3CFCF-4683-4AD0-A8E9-C2337BCBFE7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381179" y="1841320"/>
                <a:ext cx="464969" cy="466034"/>
              </a:xfrm>
              <a:custGeom>
                <a:avLst/>
                <a:gdLst>
                  <a:gd name="connsiteX0" fmla="*/ 0 w 2038350"/>
                  <a:gd name="connsiteY0" fmla="*/ 2033588 h 2043113"/>
                  <a:gd name="connsiteX1" fmla="*/ 0 w 2038350"/>
                  <a:gd name="connsiteY1" fmla="*/ 766763 h 2043113"/>
                  <a:gd name="connsiteX2" fmla="*/ 514350 w 2038350"/>
                  <a:gd name="connsiteY2" fmla="*/ 1023938 h 2043113"/>
                  <a:gd name="connsiteX3" fmla="*/ 514350 w 2038350"/>
                  <a:gd name="connsiteY3" fmla="*/ 762000 h 2043113"/>
                  <a:gd name="connsiteX4" fmla="*/ 1019175 w 2038350"/>
                  <a:gd name="connsiteY4" fmla="*/ 1023938 h 2043113"/>
                  <a:gd name="connsiteX5" fmla="*/ 1019175 w 2038350"/>
                  <a:gd name="connsiteY5" fmla="*/ 762000 h 2043113"/>
                  <a:gd name="connsiteX6" fmla="*/ 1528762 w 2038350"/>
                  <a:gd name="connsiteY6" fmla="*/ 1019175 h 2043113"/>
                  <a:gd name="connsiteX7" fmla="*/ 1785937 w 2038350"/>
                  <a:gd name="connsiteY7" fmla="*/ 0 h 2043113"/>
                  <a:gd name="connsiteX8" fmla="*/ 2038350 w 2038350"/>
                  <a:gd name="connsiteY8" fmla="*/ 0 h 2043113"/>
                  <a:gd name="connsiteX9" fmla="*/ 2038350 w 2038350"/>
                  <a:gd name="connsiteY9" fmla="*/ 2038350 h 2043113"/>
                  <a:gd name="connsiteX10" fmla="*/ 1643062 w 2038350"/>
                  <a:gd name="connsiteY10" fmla="*/ 2038350 h 2043113"/>
                  <a:gd name="connsiteX11" fmla="*/ 1643062 w 2038350"/>
                  <a:gd name="connsiteY11" fmla="*/ 1528763 h 2043113"/>
                  <a:gd name="connsiteX12" fmla="*/ 1333500 w 2038350"/>
                  <a:gd name="connsiteY12" fmla="*/ 1528763 h 2043113"/>
                  <a:gd name="connsiteX13" fmla="*/ 1333500 w 2038350"/>
                  <a:gd name="connsiteY13" fmla="*/ 2043113 h 2043113"/>
                  <a:gd name="connsiteX14" fmla="*/ 0 w 2038350"/>
                  <a:gd name="connsiteY14" fmla="*/ 2033588 h 2043113"/>
                  <a:gd name="connsiteX0" fmla="*/ 0 w 2038350"/>
                  <a:gd name="connsiteY0" fmla="*/ 2043026 h 2043113"/>
                  <a:gd name="connsiteX1" fmla="*/ 0 w 2038350"/>
                  <a:gd name="connsiteY1" fmla="*/ 766763 h 2043113"/>
                  <a:gd name="connsiteX2" fmla="*/ 514350 w 2038350"/>
                  <a:gd name="connsiteY2" fmla="*/ 1023938 h 2043113"/>
                  <a:gd name="connsiteX3" fmla="*/ 514350 w 2038350"/>
                  <a:gd name="connsiteY3" fmla="*/ 762000 h 2043113"/>
                  <a:gd name="connsiteX4" fmla="*/ 1019175 w 2038350"/>
                  <a:gd name="connsiteY4" fmla="*/ 1023938 h 2043113"/>
                  <a:gd name="connsiteX5" fmla="*/ 1019175 w 2038350"/>
                  <a:gd name="connsiteY5" fmla="*/ 762000 h 2043113"/>
                  <a:gd name="connsiteX6" fmla="*/ 1528762 w 2038350"/>
                  <a:gd name="connsiteY6" fmla="*/ 1019175 h 2043113"/>
                  <a:gd name="connsiteX7" fmla="*/ 1785937 w 2038350"/>
                  <a:gd name="connsiteY7" fmla="*/ 0 h 2043113"/>
                  <a:gd name="connsiteX8" fmla="*/ 2038350 w 2038350"/>
                  <a:gd name="connsiteY8" fmla="*/ 0 h 2043113"/>
                  <a:gd name="connsiteX9" fmla="*/ 2038350 w 2038350"/>
                  <a:gd name="connsiteY9" fmla="*/ 2038350 h 2043113"/>
                  <a:gd name="connsiteX10" fmla="*/ 1643062 w 2038350"/>
                  <a:gd name="connsiteY10" fmla="*/ 2038350 h 2043113"/>
                  <a:gd name="connsiteX11" fmla="*/ 1643062 w 2038350"/>
                  <a:gd name="connsiteY11" fmla="*/ 1528763 h 2043113"/>
                  <a:gd name="connsiteX12" fmla="*/ 1333500 w 2038350"/>
                  <a:gd name="connsiteY12" fmla="*/ 1528763 h 2043113"/>
                  <a:gd name="connsiteX13" fmla="*/ 1333500 w 2038350"/>
                  <a:gd name="connsiteY13" fmla="*/ 2043113 h 2043113"/>
                  <a:gd name="connsiteX14" fmla="*/ 0 w 2038350"/>
                  <a:gd name="connsiteY14" fmla="*/ 2043026 h 2043113"/>
                  <a:gd name="connsiteX0" fmla="*/ 0 w 2038350"/>
                  <a:gd name="connsiteY0" fmla="*/ 2043026 h 2405486"/>
                  <a:gd name="connsiteX1" fmla="*/ 0 w 2038350"/>
                  <a:gd name="connsiteY1" fmla="*/ 766763 h 2405486"/>
                  <a:gd name="connsiteX2" fmla="*/ 514350 w 2038350"/>
                  <a:gd name="connsiteY2" fmla="*/ 1023938 h 2405486"/>
                  <a:gd name="connsiteX3" fmla="*/ 514350 w 2038350"/>
                  <a:gd name="connsiteY3" fmla="*/ 762000 h 2405486"/>
                  <a:gd name="connsiteX4" fmla="*/ 1019175 w 2038350"/>
                  <a:gd name="connsiteY4" fmla="*/ 1023938 h 2405486"/>
                  <a:gd name="connsiteX5" fmla="*/ 1019175 w 2038350"/>
                  <a:gd name="connsiteY5" fmla="*/ 762000 h 2405486"/>
                  <a:gd name="connsiteX6" fmla="*/ 1528762 w 2038350"/>
                  <a:gd name="connsiteY6" fmla="*/ 1019175 h 2405486"/>
                  <a:gd name="connsiteX7" fmla="*/ 1785937 w 2038350"/>
                  <a:gd name="connsiteY7" fmla="*/ 0 h 2405486"/>
                  <a:gd name="connsiteX8" fmla="*/ 2038350 w 2038350"/>
                  <a:gd name="connsiteY8" fmla="*/ 0 h 2405486"/>
                  <a:gd name="connsiteX9" fmla="*/ 2038350 w 2038350"/>
                  <a:gd name="connsiteY9" fmla="*/ 2038350 h 2405486"/>
                  <a:gd name="connsiteX10" fmla="*/ 1643062 w 2038350"/>
                  <a:gd name="connsiteY10" fmla="*/ 2038350 h 2405486"/>
                  <a:gd name="connsiteX11" fmla="*/ 1643062 w 2038350"/>
                  <a:gd name="connsiteY11" fmla="*/ 1528763 h 2405486"/>
                  <a:gd name="connsiteX12" fmla="*/ 1333500 w 2038350"/>
                  <a:gd name="connsiteY12" fmla="*/ 1528763 h 2405486"/>
                  <a:gd name="connsiteX13" fmla="*/ 1695873 w 2038350"/>
                  <a:gd name="connsiteY13" fmla="*/ 2405486 h 2405486"/>
                  <a:gd name="connsiteX0" fmla="*/ 0 w 2038350"/>
                  <a:gd name="connsiteY0" fmla="*/ 2043026 h 2405486"/>
                  <a:gd name="connsiteX1" fmla="*/ 0 w 2038350"/>
                  <a:gd name="connsiteY1" fmla="*/ 766763 h 2405486"/>
                  <a:gd name="connsiteX2" fmla="*/ 514350 w 2038350"/>
                  <a:gd name="connsiteY2" fmla="*/ 1023938 h 2405486"/>
                  <a:gd name="connsiteX3" fmla="*/ 514350 w 2038350"/>
                  <a:gd name="connsiteY3" fmla="*/ 762000 h 2405486"/>
                  <a:gd name="connsiteX4" fmla="*/ 1019175 w 2038350"/>
                  <a:gd name="connsiteY4" fmla="*/ 1023938 h 2405486"/>
                  <a:gd name="connsiteX5" fmla="*/ 1019175 w 2038350"/>
                  <a:gd name="connsiteY5" fmla="*/ 762000 h 2405486"/>
                  <a:gd name="connsiteX6" fmla="*/ 1528762 w 2038350"/>
                  <a:gd name="connsiteY6" fmla="*/ 1019175 h 2405486"/>
                  <a:gd name="connsiteX7" fmla="*/ 1785937 w 2038350"/>
                  <a:gd name="connsiteY7" fmla="*/ 0 h 2405486"/>
                  <a:gd name="connsiteX8" fmla="*/ 2038350 w 2038350"/>
                  <a:gd name="connsiteY8" fmla="*/ 0 h 2405486"/>
                  <a:gd name="connsiteX9" fmla="*/ 2038350 w 2038350"/>
                  <a:gd name="connsiteY9" fmla="*/ 2038350 h 2405486"/>
                  <a:gd name="connsiteX10" fmla="*/ 1643062 w 2038350"/>
                  <a:gd name="connsiteY10" fmla="*/ 2038350 h 2405486"/>
                  <a:gd name="connsiteX11" fmla="*/ 1643062 w 2038350"/>
                  <a:gd name="connsiteY11" fmla="*/ 1528763 h 2405486"/>
                  <a:gd name="connsiteX12" fmla="*/ 1333500 w 2038350"/>
                  <a:gd name="connsiteY12" fmla="*/ 1528763 h 2405486"/>
                  <a:gd name="connsiteX13" fmla="*/ 1695873 w 2038350"/>
                  <a:gd name="connsiteY13" fmla="*/ 2405486 h 240548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7274 w 2038350"/>
                  <a:gd name="connsiteY13" fmla="*/ 2009142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3054 w 2038350"/>
                  <a:gd name="connsiteY13" fmla="*/ 1859204 h 2043026"/>
                  <a:gd name="connsiteX14" fmla="*/ 1337274 w 2038350"/>
                  <a:gd name="connsiteY14" fmla="*/ 2009142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7274 w 2038350"/>
                  <a:gd name="connsiteY13" fmla="*/ 2009142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18402 w 2038350"/>
                  <a:gd name="connsiteY13" fmla="*/ 2028018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18402 w 2038350"/>
                  <a:gd name="connsiteY13" fmla="*/ 2028018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27838 w 2038350"/>
                  <a:gd name="connsiteY13" fmla="*/ 2037454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46710 w 2038350"/>
                  <a:gd name="connsiteY13" fmla="*/ 2037454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5803 w 2038350"/>
                  <a:gd name="connsiteY13" fmla="*/ 2037454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5803 w 2038350"/>
                  <a:gd name="connsiteY13" fmla="*/ 2037454 h 2043026"/>
                  <a:gd name="connsiteX0" fmla="*/ 0 w 2038350"/>
                  <a:gd name="connsiteY0" fmla="*/ 2043026 h 2043026"/>
                  <a:gd name="connsiteX1" fmla="*/ 0 w 2038350"/>
                  <a:gd name="connsiteY1" fmla="*/ 766763 h 2043026"/>
                  <a:gd name="connsiteX2" fmla="*/ 514350 w 2038350"/>
                  <a:gd name="connsiteY2" fmla="*/ 1023938 h 2043026"/>
                  <a:gd name="connsiteX3" fmla="*/ 514350 w 2038350"/>
                  <a:gd name="connsiteY3" fmla="*/ 762000 h 2043026"/>
                  <a:gd name="connsiteX4" fmla="*/ 1019175 w 2038350"/>
                  <a:gd name="connsiteY4" fmla="*/ 1023938 h 2043026"/>
                  <a:gd name="connsiteX5" fmla="*/ 1019175 w 2038350"/>
                  <a:gd name="connsiteY5" fmla="*/ 762000 h 2043026"/>
                  <a:gd name="connsiteX6" fmla="*/ 1528762 w 2038350"/>
                  <a:gd name="connsiteY6" fmla="*/ 1019175 h 2043026"/>
                  <a:gd name="connsiteX7" fmla="*/ 1785937 w 2038350"/>
                  <a:gd name="connsiteY7" fmla="*/ 0 h 2043026"/>
                  <a:gd name="connsiteX8" fmla="*/ 2038350 w 2038350"/>
                  <a:gd name="connsiteY8" fmla="*/ 0 h 2043026"/>
                  <a:gd name="connsiteX9" fmla="*/ 2038350 w 2038350"/>
                  <a:gd name="connsiteY9" fmla="*/ 2038350 h 2043026"/>
                  <a:gd name="connsiteX10" fmla="*/ 1643062 w 2038350"/>
                  <a:gd name="connsiteY10" fmla="*/ 2038350 h 2043026"/>
                  <a:gd name="connsiteX11" fmla="*/ 1643062 w 2038350"/>
                  <a:gd name="connsiteY11" fmla="*/ 1528763 h 2043026"/>
                  <a:gd name="connsiteX12" fmla="*/ 1333500 w 2038350"/>
                  <a:gd name="connsiteY12" fmla="*/ 1528763 h 2043026"/>
                  <a:gd name="connsiteX13" fmla="*/ 1335803 w 2038350"/>
                  <a:gd name="connsiteY13" fmla="*/ 2034728 h 204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38350" h="2043026">
                    <a:moveTo>
                      <a:pt x="0" y="2043026"/>
                    </a:moveTo>
                    <a:lnTo>
                      <a:pt x="0" y="766763"/>
                    </a:lnTo>
                    <a:lnTo>
                      <a:pt x="514350" y="1023938"/>
                    </a:lnTo>
                    <a:lnTo>
                      <a:pt x="514350" y="762000"/>
                    </a:lnTo>
                    <a:lnTo>
                      <a:pt x="1019175" y="1023938"/>
                    </a:lnTo>
                    <a:lnTo>
                      <a:pt x="1019175" y="762000"/>
                    </a:lnTo>
                    <a:lnTo>
                      <a:pt x="1528762" y="1019175"/>
                    </a:lnTo>
                    <a:lnTo>
                      <a:pt x="1785937" y="0"/>
                    </a:lnTo>
                    <a:lnTo>
                      <a:pt x="2038350" y="0"/>
                    </a:lnTo>
                    <a:lnTo>
                      <a:pt x="2038350" y="2038350"/>
                    </a:lnTo>
                    <a:lnTo>
                      <a:pt x="1643062" y="2038350"/>
                    </a:lnTo>
                    <a:lnTo>
                      <a:pt x="1643062" y="1528763"/>
                    </a:lnTo>
                    <a:lnTo>
                      <a:pt x="1333500" y="1528763"/>
                    </a:lnTo>
                    <a:cubicBezTo>
                      <a:pt x="1334268" y="1698327"/>
                      <a:pt x="1335035" y="1865164"/>
                      <a:pt x="1335803" y="2034728"/>
                    </a:cubicBez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329" name="Line 201">
                <a:extLst>
                  <a:ext uri="{FF2B5EF4-FFF2-40B4-BE49-F238E27FC236}">
                    <a16:creationId xmlns:a16="http://schemas.microsoft.com/office/drawing/2014/main" xmlns="" id="{E52DEE8A-A023-4790-8472-926743D8C2E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17506" y="2307354"/>
                <a:ext cx="612000" cy="0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</p:grpSp>
        <p:grpSp>
          <p:nvGrpSpPr>
            <p:cNvPr id="330" name="Gruppieren 363">
              <a:extLst>
                <a:ext uri="{FF2B5EF4-FFF2-40B4-BE49-F238E27FC236}">
                  <a16:creationId xmlns:a16="http://schemas.microsoft.com/office/drawing/2014/main" xmlns="" id="{4B60629D-3D56-4CDA-8CCB-C66570BC75F7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8183718" y="2107774"/>
              <a:ext cx="102194" cy="217631"/>
              <a:chOff x="2519772" y="2429466"/>
              <a:chExt cx="278016" cy="588409"/>
            </a:xfrm>
            <a:solidFill>
              <a:schemeClr val="bg1"/>
            </a:solidFill>
          </p:grpSpPr>
          <p:sp>
            <p:nvSpPr>
              <p:cNvPr id="331" name="Ellipse 364">
                <a:extLst>
                  <a:ext uri="{FF2B5EF4-FFF2-40B4-BE49-F238E27FC236}">
                    <a16:creationId xmlns:a16="http://schemas.microsoft.com/office/drawing/2014/main" xmlns="" id="{7749DCED-B62B-4897-A90B-25EF3AE98A7A}"/>
                  </a:ext>
                </a:extLst>
              </p:cNvPr>
              <p:cNvSpPr/>
              <p:nvPr/>
            </p:nvSpPr>
            <p:spPr>
              <a:xfrm>
                <a:off x="2519772" y="2429466"/>
                <a:ext cx="278016" cy="278016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cxnSp>
            <p:nvCxnSpPr>
              <p:cNvPr id="332" name="Gerader Verbinder 365">
                <a:extLst>
                  <a:ext uri="{FF2B5EF4-FFF2-40B4-BE49-F238E27FC236}">
                    <a16:creationId xmlns:a16="http://schemas.microsoft.com/office/drawing/2014/main" xmlns="" id="{7D669B9D-FFAF-4FBC-9F80-14CFAB5E9B70}"/>
                  </a:ext>
                </a:extLst>
              </p:cNvPr>
              <p:cNvCxnSpPr/>
              <p:nvPr/>
            </p:nvCxnSpPr>
            <p:spPr>
              <a:xfrm>
                <a:off x="2658780" y="2709863"/>
                <a:ext cx="0" cy="308012"/>
              </a:xfrm>
              <a:prstGeom prst="lin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</p:cxnSp>
        </p:grpSp>
        <p:grpSp>
          <p:nvGrpSpPr>
            <p:cNvPr id="333" name="Group 223">
              <a:extLst>
                <a:ext uri="{FF2B5EF4-FFF2-40B4-BE49-F238E27FC236}">
                  <a16:creationId xmlns:a16="http://schemas.microsoft.com/office/drawing/2014/main" xmlns="" id="{FD4AFD48-2089-44D5-BACE-EF7DCEFFF5BB}"/>
                </a:ext>
              </a:extLst>
            </p:cNvPr>
            <p:cNvGrpSpPr/>
            <p:nvPr/>
          </p:nvGrpSpPr>
          <p:grpSpPr>
            <a:xfrm flipH="1">
              <a:off x="8736057" y="2166059"/>
              <a:ext cx="386174" cy="148068"/>
              <a:chOff x="1740802" y="4415036"/>
              <a:chExt cx="898649" cy="342433"/>
            </a:xfrm>
          </p:grpSpPr>
          <p:sp>
            <p:nvSpPr>
              <p:cNvPr id="334" name="Freeform 377">
                <a:extLst>
                  <a:ext uri="{FF2B5EF4-FFF2-40B4-BE49-F238E27FC236}">
                    <a16:creationId xmlns:a16="http://schemas.microsoft.com/office/drawing/2014/main" xmlns="" id="{0091AE81-6EBB-4C9A-A77E-9CB2B041D03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740802" y="4482381"/>
                <a:ext cx="898649" cy="275088"/>
              </a:xfrm>
              <a:custGeom>
                <a:avLst/>
                <a:gdLst>
                  <a:gd name="T0" fmla="*/ 33 w 204"/>
                  <a:gd name="T1" fmla="*/ 48 h 49"/>
                  <a:gd name="T2" fmla="*/ 25 w 204"/>
                  <a:gd name="T3" fmla="*/ 43 h 49"/>
                  <a:gd name="T4" fmla="*/ 0 w 204"/>
                  <a:gd name="T5" fmla="*/ 20 h 49"/>
                  <a:gd name="T6" fmla="*/ 39 w 204"/>
                  <a:gd name="T7" fmla="*/ 20 h 49"/>
                  <a:gd name="T8" fmla="*/ 39 w 204"/>
                  <a:gd name="T9" fmla="*/ 25 h 49"/>
                  <a:gd name="T10" fmla="*/ 154 w 204"/>
                  <a:gd name="T11" fmla="*/ 25 h 49"/>
                  <a:gd name="T12" fmla="*/ 154 w 204"/>
                  <a:gd name="T13" fmla="*/ 13 h 49"/>
                  <a:gd name="T14" fmla="*/ 162 w 204"/>
                  <a:gd name="T15" fmla="*/ 13 h 49"/>
                  <a:gd name="T16" fmla="*/ 162 w 204"/>
                  <a:gd name="T17" fmla="*/ 0 h 49"/>
                  <a:gd name="T18" fmla="*/ 189 w 204"/>
                  <a:gd name="T19" fmla="*/ 0 h 49"/>
                  <a:gd name="T20" fmla="*/ 189 w 204"/>
                  <a:gd name="T21" fmla="*/ 13 h 49"/>
                  <a:gd name="T22" fmla="*/ 195 w 204"/>
                  <a:gd name="T23" fmla="*/ 13 h 49"/>
                  <a:gd name="T24" fmla="*/ 195 w 204"/>
                  <a:gd name="T25" fmla="*/ 25 h 49"/>
                  <a:gd name="T26" fmla="*/ 204 w 204"/>
                  <a:gd name="T27" fmla="*/ 25 h 49"/>
                  <a:gd name="T28" fmla="*/ 204 w 204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4" h="49">
                    <a:moveTo>
                      <a:pt x="33" y="48"/>
                    </a:moveTo>
                    <a:cubicBezTo>
                      <a:pt x="33" y="48"/>
                      <a:pt x="32" y="48"/>
                      <a:pt x="25" y="43"/>
                    </a:cubicBezTo>
                    <a:cubicBezTo>
                      <a:pt x="15" y="36"/>
                      <a:pt x="0" y="20"/>
                      <a:pt x="0" y="20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39" y="25"/>
                      <a:pt x="39" y="25"/>
                      <a:pt x="39" y="25"/>
                    </a:cubicBezTo>
                    <a:cubicBezTo>
                      <a:pt x="154" y="25"/>
                      <a:pt x="154" y="25"/>
                      <a:pt x="154" y="25"/>
                    </a:cubicBezTo>
                    <a:cubicBezTo>
                      <a:pt x="154" y="13"/>
                      <a:pt x="154" y="13"/>
                      <a:pt x="154" y="13"/>
                    </a:cubicBezTo>
                    <a:cubicBezTo>
                      <a:pt x="162" y="13"/>
                      <a:pt x="162" y="13"/>
                      <a:pt x="162" y="13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89" y="0"/>
                      <a:pt x="189" y="0"/>
                      <a:pt x="189" y="0"/>
                    </a:cubicBezTo>
                    <a:cubicBezTo>
                      <a:pt x="189" y="13"/>
                      <a:pt x="189" y="13"/>
                      <a:pt x="189" y="13"/>
                    </a:cubicBezTo>
                    <a:cubicBezTo>
                      <a:pt x="195" y="13"/>
                      <a:pt x="195" y="13"/>
                      <a:pt x="195" y="13"/>
                    </a:cubicBezTo>
                    <a:cubicBezTo>
                      <a:pt x="195" y="25"/>
                      <a:pt x="195" y="25"/>
                      <a:pt x="195" y="25"/>
                    </a:cubicBezTo>
                    <a:cubicBezTo>
                      <a:pt x="204" y="25"/>
                      <a:pt x="204" y="25"/>
                      <a:pt x="204" y="25"/>
                    </a:cubicBezTo>
                    <a:cubicBezTo>
                      <a:pt x="204" y="49"/>
                      <a:pt x="204" y="49"/>
                      <a:pt x="204" y="49"/>
                    </a:cubicBezTo>
                  </a:path>
                </a:pathLst>
              </a:cu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35" name="Rectangle 378">
                <a:extLst>
                  <a:ext uri="{FF2B5EF4-FFF2-40B4-BE49-F238E27FC236}">
                    <a16:creationId xmlns:a16="http://schemas.microsoft.com/office/drawing/2014/main" xmlns="" id="{25700500-0A95-4156-B3B8-351E28EE34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2335695" y="4509776"/>
                <a:ext cx="100952" cy="78760"/>
              </a:xfrm>
              <a:prstGeom prst="rect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36" name="Rectangle 379">
                <a:extLst>
                  <a:ext uri="{FF2B5EF4-FFF2-40B4-BE49-F238E27FC236}">
                    <a16:creationId xmlns:a16="http://schemas.microsoft.com/office/drawing/2014/main" xmlns="" id="{68CC4C8C-2F75-4198-8F10-279E7BC8BF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2203196" y="4509776"/>
                <a:ext cx="97346" cy="78760"/>
              </a:xfrm>
              <a:prstGeom prst="rect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37" name="Rectangle 380">
                <a:extLst>
                  <a:ext uri="{FF2B5EF4-FFF2-40B4-BE49-F238E27FC236}">
                    <a16:creationId xmlns:a16="http://schemas.microsoft.com/office/drawing/2014/main" xmlns="" id="{06F9D069-15A2-456E-AE80-BD97A106AF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2067092" y="4509776"/>
                <a:ext cx="100952" cy="78760"/>
              </a:xfrm>
              <a:prstGeom prst="rect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38" name="Line 381">
                <a:extLst>
                  <a:ext uri="{FF2B5EF4-FFF2-40B4-BE49-F238E27FC236}">
                    <a16:creationId xmlns:a16="http://schemas.microsoft.com/office/drawing/2014/main" xmlns="" id="{CB089DC4-F478-4BB2-8290-23292066B70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885920" y="4482381"/>
                <a:ext cx="0" cy="73052"/>
              </a:xfrm>
              <a:prstGeom prst="line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39" name="Line 382">
                <a:extLst>
                  <a:ext uri="{FF2B5EF4-FFF2-40B4-BE49-F238E27FC236}">
                    <a16:creationId xmlns:a16="http://schemas.microsoft.com/office/drawing/2014/main" xmlns="" id="{3EB48909-060F-4367-B87C-2245161FE0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846260" y="4415036"/>
                <a:ext cx="0" cy="140398"/>
              </a:xfrm>
              <a:prstGeom prst="line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0" name="Line 383">
                <a:extLst>
                  <a:ext uri="{FF2B5EF4-FFF2-40B4-BE49-F238E27FC236}">
                    <a16:creationId xmlns:a16="http://schemas.microsoft.com/office/drawing/2014/main" xmlns="" id="{261C7107-96E3-4642-89D0-6A695539FD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806601" y="4555434"/>
                <a:ext cx="118979" cy="0"/>
              </a:xfrm>
              <a:prstGeom prst="line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341" name="Group 231">
              <a:extLst>
                <a:ext uri="{FF2B5EF4-FFF2-40B4-BE49-F238E27FC236}">
                  <a16:creationId xmlns:a16="http://schemas.microsoft.com/office/drawing/2014/main" xmlns="" id="{A3735A87-C259-4906-A78B-5E9A463EE17B}"/>
                </a:ext>
              </a:extLst>
            </p:cNvPr>
            <p:cNvGrpSpPr/>
            <p:nvPr/>
          </p:nvGrpSpPr>
          <p:grpSpPr>
            <a:xfrm>
              <a:off x="8333402" y="2000363"/>
              <a:ext cx="376029" cy="315722"/>
              <a:chOff x="1399947" y="3106933"/>
              <a:chExt cx="529043" cy="441453"/>
            </a:xfrm>
          </p:grpSpPr>
          <p:sp>
            <p:nvSpPr>
              <p:cNvPr id="342" name="Freeform 43">
                <a:extLst>
                  <a:ext uri="{FF2B5EF4-FFF2-40B4-BE49-F238E27FC236}">
                    <a16:creationId xmlns:a16="http://schemas.microsoft.com/office/drawing/2014/main" xmlns="" id="{78F63233-24F3-40C9-8D7F-00A74D9883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7347" y="3373313"/>
                <a:ext cx="365437" cy="175073"/>
              </a:xfrm>
              <a:custGeom>
                <a:avLst/>
                <a:gdLst>
                  <a:gd name="T0" fmla="*/ 0 w 478"/>
                  <a:gd name="T1" fmla="*/ 229 h 229"/>
                  <a:gd name="T2" fmla="*/ 0 w 478"/>
                  <a:gd name="T3" fmla="*/ 0 h 229"/>
                  <a:gd name="T4" fmla="*/ 478 w 478"/>
                  <a:gd name="T5" fmla="*/ 0 h 229"/>
                  <a:gd name="T6" fmla="*/ 478 w 478"/>
                  <a:gd name="T7" fmla="*/ 22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8" h="229">
                    <a:moveTo>
                      <a:pt x="0" y="229"/>
                    </a:moveTo>
                    <a:lnTo>
                      <a:pt x="0" y="0"/>
                    </a:lnTo>
                    <a:lnTo>
                      <a:pt x="478" y="0"/>
                    </a:lnTo>
                    <a:lnTo>
                      <a:pt x="478" y="229"/>
                    </a:lnTo>
                  </a:path>
                </a:pathLst>
              </a:cu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3" name="Line 44">
                <a:extLst>
                  <a:ext uri="{FF2B5EF4-FFF2-40B4-BE49-F238E27FC236}">
                    <a16:creationId xmlns:a16="http://schemas.microsoft.com/office/drawing/2014/main" xmlns="" id="{28963B98-92E6-4936-BF44-13495D4209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32359" y="3373313"/>
                <a:ext cx="0" cy="175073"/>
              </a:xfrm>
              <a:prstGeom prst="line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4" name="Line 45">
                <a:extLst>
                  <a:ext uri="{FF2B5EF4-FFF2-40B4-BE49-F238E27FC236}">
                    <a16:creationId xmlns:a16="http://schemas.microsoft.com/office/drawing/2014/main" xmlns="" id="{B51F7F1D-9C8E-4F07-BB2D-0D8F234B43A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37559" y="3156191"/>
                <a:ext cx="58103" cy="0"/>
              </a:xfrm>
              <a:prstGeom prst="line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5" name="Line 46">
                <a:extLst>
                  <a:ext uri="{FF2B5EF4-FFF2-40B4-BE49-F238E27FC236}">
                    <a16:creationId xmlns:a16="http://schemas.microsoft.com/office/drawing/2014/main" xmlns="" id="{6EBA431D-5521-48B1-8A5C-1282F5DD39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32208" y="3208943"/>
                <a:ext cx="74158" cy="0"/>
              </a:xfrm>
              <a:prstGeom prst="line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6" name="Line 47">
                <a:extLst>
                  <a:ext uri="{FF2B5EF4-FFF2-40B4-BE49-F238E27FC236}">
                    <a16:creationId xmlns:a16="http://schemas.microsoft.com/office/drawing/2014/main" xmlns="" id="{A98883CC-9992-46A2-9B00-2088079711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37559" y="3108027"/>
                <a:ext cx="58103" cy="0"/>
              </a:xfrm>
              <a:prstGeom prst="line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7" name="Line 48">
                <a:extLst>
                  <a:ext uri="{FF2B5EF4-FFF2-40B4-BE49-F238E27FC236}">
                    <a16:creationId xmlns:a16="http://schemas.microsoft.com/office/drawing/2014/main" xmlns="" id="{3D028BFD-EC48-4724-90E2-2C9CF83101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16153" y="3273162"/>
                <a:ext cx="106268" cy="0"/>
              </a:xfrm>
              <a:prstGeom prst="line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8" name="Line 49">
                <a:extLst>
                  <a:ext uri="{FF2B5EF4-FFF2-40B4-BE49-F238E27FC236}">
                    <a16:creationId xmlns:a16="http://schemas.microsoft.com/office/drawing/2014/main" xmlns="" id="{0DB9C836-9C7F-442D-82ED-9B091EE609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90311" y="3145488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49" name="Freeform 50">
                <a:extLst>
                  <a:ext uri="{FF2B5EF4-FFF2-40B4-BE49-F238E27FC236}">
                    <a16:creationId xmlns:a16="http://schemas.microsoft.com/office/drawing/2014/main" xmlns="" id="{2C74F8C6-E118-4E0B-8FC2-FFD690B073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5475" y="3106933"/>
                <a:ext cx="122322" cy="212534"/>
              </a:xfrm>
              <a:custGeom>
                <a:avLst/>
                <a:gdLst>
                  <a:gd name="T0" fmla="*/ 0 w 160"/>
                  <a:gd name="T1" fmla="*/ 278 h 278"/>
                  <a:gd name="T2" fmla="*/ 56 w 160"/>
                  <a:gd name="T3" fmla="*/ 0 h 278"/>
                  <a:gd name="T4" fmla="*/ 104 w 160"/>
                  <a:gd name="T5" fmla="*/ 0 h 278"/>
                  <a:gd name="T6" fmla="*/ 160 w 160"/>
                  <a:gd name="T7" fmla="*/ 278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0" h="278">
                    <a:moveTo>
                      <a:pt x="0" y="278"/>
                    </a:moveTo>
                    <a:lnTo>
                      <a:pt x="56" y="0"/>
                    </a:lnTo>
                    <a:lnTo>
                      <a:pt x="104" y="0"/>
                    </a:lnTo>
                    <a:lnTo>
                      <a:pt x="160" y="278"/>
                    </a:lnTo>
                  </a:path>
                </a:pathLst>
              </a:cu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50" name="Line 51">
                <a:extLst>
                  <a:ext uri="{FF2B5EF4-FFF2-40B4-BE49-F238E27FC236}">
                    <a16:creationId xmlns:a16="http://schemas.microsoft.com/office/drawing/2014/main" xmlns="" id="{97E64840-30A8-44D4-960E-DCAD00E5207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32208" y="3208943"/>
                <a:ext cx="84861" cy="64219"/>
              </a:xfrm>
              <a:prstGeom prst="line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51" name="Line 52">
                <a:extLst>
                  <a:ext uri="{FF2B5EF4-FFF2-40B4-BE49-F238E27FC236}">
                    <a16:creationId xmlns:a16="http://schemas.microsoft.com/office/drawing/2014/main" xmlns="" id="{14BBD4D5-3938-48D4-BF27-71FCC10295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516153" y="3208943"/>
                <a:ext cx="90212" cy="64219"/>
              </a:xfrm>
              <a:prstGeom prst="line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52" name="Line 53">
                <a:extLst>
                  <a:ext uri="{FF2B5EF4-FFF2-40B4-BE49-F238E27FC236}">
                    <a16:creationId xmlns:a16="http://schemas.microsoft.com/office/drawing/2014/main" xmlns="" id="{E0A98F77-057E-463E-9F94-4120798274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42910" y="3161543"/>
                <a:ext cx="56181" cy="47400"/>
              </a:xfrm>
              <a:prstGeom prst="line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53" name="Line 54">
                <a:extLst>
                  <a:ext uri="{FF2B5EF4-FFF2-40B4-BE49-F238E27FC236}">
                    <a16:creationId xmlns:a16="http://schemas.microsoft.com/office/drawing/2014/main" xmlns="" id="{406632A8-4BD5-4FE2-8AE0-D8FEA8CCCC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526856" y="3161543"/>
                <a:ext cx="68806" cy="47400"/>
              </a:xfrm>
              <a:prstGeom prst="line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54" name="Line 55">
                <a:extLst>
                  <a:ext uri="{FF2B5EF4-FFF2-40B4-BE49-F238E27FC236}">
                    <a16:creationId xmlns:a16="http://schemas.microsoft.com/office/drawing/2014/main" xmlns="" id="{9390ACC2-4CCA-4D07-B412-4E6058F023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01014" y="3373313"/>
                <a:ext cx="0" cy="0"/>
              </a:xfrm>
              <a:prstGeom prst="line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55" name="Freeform 56">
                <a:extLst>
                  <a:ext uri="{FF2B5EF4-FFF2-40B4-BE49-F238E27FC236}">
                    <a16:creationId xmlns:a16="http://schemas.microsoft.com/office/drawing/2014/main" xmlns="" id="{0B7725D4-3114-45EA-9CFE-77F2AEE7D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026" y="3124082"/>
                <a:ext cx="127673" cy="392960"/>
              </a:xfrm>
              <a:custGeom>
                <a:avLst/>
                <a:gdLst>
                  <a:gd name="T0" fmla="*/ 0 w 167"/>
                  <a:gd name="T1" fmla="*/ 167 h 514"/>
                  <a:gd name="T2" fmla="*/ 167 w 167"/>
                  <a:gd name="T3" fmla="*/ 0 h 514"/>
                  <a:gd name="T4" fmla="*/ 167 w 167"/>
                  <a:gd name="T5" fmla="*/ 514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7" h="514">
                    <a:moveTo>
                      <a:pt x="0" y="167"/>
                    </a:moveTo>
                    <a:lnTo>
                      <a:pt x="167" y="0"/>
                    </a:lnTo>
                    <a:lnTo>
                      <a:pt x="167" y="514"/>
                    </a:lnTo>
                  </a:path>
                </a:pathLst>
              </a:cu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56" name="Freeform 57">
                <a:extLst>
                  <a:ext uri="{FF2B5EF4-FFF2-40B4-BE49-F238E27FC236}">
                    <a16:creationId xmlns:a16="http://schemas.microsoft.com/office/drawing/2014/main" xmlns="" id="{63155FE0-FA58-47F5-A6E9-31C39BD587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026" y="3251756"/>
                <a:ext cx="26758" cy="121558"/>
              </a:xfrm>
              <a:custGeom>
                <a:avLst/>
                <a:gdLst>
                  <a:gd name="T0" fmla="*/ 35 w 35"/>
                  <a:gd name="T1" fmla="*/ 159 h 159"/>
                  <a:gd name="T2" fmla="*/ 35 w 35"/>
                  <a:gd name="T3" fmla="*/ 0 h 159"/>
                  <a:gd name="T4" fmla="*/ 0 w 35"/>
                  <a:gd name="T5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159">
                    <a:moveTo>
                      <a:pt x="35" y="159"/>
                    </a:moveTo>
                    <a:lnTo>
                      <a:pt x="35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57" name="Freeform 58">
                <a:extLst>
                  <a:ext uri="{FF2B5EF4-FFF2-40B4-BE49-F238E27FC236}">
                    <a16:creationId xmlns:a16="http://schemas.microsoft.com/office/drawing/2014/main" xmlns="" id="{176ECEE7-B5DE-4799-BA14-6D824A615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0523" y="3251756"/>
                <a:ext cx="105503" cy="121558"/>
              </a:xfrm>
              <a:custGeom>
                <a:avLst/>
                <a:gdLst>
                  <a:gd name="T0" fmla="*/ 138 w 138"/>
                  <a:gd name="T1" fmla="*/ 0 h 159"/>
                  <a:gd name="T2" fmla="*/ 0 w 138"/>
                  <a:gd name="T3" fmla="*/ 0 h 159"/>
                  <a:gd name="T4" fmla="*/ 0 w 138"/>
                  <a:gd name="T5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8" h="159">
                    <a:moveTo>
                      <a:pt x="138" y="0"/>
                    </a:moveTo>
                    <a:lnTo>
                      <a:pt x="0" y="0"/>
                    </a:lnTo>
                    <a:lnTo>
                      <a:pt x="0" y="159"/>
                    </a:lnTo>
                  </a:path>
                </a:pathLst>
              </a:cu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58" name="Freeform 59">
                <a:extLst>
                  <a:ext uri="{FF2B5EF4-FFF2-40B4-BE49-F238E27FC236}">
                    <a16:creationId xmlns:a16="http://schemas.microsoft.com/office/drawing/2014/main" xmlns="" id="{1335C115-5B11-4F66-8010-EE8FD66E8B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6517" y="3277749"/>
                <a:ext cx="26758" cy="37461"/>
              </a:xfrm>
              <a:custGeom>
                <a:avLst/>
                <a:gdLst>
                  <a:gd name="T0" fmla="*/ 0 w 35"/>
                  <a:gd name="T1" fmla="*/ 49 h 49"/>
                  <a:gd name="T2" fmla="*/ 0 w 35"/>
                  <a:gd name="T3" fmla="*/ 0 h 49"/>
                  <a:gd name="T4" fmla="*/ 35 w 35"/>
                  <a:gd name="T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5" h="49">
                    <a:moveTo>
                      <a:pt x="0" y="49"/>
                    </a:moveTo>
                    <a:lnTo>
                      <a:pt x="0" y="0"/>
                    </a:lnTo>
                    <a:lnTo>
                      <a:pt x="35" y="0"/>
                    </a:lnTo>
                  </a:path>
                </a:pathLst>
              </a:cu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59" name="Freeform 60">
                <a:extLst>
                  <a:ext uri="{FF2B5EF4-FFF2-40B4-BE49-F238E27FC236}">
                    <a16:creationId xmlns:a16="http://schemas.microsoft.com/office/drawing/2014/main" xmlns="" id="{B79B408C-7E54-46A8-941E-E0FE2481F7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5384" y="3277749"/>
                <a:ext cx="25993" cy="37461"/>
              </a:xfrm>
              <a:custGeom>
                <a:avLst/>
                <a:gdLst>
                  <a:gd name="T0" fmla="*/ 0 w 34"/>
                  <a:gd name="T1" fmla="*/ 49 h 49"/>
                  <a:gd name="T2" fmla="*/ 0 w 34"/>
                  <a:gd name="T3" fmla="*/ 0 h 49"/>
                  <a:gd name="T4" fmla="*/ 34 w 34"/>
                  <a:gd name="T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4" h="49">
                    <a:moveTo>
                      <a:pt x="0" y="49"/>
                    </a:moveTo>
                    <a:lnTo>
                      <a:pt x="0" y="0"/>
                    </a:lnTo>
                    <a:lnTo>
                      <a:pt x="34" y="0"/>
                    </a:lnTo>
                  </a:path>
                </a:pathLst>
              </a:cu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60" name="Freeform 61">
                <a:extLst>
                  <a:ext uri="{FF2B5EF4-FFF2-40B4-BE49-F238E27FC236}">
                    <a16:creationId xmlns:a16="http://schemas.microsoft.com/office/drawing/2014/main" xmlns="" id="{C635EAD8-20A7-40BE-8953-146F0B175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7347" y="3315210"/>
                <a:ext cx="233176" cy="58103"/>
              </a:xfrm>
              <a:custGeom>
                <a:avLst/>
                <a:gdLst>
                  <a:gd name="T0" fmla="*/ 0 w 305"/>
                  <a:gd name="T1" fmla="*/ 76 h 76"/>
                  <a:gd name="T2" fmla="*/ 0 w 305"/>
                  <a:gd name="T3" fmla="*/ 0 h 76"/>
                  <a:gd name="T4" fmla="*/ 305 w 305"/>
                  <a:gd name="T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5" h="76">
                    <a:moveTo>
                      <a:pt x="0" y="76"/>
                    </a:moveTo>
                    <a:lnTo>
                      <a:pt x="0" y="0"/>
                    </a:lnTo>
                    <a:lnTo>
                      <a:pt x="305" y="0"/>
                    </a:lnTo>
                  </a:path>
                </a:pathLst>
              </a:cu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61" name="Line 62">
                <a:extLst>
                  <a:ext uri="{FF2B5EF4-FFF2-40B4-BE49-F238E27FC236}">
                    <a16:creationId xmlns:a16="http://schemas.microsoft.com/office/drawing/2014/main" xmlns="" id="{9E6BB084-16AA-4391-948C-3CF4A6080EE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706517" y="3124082"/>
                <a:ext cx="207183" cy="127673"/>
              </a:xfrm>
              <a:prstGeom prst="line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62" name="Oval 63">
                <a:extLst>
                  <a:ext uri="{FF2B5EF4-FFF2-40B4-BE49-F238E27FC236}">
                    <a16:creationId xmlns:a16="http://schemas.microsoft.com/office/drawing/2014/main" xmlns="" id="{0CF9FA64-3420-4041-BE8F-D0008988E0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97645" y="3113379"/>
                <a:ext cx="31345" cy="32109"/>
              </a:xfrm>
              <a:prstGeom prst="ellipse">
                <a:avLst/>
              </a:prstGeom>
              <a:noFill/>
              <a:ln w="6350">
                <a:solidFill>
                  <a:schemeClr val="bg2"/>
                </a:solidFill>
                <a:round/>
                <a:headEnd/>
                <a:tailEnd/>
              </a:ln>
              <a:extLst/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63" name="Line 64">
                <a:extLst>
                  <a:ext uri="{FF2B5EF4-FFF2-40B4-BE49-F238E27FC236}">
                    <a16:creationId xmlns:a16="http://schemas.microsoft.com/office/drawing/2014/main" xmlns="" id="{D5472495-8CE6-4EBA-8FF0-4FF383692F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99947" y="3373313"/>
                <a:ext cx="465588" cy="0"/>
              </a:xfrm>
              <a:prstGeom prst="line">
                <a:avLst/>
              </a:pr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0869" tIns="45434" rIns="90869" bIns="45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3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364" name="Gruppieren 363">
              <a:extLst>
                <a:ext uri="{FF2B5EF4-FFF2-40B4-BE49-F238E27FC236}">
                  <a16:creationId xmlns:a16="http://schemas.microsoft.com/office/drawing/2014/main" xmlns="" id="{936DAF68-7B89-431C-977E-CD4DB8DCA977}"/>
                </a:ext>
              </a:extLst>
            </p:cNvPr>
            <p:cNvGrpSpPr/>
            <p:nvPr/>
          </p:nvGrpSpPr>
          <p:grpSpPr>
            <a:xfrm>
              <a:off x="906808" y="2268975"/>
              <a:ext cx="434357" cy="149711"/>
              <a:chOff x="1375013" y="2035378"/>
              <a:chExt cx="1565037" cy="536091"/>
            </a:xfrm>
            <a:solidFill>
              <a:srgbClr val="BEC8D2">
                <a:lumMod val="20000"/>
                <a:lumOff val="80000"/>
              </a:srgbClr>
            </a:solidFill>
          </p:grpSpPr>
          <p:sp>
            <p:nvSpPr>
              <p:cNvPr id="365" name="Freihandform: Form 364">
                <a:extLst>
                  <a:ext uri="{FF2B5EF4-FFF2-40B4-BE49-F238E27FC236}">
                    <a16:creationId xmlns:a16="http://schemas.microsoft.com/office/drawing/2014/main" xmlns="" id="{D6F40473-A343-43D5-BB56-05ECE841A2D2}"/>
                  </a:ext>
                </a:extLst>
              </p:cNvPr>
              <p:cNvSpPr/>
              <p:nvPr/>
            </p:nvSpPr>
            <p:spPr>
              <a:xfrm>
                <a:off x="1375013" y="2035378"/>
                <a:ext cx="1565037" cy="464364"/>
              </a:xfrm>
              <a:custGeom>
                <a:avLst/>
                <a:gdLst>
                  <a:gd name="connsiteX0" fmla="*/ 280663 w 1576807"/>
                  <a:gd name="connsiteY0" fmla="*/ 0 h 464364"/>
                  <a:gd name="connsiteX1" fmla="*/ 1239385 w 1576807"/>
                  <a:gd name="connsiteY1" fmla="*/ 0 h 464364"/>
                  <a:gd name="connsiteX2" fmla="*/ 1576807 w 1576807"/>
                  <a:gd name="connsiteY2" fmla="*/ 0 h 464364"/>
                  <a:gd name="connsiteX3" fmla="*/ 1576807 w 1576807"/>
                  <a:gd name="connsiteY3" fmla="*/ 464364 h 464364"/>
                  <a:gd name="connsiteX4" fmla="*/ 1239385 w 1576807"/>
                  <a:gd name="connsiteY4" fmla="*/ 464364 h 464364"/>
                  <a:gd name="connsiteX5" fmla="*/ 280663 w 1576807"/>
                  <a:gd name="connsiteY5" fmla="*/ 464364 h 464364"/>
                  <a:gd name="connsiteX6" fmla="*/ 56759 w 1576807"/>
                  <a:gd name="connsiteY6" fmla="*/ 464364 h 464364"/>
                  <a:gd name="connsiteX7" fmla="*/ 0 w 1576807"/>
                  <a:gd name="connsiteY7" fmla="*/ 407605 h 464364"/>
                  <a:gd name="connsiteX8" fmla="*/ 3175 w 1576807"/>
                  <a:gd name="connsiteY8" fmla="*/ 307049 h 464364"/>
                  <a:gd name="connsiteX9" fmla="*/ 276032 w 1576807"/>
                  <a:gd name="connsiteY9" fmla="*/ 1587 h 464364"/>
                  <a:gd name="connsiteX10" fmla="*/ 280663 w 1576807"/>
                  <a:gd name="connsiteY10" fmla="*/ 1579 h 46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76807" h="464364">
                    <a:moveTo>
                      <a:pt x="280663" y="0"/>
                    </a:moveTo>
                    <a:lnTo>
                      <a:pt x="1239385" y="0"/>
                    </a:lnTo>
                    <a:lnTo>
                      <a:pt x="1576807" y="0"/>
                    </a:lnTo>
                    <a:lnTo>
                      <a:pt x="1576807" y="464364"/>
                    </a:lnTo>
                    <a:lnTo>
                      <a:pt x="1239385" y="464364"/>
                    </a:lnTo>
                    <a:lnTo>
                      <a:pt x="280663" y="464364"/>
                    </a:lnTo>
                    <a:lnTo>
                      <a:pt x="56759" y="464364"/>
                    </a:lnTo>
                    <a:cubicBezTo>
                      <a:pt x="25412" y="464364"/>
                      <a:pt x="0" y="438952"/>
                      <a:pt x="0" y="407605"/>
                    </a:cubicBezTo>
                    <a:cubicBezTo>
                      <a:pt x="1058" y="374086"/>
                      <a:pt x="2117" y="340568"/>
                      <a:pt x="3175" y="307049"/>
                    </a:cubicBezTo>
                    <a:cubicBezTo>
                      <a:pt x="71373" y="213166"/>
                      <a:pt x="185608" y="19270"/>
                      <a:pt x="276032" y="1587"/>
                    </a:cubicBezTo>
                    <a:lnTo>
                      <a:pt x="280663" y="1579"/>
                    </a:lnTo>
                    <a:close/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66" name="Rechteck 365">
                <a:extLst>
                  <a:ext uri="{FF2B5EF4-FFF2-40B4-BE49-F238E27FC236}">
                    <a16:creationId xmlns:a16="http://schemas.microsoft.com/office/drawing/2014/main" xmlns="" id="{DDDD91BD-5BD6-44BC-884F-5923797F9C38}"/>
                  </a:ext>
                </a:extLst>
              </p:cNvPr>
              <p:cNvSpPr/>
              <p:nvPr/>
            </p:nvSpPr>
            <p:spPr>
              <a:xfrm>
                <a:off x="2591779" y="2107274"/>
                <a:ext cx="313809" cy="167614"/>
              </a:xfrm>
              <a:prstGeom prst="rect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67" name="Rechteck 366">
                <a:extLst>
                  <a:ext uri="{FF2B5EF4-FFF2-40B4-BE49-F238E27FC236}">
                    <a16:creationId xmlns:a16="http://schemas.microsoft.com/office/drawing/2014/main" xmlns="" id="{74A968C4-2448-4AF2-AE64-3EB09CD7C818}"/>
                  </a:ext>
                </a:extLst>
              </p:cNvPr>
              <p:cNvSpPr/>
              <p:nvPr/>
            </p:nvSpPr>
            <p:spPr>
              <a:xfrm>
                <a:off x="2247700" y="2107274"/>
                <a:ext cx="313809" cy="167614"/>
              </a:xfrm>
              <a:prstGeom prst="rect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68" name="Rechteck 367">
                <a:extLst>
                  <a:ext uri="{FF2B5EF4-FFF2-40B4-BE49-F238E27FC236}">
                    <a16:creationId xmlns:a16="http://schemas.microsoft.com/office/drawing/2014/main" xmlns="" id="{931FC3EB-2FAF-4CDA-A3EF-8EEB2B7A02F7}"/>
                  </a:ext>
                </a:extLst>
              </p:cNvPr>
              <p:cNvSpPr/>
              <p:nvPr/>
            </p:nvSpPr>
            <p:spPr>
              <a:xfrm>
                <a:off x="1903621" y="2107274"/>
                <a:ext cx="313809" cy="167614"/>
              </a:xfrm>
              <a:prstGeom prst="rect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69" name="Rechteck 368">
                <a:extLst>
                  <a:ext uri="{FF2B5EF4-FFF2-40B4-BE49-F238E27FC236}">
                    <a16:creationId xmlns:a16="http://schemas.microsoft.com/office/drawing/2014/main" xmlns="" id="{FF52D5F5-2440-49D9-AE1B-6DB764444B98}"/>
                  </a:ext>
                </a:extLst>
              </p:cNvPr>
              <p:cNvSpPr/>
              <p:nvPr/>
            </p:nvSpPr>
            <p:spPr>
              <a:xfrm>
                <a:off x="1682463" y="2107274"/>
                <a:ext cx="81225" cy="392468"/>
              </a:xfrm>
              <a:prstGeom prst="rect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70" name="Rechteck 369">
                <a:extLst>
                  <a:ext uri="{FF2B5EF4-FFF2-40B4-BE49-F238E27FC236}">
                    <a16:creationId xmlns:a16="http://schemas.microsoft.com/office/drawing/2014/main" xmlns="" id="{B0FFE04C-E758-41FD-BF75-18B44DCEF690}"/>
                  </a:ext>
                </a:extLst>
              </p:cNvPr>
              <p:cNvSpPr/>
              <p:nvPr/>
            </p:nvSpPr>
            <p:spPr>
              <a:xfrm>
                <a:off x="1760377" y="2107274"/>
                <a:ext cx="81225" cy="392468"/>
              </a:xfrm>
              <a:prstGeom prst="rect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71" name="Freihandform: Form 370">
                <a:extLst>
                  <a:ext uri="{FF2B5EF4-FFF2-40B4-BE49-F238E27FC236}">
                    <a16:creationId xmlns:a16="http://schemas.microsoft.com/office/drawing/2014/main" xmlns="" id="{8BB7CA97-63D8-4665-8AF1-3177B8B08903}"/>
                  </a:ext>
                </a:extLst>
              </p:cNvPr>
              <p:cNvSpPr/>
              <p:nvPr/>
            </p:nvSpPr>
            <p:spPr>
              <a:xfrm>
                <a:off x="1490664" y="2107274"/>
                <a:ext cx="164705" cy="143616"/>
              </a:xfrm>
              <a:custGeom>
                <a:avLst/>
                <a:gdLst>
                  <a:gd name="connsiteX0" fmla="*/ 146175 w 164705"/>
                  <a:gd name="connsiteY0" fmla="*/ 0 h 143616"/>
                  <a:gd name="connsiteX1" fmla="*/ 164705 w 164705"/>
                  <a:gd name="connsiteY1" fmla="*/ 0 h 143616"/>
                  <a:gd name="connsiteX2" fmla="*/ 164705 w 164705"/>
                  <a:gd name="connsiteY2" fmla="*/ 143616 h 143616"/>
                  <a:gd name="connsiteX3" fmla="*/ 0 w 164705"/>
                  <a:gd name="connsiteY3" fmla="*/ 143616 h 143616"/>
                  <a:gd name="connsiteX4" fmla="*/ 88811 w 164705"/>
                  <a:gd name="connsiteY4" fmla="*/ 29851 h 143616"/>
                  <a:gd name="connsiteX5" fmla="*/ 106950 w 164705"/>
                  <a:gd name="connsiteY5" fmla="*/ 15939 h 143616"/>
                  <a:gd name="connsiteX6" fmla="*/ 141579 w 164705"/>
                  <a:gd name="connsiteY6" fmla="*/ 1587 h 143616"/>
                  <a:gd name="connsiteX7" fmla="*/ 146175 w 164705"/>
                  <a:gd name="connsiteY7" fmla="*/ 1579 h 143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705" h="143616">
                    <a:moveTo>
                      <a:pt x="146175" y="0"/>
                    </a:moveTo>
                    <a:lnTo>
                      <a:pt x="164705" y="0"/>
                    </a:lnTo>
                    <a:lnTo>
                      <a:pt x="164705" y="143616"/>
                    </a:lnTo>
                    <a:lnTo>
                      <a:pt x="0" y="143616"/>
                    </a:lnTo>
                    <a:lnTo>
                      <a:pt x="88811" y="29851"/>
                    </a:lnTo>
                    <a:lnTo>
                      <a:pt x="106950" y="15939"/>
                    </a:lnTo>
                    <a:cubicBezTo>
                      <a:pt x="118772" y="8761"/>
                      <a:pt x="130360" y="3798"/>
                      <a:pt x="141579" y="1587"/>
                    </a:cubicBezTo>
                    <a:lnTo>
                      <a:pt x="146175" y="1579"/>
                    </a:lnTo>
                    <a:close/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72" name="Ellipse 371">
                <a:extLst>
                  <a:ext uri="{FF2B5EF4-FFF2-40B4-BE49-F238E27FC236}">
                    <a16:creationId xmlns:a16="http://schemas.microsoft.com/office/drawing/2014/main" xmlns="" id="{0E25FDA6-7B13-47A5-BE14-6CE037DC9506}"/>
                  </a:ext>
                </a:extLst>
              </p:cNvPr>
              <p:cNvSpPr/>
              <p:nvPr/>
            </p:nvSpPr>
            <p:spPr>
              <a:xfrm>
                <a:off x="1467716" y="2434772"/>
                <a:ext cx="136697" cy="136697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73" name="Ellipse 372">
                <a:extLst>
                  <a:ext uri="{FF2B5EF4-FFF2-40B4-BE49-F238E27FC236}">
                    <a16:creationId xmlns:a16="http://schemas.microsoft.com/office/drawing/2014/main" xmlns="" id="{D4D0F6A4-1202-427A-B7CE-06779B84D03A}"/>
                  </a:ext>
                </a:extLst>
              </p:cNvPr>
              <p:cNvSpPr/>
              <p:nvPr/>
            </p:nvSpPr>
            <p:spPr>
              <a:xfrm>
                <a:off x="1945031" y="2434772"/>
                <a:ext cx="136697" cy="136697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74" name="Ellipse 373">
                <a:extLst>
                  <a:ext uri="{FF2B5EF4-FFF2-40B4-BE49-F238E27FC236}">
                    <a16:creationId xmlns:a16="http://schemas.microsoft.com/office/drawing/2014/main" xmlns="" id="{A4FD8697-D813-4ACF-A76E-EC61808047C1}"/>
                  </a:ext>
                </a:extLst>
              </p:cNvPr>
              <p:cNvSpPr/>
              <p:nvPr/>
            </p:nvSpPr>
            <p:spPr>
              <a:xfrm>
                <a:off x="2716178" y="2434772"/>
                <a:ext cx="136697" cy="136697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375" name="Gruppieren 374">
              <a:extLst>
                <a:ext uri="{FF2B5EF4-FFF2-40B4-BE49-F238E27FC236}">
                  <a16:creationId xmlns:a16="http://schemas.microsoft.com/office/drawing/2014/main" xmlns="" id="{31FECDC6-81DA-4646-91E2-B4F84219E1EE}"/>
                </a:ext>
              </a:extLst>
            </p:cNvPr>
            <p:cNvGrpSpPr/>
            <p:nvPr/>
          </p:nvGrpSpPr>
          <p:grpSpPr>
            <a:xfrm flipH="1">
              <a:off x="1590361" y="2310327"/>
              <a:ext cx="215503" cy="101393"/>
              <a:chOff x="3988594" y="2281238"/>
              <a:chExt cx="1243382" cy="581391"/>
            </a:xfrm>
            <a:solidFill>
              <a:srgbClr val="BEC8D2">
                <a:lumMod val="20000"/>
                <a:lumOff val="80000"/>
              </a:srgbClr>
            </a:solidFill>
          </p:grpSpPr>
          <p:sp>
            <p:nvSpPr>
              <p:cNvPr id="376" name="Ellipse 375">
                <a:extLst>
                  <a:ext uri="{FF2B5EF4-FFF2-40B4-BE49-F238E27FC236}">
                    <a16:creationId xmlns:a16="http://schemas.microsoft.com/office/drawing/2014/main" xmlns="" id="{DB7A5C00-A28D-41BF-9F1C-B4985A6A085C}"/>
                  </a:ext>
                </a:extLst>
              </p:cNvPr>
              <p:cNvSpPr/>
              <p:nvPr/>
            </p:nvSpPr>
            <p:spPr>
              <a:xfrm>
                <a:off x="4860412" y="2648611"/>
                <a:ext cx="214018" cy="214018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77" name="Ellipse 376">
                <a:extLst>
                  <a:ext uri="{FF2B5EF4-FFF2-40B4-BE49-F238E27FC236}">
                    <a16:creationId xmlns:a16="http://schemas.microsoft.com/office/drawing/2014/main" xmlns="" id="{7A8D994F-060C-4671-B878-1F087FAB8EA4}"/>
                  </a:ext>
                </a:extLst>
              </p:cNvPr>
              <p:cNvSpPr/>
              <p:nvPr/>
            </p:nvSpPr>
            <p:spPr>
              <a:xfrm>
                <a:off x="4107201" y="2648611"/>
                <a:ext cx="214018" cy="214018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78" name="Freihandform: Form 377">
                <a:extLst>
                  <a:ext uri="{FF2B5EF4-FFF2-40B4-BE49-F238E27FC236}">
                    <a16:creationId xmlns:a16="http://schemas.microsoft.com/office/drawing/2014/main" xmlns="" id="{58836876-DC3C-401D-A0FB-23A602B522C3}"/>
                  </a:ext>
                </a:extLst>
              </p:cNvPr>
              <p:cNvSpPr/>
              <p:nvPr/>
            </p:nvSpPr>
            <p:spPr>
              <a:xfrm>
                <a:off x="3988594" y="2281238"/>
                <a:ext cx="1243382" cy="481012"/>
              </a:xfrm>
              <a:custGeom>
                <a:avLst/>
                <a:gdLst>
                  <a:gd name="connsiteX0" fmla="*/ 302419 w 1243382"/>
                  <a:gd name="connsiteY0" fmla="*/ 0 h 481012"/>
                  <a:gd name="connsiteX1" fmla="*/ 692944 w 1243382"/>
                  <a:gd name="connsiteY1" fmla="*/ 2381 h 481012"/>
                  <a:gd name="connsiteX2" fmla="*/ 788194 w 1243382"/>
                  <a:gd name="connsiteY2" fmla="*/ 33337 h 481012"/>
                  <a:gd name="connsiteX3" fmla="*/ 897731 w 1243382"/>
                  <a:gd name="connsiteY3" fmla="*/ 204787 h 481012"/>
                  <a:gd name="connsiteX4" fmla="*/ 952500 w 1243382"/>
                  <a:gd name="connsiteY4" fmla="*/ 240506 h 481012"/>
                  <a:gd name="connsiteX5" fmla="*/ 1183481 w 1243382"/>
                  <a:gd name="connsiteY5" fmla="*/ 242887 h 481012"/>
                  <a:gd name="connsiteX6" fmla="*/ 1240631 w 1243382"/>
                  <a:gd name="connsiteY6" fmla="*/ 290512 h 481012"/>
                  <a:gd name="connsiteX7" fmla="*/ 1243012 w 1243382"/>
                  <a:gd name="connsiteY7" fmla="*/ 481012 h 481012"/>
                  <a:gd name="connsiteX8" fmla="*/ 1084907 w 1243382"/>
                  <a:gd name="connsiteY8" fmla="*/ 478985 h 481012"/>
                  <a:gd name="connsiteX9" fmla="*/ 1085836 w 1243382"/>
                  <a:gd name="connsiteY9" fmla="*/ 474382 h 481012"/>
                  <a:gd name="connsiteX10" fmla="*/ 978827 w 1243382"/>
                  <a:gd name="connsiteY10" fmla="*/ 367373 h 481012"/>
                  <a:gd name="connsiteX11" fmla="*/ 871818 w 1243382"/>
                  <a:gd name="connsiteY11" fmla="*/ 474382 h 481012"/>
                  <a:gd name="connsiteX12" fmla="*/ 872197 w 1243382"/>
                  <a:gd name="connsiteY12" fmla="*/ 476259 h 481012"/>
                  <a:gd name="connsiteX13" fmla="*/ 871537 w 1243382"/>
                  <a:gd name="connsiteY13" fmla="*/ 476250 h 481012"/>
                  <a:gd name="connsiteX14" fmla="*/ 338137 w 1243382"/>
                  <a:gd name="connsiteY14" fmla="*/ 481012 h 481012"/>
                  <a:gd name="connsiteX15" fmla="*/ 331297 w 1243382"/>
                  <a:gd name="connsiteY15" fmla="*/ 480964 h 481012"/>
                  <a:gd name="connsiteX16" fmla="*/ 332625 w 1243382"/>
                  <a:gd name="connsiteY16" fmla="*/ 474382 h 481012"/>
                  <a:gd name="connsiteX17" fmla="*/ 225616 w 1243382"/>
                  <a:gd name="connsiteY17" fmla="*/ 367373 h 481012"/>
                  <a:gd name="connsiteX18" fmla="*/ 118607 w 1243382"/>
                  <a:gd name="connsiteY18" fmla="*/ 474382 h 481012"/>
                  <a:gd name="connsiteX19" fmla="*/ 119633 w 1243382"/>
                  <a:gd name="connsiteY19" fmla="*/ 479463 h 481012"/>
                  <a:gd name="connsiteX20" fmla="*/ 2381 w 1243382"/>
                  <a:gd name="connsiteY20" fmla="*/ 478631 h 481012"/>
                  <a:gd name="connsiteX21" fmla="*/ 0 w 1243382"/>
                  <a:gd name="connsiteY21" fmla="*/ 235743 h 481012"/>
                  <a:gd name="connsiteX22" fmla="*/ 97631 w 1243382"/>
                  <a:gd name="connsiteY22" fmla="*/ 92868 h 481012"/>
                  <a:gd name="connsiteX23" fmla="*/ 302419 w 1243382"/>
                  <a:gd name="connsiteY23" fmla="*/ 0 h 481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43382" h="481012">
                    <a:moveTo>
                      <a:pt x="302419" y="0"/>
                    </a:moveTo>
                    <a:lnTo>
                      <a:pt x="692944" y="2381"/>
                    </a:lnTo>
                    <a:cubicBezTo>
                      <a:pt x="773907" y="7937"/>
                      <a:pt x="754063" y="-397"/>
                      <a:pt x="788194" y="33337"/>
                    </a:cubicBezTo>
                    <a:cubicBezTo>
                      <a:pt x="822325" y="67071"/>
                      <a:pt x="870347" y="170259"/>
                      <a:pt x="897731" y="204787"/>
                    </a:cubicBezTo>
                    <a:cubicBezTo>
                      <a:pt x="925115" y="239315"/>
                      <a:pt x="904875" y="234156"/>
                      <a:pt x="952500" y="240506"/>
                    </a:cubicBezTo>
                    <a:cubicBezTo>
                      <a:pt x="1029494" y="241300"/>
                      <a:pt x="1106508" y="244861"/>
                      <a:pt x="1183481" y="242887"/>
                    </a:cubicBezTo>
                    <a:cubicBezTo>
                      <a:pt x="1214437" y="242093"/>
                      <a:pt x="1243012" y="260349"/>
                      <a:pt x="1240631" y="290512"/>
                    </a:cubicBezTo>
                    <a:cubicBezTo>
                      <a:pt x="1238250" y="320675"/>
                      <a:pt x="1244997" y="411956"/>
                      <a:pt x="1243012" y="481012"/>
                    </a:cubicBezTo>
                    <a:lnTo>
                      <a:pt x="1084907" y="478985"/>
                    </a:lnTo>
                    <a:lnTo>
                      <a:pt x="1085836" y="474382"/>
                    </a:lnTo>
                    <a:cubicBezTo>
                      <a:pt x="1085836" y="415283"/>
                      <a:pt x="1037926" y="367373"/>
                      <a:pt x="978827" y="367373"/>
                    </a:cubicBezTo>
                    <a:cubicBezTo>
                      <a:pt x="919728" y="367373"/>
                      <a:pt x="871818" y="415283"/>
                      <a:pt x="871818" y="474382"/>
                    </a:cubicBezTo>
                    <a:lnTo>
                      <a:pt x="872197" y="476259"/>
                    </a:lnTo>
                    <a:lnTo>
                      <a:pt x="871537" y="476250"/>
                    </a:lnTo>
                    <a:lnTo>
                      <a:pt x="338137" y="481012"/>
                    </a:lnTo>
                    <a:lnTo>
                      <a:pt x="331297" y="480964"/>
                    </a:lnTo>
                    <a:lnTo>
                      <a:pt x="332625" y="474382"/>
                    </a:lnTo>
                    <a:cubicBezTo>
                      <a:pt x="332625" y="415283"/>
                      <a:pt x="284715" y="367373"/>
                      <a:pt x="225616" y="367373"/>
                    </a:cubicBezTo>
                    <a:cubicBezTo>
                      <a:pt x="166517" y="367373"/>
                      <a:pt x="118607" y="415283"/>
                      <a:pt x="118607" y="474382"/>
                    </a:cubicBezTo>
                    <a:lnTo>
                      <a:pt x="119633" y="479463"/>
                    </a:lnTo>
                    <a:lnTo>
                      <a:pt x="2381" y="478631"/>
                    </a:lnTo>
                    <a:cubicBezTo>
                      <a:pt x="1587" y="397668"/>
                      <a:pt x="794" y="316706"/>
                      <a:pt x="0" y="235743"/>
                    </a:cubicBezTo>
                    <a:lnTo>
                      <a:pt x="97631" y="92868"/>
                    </a:lnTo>
                    <a:cubicBezTo>
                      <a:pt x="148034" y="53578"/>
                      <a:pt x="203200" y="15081"/>
                      <a:pt x="302419" y="0"/>
                    </a:cubicBezTo>
                    <a:close/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379" name="Gruppieren 378">
              <a:extLst>
                <a:ext uri="{FF2B5EF4-FFF2-40B4-BE49-F238E27FC236}">
                  <a16:creationId xmlns:a16="http://schemas.microsoft.com/office/drawing/2014/main" xmlns="" id="{118ADC7C-E843-4264-852C-B2D18B368274}"/>
                </a:ext>
              </a:extLst>
            </p:cNvPr>
            <p:cNvGrpSpPr/>
            <p:nvPr/>
          </p:nvGrpSpPr>
          <p:grpSpPr>
            <a:xfrm flipH="1">
              <a:off x="2481038" y="2310327"/>
              <a:ext cx="215503" cy="101393"/>
              <a:chOff x="3988594" y="2281238"/>
              <a:chExt cx="1243382" cy="581391"/>
            </a:xfrm>
            <a:solidFill>
              <a:srgbClr val="BEC8D2">
                <a:lumMod val="20000"/>
                <a:lumOff val="80000"/>
              </a:srgbClr>
            </a:solidFill>
          </p:grpSpPr>
          <p:sp>
            <p:nvSpPr>
              <p:cNvPr id="380" name="Ellipse 379">
                <a:extLst>
                  <a:ext uri="{FF2B5EF4-FFF2-40B4-BE49-F238E27FC236}">
                    <a16:creationId xmlns:a16="http://schemas.microsoft.com/office/drawing/2014/main" xmlns="" id="{706A0638-CF74-474B-9B71-53047189DCC4}"/>
                  </a:ext>
                </a:extLst>
              </p:cNvPr>
              <p:cNvSpPr/>
              <p:nvPr/>
            </p:nvSpPr>
            <p:spPr>
              <a:xfrm>
                <a:off x="4860412" y="2648611"/>
                <a:ext cx="214018" cy="214018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81" name="Ellipse 380">
                <a:extLst>
                  <a:ext uri="{FF2B5EF4-FFF2-40B4-BE49-F238E27FC236}">
                    <a16:creationId xmlns:a16="http://schemas.microsoft.com/office/drawing/2014/main" xmlns="" id="{AA35DC34-33EC-4750-9503-B4CF7728D161}"/>
                  </a:ext>
                </a:extLst>
              </p:cNvPr>
              <p:cNvSpPr/>
              <p:nvPr/>
            </p:nvSpPr>
            <p:spPr>
              <a:xfrm>
                <a:off x="4107201" y="2648611"/>
                <a:ext cx="214018" cy="214018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82" name="Freihandform: Form 381">
                <a:extLst>
                  <a:ext uri="{FF2B5EF4-FFF2-40B4-BE49-F238E27FC236}">
                    <a16:creationId xmlns:a16="http://schemas.microsoft.com/office/drawing/2014/main" xmlns="" id="{B80AB8D5-39FF-4A52-8A60-4A2407010A18}"/>
                  </a:ext>
                </a:extLst>
              </p:cNvPr>
              <p:cNvSpPr/>
              <p:nvPr/>
            </p:nvSpPr>
            <p:spPr>
              <a:xfrm>
                <a:off x="3988594" y="2281238"/>
                <a:ext cx="1243382" cy="481012"/>
              </a:xfrm>
              <a:custGeom>
                <a:avLst/>
                <a:gdLst>
                  <a:gd name="connsiteX0" fmla="*/ 302419 w 1243382"/>
                  <a:gd name="connsiteY0" fmla="*/ 0 h 481012"/>
                  <a:gd name="connsiteX1" fmla="*/ 692944 w 1243382"/>
                  <a:gd name="connsiteY1" fmla="*/ 2381 h 481012"/>
                  <a:gd name="connsiteX2" fmla="*/ 788194 w 1243382"/>
                  <a:gd name="connsiteY2" fmla="*/ 33337 h 481012"/>
                  <a:gd name="connsiteX3" fmla="*/ 897731 w 1243382"/>
                  <a:gd name="connsiteY3" fmla="*/ 204787 h 481012"/>
                  <a:gd name="connsiteX4" fmla="*/ 952500 w 1243382"/>
                  <a:gd name="connsiteY4" fmla="*/ 240506 h 481012"/>
                  <a:gd name="connsiteX5" fmla="*/ 1183481 w 1243382"/>
                  <a:gd name="connsiteY5" fmla="*/ 242887 h 481012"/>
                  <a:gd name="connsiteX6" fmla="*/ 1240631 w 1243382"/>
                  <a:gd name="connsiteY6" fmla="*/ 290512 h 481012"/>
                  <a:gd name="connsiteX7" fmla="*/ 1243012 w 1243382"/>
                  <a:gd name="connsiteY7" fmla="*/ 481012 h 481012"/>
                  <a:gd name="connsiteX8" fmla="*/ 1084907 w 1243382"/>
                  <a:gd name="connsiteY8" fmla="*/ 478985 h 481012"/>
                  <a:gd name="connsiteX9" fmla="*/ 1085836 w 1243382"/>
                  <a:gd name="connsiteY9" fmla="*/ 474382 h 481012"/>
                  <a:gd name="connsiteX10" fmla="*/ 978827 w 1243382"/>
                  <a:gd name="connsiteY10" fmla="*/ 367373 h 481012"/>
                  <a:gd name="connsiteX11" fmla="*/ 871818 w 1243382"/>
                  <a:gd name="connsiteY11" fmla="*/ 474382 h 481012"/>
                  <a:gd name="connsiteX12" fmla="*/ 872197 w 1243382"/>
                  <a:gd name="connsiteY12" fmla="*/ 476259 h 481012"/>
                  <a:gd name="connsiteX13" fmla="*/ 871537 w 1243382"/>
                  <a:gd name="connsiteY13" fmla="*/ 476250 h 481012"/>
                  <a:gd name="connsiteX14" fmla="*/ 338137 w 1243382"/>
                  <a:gd name="connsiteY14" fmla="*/ 481012 h 481012"/>
                  <a:gd name="connsiteX15" fmla="*/ 331297 w 1243382"/>
                  <a:gd name="connsiteY15" fmla="*/ 480964 h 481012"/>
                  <a:gd name="connsiteX16" fmla="*/ 332625 w 1243382"/>
                  <a:gd name="connsiteY16" fmla="*/ 474382 h 481012"/>
                  <a:gd name="connsiteX17" fmla="*/ 225616 w 1243382"/>
                  <a:gd name="connsiteY17" fmla="*/ 367373 h 481012"/>
                  <a:gd name="connsiteX18" fmla="*/ 118607 w 1243382"/>
                  <a:gd name="connsiteY18" fmla="*/ 474382 h 481012"/>
                  <a:gd name="connsiteX19" fmla="*/ 119633 w 1243382"/>
                  <a:gd name="connsiteY19" fmla="*/ 479463 h 481012"/>
                  <a:gd name="connsiteX20" fmla="*/ 2381 w 1243382"/>
                  <a:gd name="connsiteY20" fmla="*/ 478631 h 481012"/>
                  <a:gd name="connsiteX21" fmla="*/ 0 w 1243382"/>
                  <a:gd name="connsiteY21" fmla="*/ 235743 h 481012"/>
                  <a:gd name="connsiteX22" fmla="*/ 97631 w 1243382"/>
                  <a:gd name="connsiteY22" fmla="*/ 92868 h 481012"/>
                  <a:gd name="connsiteX23" fmla="*/ 302419 w 1243382"/>
                  <a:gd name="connsiteY23" fmla="*/ 0 h 481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243382" h="481012">
                    <a:moveTo>
                      <a:pt x="302419" y="0"/>
                    </a:moveTo>
                    <a:lnTo>
                      <a:pt x="692944" y="2381"/>
                    </a:lnTo>
                    <a:cubicBezTo>
                      <a:pt x="773907" y="7937"/>
                      <a:pt x="754063" y="-397"/>
                      <a:pt x="788194" y="33337"/>
                    </a:cubicBezTo>
                    <a:cubicBezTo>
                      <a:pt x="822325" y="67071"/>
                      <a:pt x="870347" y="170259"/>
                      <a:pt x="897731" y="204787"/>
                    </a:cubicBezTo>
                    <a:cubicBezTo>
                      <a:pt x="925115" y="239315"/>
                      <a:pt x="904875" y="234156"/>
                      <a:pt x="952500" y="240506"/>
                    </a:cubicBezTo>
                    <a:cubicBezTo>
                      <a:pt x="1029494" y="241300"/>
                      <a:pt x="1106508" y="244861"/>
                      <a:pt x="1183481" y="242887"/>
                    </a:cubicBezTo>
                    <a:cubicBezTo>
                      <a:pt x="1214437" y="242093"/>
                      <a:pt x="1243012" y="260349"/>
                      <a:pt x="1240631" y="290512"/>
                    </a:cubicBezTo>
                    <a:cubicBezTo>
                      <a:pt x="1238250" y="320675"/>
                      <a:pt x="1244997" y="411956"/>
                      <a:pt x="1243012" y="481012"/>
                    </a:cubicBezTo>
                    <a:lnTo>
                      <a:pt x="1084907" y="478985"/>
                    </a:lnTo>
                    <a:lnTo>
                      <a:pt x="1085836" y="474382"/>
                    </a:lnTo>
                    <a:cubicBezTo>
                      <a:pt x="1085836" y="415283"/>
                      <a:pt x="1037926" y="367373"/>
                      <a:pt x="978827" y="367373"/>
                    </a:cubicBezTo>
                    <a:cubicBezTo>
                      <a:pt x="919728" y="367373"/>
                      <a:pt x="871818" y="415283"/>
                      <a:pt x="871818" y="474382"/>
                    </a:cubicBezTo>
                    <a:lnTo>
                      <a:pt x="872197" y="476259"/>
                    </a:lnTo>
                    <a:lnTo>
                      <a:pt x="871537" y="476250"/>
                    </a:lnTo>
                    <a:lnTo>
                      <a:pt x="338137" y="481012"/>
                    </a:lnTo>
                    <a:lnTo>
                      <a:pt x="331297" y="480964"/>
                    </a:lnTo>
                    <a:lnTo>
                      <a:pt x="332625" y="474382"/>
                    </a:lnTo>
                    <a:cubicBezTo>
                      <a:pt x="332625" y="415283"/>
                      <a:pt x="284715" y="367373"/>
                      <a:pt x="225616" y="367373"/>
                    </a:cubicBezTo>
                    <a:cubicBezTo>
                      <a:pt x="166517" y="367373"/>
                      <a:pt x="118607" y="415283"/>
                      <a:pt x="118607" y="474382"/>
                    </a:cubicBezTo>
                    <a:lnTo>
                      <a:pt x="119633" y="479463"/>
                    </a:lnTo>
                    <a:lnTo>
                      <a:pt x="2381" y="478631"/>
                    </a:lnTo>
                    <a:cubicBezTo>
                      <a:pt x="1587" y="397668"/>
                      <a:pt x="794" y="316706"/>
                      <a:pt x="0" y="235743"/>
                    </a:cubicBezTo>
                    <a:lnTo>
                      <a:pt x="97631" y="92868"/>
                    </a:lnTo>
                    <a:cubicBezTo>
                      <a:pt x="148034" y="53578"/>
                      <a:pt x="203200" y="15081"/>
                      <a:pt x="302419" y="0"/>
                    </a:cubicBezTo>
                    <a:close/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383" name="Gruppieren 382">
              <a:extLst>
                <a:ext uri="{FF2B5EF4-FFF2-40B4-BE49-F238E27FC236}">
                  <a16:creationId xmlns:a16="http://schemas.microsoft.com/office/drawing/2014/main" xmlns="" id="{1B8EE2C1-E936-4C4D-91A0-2451FB356FCF}"/>
                </a:ext>
              </a:extLst>
            </p:cNvPr>
            <p:cNvGrpSpPr/>
            <p:nvPr/>
          </p:nvGrpSpPr>
          <p:grpSpPr>
            <a:xfrm>
              <a:off x="58190" y="2433955"/>
              <a:ext cx="8271334" cy="46003"/>
              <a:chOff x="209166" y="2355877"/>
              <a:chExt cx="8120357" cy="0"/>
            </a:xfrm>
          </p:grpSpPr>
          <p:grpSp>
            <p:nvGrpSpPr>
              <p:cNvPr id="384" name="Gruppieren 383">
                <a:extLst>
                  <a:ext uri="{FF2B5EF4-FFF2-40B4-BE49-F238E27FC236}">
                    <a16:creationId xmlns:a16="http://schemas.microsoft.com/office/drawing/2014/main" xmlns="" id="{9360ECAB-DF36-4D34-8CA4-FA2461E3D280}"/>
                  </a:ext>
                </a:extLst>
              </p:cNvPr>
              <p:cNvGrpSpPr/>
              <p:nvPr/>
            </p:nvGrpSpPr>
            <p:grpSpPr>
              <a:xfrm>
                <a:off x="2941118" y="2355877"/>
                <a:ext cx="1290475" cy="0"/>
                <a:chOff x="2952383" y="2367944"/>
                <a:chExt cx="1409257" cy="0"/>
              </a:xfrm>
            </p:grpSpPr>
            <p:cxnSp>
              <p:nvCxnSpPr>
                <p:cNvPr id="430" name="Gerader Verbinder 601">
                  <a:extLst>
                    <a:ext uri="{FF2B5EF4-FFF2-40B4-BE49-F238E27FC236}">
                      <a16:creationId xmlns:a16="http://schemas.microsoft.com/office/drawing/2014/main" xmlns="" id="{67E1EDE0-CE13-4E9F-B8BA-B528DA53CF7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52383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31" name="Gerader Verbinder 601">
                  <a:extLst>
                    <a:ext uri="{FF2B5EF4-FFF2-40B4-BE49-F238E27FC236}">
                      <a16:creationId xmlns:a16="http://schemas.microsoft.com/office/drawing/2014/main" xmlns="" id="{33FA3232-FCD3-4214-ABB1-BB07625C1F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38277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32" name="Gerader Verbinder 601">
                  <a:extLst>
                    <a:ext uri="{FF2B5EF4-FFF2-40B4-BE49-F238E27FC236}">
                      <a16:creationId xmlns:a16="http://schemas.microsoft.com/office/drawing/2014/main" xmlns="" id="{D68DA67C-6A80-4109-BE2D-307ADD29F8E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24171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33" name="Gerader Verbinder 601">
                  <a:extLst>
                    <a:ext uri="{FF2B5EF4-FFF2-40B4-BE49-F238E27FC236}">
                      <a16:creationId xmlns:a16="http://schemas.microsoft.com/office/drawing/2014/main" xmlns="" id="{B4178617-70CA-4552-BEC8-D2C0F457CF1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510065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34" name="Gerader Verbinder 601">
                  <a:extLst>
                    <a:ext uri="{FF2B5EF4-FFF2-40B4-BE49-F238E27FC236}">
                      <a16:creationId xmlns:a16="http://schemas.microsoft.com/office/drawing/2014/main" xmlns="" id="{1F463111-619A-47C4-9693-322A908F278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95959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35" name="Gerader Verbinder 601">
                  <a:extLst>
                    <a:ext uri="{FF2B5EF4-FFF2-40B4-BE49-F238E27FC236}">
                      <a16:creationId xmlns:a16="http://schemas.microsoft.com/office/drawing/2014/main" xmlns="" id="{01FB6D35-3B9C-4274-AF7E-5E059DD36AD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881853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36" name="Gerader Verbinder 601">
                  <a:extLst>
                    <a:ext uri="{FF2B5EF4-FFF2-40B4-BE49-F238E27FC236}">
                      <a16:creationId xmlns:a16="http://schemas.microsoft.com/office/drawing/2014/main" xmlns="" id="{E848E94B-0B73-4348-8A74-54C37FDA475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067747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37" name="Gerader Verbinder 601">
                  <a:extLst>
                    <a:ext uri="{FF2B5EF4-FFF2-40B4-BE49-F238E27FC236}">
                      <a16:creationId xmlns:a16="http://schemas.microsoft.com/office/drawing/2014/main" xmlns="" id="{B295165C-5B00-4180-A759-D01923C7CFA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253640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</p:grpSp>
          <p:grpSp>
            <p:nvGrpSpPr>
              <p:cNvPr id="385" name="Gruppieren 384">
                <a:extLst>
                  <a:ext uri="{FF2B5EF4-FFF2-40B4-BE49-F238E27FC236}">
                    <a16:creationId xmlns:a16="http://schemas.microsoft.com/office/drawing/2014/main" xmlns="" id="{42E51CDC-2A92-4B32-A022-D8E10D51EB4B}"/>
                  </a:ext>
                </a:extLst>
              </p:cNvPr>
              <p:cNvGrpSpPr/>
              <p:nvPr/>
            </p:nvGrpSpPr>
            <p:grpSpPr>
              <a:xfrm>
                <a:off x="1575142" y="2355877"/>
                <a:ext cx="1290475" cy="0"/>
                <a:chOff x="2952383" y="2367944"/>
                <a:chExt cx="1409257" cy="0"/>
              </a:xfrm>
            </p:grpSpPr>
            <p:cxnSp>
              <p:nvCxnSpPr>
                <p:cNvPr id="422" name="Gerader Verbinder 601">
                  <a:extLst>
                    <a:ext uri="{FF2B5EF4-FFF2-40B4-BE49-F238E27FC236}">
                      <a16:creationId xmlns:a16="http://schemas.microsoft.com/office/drawing/2014/main" xmlns="" id="{793C6901-7C89-4B56-A150-80F676C7D6A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52383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23" name="Gerader Verbinder 601">
                  <a:extLst>
                    <a:ext uri="{FF2B5EF4-FFF2-40B4-BE49-F238E27FC236}">
                      <a16:creationId xmlns:a16="http://schemas.microsoft.com/office/drawing/2014/main" xmlns="" id="{1FFCDE3E-0B31-4098-A330-BC8B37C0E6A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38277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24" name="Gerader Verbinder 601">
                  <a:extLst>
                    <a:ext uri="{FF2B5EF4-FFF2-40B4-BE49-F238E27FC236}">
                      <a16:creationId xmlns:a16="http://schemas.microsoft.com/office/drawing/2014/main" xmlns="" id="{2EB38648-903A-4AC3-BE49-90D73456A7E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24171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25" name="Gerader Verbinder 601">
                  <a:extLst>
                    <a:ext uri="{FF2B5EF4-FFF2-40B4-BE49-F238E27FC236}">
                      <a16:creationId xmlns:a16="http://schemas.microsoft.com/office/drawing/2014/main" xmlns="" id="{54B461B4-A5B4-4A95-8B33-53C78A02D6A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510065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26" name="Gerader Verbinder 601">
                  <a:extLst>
                    <a:ext uri="{FF2B5EF4-FFF2-40B4-BE49-F238E27FC236}">
                      <a16:creationId xmlns:a16="http://schemas.microsoft.com/office/drawing/2014/main" xmlns="" id="{DBBB7BA7-8162-4A50-B01B-64144993D88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95959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27" name="Gerader Verbinder 601">
                  <a:extLst>
                    <a:ext uri="{FF2B5EF4-FFF2-40B4-BE49-F238E27FC236}">
                      <a16:creationId xmlns:a16="http://schemas.microsoft.com/office/drawing/2014/main" xmlns="" id="{742C1D21-D91D-490A-BE13-C8A84E219DB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881853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28" name="Gerader Verbinder 601">
                  <a:extLst>
                    <a:ext uri="{FF2B5EF4-FFF2-40B4-BE49-F238E27FC236}">
                      <a16:creationId xmlns:a16="http://schemas.microsoft.com/office/drawing/2014/main" xmlns="" id="{1A53A086-FA6B-4D56-A3A6-D2CFB54B509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067747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29" name="Gerader Verbinder 601">
                  <a:extLst>
                    <a:ext uri="{FF2B5EF4-FFF2-40B4-BE49-F238E27FC236}">
                      <a16:creationId xmlns:a16="http://schemas.microsoft.com/office/drawing/2014/main" xmlns="" id="{6879EECE-F482-4930-BC08-0ED16BF2F7C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253640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</p:grpSp>
          <p:grpSp>
            <p:nvGrpSpPr>
              <p:cNvPr id="386" name="Gruppieren 385">
                <a:extLst>
                  <a:ext uri="{FF2B5EF4-FFF2-40B4-BE49-F238E27FC236}">
                    <a16:creationId xmlns:a16="http://schemas.microsoft.com/office/drawing/2014/main" xmlns="" id="{1D8DF073-1D51-4CF7-B95D-A4B54DD48E54}"/>
                  </a:ext>
                </a:extLst>
              </p:cNvPr>
              <p:cNvGrpSpPr/>
              <p:nvPr/>
            </p:nvGrpSpPr>
            <p:grpSpPr>
              <a:xfrm>
                <a:off x="4307094" y="2355877"/>
                <a:ext cx="1290475" cy="0"/>
                <a:chOff x="2952383" y="2367944"/>
                <a:chExt cx="1409257" cy="0"/>
              </a:xfrm>
            </p:grpSpPr>
            <p:cxnSp>
              <p:nvCxnSpPr>
                <p:cNvPr id="414" name="Gerader Verbinder 601">
                  <a:extLst>
                    <a:ext uri="{FF2B5EF4-FFF2-40B4-BE49-F238E27FC236}">
                      <a16:creationId xmlns:a16="http://schemas.microsoft.com/office/drawing/2014/main" xmlns="" id="{F1D406CF-E0DE-49F9-ABA5-38057DE0355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52383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15" name="Gerader Verbinder 601">
                  <a:extLst>
                    <a:ext uri="{FF2B5EF4-FFF2-40B4-BE49-F238E27FC236}">
                      <a16:creationId xmlns:a16="http://schemas.microsoft.com/office/drawing/2014/main" xmlns="" id="{5A3E3F77-93E0-449E-9A76-794273FAE00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38277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16" name="Gerader Verbinder 601">
                  <a:extLst>
                    <a:ext uri="{FF2B5EF4-FFF2-40B4-BE49-F238E27FC236}">
                      <a16:creationId xmlns:a16="http://schemas.microsoft.com/office/drawing/2014/main" xmlns="" id="{F27BAFB9-41C2-453A-A63D-0475EC89B27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24171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17" name="Gerader Verbinder 601">
                  <a:extLst>
                    <a:ext uri="{FF2B5EF4-FFF2-40B4-BE49-F238E27FC236}">
                      <a16:creationId xmlns:a16="http://schemas.microsoft.com/office/drawing/2014/main" xmlns="" id="{E8E3B4A7-5F0B-44C2-8CDE-C10F2CAD256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510065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18" name="Gerader Verbinder 601">
                  <a:extLst>
                    <a:ext uri="{FF2B5EF4-FFF2-40B4-BE49-F238E27FC236}">
                      <a16:creationId xmlns:a16="http://schemas.microsoft.com/office/drawing/2014/main" xmlns="" id="{C4D38097-6E5C-43AB-892B-9EFE4A8CF17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95959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19" name="Gerader Verbinder 601">
                  <a:extLst>
                    <a:ext uri="{FF2B5EF4-FFF2-40B4-BE49-F238E27FC236}">
                      <a16:creationId xmlns:a16="http://schemas.microsoft.com/office/drawing/2014/main" xmlns="" id="{A4EE8346-3DE7-4F09-8ABD-5FAD70E8AB7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881853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20" name="Gerader Verbinder 601">
                  <a:extLst>
                    <a:ext uri="{FF2B5EF4-FFF2-40B4-BE49-F238E27FC236}">
                      <a16:creationId xmlns:a16="http://schemas.microsoft.com/office/drawing/2014/main" xmlns="" id="{D5247BB9-FA8E-483C-95B1-630F5A291B8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067747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21" name="Gerader Verbinder 601">
                  <a:extLst>
                    <a:ext uri="{FF2B5EF4-FFF2-40B4-BE49-F238E27FC236}">
                      <a16:creationId xmlns:a16="http://schemas.microsoft.com/office/drawing/2014/main" xmlns="" id="{EC6E59E1-BDC3-47D9-995F-1A0F6FDDDF7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253640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</p:grpSp>
          <p:grpSp>
            <p:nvGrpSpPr>
              <p:cNvPr id="387" name="Gruppieren 386">
                <a:extLst>
                  <a:ext uri="{FF2B5EF4-FFF2-40B4-BE49-F238E27FC236}">
                    <a16:creationId xmlns:a16="http://schemas.microsoft.com/office/drawing/2014/main" xmlns="" id="{2A4BEED7-5445-489D-97D5-1F9C7B20AB52}"/>
                  </a:ext>
                </a:extLst>
              </p:cNvPr>
              <p:cNvGrpSpPr/>
              <p:nvPr/>
            </p:nvGrpSpPr>
            <p:grpSpPr>
              <a:xfrm>
                <a:off x="209166" y="2355877"/>
                <a:ext cx="1290475" cy="0"/>
                <a:chOff x="2952383" y="2367944"/>
                <a:chExt cx="1409257" cy="0"/>
              </a:xfrm>
            </p:grpSpPr>
            <p:cxnSp>
              <p:nvCxnSpPr>
                <p:cNvPr id="406" name="Gerader Verbinder 601">
                  <a:extLst>
                    <a:ext uri="{FF2B5EF4-FFF2-40B4-BE49-F238E27FC236}">
                      <a16:creationId xmlns:a16="http://schemas.microsoft.com/office/drawing/2014/main" xmlns="" id="{0745BF2F-70C8-439A-B6E7-8A8A39BEF71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52383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07" name="Gerader Verbinder 601">
                  <a:extLst>
                    <a:ext uri="{FF2B5EF4-FFF2-40B4-BE49-F238E27FC236}">
                      <a16:creationId xmlns:a16="http://schemas.microsoft.com/office/drawing/2014/main" xmlns="" id="{EDE54A60-7C10-4A95-BDF5-B3460F3DDBF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38277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08" name="Gerader Verbinder 601">
                  <a:extLst>
                    <a:ext uri="{FF2B5EF4-FFF2-40B4-BE49-F238E27FC236}">
                      <a16:creationId xmlns:a16="http://schemas.microsoft.com/office/drawing/2014/main" xmlns="" id="{F03CFE4A-BADA-4AF9-B887-FB1191CD6B8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24171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09" name="Gerader Verbinder 601">
                  <a:extLst>
                    <a:ext uri="{FF2B5EF4-FFF2-40B4-BE49-F238E27FC236}">
                      <a16:creationId xmlns:a16="http://schemas.microsoft.com/office/drawing/2014/main" xmlns="" id="{72B3286D-95D6-446A-9873-A19D30CEB32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510065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10" name="Gerader Verbinder 601">
                  <a:extLst>
                    <a:ext uri="{FF2B5EF4-FFF2-40B4-BE49-F238E27FC236}">
                      <a16:creationId xmlns:a16="http://schemas.microsoft.com/office/drawing/2014/main" xmlns="" id="{2A42094B-3CFC-4C2A-A88D-B47D43009E2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95959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11" name="Gerader Verbinder 601">
                  <a:extLst>
                    <a:ext uri="{FF2B5EF4-FFF2-40B4-BE49-F238E27FC236}">
                      <a16:creationId xmlns:a16="http://schemas.microsoft.com/office/drawing/2014/main" xmlns="" id="{F964CDDA-E7D9-48A2-881B-0BE98C3FBC6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881853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12" name="Gerader Verbinder 601">
                  <a:extLst>
                    <a:ext uri="{FF2B5EF4-FFF2-40B4-BE49-F238E27FC236}">
                      <a16:creationId xmlns:a16="http://schemas.microsoft.com/office/drawing/2014/main" xmlns="" id="{795F494D-D7FC-4EC1-9F86-D869162D5FF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067747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13" name="Gerader Verbinder 601">
                  <a:extLst>
                    <a:ext uri="{FF2B5EF4-FFF2-40B4-BE49-F238E27FC236}">
                      <a16:creationId xmlns:a16="http://schemas.microsoft.com/office/drawing/2014/main" xmlns="" id="{E81E667A-CEA6-4CFF-BF36-ECE66526AEB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253640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</p:grpSp>
          <p:grpSp>
            <p:nvGrpSpPr>
              <p:cNvPr id="388" name="Gruppieren 387">
                <a:extLst>
                  <a:ext uri="{FF2B5EF4-FFF2-40B4-BE49-F238E27FC236}">
                    <a16:creationId xmlns:a16="http://schemas.microsoft.com/office/drawing/2014/main" xmlns="" id="{4138E372-6159-419D-98B3-85F6BC1D0163}"/>
                  </a:ext>
                </a:extLst>
              </p:cNvPr>
              <p:cNvGrpSpPr/>
              <p:nvPr userDrawn="1"/>
            </p:nvGrpSpPr>
            <p:grpSpPr>
              <a:xfrm>
                <a:off x="5673070" y="2355877"/>
                <a:ext cx="1290475" cy="0"/>
                <a:chOff x="2952383" y="2367944"/>
                <a:chExt cx="1409257" cy="0"/>
              </a:xfrm>
            </p:grpSpPr>
            <p:cxnSp>
              <p:nvCxnSpPr>
                <p:cNvPr id="398" name="Gerader Verbinder 601">
                  <a:extLst>
                    <a:ext uri="{FF2B5EF4-FFF2-40B4-BE49-F238E27FC236}">
                      <a16:creationId xmlns:a16="http://schemas.microsoft.com/office/drawing/2014/main" xmlns="" id="{8A22B619-20B8-4F39-A530-CA2C910F565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52383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399" name="Gerader Verbinder 601">
                  <a:extLst>
                    <a:ext uri="{FF2B5EF4-FFF2-40B4-BE49-F238E27FC236}">
                      <a16:creationId xmlns:a16="http://schemas.microsoft.com/office/drawing/2014/main" xmlns="" id="{9CAEA74E-5783-4C21-A6E6-32295F1F99A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38277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00" name="Gerader Verbinder 601">
                  <a:extLst>
                    <a:ext uri="{FF2B5EF4-FFF2-40B4-BE49-F238E27FC236}">
                      <a16:creationId xmlns:a16="http://schemas.microsoft.com/office/drawing/2014/main" xmlns="" id="{976745A7-6A31-4776-87DD-798E182FDDC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24171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01" name="Gerader Verbinder 601">
                  <a:extLst>
                    <a:ext uri="{FF2B5EF4-FFF2-40B4-BE49-F238E27FC236}">
                      <a16:creationId xmlns:a16="http://schemas.microsoft.com/office/drawing/2014/main" xmlns="" id="{5FAAA675-5CF0-4A32-B67E-ECA94F018D9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510065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02" name="Gerader Verbinder 601">
                  <a:extLst>
                    <a:ext uri="{FF2B5EF4-FFF2-40B4-BE49-F238E27FC236}">
                      <a16:creationId xmlns:a16="http://schemas.microsoft.com/office/drawing/2014/main" xmlns="" id="{61535F80-0693-4453-A078-5708926FB2B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95959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03" name="Gerader Verbinder 601">
                  <a:extLst>
                    <a:ext uri="{FF2B5EF4-FFF2-40B4-BE49-F238E27FC236}">
                      <a16:creationId xmlns:a16="http://schemas.microsoft.com/office/drawing/2014/main" xmlns="" id="{EFB628FA-1072-4C3A-8780-4C20BF1254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881853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04" name="Gerader Verbinder 601">
                  <a:extLst>
                    <a:ext uri="{FF2B5EF4-FFF2-40B4-BE49-F238E27FC236}">
                      <a16:creationId xmlns:a16="http://schemas.microsoft.com/office/drawing/2014/main" xmlns="" id="{6B9F87C7-8786-4616-911D-588306F7B1F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067747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405" name="Gerader Verbinder 601">
                  <a:extLst>
                    <a:ext uri="{FF2B5EF4-FFF2-40B4-BE49-F238E27FC236}">
                      <a16:creationId xmlns:a16="http://schemas.microsoft.com/office/drawing/2014/main" xmlns="" id="{9AA74E45-D7A2-4FC6-B168-D485C5D7693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253640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</p:grpSp>
          <p:grpSp>
            <p:nvGrpSpPr>
              <p:cNvPr id="389" name="Gruppieren 388">
                <a:extLst>
                  <a:ext uri="{FF2B5EF4-FFF2-40B4-BE49-F238E27FC236}">
                    <a16:creationId xmlns:a16="http://schemas.microsoft.com/office/drawing/2014/main" xmlns="" id="{AB87F62B-DDA4-464A-8263-3E501F9270C4}"/>
                  </a:ext>
                </a:extLst>
              </p:cNvPr>
              <p:cNvGrpSpPr/>
              <p:nvPr userDrawn="1"/>
            </p:nvGrpSpPr>
            <p:grpSpPr>
              <a:xfrm>
                <a:off x="7039048" y="2355877"/>
                <a:ext cx="1290475" cy="0"/>
                <a:chOff x="2952383" y="2367944"/>
                <a:chExt cx="1409257" cy="0"/>
              </a:xfrm>
            </p:grpSpPr>
            <p:cxnSp>
              <p:nvCxnSpPr>
                <p:cNvPr id="390" name="Gerader Verbinder 601">
                  <a:extLst>
                    <a:ext uri="{FF2B5EF4-FFF2-40B4-BE49-F238E27FC236}">
                      <a16:creationId xmlns:a16="http://schemas.microsoft.com/office/drawing/2014/main" xmlns="" id="{B8AB658B-5B24-46F3-A56D-D120D00F9D3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52383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391" name="Gerader Verbinder 601">
                  <a:extLst>
                    <a:ext uri="{FF2B5EF4-FFF2-40B4-BE49-F238E27FC236}">
                      <a16:creationId xmlns:a16="http://schemas.microsoft.com/office/drawing/2014/main" xmlns="" id="{1F133B73-EBA7-4727-BEC6-B9576F99D06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38277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392" name="Gerader Verbinder 601">
                  <a:extLst>
                    <a:ext uri="{FF2B5EF4-FFF2-40B4-BE49-F238E27FC236}">
                      <a16:creationId xmlns:a16="http://schemas.microsoft.com/office/drawing/2014/main" xmlns="" id="{79849F4A-C3EC-4D15-A69B-4F0EFF4766E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24171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393" name="Gerader Verbinder 601">
                  <a:extLst>
                    <a:ext uri="{FF2B5EF4-FFF2-40B4-BE49-F238E27FC236}">
                      <a16:creationId xmlns:a16="http://schemas.microsoft.com/office/drawing/2014/main" xmlns="" id="{7EBB60A4-6049-479F-BFA5-2B0F0ACDAD3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510065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394" name="Gerader Verbinder 601">
                  <a:extLst>
                    <a:ext uri="{FF2B5EF4-FFF2-40B4-BE49-F238E27FC236}">
                      <a16:creationId xmlns:a16="http://schemas.microsoft.com/office/drawing/2014/main" xmlns="" id="{BAA90A3D-7728-4037-80B0-46B77C4E68B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95959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395" name="Gerader Verbinder 601">
                  <a:extLst>
                    <a:ext uri="{FF2B5EF4-FFF2-40B4-BE49-F238E27FC236}">
                      <a16:creationId xmlns:a16="http://schemas.microsoft.com/office/drawing/2014/main" xmlns="" id="{1EF75658-58C9-420F-8D17-98BBA6B0D19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881853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396" name="Gerader Verbinder 601">
                  <a:extLst>
                    <a:ext uri="{FF2B5EF4-FFF2-40B4-BE49-F238E27FC236}">
                      <a16:creationId xmlns:a16="http://schemas.microsoft.com/office/drawing/2014/main" xmlns="" id="{73F288E5-5BB3-4FA2-B31D-8D2399FD72E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067747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  <p:cxnSp>
              <p:nvCxnSpPr>
                <p:cNvPr id="397" name="Gerader Verbinder 601">
                  <a:extLst>
                    <a:ext uri="{FF2B5EF4-FFF2-40B4-BE49-F238E27FC236}">
                      <a16:creationId xmlns:a16="http://schemas.microsoft.com/office/drawing/2014/main" xmlns="" id="{44F272E4-2D9E-430D-B30C-1F1E271A637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253640" y="2367944"/>
                  <a:ext cx="108000" cy="0"/>
                </a:xfrm>
                <a:prstGeom prst="line">
                  <a:avLst/>
                </a:prstGeom>
                <a:solidFill>
                  <a:schemeClr val="bg1"/>
                </a:solidFill>
                <a:ln w="6350" cap="flat" cmpd="sng" algn="ctr">
                  <a:solidFill>
                    <a:schemeClr val="bg2"/>
                  </a:solidFill>
                  <a:prstDash val="solid"/>
                </a:ln>
                <a:effectLst/>
              </p:spPr>
            </p:cxnSp>
          </p:grpSp>
        </p:grpSp>
        <p:pic>
          <p:nvPicPr>
            <p:cNvPr id="438" name="Grafik 437">
              <a:extLst>
                <a:ext uri="{FF2B5EF4-FFF2-40B4-BE49-F238E27FC236}">
                  <a16:creationId xmlns:a16="http://schemas.microsoft.com/office/drawing/2014/main" xmlns="" id="{9EC8D0FF-E9CB-423F-BB99-55DCE7DECE3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40024" y="2333889"/>
              <a:ext cx="547192" cy="90181"/>
            </a:xfrm>
            <a:prstGeom prst="rect">
              <a:avLst/>
            </a:prstGeom>
            <a:ln w="6350">
              <a:noFill/>
            </a:ln>
          </p:spPr>
        </p:pic>
        <p:grpSp>
          <p:nvGrpSpPr>
            <p:cNvPr id="439" name="Gruppieren 438">
              <a:extLst>
                <a:ext uri="{FF2B5EF4-FFF2-40B4-BE49-F238E27FC236}">
                  <a16:creationId xmlns:a16="http://schemas.microsoft.com/office/drawing/2014/main" xmlns="" id="{3FA6640F-EB0C-4543-85D0-6B1B46EC4CA3}"/>
                </a:ext>
              </a:extLst>
            </p:cNvPr>
            <p:cNvGrpSpPr/>
            <p:nvPr/>
          </p:nvGrpSpPr>
          <p:grpSpPr>
            <a:xfrm flipH="1">
              <a:off x="6260029" y="2385812"/>
              <a:ext cx="434357" cy="149711"/>
              <a:chOff x="1375013" y="2035378"/>
              <a:chExt cx="1565037" cy="536091"/>
            </a:xfrm>
            <a:solidFill>
              <a:srgbClr val="BEC8D2">
                <a:lumMod val="20000"/>
                <a:lumOff val="80000"/>
              </a:srgbClr>
            </a:solidFill>
          </p:grpSpPr>
          <p:sp>
            <p:nvSpPr>
              <p:cNvPr id="440" name="Freihandform: Form 439">
                <a:extLst>
                  <a:ext uri="{FF2B5EF4-FFF2-40B4-BE49-F238E27FC236}">
                    <a16:creationId xmlns:a16="http://schemas.microsoft.com/office/drawing/2014/main" xmlns="" id="{5EC059ED-653C-4904-844D-F9A5EFF7B266}"/>
                  </a:ext>
                </a:extLst>
              </p:cNvPr>
              <p:cNvSpPr/>
              <p:nvPr/>
            </p:nvSpPr>
            <p:spPr>
              <a:xfrm>
                <a:off x="1375013" y="2035378"/>
                <a:ext cx="1565037" cy="464364"/>
              </a:xfrm>
              <a:custGeom>
                <a:avLst/>
                <a:gdLst>
                  <a:gd name="connsiteX0" fmla="*/ 280663 w 1576807"/>
                  <a:gd name="connsiteY0" fmla="*/ 0 h 464364"/>
                  <a:gd name="connsiteX1" fmla="*/ 1239385 w 1576807"/>
                  <a:gd name="connsiteY1" fmla="*/ 0 h 464364"/>
                  <a:gd name="connsiteX2" fmla="*/ 1576807 w 1576807"/>
                  <a:gd name="connsiteY2" fmla="*/ 0 h 464364"/>
                  <a:gd name="connsiteX3" fmla="*/ 1576807 w 1576807"/>
                  <a:gd name="connsiteY3" fmla="*/ 464364 h 464364"/>
                  <a:gd name="connsiteX4" fmla="*/ 1239385 w 1576807"/>
                  <a:gd name="connsiteY4" fmla="*/ 464364 h 464364"/>
                  <a:gd name="connsiteX5" fmla="*/ 280663 w 1576807"/>
                  <a:gd name="connsiteY5" fmla="*/ 464364 h 464364"/>
                  <a:gd name="connsiteX6" fmla="*/ 56759 w 1576807"/>
                  <a:gd name="connsiteY6" fmla="*/ 464364 h 464364"/>
                  <a:gd name="connsiteX7" fmla="*/ 0 w 1576807"/>
                  <a:gd name="connsiteY7" fmla="*/ 407605 h 464364"/>
                  <a:gd name="connsiteX8" fmla="*/ 3175 w 1576807"/>
                  <a:gd name="connsiteY8" fmla="*/ 307049 h 464364"/>
                  <a:gd name="connsiteX9" fmla="*/ 276032 w 1576807"/>
                  <a:gd name="connsiteY9" fmla="*/ 1587 h 464364"/>
                  <a:gd name="connsiteX10" fmla="*/ 280663 w 1576807"/>
                  <a:gd name="connsiteY10" fmla="*/ 1579 h 46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76807" h="464364">
                    <a:moveTo>
                      <a:pt x="280663" y="0"/>
                    </a:moveTo>
                    <a:lnTo>
                      <a:pt x="1239385" y="0"/>
                    </a:lnTo>
                    <a:lnTo>
                      <a:pt x="1576807" y="0"/>
                    </a:lnTo>
                    <a:lnTo>
                      <a:pt x="1576807" y="464364"/>
                    </a:lnTo>
                    <a:lnTo>
                      <a:pt x="1239385" y="464364"/>
                    </a:lnTo>
                    <a:lnTo>
                      <a:pt x="280663" y="464364"/>
                    </a:lnTo>
                    <a:lnTo>
                      <a:pt x="56759" y="464364"/>
                    </a:lnTo>
                    <a:cubicBezTo>
                      <a:pt x="25412" y="464364"/>
                      <a:pt x="0" y="438952"/>
                      <a:pt x="0" y="407605"/>
                    </a:cubicBezTo>
                    <a:cubicBezTo>
                      <a:pt x="1058" y="374086"/>
                      <a:pt x="2117" y="340568"/>
                      <a:pt x="3175" y="307049"/>
                    </a:cubicBezTo>
                    <a:cubicBezTo>
                      <a:pt x="71373" y="213166"/>
                      <a:pt x="185608" y="19270"/>
                      <a:pt x="276032" y="1587"/>
                    </a:cubicBezTo>
                    <a:lnTo>
                      <a:pt x="280663" y="1579"/>
                    </a:lnTo>
                    <a:close/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41" name="Rechteck 440">
                <a:extLst>
                  <a:ext uri="{FF2B5EF4-FFF2-40B4-BE49-F238E27FC236}">
                    <a16:creationId xmlns:a16="http://schemas.microsoft.com/office/drawing/2014/main" xmlns="" id="{6E6D2EA5-75C0-4B14-A296-5B352B97324B}"/>
                  </a:ext>
                </a:extLst>
              </p:cNvPr>
              <p:cNvSpPr/>
              <p:nvPr/>
            </p:nvSpPr>
            <p:spPr>
              <a:xfrm>
                <a:off x="2591779" y="2107274"/>
                <a:ext cx="313809" cy="167614"/>
              </a:xfrm>
              <a:prstGeom prst="rect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42" name="Rechteck 441">
                <a:extLst>
                  <a:ext uri="{FF2B5EF4-FFF2-40B4-BE49-F238E27FC236}">
                    <a16:creationId xmlns:a16="http://schemas.microsoft.com/office/drawing/2014/main" xmlns="" id="{6B82BDC1-475A-4945-BE65-C4E9D79ED672}"/>
                  </a:ext>
                </a:extLst>
              </p:cNvPr>
              <p:cNvSpPr/>
              <p:nvPr/>
            </p:nvSpPr>
            <p:spPr>
              <a:xfrm>
                <a:off x="2247700" y="2107274"/>
                <a:ext cx="313809" cy="167614"/>
              </a:xfrm>
              <a:prstGeom prst="rect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43" name="Rechteck 442">
                <a:extLst>
                  <a:ext uri="{FF2B5EF4-FFF2-40B4-BE49-F238E27FC236}">
                    <a16:creationId xmlns:a16="http://schemas.microsoft.com/office/drawing/2014/main" xmlns="" id="{C374F036-680C-4576-AEC5-3A3450C69551}"/>
                  </a:ext>
                </a:extLst>
              </p:cNvPr>
              <p:cNvSpPr/>
              <p:nvPr/>
            </p:nvSpPr>
            <p:spPr>
              <a:xfrm>
                <a:off x="1903621" y="2107274"/>
                <a:ext cx="313809" cy="167614"/>
              </a:xfrm>
              <a:prstGeom prst="rect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44" name="Rechteck 443">
                <a:extLst>
                  <a:ext uri="{FF2B5EF4-FFF2-40B4-BE49-F238E27FC236}">
                    <a16:creationId xmlns:a16="http://schemas.microsoft.com/office/drawing/2014/main" xmlns="" id="{527E0A73-B9DE-4DD6-8493-489FE5071746}"/>
                  </a:ext>
                </a:extLst>
              </p:cNvPr>
              <p:cNvSpPr/>
              <p:nvPr/>
            </p:nvSpPr>
            <p:spPr>
              <a:xfrm>
                <a:off x="1682463" y="2107274"/>
                <a:ext cx="81225" cy="392468"/>
              </a:xfrm>
              <a:prstGeom prst="rect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45" name="Rechteck 444">
                <a:extLst>
                  <a:ext uri="{FF2B5EF4-FFF2-40B4-BE49-F238E27FC236}">
                    <a16:creationId xmlns:a16="http://schemas.microsoft.com/office/drawing/2014/main" xmlns="" id="{212A1049-4273-4C4A-A320-3DEFD271293D}"/>
                  </a:ext>
                </a:extLst>
              </p:cNvPr>
              <p:cNvSpPr/>
              <p:nvPr/>
            </p:nvSpPr>
            <p:spPr>
              <a:xfrm>
                <a:off x="1760377" y="2107274"/>
                <a:ext cx="81225" cy="392468"/>
              </a:xfrm>
              <a:prstGeom prst="rect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46" name="Freihandform: Form 445">
                <a:extLst>
                  <a:ext uri="{FF2B5EF4-FFF2-40B4-BE49-F238E27FC236}">
                    <a16:creationId xmlns:a16="http://schemas.microsoft.com/office/drawing/2014/main" xmlns="" id="{42D55615-6E1C-4DA3-8084-35F6B02CCB3A}"/>
                  </a:ext>
                </a:extLst>
              </p:cNvPr>
              <p:cNvSpPr/>
              <p:nvPr/>
            </p:nvSpPr>
            <p:spPr>
              <a:xfrm>
                <a:off x="1490664" y="2107274"/>
                <a:ext cx="164705" cy="143616"/>
              </a:xfrm>
              <a:custGeom>
                <a:avLst/>
                <a:gdLst>
                  <a:gd name="connsiteX0" fmla="*/ 146175 w 164705"/>
                  <a:gd name="connsiteY0" fmla="*/ 0 h 143616"/>
                  <a:gd name="connsiteX1" fmla="*/ 164705 w 164705"/>
                  <a:gd name="connsiteY1" fmla="*/ 0 h 143616"/>
                  <a:gd name="connsiteX2" fmla="*/ 164705 w 164705"/>
                  <a:gd name="connsiteY2" fmla="*/ 143616 h 143616"/>
                  <a:gd name="connsiteX3" fmla="*/ 0 w 164705"/>
                  <a:gd name="connsiteY3" fmla="*/ 143616 h 143616"/>
                  <a:gd name="connsiteX4" fmla="*/ 88811 w 164705"/>
                  <a:gd name="connsiteY4" fmla="*/ 29851 h 143616"/>
                  <a:gd name="connsiteX5" fmla="*/ 106950 w 164705"/>
                  <a:gd name="connsiteY5" fmla="*/ 15939 h 143616"/>
                  <a:gd name="connsiteX6" fmla="*/ 141579 w 164705"/>
                  <a:gd name="connsiteY6" fmla="*/ 1587 h 143616"/>
                  <a:gd name="connsiteX7" fmla="*/ 146175 w 164705"/>
                  <a:gd name="connsiteY7" fmla="*/ 1579 h 143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705" h="143616">
                    <a:moveTo>
                      <a:pt x="146175" y="0"/>
                    </a:moveTo>
                    <a:lnTo>
                      <a:pt x="164705" y="0"/>
                    </a:lnTo>
                    <a:lnTo>
                      <a:pt x="164705" y="143616"/>
                    </a:lnTo>
                    <a:lnTo>
                      <a:pt x="0" y="143616"/>
                    </a:lnTo>
                    <a:lnTo>
                      <a:pt x="88811" y="29851"/>
                    </a:lnTo>
                    <a:lnTo>
                      <a:pt x="106950" y="15939"/>
                    </a:lnTo>
                    <a:cubicBezTo>
                      <a:pt x="118772" y="8761"/>
                      <a:pt x="130360" y="3798"/>
                      <a:pt x="141579" y="1587"/>
                    </a:cubicBezTo>
                    <a:lnTo>
                      <a:pt x="146175" y="1579"/>
                    </a:lnTo>
                    <a:close/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47" name="Ellipse 446">
                <a:extLst>
                  <a:ext uri="{FF2B5EF4-FFF2-40B4-BE49-F238E27FC236}">
                    <a16:creationId xmlns:a16="http://schemas.microsoft.com/office/drawing/2014/main" xmlns="" id="{4D4B5703-024F-48F5-9F6C-666EB5C0B15B}"/>
                  </a:ext>
                </a:extLst>
              </p:cNvPr>
              <p:cNvSpPr/>
              <p:nvPr/>
            </p:nvSpPr>
            <p:spPr>
              <a:xfrm>
                <a:off x="1467716" y="2434772"/>
                <a:ext cx="136697" cy="136697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48" name="Ellipse 447">
                <a:extLst>
                  <a:ext uri="{FF2B5EF4-FFF2-40B4-BE49-F238E27FC236}">
                    <a16:creationId xmlns:a16="http://schemas.microsoft.com/office/drawing/2014/main" xmlns="" id="{E5048445-E053-47DA-AD9B-A7F3F4024B71}"/>
                  </a:ext>
                </a:extLst>
              </p:cNvPr>
              <p:cNvSpPr/>
              <p:nvPr/>
            </p:nvSpPr>
            <p:spPr>
              <a:xfrm>
                <a:off x="1945031" y="2434772"/>
                <a:ext cx="136697" cy="136697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49" name="Ellipse 448">
                <a:extLst>
                  <a:ext uri="{FF2B5EF4-FFF2-40B4-BE49-F238E27FC236}">
                    <a16:creationId xmlns:a16="http://schemas.microsoft.com/office/drawing/2014/main" xmlns="" id="{625BF423-356B-442E-B06B-4BC9D1F89B88}"/>
                  </a:ext>
                </a:extLst>
              </p:cNvPr>
              <p:cNvSpPr/>
              <p:nvPr/>
            </p:nvSpPr>
            <p:spPr>
              <a:xfrm>
                <a:off x="2716178" y="2434772"/>
                <a:ext cx="136697" cy="136697"/>
              </a:xfrm>
              <a:prstGeom prst="ellipse">
                <a:avLst/>
              </a:pr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8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450" name="Gruppieren 619">
              <a:extLst>
                <a:ext uri="{FF2B5EF4-FFF2-40B4-BE49-F238E27FC236}">
                  <a16:creationId xmlns:a16="http://schemas.microsoft.com/office/drawing/2014/main" xmlns="" id="{22644EFE-9C78-4F2A-93B4-45E8122D7B6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523056" y="2396324"/>
              <a:ext cx="319912" cy="139200"/>
              <a:chOff x="5076621" y="1541383"/>
              <a:chExt cx="2538994" cy="1097951"/>
            </a:xfrm>
            <a:solidFill>
              <a:srgbClr val="F2F4F6"/>
            </a:solidFill>
          </p:grpSpPr>
          <p:sp>
            <p:nvSpPr>
              <p:cNvPr id="451" name="Freihandform: Form 620">
                <a:extLst>
                  <a:ext uri="{FF2B5EF4-FFF2-40B4-BE49-F238E27FC236}">
                    <a16:creationId xmlns:a16="http://schemas.microsoft.com/office/drawing/2014/main" xmlns="" id="{EE107902-3888-4708-81E8-AB19F0DB6EE4}"/>
                  </a:ext>
                </a:extLst>
              </p:cNvPr>
              <p:cNvSpPr/>
              <p:nvPr/>
            </p:nvSpPr>
            <p:spPr>
              <a:xfrm>
                <a:off x="5076621" y="1545984"/>
                <a:ext cx="2538994" cy="903690"/>
              </a:xfrm>
              <a:custGeom>
                <a:avLst/>
                <a:gdLst>
                  <a:gd name="connsiteX0" fmla="*/ 491341 w 6574345"/>
                  <a:gd name="connsiteY0" fmla="*/ 0 h 2339969"/>
                  <a:gd name="connsiteX1" fmla="*/ 5270535 w 6574345"/>
                  <a:gd name="connsiteY1" fmla="*/ 0 h 2339969"/>
                  <a:gd name="connsiteX2" fmla="*/ 6574345 w 6574345"/>
                  <a:gd name="connsiteY2" fmla="*/ 1124790 h 2339969"/>
                  <a:gd name="connsiteX3" fmla="*/ 6574345 w 6574345"/>
                  <a:gd name="connsiteY3" fmla="*/ 2339969 h 2339969"/>
                  <a:gd name="connsiteX4" fmla="*/ 6008420 w 6574345"/>
                  <a:gd name="connsiteY4" fmla="*/ 2339969 h 2339969"/>
                  <a:gd name="connsiteX5" fmla="*/ 6011287 w 6574345"/>
                  <a:gd name="connsiteY5" fmla="*/ 2311528 h 2339969"/>
                  <a:gd name="connsiteX6" fmla="*/ 5491746 w 6574345"/>
                  <a:gd name="connsiteY6" fmla="*/ 1791987 h 2339969"/>
                  <a:gd name="connsiteX7" fmla="*/ 4972205 w 6574345"/>
                  <a:gd name="connsiteY7" fmla="*/ 2311528 h 2339969"/>
                  <a:gd name="connsiteX8" fmla="*/ 4975072 w 6574345"/>
                  <a:gd name="connsiteY8" fmla="*/ 2339969 h 2339969"/>
                  <a:gd name="connsiteX9" fmla="*/ 2057927 w 6574345"/>
                  <a:gd name="connsiteY9" fmla="*/ 2339969 h 2339969"/>
                  <a:gd name="connsiteX10" fmla="*/ 2060794 w 6574345"/>
                  <a:gd name="connsiteY10" fmla="*/ 2311528 h 2339969"/>
                  <a:gd name="connsiteX11" fmla="*/ 1541253 w 6574345"/>
                  <a:gd name="connsiteY11" fmla="*/ 1791987 h 2339969"/>
                  <a:gd name="connsiteX12" fmla="*/ 1021712 w 6574345"/>
                  <a:gd name="connsiteY12" fmla="*/ 2311528 h 2339969"/>
                  <a:gd name="connsiteX13" fmla="*/ 1024579 w 6574345"/>
                  <a:gd name="connsiteY13" fmla="*/ 2339969 h 2339969"/>
                  <a:gd name="connsiteX14" fmla="*/ 0 w 6574345"/>
                  <a:gd name="connsiteY14" fmla="*/ 2339969 h 2339969"/>
                  <a:gd name="connsiteX15" fmla="*/ 0 w 6574345"/>
                  <a:gd name="connsiteY15" fmla="*/ 491341 h 2339969"/>
                  <a:gd name="connsiteX16" fmla="*/ 491341 w 6574345"/>
                  <a:gd name="connsiteY16" fmla="*/ 0 h 2339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574345" h="2339969">
                    <a:moveTo>
                      <a:pt x="491341" y="0"/>
                    </a:moveTo>
                    <a:lnTo>
                      <a:pt x="5270535" y="0"/>
                    </a:lnTo>
                    <a:cubicBezTo>
                      <a:pt x="6048038" y="3455"/>
                      <a:pt x="6239755" y="564122"/>
                      <a:pt x="6574345" y="1124790"/>
                    </a:cubicBezTo>
                    <a:lnTo>
                      <a:pt x="6574345" y="2339969"/>
                    </a:lnTo>
                    <a:lnTo>
                      <a:pt x="6008420" y="2339969"/>
                    </a:lnTo>
                    <a:lnTo>
                      <a:pt x="6011287" y="2311528"/>
                    </a:lnTo>
                    <a:cubicBezTo>
                      <a:pt x="6011287" y="2024593"/>
                      <a:pt x="5778681" y="1791987"/>
                      <a:pt x="5491746" y="1791987"/>
                    </a:cubicBezTo>
                    <a:cubicBezTo>
                      <a:pt x="5204811" y="1791987"/>
                      <a:pt x="4972205" y="2024593"/>
                      <a:pt x="4972205" y="2311528"/>
                    </a:cubicBezTo>
                    <a:lnTo>
                      <a:pt x="4975072" y="2339969"/>
                    </a:lnTo>
                    <a:lnTo>
                      <a:pt x="2057927" y="2339969"/>
                    </a:lnTo>
                    <a:lnTo>
                      <a:pt x="2060794" y="2311528"/>
                    </a:lnTo>
                    <a:cubicBezTo>
                      <a:pt x="2060794" y="2024593"/>
                      <a:pt x="1828188" y="1791987"/>
                      <a:pt x="1541253" y="1791987"/>
                    </a:cubicBezTo>
                    <a:cubicBezTo>
                      <a:pt x="1254318" y="1791987"/>
                      <a:pt x="1021712" y="2024593"/>
                      <a:pt x="1021712" y="2311528"/>
                    </a:cubicBezTo>
                    <a:lnTo>
                      <a:pt x="1024579" y="2339969"/>
                    </a:lnTo>
                    <a:lnTo>
                      <a:pt x="0" y="2339969"/>
                    </a:lnTo>
                    <a:lnTo>
                      <a:pt x="0" y="491341"/>
                    </a:lnTo>
                    <a:cubicBezTo>
                      <a:pt x="0" y="219981"/>
                      <a:pt x="219981" y="0"/>
                      <a:pt x="491341" y="0"/>
                    </a:cubicBezTo>
                    <a:close/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452" name="Freihandform: Form 621">
                <a:extLst>
                  <a:ext uri="{FF2B5EF4-FFF2-40B4-BE49-F238E27FC236}">
                    <a16:creationId xmlns:a16="http://schemas.microsoft.com/office/drawing/2014/main" xmlns="" id="{FEC5544A-4913-413C-BCF3-7121D9D0E536}"/>
                  </a:ext>
                </a:extLst>
              </p:cNvPr>
              <p:cNvSpPr/>
              <p:nvPr/>
            </p:nvSpPr>
            <p:spPr>
              <a:xfrm>
                <a:off x="7056479" y="1541383"/>
                <a:ext cx="515914" cy="369692"/>
              </a:xfrm>
              <a:custGeom>
                <a:avLst/>
                <a:gdLst>
                  <a:gd name="connsiteX0" fmla="*/ 0 w 1335881"/>
                  <a:gd name="connsiteY0" fmla="*/ 0 h 957262"/>
                  <a:gd name="connsiteX1" fmla="*/ 0 w 1335881"/>
                  <a:gd name="connsiteY1" fmla="*/ 957262 h 957262"/>
                  <a:gd name="connsiteX2" fmla="*/ 1335881 w 1335881"/>
                  <a:gd name="connsiteY2" fmla="*/ 957262 h 957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35881" h="957262">
                    <a:moveTo>
                      <a:pt x="0" y="0"/>
                    </a:moveTo>
                    <a:lnTo>
                      <a:pt x="0" y="957262"/>
                    </a:lnTo>
                    <a:lnTo>
                      <a:pt x="1335881" y="957262"/>
                    </a:ln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453" name="Freihandform: Form 622">
                <a:extLst>
                  <a:ext uri="{FF2B5EF4-FFF2-40B4-BE49-F238E27FC236}">
                    <a16:creationId xmlns:a16="http://schemas.microsoft.com/office/drawing/2014/main" xmlns="" id="{C967AA40-37B4-40DB-AD96-BF69D62717BC}"/>
                  </a:ext>
                </a:extLst>
              </p:cNvPr>
              <p:cNvSpPr/>
              <p:nvPr/>
            </p:nvSpPr>
            <p:spPr>
              <a:xfrm>
                <a:off x="5470839" y="2449121"/>
                <a:ext cx="400548" cy="190213"/>
              </a:xfrm>
              <a:custGeom>
                <a:avLst/>
                <a:gdLst>
                  <a:gd name="connsiteX0" fmla="*/ 0 w 1033348"/>
                  <a:gd name="connsiteY0" fmla="*/ 0 h 491100"/>
                  <a:gd name="connsiteX1" fmla="*/ 1033348 w 1033348"/>
                  <a:gd name="connsiteY1" fmla="*/ 0 h 491100"/>
                  <a:gd name="connsiteX2" fmla="*/ 1025660 w 1033348"/>
                  <a:gd name="connsiteY2" fmla="*/ 76265 h 491100"/>
                  <a:gd name="connsiteX3" fmla="*/ 516674 w 1033348"/>
                  <a:gd name="connsiteY3" fmla="*/ 491100 h 491100"/>
                  <a:gd name="connsiteX4" fmla="*/ 7688 w 1033348"/>
                  <a:gd name="connsiteY4" fmla="*/ 76265 h 491100"/>
                  <a:gd name="connsiteX0" fmla="*/ 1025716 w 1025716"/>
                  <a:gd name="connsiteY0" fmla="*/ 0 h 491100"/>
                  <a:gd name="connsiteX1" fmla="*/ 1018028 w 1025716"/>
                  <a:gd name="connsiteY1" fmla="*/ 76265 h 491100"/>
                  <a:gd name="connsiteX2" fmla="*/ 509042 w 1025716"/>
                  <a:gd name="connsiteY2" fmla="*/ 491100 h 491100"/>
                  <a:gd name="connsiteX3" fmla="*/ 56 w 1025716"/>
                  <a:gd name="connsiteY3" fmla="*/ 76265 h 491100"/>
                  <a:gd name="connsiteX4" fmla="*/ 83808 w 1025716"/>
                  <a:gd name="connsiteY4" fmla="*/ 91440 h 491100"/>
                  <a:gd name="connsiteX0" fmla="*/ 1037158 w 1037158"/>
                  <a:gd name="connsiteY0" fmla="*/ 1429 h 492529"/>
                  <a:gd name="connsiteX1" fmla="*/ 1029470 w 1037158"/>
                  <a:gd name="connsiteY1" fmla="*/ 77694 h 492529"/>
                  <a:gd name="connsiteX2" fmla="*/ 520484 w 1037158"/>
                  <a:gd name="connsiteY2" fmla="*/ 492529 h 492529"/>
                  <a:gd name="connsiteX3" fmla="*/ 11498 w 1037158"/>
                  <a:gd name="connsiteY3" fmla="*/ 77694 h 492529"/>
                  <a:gd name="connsiteX4" fmla="*/ 0 w 1037158"/>
                  <a:gd name="connsiteY4" fmla="*/ 0 h 492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7158" h="492529">
                    <a:moveTo>
                      <a:pt x="1037158" y="1429"/>
                    </a:moveTo>
                    <a:lnTo>
                      <a:pt x="1029470" y="77694"/>
                    </a:lnTo>
                    <a:cubicBezTo>
                      <a:pt x="981025" y="314440"/>
                      <a:pt x="771552" y="492529"/>
                      <a:pt x="520484" y="492529"/>
                    </a:cubicBezTo>
                    <a:cubicBezTo>
                      <a:pt x="269416" y="492529"/>
                      <a:pt x="59944" y="314440"/>
                      <a:pt x="11498" y="77694"/>
                    </a:cubicBezTo>
                    <a:cubicBezTo>
                      <a:pt x="8935" y="52272"/>
                      <a:pt x="0" y="0"/>
                      <a:pt x="0" y="0"/>
                    </a:cubicBez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  <p:sp>
            <p:nvSpPr>
              <p:cNvPr id="454" name="Freihandform: Form 623">
                <a:extLst>
                  <a:ext uri="{FF2B5EF4-FFF2-40B4-BE49-F238E27FC236}">
                    <a16:creationId xmlns:a16="http://schemas.microsoft.com/office/drawing/2014/main" xmlns="" id="{DDEF6444-CDB2-4923-9B84-E67CA0F521CD}"/>
                  </a:ext>
                </a:extLst>
              </p:cNvPr>
              <p:cNvSpPr/>
              <p:nvPr/>
            </p:nvSpPr>
            <p:spPr>
              <a:xfrm>
                <a:off x="6996887" y="2449121"/>
                <a:ext cx="400548" cy="190213"/>
              </a:xfrm>
              <a:custGeom>
                <a:avLst/>
                <a:gdLst>
                  <a:gd name="connsiteX0" fmla="*/ 0 w 1033348"/>
                  <a:gd name="connsiteY0" fmla="*/ 0 h 491100"/>
                  <a:gd name="connsiteX1" fmla="*/ 1033348 w 1033348"/>
                  <a:gd name="connsiteY1" fmla="*/ 0 h 491100"/>
                  <a:gd name="connsiteX2" fmla="*/ 1025660 w 1033348"/>
                  <a:gd name="connsiteY2" fmla="*/ 76265 h 491100"/>
                  <a:gd name="connsiteX3" fmla="*/ 516674 w 1033348"/>
                  <a:gd name="connsiteY3" fmla="*/ 491100 h 491100"/>
                  <a:gd name="connsiteX4" fmla="*/ 7688 w 1033348"/>
                  <a:gd name="connsiteY4" fmla="*/ 76265 h 491100"/>
                  <a:gd name="connsiteX0" fmla="*/ 1025716 w 1025716"/>
                  <a:gd name="connsiteY0" fmla="*/ 0 h 491100"/>
                  <a:gd name="connsiteX1" fmla="*/ 1018028 w 1025716"/>
                  <a:gd name="connsiteY1" fmla="*/ 76265 h 491100"/>
                  <a:gd name="connsiteX2" fmla="*/ 509042 w 1025716"/>
                  <a:gd name="connsiteY2" fmla="*/ 491100 h 491100"/>
                  <a:gd name="connsiteX3" fmla="*/ 56 w 1025716"/>
                  <a:gd name="connsiteY3" fmla="*/ 76265 h 491100"/>
                  <a:gd name="connsiteX4" fmla="*/ 83808 w 1025716"/>
                  <a:gd name="connsiteY4" fmla="*/ 91440 h 491100"/>
                  <a:gd name="connsiteX0" fmla="*/ 1037158 w 1037158"/>
                  <a:gd name="connsiteY0" fmla="*/ 1429 h 492529"/>
                  <a:gd name="connsiteX1" fmla="*/ 1029470 w 1037158"/>
                  <a:gd name="connsiteY1" fmla="*/ 77694 h 492529"/>
                  <a:gd name="connsiteX2" fmla="*/ 520484 w 1037158"/>
                  <a:gd name="connsiteY2" fmla="*/ 492529 h 492529"/>
                  <a:gd name="connsiteX3" fmla="*/ 11498 w 1037158"/>
                  <a:gd name="connsiteY3" fmla="*/ 77694 h 492529"/>
                  <a:gd name="connsiteX4" fmla="*/ 0 w 1037158"/>
                  <a:gd name="connsiteY4" fmla="*/ 0 h 492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7158" h="492529">
                    <a:moveTo>
                      <a:pt x="1037158" y="1429"/>
                    </a:moveTo>
                    <a:lnTo>
                      <a:pt x="1029470" y="77694"/>
                    </a:lnTo>
                    <a:cubicBezTo>
                      <a:pt x="981025" y="314440"/>
                      <a:pt x="771552" y="492529"/>
                      <a:pt x="520484" y="492529"/>
                    </a:cubicBezTo>
                    <a:cubicBezTo>
                      <a:pt x="269416" y="492529"/>
                      <a:pt x="59944" y="314440"/>
                      <a:pt x="11498" y="77694"/>
                    </a:cubicBezTo>
                    <a:cubicBezTo>
                      <a:pt x="8935" y="52272"/>
                      <a:pt x="0" y="0"/>
                      <a:pt x="0" y="0"/>
                    </a:cubicBezTo>
                  </a:path>
                </a:pathLst>
              </a:custGeom>
              <a:grpFill/>
              <a:ln w="635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1551" tIns="71551" rIns="71551" bIns="7155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1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1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endParaRPr>
              </a:p>
            </p:txBody>
          </p:sp>
        </p:grpSp>
        <p:pic>
          <p:nvPicPr>
            <p:cNvPr id="455" name="Grafik 454">
              <a:extLst>
                <a:ext uri="{FF2B5EF4-FFF2-40B4-BE49-F238E27FC236}">
                  <a16:creationId xmlns:a16="http://schemas.microsoft.com/office/drawing/2014/main" xmlns="" id="{A1657E66-9690-462E-A462-819FA34810E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820904" y="2333889"/>
              <a:ext cx="323097" cy="100808"/>
            </a:xfrm>
            <a:prstGeom prst="rect">
              <a:avLst/>
            </a:prstGeom>
            <a:ln w="6350">
              <a:noFill/>
            </a:ln>
          </p:spPr>
        </p:pic>
        <p:grpSp>
          <p:nvGrpSpPr>
            <p:cNvPr id="456" name="Gruppieren 455">
              <a:extLst>
                <a:ext uri="{FF2B5EF4-FFF2-40B4-BE49-F238E27FC236}">
                  <a16:creationId xmlns:a16="http://schemas.microsoft.com/office/drawing/2014/main" xmlns="" id="{F5DD7517-AA4C-4232-98D6-7B3F76A307A1}"/>
                </a:ext>
              </a:extLst>
            </p:cNvPr>
            <p:cNvGrpSpPr/>
            <p:nvPr/>
          </p:nvGrpSpPr>
          <p:grpSpPr>
            <a:xfrm>
              <a:off x="4215458" y="2183798"/>
              <a:ext cx="195989" cy="117795"/>
              <a:chOff x="809016" y="3769972"/>
              <a:chExt cx="408422" cy="243960"/>
            </a:xfrm>
          </p:grpSpPr>
          <p:sp>
            <p:nvSpPr>
              <p:cNvPr id="457" name="Freeform 10">
                <a:extLst>
                  <a:ext uri="{FF2B5EF4-FFF2-40B4-BE49-F238E27FC236}">
                    <a16:creationId xmlns:a16="http://schemas.microsoft.com/office/drawing/2014/main" xmlns="" id="{D2106B6D-A452-4EBB-A53F-15CFC60BEE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9016" y="3769972"/>
                <a:ext cx="173958" cy="175001"/>
              </a:xfrm>
              <a:custGeom>
                <a:avLst/>
                <a:gdLst>
                  <a:gd name="T0" fmla="*/ 68 w 68"/>
                  <a:gd name="T1" fmla="*/ 68 h 68"/>
                  <a:gd name="T2" fmla="*/ 48 w 68"/>
                  <a:gd name="T3" fmla="*/ 37 h 68"/>
                  <a:gd name="T4" fmla="*/ 56 w 68"/>
                  <a:gd name="T5" fmla="*/ 21 h 68"/>
                  <a:gd name="T6" fmla="*/ 34 w 68"/>
                  <a:gd name="T7" fmla="*/ 0 h 68"/>
                  <a:gd name="T8" fmla="*/ 13 w 68"/>
                  <a:gd name="T9" fmla="*/ 21 h 68"/>
                  <a:gd name="T10" fmla="*/ 20 w 68"/>
                  <a:gd name="T11" fmla="*/ 37 h 68"/>
                  <a:gd name="T12" fmla="*/ 0 w 68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68">
                    <a:moveTo>
                      <a:pt x="68" y="68"/>
                    </a:moveTo>
                    <a:cubicBezTo>
                      <a:pt x="68" y="54"/>
                      <a:pt x="60" y="43"/>
                      <a:pt x="48" y="37"/>
                    </a:cubicBezTo>
                    <a:cubicBezTo>
                      <a:pt x="53" y="33"/>
                      <a:pt x="56" y="28"/>
                      <a:pt x="56" y="21"/>
                    </a:cubicBezTo>
                    <a:cubicBezTo>
                      <a:pt x="56" y="10"/>
                      <a:pt x="46" y="0"/>
                      <a:pt x="34" y="0"/>
                    </a:cubicBezTo>
                    <a:cubicBezTo>
                      <a:pt x="22" y="0"/>
                      <a:pt x="13" y="10"/>
                      <a:pt x="13" y="21"/>
                    </a:cubicBezTo>
                    <a:cubicBezTo>
                      <a:pt x="13" y="28"/>
                      <a:pt x="16" y="33"/>
                      <a:pt x="20" y="37"/>
                    </a:cubicBezTo>
                    <a:cubicBezTo>
                      <a:pt x="8" y="43"/>
                      <a:pt x="0" y="54"/>
                      <a:pt x="0" y="68"/>
                    </a:cubicBezTo>
                  </a:path>
                </a:pathLst>
              </a:custGeom>
              <a:noFill/>
              <a:ln w="6350" cap="flat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33" tIns="45716" rIns="91433" bIns="4571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7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grpSp>
            <p:nvGrpSpPr>
              <p:cNvPr id="458" name="Gruppieren 457">
                <a:extLst>
                  <a:ext uri="{FF2B5EF4-FFF2-40B4-BE49-F238E27FC236}">
                    <a16:creationId xmlns:a16="http://schemas.microsoft.com/office/drawing/2014/main" xmlns="" id="{36D0DF99-48AD-4047-AE18-65491E7AE06C}"/>
                  </a:ext>
                </a:extLst>
              </p:cNvPr>
              <p:cNvGrpSpPr/>
              <p:nvPr/>
            </p:nvGrpSpPr>
            <p:grpSpPr>
              <a:xfrm>
                <a:off x="994851" y="3791871"/>
                <a:ext cx="222587" cy="222061"/>
                <a:chOff x="4188184" y="882454"/>
                <a:chExt cx="2291200" cy="2285790"/>
              </a:xfrm>
            </p:grpSpPr>
            <p:sp>
              <p:nvSpPr>
                <p:cNvPr id="459" name="Ellipse 458">
                  <a:extLst>
                    <a:ext uri="{FF2B5EF4-FFF2-40B4-BE49-F238E27FC236}">
                      <a16:creationId xmlns:a16="http://schemas.microsoft.com/office/drawing/2014/main" xmlns="" id="{B09372AE-2A61-41D0-A17E-95FA8D34BC7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515209" y="1137246"/>
                  <a:ext cx="454610" cy="454612"/>
                </a:xfrm>
                <a:prstGeom prst="ellipse">
                  <a:avLst/>
                </a:prstGeom>
                <a:ln w="6350">
                  <a:solidFill>
                    <a:schemeClr val="bg2"/>
                  </a:solidFill>
                  <a:prstDash val="solid"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68577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460" name="Freihandform: Form 459">
                  <a:extLst>
                    <a:ext uri="{FF2B5EF4-FFF2-40B4-BE49-F238E27FC236}">
                      <a16:creationId xmlns:a16="http://schemas.microsoft.com/office/drawing/2014/main" xmlns="" id="{1F969DB2-AD0A-467D-AD36-B1BB936F85A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188184" y="882454"/>
                  <a:ext cx="1738313" cy="2285790"/>
                </a:xfrm>
                <a:custGeom>
                  <a:avLst/>
                  <a:gdLst>
                    <a:gd name="connsiteX0" fmla="*/ 554330 w 1738313"/>
                    <a:gd name="connsiteY0" fmla="*/ 0 h 2285790"/>
                    <a:gd name="connsiteX1" fmla="*/ 998541 w 1738313"/>
                    <a:gd name="connsiteY1" fmla="*/ 294444 h 2285790"/>
                    <a:gd name="connsiteX2" fmla="*/ 1013947 w 1738313"/>
                    <a:gd name="connsiteY2" fmla="*/ 344077 h 2285790"/>
                    <a:gd name="connsiteX3" fmla="*/ 1738313 w 1738313"/>
                    <a:gd name="connsiteY3" fmla="*/ 344077 h 2285790"/>
                    <a:gd name="connsiteX4" fmla="*/ 1738313 w 1738313"/>
                    <a:gd name="connsiteY4" fmla="*/ 578434 h 2285790"/>
                    <a:gd name="connsiteX5" fmla="*/ 1025590 w 1738313"/>
                    <a:gd name="connsiteY5" fmla="*/ 578434 h 2285790"/>
                    <a:gd name="connsiteX6" fmla="*/ 1014752 w 1738313"/>
                    <a:gd name="connsiteY6" fmla="*/ 625459 h 2285790"/>
                    <a:gd name="connsiteX7" fmla="*/ 954092 w 1738313"/>
                    <a:gd name="connsiteY7" fmla="*/ 751643 h 2285790"/>
                    <a:gd name="connsiteX8" fmla="*/ 906889 w 1738313"/>
                    <a:gd name="connsiteY8" fmla="*/ 808853 h 2285790"/>
                    <a:gd name="connsiteX9" fmla="*/ 1133984 w 1738313"/>
                    <a:gd name="connsiteY9" fmla="*/ 1792508 h 2285790"/>
                    <a:gd name="connsiteX10" fmla="*/ 1738313 w 1738313"/>
                    <a:gd name="connsiteY10" fmla="*/ 1792508 h 2285790"/>
                    <a:gd name="connsiteX11" fmla="*/ 1738313 w 1738313"/>
                    <a:gd name="connsiteY11" fmla="*/ 2285790 h 2285790"/>
                    <a:gd name="connsiteX12" fmla="*/ 0 w 1738313"/>
                    <a:gd name="connsiteY12" fmla="*/ 2285790 h 2285790"/>
                    <a:gd name="connsiteX13" fmla="*/ 0 w 1738313"/>
                    <a:gd name="connsiteY13" fmla="*/ 1792508 h 2285790"/>
                    <a:gd name="connsiteX14" fmla="*/ 627727 w 1738313"/>
                    <a:gd name="connsiteY14" fmla="*/ 1792508 h 2285790"/>
                    <a:gd name="connsiteX15" fmla="*/ 432464 w 1738313"/>
                    <a:gd name="connsiteY15" fmla="*/ 946732 h 2285790"/>
                    <a:gd name="connsiteX16" fmla="*/ 366677 w 1738313"/>
                    <a:gd name="connsiteY16" fmla="*/ 926310 h 2285790"/>
                    <a:gd name="connsiteX17" fmla="*/ 72234 w 1738313"/>
                    <a:gd name="connsiteY17" fmla="*/ 482098 h 2285790"/>
                    <a:gd name="connsiteX18" fmla="*/ 554330 w 1738313"/>
                    <a:gd name="connsiteY18" fmla="*/ 0 h 2285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738313" h="2285790">
                      <a:moveTo>
                        <a:pt x="554330" y="0"/>
                      </a:moveTo>
                      <a:cubicBezTo>
                        <a:pt x="754021" y="0"/>
                        <a:pt x="925354" y="121412"/>
                        <a:pt x="998541" y="294444"/>
                      </a:cubicBezTo>
                      <a:lnTo>
                        <a:pt x="1013947" y="344077"/>
                      </a:lnTo>
                      <a:lnTo>
                        <a:pt x="1738313" y="344077"/>
                      </a:lnTo>
                      <a:lnTo>
                        <a:pt x="1738313" y="578434"/>
                      </a:lnTo>
                      <a:lnTo>
                        <a:pt x="1025590" y="578434"/>
                      </a:lnTo>
                      <a:lnTo>
                        <a:pt x="1014752" y="625459"/>
                      </a:lnTo>
                      <a:cubicBezTo>
                        <a:pt x="1000666" y="670747"/>
                        <a:pt x="980083" y="713172"/>
                        <a:pt x="954092" y="751643"/>
                      </a:cubicBezTo>
                      <a:lnTo>
                        <a:pt x="906889" y="808853"/>
                      </a:lnTo>
                      <a:lnTo>
                        <a:pt x="1133984" y="1792508"/>
                      </a:lnTo>
                      <a:lnTo>
                        <a:pt x="1738313" y="1792508"/>
                      </a:lnTo>
                      <a:lnTo>
                        <a:pt x="1738313" y="2285790"/>
                      </a:lnTo>
                      <a:lnTo>
                        <a:pt x="0" y="2285790"/>
                      </a:lnTo>
                      <a:lnTo>
                        <a:pt x="0" y="1792508"/>
                      </a:lnTo>
                      <a:lnTo>
                        <a:pt x="627727" y="1792508"/>
                      </a:lnTo>
                      <a:lnTo>
                        <a:pt x="432464" y="946732"/>
                      </a:lnTo>
                      <a:lnTo>
                        <a:pt x="366677" y="926310"/>
                      </a:lnTo>
                      <a:cubicBezTo>
                        <a:pt x="193645" y="853124"/>
                        <a:pt x="72234" y="681789"/>
                        <a:pt x="72234" y="482098"/>
                      </a:cubicBezTo>
                      <a:cubicBezTo>
                        <a:pt x="72234" y="215843"/>
                        <a:pt x="288076" y="0"/>
                        <a:pt x="554330" y="0"/>
                      </a:cubicBezTo>
                      <a:close/>
                    </a:path>
                  </a:pathLst>
                </a:custGeom>
                <a:ln w="6350">
                  <a:solidFill>
                    <a:schemeClr val="bg2"/>
                  </a:solidFill>
                  <a:prstDash val="solid"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68577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461" name="Freihandform: Form 460">
                  <a:extLst>
                    <a:ext uri="{FF2B5EF4-FFF2-40B4-BE49-F238E27FC236}">
                      <a16:creationId xmlns:a16="http://schemas.microsoft.com/office/drawing/2014/main" xmlns="" id="{6B78B804-2763-4655-B9B1-5C6D9B1342A0}"/>
                    </a:ext>
                  </a:extLst>
                </p:cNvPr>
                <p:cNvSpPr/>
                <p:nvPr/>
              </p:nvSpPr>
              <p:spPr>
                <a:xfrm>
                  <a:off x="5924552" y="990600"/>
                  <a:ext cx="554832" cy="254794"/>
                </a:xfrm>
                <a:custGeom>
                  <a:avLst/>
                  <a:gdLst>
                    <a:gd name="connsiteX0" fmla="*/ 554832 w 554832"/>
                    <a:gd name="connsiteY0" fmla="*/ 254794 h 709613"/>
                    <a:gd name="connsiteX1" fmla="*/ 247650 w 554832"/>
                    <a:gd name="connsiteY1" fmla="*/ 0 h 709613"/>
                    <a:gd name="connsiteX2" fmla="*/ 0 w 554832"/>
                    <a:gd name="connsiteY2" fmla="*/ 238125 h 709613"/>
                    <a:gd name="connsiteX3" fmla="*/ 0 w 554832"/>
                    <a:gd name="connsiteY3" fmla="*/ 471488 h 709613"/>
                    <a:gd name="connsiteX4" fmla="*/ 252413 w 554832"/>
                    <a:gd name="connsiteY4" fmla="*/ 709613 h 709613"/>
                    <a:gd name="connsiteX5" fmla="*/ 540544 w 554832"/>
                    <a:gd name="connsiteY5" fmla="*/ 419100 h 709613"/>
                    <a:gd name="connsiteX0" fmla="*/ 554832 w 554832"/>
                    <a:gd name="connsiteY0" fmla="*/ 254794 h 709613"/>
                    <a:gd name="connsiteX1" fmla="*/ 247650 w 554832"/>
                    <a:gd name="connsiteY1" fmla="*/ 0 h 709613"/>
                    <a:gd name="connsiteX2" fmla="*/ 0 w 554832"/>
                    <a:gd name="connsiteY2" fmla="*/ 238125 h 709613"/>
                    <a:gd name="connsiteX3" fmla="*/ 0 w 554832"/>
                    <a:gd name="connsiteY3" fmla="*/ 471488 h 709613"/>
                    <a:gd name="connsiteX4" fmla="*/ 252413 w 554832"/>
                    <a:gd name="connsiteY4" fmla="*/ 709613 h 709613"/>
                    <a:gd name="connsiteX0" fmla="*/ 554832 w 554832"/>
                    <a:gd name="connsiteY0" fmla="*/ 254794 h 471488"/>
                    <a:gd name="connsiteX1" fmla="*/ 247650 w 554832"/>
                    <a:gd name="connsiteY1" fmla="*/ 0 h 471488"/>
                    <a:gd name="connsiteX2" fmla="*/ 0 w 554832"/>
                    <a:gd name="connsiteY2" fmla="*/ 238125 h 471488"/>
                    <a:gd name="connsiteX3" fmla="*/ 0 w 554832"/>
                    <a:gd name="connsiteY3" fmla="*/ 471488 h 471488"/>
                    <a:gd name="connsiteX0" fmla="*/ 554832 w 554832"/>
                    <a:gd name="connsiteY0" fmla="*/ 254794 h 254794"/>
                    <a:gd name="connsiteX1" fmla="*/ 247650 w 554832"/>
                    <a:gd name="connsiteY1" fmla="*/ 0 h 254794"/>
                    <a:gd name="connsiteX2" fmla="*/ 0 w 554832"/>
                    <a:gd name="connsiteY2" fmla="*/ 238125 h 254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54832" h="254794">
                      <a:moveTo>
                        <a:pt x="554832" y="254794"/>
                      </a:moveTo>
                      <a:lnTo>
                        <a:pt x="247650" y="0"/>
                      </a:lnTo>
                      <a:lnTo>
                        <a:pt x="0" y="238125"/>
                      </a:lnTo>
                    </a:path>
                  </a:pathLst>
                </a:custGeom>
                <a:ln w="6350">
                  <a:solidFill>
                    <a:schemeClr val="bg2"/>
                  </a:solidFill>
                  <a:prstDash val="solid"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68577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8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462" name="Freihandform: Form 461">
                  <a:extLst>
                    <a:ext uri="{FF2B5EF4-FFF2-40B4-BE49-F238E27FC236}">
                      <a16:creationId xmlns:a16="http://schemas.microsoft.com/office/drawing/2014/main" xmlns="" id="{BE0D584C-639C-4CD8-937C-54498604D1B5}"/>
                    </a:ext>
                  </a:extLst>
                </p:cNvPr>
                <p:cNvSpPr/>
                <p:nvPr/>
              </p:nvSpPr>
              <p:spPr>
                <a:xfrm flipV="1">
                  <a:off x="5924552" y="1443035"/>
                  <a:ext cx="554832" cy="254794"/>
                </a:xfrm>
                <a:custGeom>
                  <a:avLst/>
                  <a:gdLst>
                    <a:gd name="connsiteX0" fmla="*/ 554832 w 554832"/>
                    <a:gd name="connsiteY0" fmla="*/ 254794 h 709613"/>
                    <a:gd name="connsiteX1" fmla="*/ 247650 w 554832"/>
                    <a:gd name="connsiteY1" fmla="*/ 0 h 709613"/>
                    <a:gd name="connsiteX2" fmla="*/ 0 w 554832"/>
                    <a:gd name="connsiteY2" fmla="*/ 238125 h 709613"/>
                    <a:gd name="connsiteX3" fmla="*/ 0 w 554832"/>
                    <a:gd name="connsiteY3" fmla="*/ 471488 h 709613"/>
                    <a:gd name="connsiteX4" fmla="*/ 252413 w 554832"/>
                    <a:gd name="connsiteY4" fmla="*/ 709613 h 709613"/>
                    <a:gd name="connsiteX5" fmla="*/ 540544 w 554832"/>
                    <a:gd name="connsiteY5" fmla="*/ 419100 h 709613"/>
                    <a:gd name="connsiteX0" fmla="*/ 554832 w 554832"/>
                    <a:gd name="connsiteY0" fmla="*/ 254794 h 709613"/>
                    <a:gd name="connsiteX1" fmla="*/ 247650 w 554832"/>
                    <a:gd name="connsiteY1" fmla="*/ 0 h 709613"/>
                    <a:gd name="connsiteX2" fmla="*/ 0 w 554832"/>
                    <a:gd name="connsiteY2" fmla="*/ 238125 h 709613"/>
                    <a:gd name="connsiteX3" fmla="*/ 0 w 554832"/>
                    <a:gd name="connsiteY3" fmla="*/ 471488 h 709613"/>
                    <a:gd name="connsiteX4" fmla="*/ 252413 w 554832"/>
                    <a:gd name="connsiteY4" fmla="*/ 709613 h 709613"/>
                    <a:gd name="connsiteX0" fmla="*/ 554832 w 554832"/>
                    <a:gd name="connsiteY0" fmla="*/ 254794 h 471488"/>
                    <a:gd name="connsiteX1" fmla="*/ 247650 w 554832"/>
                    <a:gd name="connsiteY1" fmla="*/ 0 h 471488"/>
                    <a:gd name="connsiteX2" fmla="*/ 0 w 554832"/>
                    <a:gd name="connsiteY2" fmla="*/ 238125 h 471488"/>
                    <a:gd name="connsiteX3" fmla="*/ 0 w 554832"/>
                    <a:gd name="connsiteY3" fmla="*/ 471488 h 471488"/>
                    <a:gd name="connsiteX0" fmla="*/ 554832 w 554832"/>
                    <a:gd name="connsiteY0" fmla="*/ 254794 h 254794"/>
                    <a:gd name="connsiteX1" fmla="*/ 247650 w 554832"/>
                    <a:gd name="connsiteY1" fmla="*/ 0 h 254794"/>
                    <a:gd name="connsiteX2" fmla="*/ 0 w 554832"/>
                    <a:gd name="connsiteY2" fmla="*/ 238125 h 254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54832" h="254794">
                      <a:moveTo>
                        <a:pt x="554832" y="254794"/>
                      </a:moveTo>
                      <a:lnTo>
                        <a:pt x="247650" y="0"/>
                      </a:lnTo>
                      <a:lnTo>
                        <a:pt x="0" y="238125"/>
                      </a:lnTo>
                    </a:path>
                  </a:pathLst>
                </a:custGeom>
                <a:ln w="6350">
                  <a:solidFill>
                    <a:schemeClr val="bg2"/>
                  </a:solidFill>
                  <a:prstDash val="solid"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71994" tIns="71994" rIns="71994" bIns="7199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68577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8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463" name="Group 198">
              <a:extLst>
                <a:ext uri="{FF2B5EF4-FFF2-40B4-BE49-F238E27FC236}">
                  <a16:creationId xmlns:a16="http://schemas.microsoft.com/office/drawing/2014/main" xmlns="" id="{986809DA-FA2F-4767-9E5A-8A383DA2EB19}"/>
                </a:ext>
              </a:extLst>
            </p:cNvPr>
            <p:cNvGrpSpPr/>
            <p:nvPr/>
          </p:nvGrpSpPr>
          <p:grpSpPr>
            <a:xfrm>
              <a:off x="1958431" y="2169405"/>
              <a:ext cx="69239" cy="142897"/>
              <a:chOff x="3822636" y="751953"/>
              <a:chExt cx="763005" cy="1564975"/>
            </a:xfrm>
            <a:solidFill>
              <a:srgbClr val="F2F4F6"/>
            </a:solidFill>
          </p:grpSpPr>
          <p:sp>
            <p:nvSpPr>
              <p:cNvPr id="464" name="Freeform 75">
                <a:extLst>
                  <a:ext uri="{FF2B5EF4-FFF2-40B4-BE49-F238E27FC236}">
                    <a16:creationId xmlns:a16="http://schemas.microsoft.com/office/drawing/2014/main" xmlns="" id="{BE5D50A6-A76C-4758-9DC0-4008C7ADA4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2636" y="751953"/>
                <a:ext cx="763005" cy="1564975"/>
              </a:xfrm>
              <a:custGeom>
                <a:avLst/>
                <a:gdLst>
                  <a:gd name="T0" fmla="*/ 816 w 1035"/>
                  <a:gd name="T1" fmla="*/ 409 h 2124"/>
                  <a:gd name="T2" fmla="*/ 816 w 1035"/>
                  <a:gd name="T3" fmla="*/ 409 h 2124"/>
                  <a:gd name="T4" fmla="*/ 734 w 1035"/>
                  <a:gd name="T5" fmla="*/ 409 h 2124"/>
                  <a:gd name="T6" fmla="*/ 707 w 1035"/>
                  <a:gd name="T7" fmla="*/ 409 h 2124"/>
                  <a:gd name="T8" fmla="*/ 816 w 1035"/>
                  <a:gd name="T9" fmla="*/ 204 h 2124"/>
                  <a:gd name="T10" fmla="*/ 599 w 1035"/>
                  <a:gd name="T11" fmla="*/ 14 h 2124"/>
                  <a:gd name="T12" fmla="*/ 408 w 1035"/>
                  <a:gd name="T13" fmla="*/ 232 h 2124"/>
                  <a:gd name="T14" fmla="*/ 517 w 1035"/>
                  <a:gd name="T15" fmla="*/ 409 h 2124"/>
                  <a:gd name="T16" fmla="*/ 503 w 1035"/>
                  <a:gd name="T17" fmla="*/ 409 h 2124"/>
                  <a:gd name="T18" fmla="*/ 408 w 1035"/>
                  <a:gd name="T19" fmla="*/ 409 h 2124"/>
                  <a:gd name="T20" fmla="*/ 163 w 1035"/>
                  <a:gd name="T21" fmla="*/ 599 h 2124"/>
                  <a:gd name="T22" fmla="*/ 81 w 1035"/>
                  <a:gd name="T23" fmla="*/ 844 h 2124"/>
                  <a:gd name="T24" fmla="*/ 381 w 1035"/>
                  <a:gd name="T25" fmla="*/ 1089 h 2124"/>
                  <a:gd name="T26" fmla="*/ 381 w 1035"/>
                  <a:gd name="T27" fmla="*/ 2015 h 2124"/>
                  <a:gd name="T28" fmla="*/ 503 w 1035"/>
                  <a:gd name="T29" fmla="*/ 2123 h 2124"/>
                  <a:gd name="T30" fmla="*/ 503 w 1035"/>
                  <a:gd name="T31" fmla="*/ 2123 h 2124"/>
                  <a:gd name="T32" fmla="*/ 626 w 1035"/>
                  <a:gd name="T33" fmla="*/ 2001 h 2124"/>
                  <a:gd name="T34" fmla="*/ 748 w 1035"/>
                  <a:gd name="T35" fmla="*/ 2123 h 2124"/>
                  <a:gd name="T36" fmla="*/ 871 w 1035"/>
                  <a:gd name="T37" fmla="*/ 2015 h 2124"/>
                  <a:gd name="T38" fmla="*/ 871 w 1035"/>
                  <a:gd name="T39" fmla="*/ 1293 h 2124"/>
                  <a:gd name="T40" fmla="*/ 1034 w 1035"/>
                  <a:gd name="T41" fmla="*/ 1035 h 2124"/>
                  <a:gd name="T42" fmla="*/ 1034 w 1035"/>
                  <a:gd name="T43" fmla="*/ 653 h 2124"/>
                  <a:gd name="T44" fmla="*/ 816 w 1035"/>
                  <a:gd name="T45" fmla="*/ 409 h 2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35" h="2124">
                    <a:moveTo>
                      <a:pt x="816" y="409"/>
                    </a:moveTo>
                    <a:lnTo>
                      <a:pt x="816" y="409"/>
                    </a:lnTo>
                    <a:cubicBezTo>
                      <a:pt x="734" y="409"/>
                      <a:pt x="734" y="409"/>
                      <a:pt x="734" y="409"/>
                    </a:cubicBezTo>
                    <a:cubicBezTo>
                      <a:pt x="707" y="409"/>
                      <a:pt x="707" y="409"/>
                      <a:pt x="707" y="409"/>
                    </a:cubicBezTo>
                    <a:cubicBezTo>
                      <a:pt x="775" y="354"/>
                      <a:pt x="830" y="300"/>
                      <a:pt x="816" y="204"/>
                    </a:cubicBezTo>
                    <a:cubicBezTo>
                      <a:pt x="816" y="96"/>
                      <a:pt x="721" y="0"/>
                      <a:pt x="599" y="14"/>
                    </a:cubicBezTo>
                    <a:cubicBezTo>
                      <a:pt x="490" y="14"/>
                      <a:pt x="408" y="123"/>
                      <a:pt x="408" y="232"/>
                    </a:cubicBezTo>
                    <a:cubicBezTo>
                      <a:pt x="408" y="313"/>
                      <a:pt x="462" y="354"/>
                      <a:pt x="517" y="409"/>
                    </a:cubicBezTo>
                    <a:cubicBezTo>
                      <a:pt x="503" y="409"/>
                      <a:pt x="503" y="409"/>
                      <a:pt x="503" y="409"/>
                    </a:cubicBezTo>
                    <a:cubicBezTo>
                      <a:pt x="408" y="409"/>
                      <a:pt x="408" y="409"/>
                      <a:pt x="408" y="409"/>
                    </a:cubicBezTo>
                    <a:cubicBezTo>
                      <a:pt x="326" y="409"/>
                      <a:pt x="204" y="450"/>
                      <a:pt x="163" y="599"/>
                    </a:cubicBezTo>
                    <a:cubicBezTo>
                      <a:pt x="81" y="844"/>
                      <a:pt x="81" y="844"/>
                      <a:pt x="81" y="844"/>
                    </a:cubicBezTo>
                    <a:cubicBezTo>
                      <a:pt x="0" y="1035"/>
                      <a:pt x="258" y="1076"/>
                      <a:pt x="381" y="1089"/>
                    </a:cubicBezTo>
                    <a:cubicBezTo>
                      <a:pt x="381" y="2015"/>
                      <a:pt x="381" y="2015"/>
                      <a:pt x="381" y="2015"/>
                    </a:cubicBezTo>
                    <a:cubicBezTo>
                      <a:pt x="381" y="2083"/>
                      <a:pt x="435" y="2123"/>
                      <a:pt x="503" y="2123"/>
                    </a:cubicBezTo>
                    <a:lnTo>
                      <a:pt x="503" y="2123"/>
                    </a:lnTo>
                    <a:cubicBezTo>
                      <a:pt x="571" y="2123"/>
                      <a:pt x="626" y="2069"/>
                      <a:pt x="626" y="2001"/>
                    </a:cubicBezTo>
                    <a:cubicBezTo>
                      <a:pt x="626" y="2069"/>
                      <a:pt x="680" y="2123"/>
                      <a:pt x="748" y="2123"/>
                    </a:cubicBezTo>
                    <a:cubicBezTo>
                      <a:pt x="816" y="2123"/>
                      <a:pt x="871" y="2083"/>
                      <a:pt x="871" y="2015"/>
                    </a:cubicBezTo>
                    <a:cubicBezTo>
                      <a:pt x="871" y="1293"/>
                      <a:pt x="871" y="1293"/>
                      <a:pt x="871" y="1293"/>
                    </a:cubicBezTo>
                    <a:cubicBezTo>
                      <a:pt x="1007" y="1280"/>
                      <a:pt x="1034" y="1171"/>
                      <a:pt x="1034" y="1035"/>
                    </a:cubicBezTo>
                    <a:cubicBezTo>
                      <a:pt x="1034" y="653"/>
                      <a:pt x="1034" y="653"/>
                      <a:pt x="1034" y="653"/>
                    </a:cubicBezTo>
                    <a:cubicBezTo>
                      <a:pt x="1034" y="518"/>
                      <a:pt x="966" y="409"/>
                      <a:pt x="816" y="409"/>
                    </a:cubicBez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65" name="Freeform 26">
                <a:extLst>
                  <a:ext uri="{FF2B5EF4-FFF2-40B4-BE49-F238E27FC236}">
                    <a16:creationId xmlns:a16="http://schemas.microsoft.com/office/drawing/2014/main" xmlns="" id="{7D7B88A0-0BAC-44D7-B9E0-B072462A9F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2775" y="1323394"/>
                <a:ext cx="142860" cy="250009"/>
              </a:xfrm>
              <a:custGeom>
                <a:avLst/>
                <a:gdLst>
                  <a:gd name="T0" fmla="*/ 0 w 192"/>
                  <a:gd name="T1" fmla="*/ 123 h 341"/>
                  <a:gd name="T2" fmla="*/ 0 w 192"/>
                  <a:gd name="T3" fmla="*/ 123 h 341"/>
                  <a:gd name="T4" fmla="*/ 0 w 192"/>
                  <a:gd name="T5" fmla="*/ 27 h 341"/>
                  <a:gd name="T6" fmla="*/ 41 w 192"/>
                  <a:gd name="T7" fmla="*/ 0 h 341"/>
                  <a:gd name="T8" fmla="*/ 163 w 192"/>
                  <a:gd name="T9" fmla="*/ 0 h 341"/>
                  <a:gd name="T10" fmla="*/ 191 w 192"/>
                  <a:gd name="T11" fmla="*/ 27 h 341"/>
                  <a:gd name="T12" fmla="*/ 191 w 192"/>
                  <a:gd name="T13" fmla="*/ 313 h 341"/>
                  <a:gd name="T14" fmla="*/ 163 w 192"/>
                  <a:gd name="T15" fmla="*/ 340 h 341"/>
                  <a:gd name="T16" fmla="*/ 41 w 192"/>
                  <a:gd name="T17" fmla="*/ 340 h 341"/>
                  <a:gd name="T18" fmla="*/ 14 w 192"/>
                  <a:gd name="T19" fmla="*/ 313 h 341"/>
                  <a:gd name="T20" fmla="*/ 0 w 192"/>
                  <a:gd name="T21" fmla="*/ 123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2" h="341">
                    <a:moveTo>
                      <a:pt x="0" y="123"/>
                    </a:moveTo>
                    <a:lnTo>
                      <a:pt x="0" y="123"/>
                    </a:lnTo>
                    <a:cubicBezTo>
                      <a:pt x="0" y="27"/>
                      <a:pt x="0" y="27"/>
                      <a:pt x="0" y="27"/>
                    </a:cubicBezTo>
                    <a:cubicBezTo>
                      <a:pt x="0" y="14"/>
                      <a:pt x="14" y="0"/>
                      <a:pt x="41" y="0"/>
                    </a:cubicBezTo>
                    <a:cubicBezTo>
                      <a:pt x="163" y="0"/>
                      <a:pt x="163" y="0"/>
                      <a:pt x="163" y="0"/>
                    </a:cubicBezTo>
                    <a:cubicBezTo>
                      <a:pt x="177" y="0"/>
                      <a:pt x="191" y="14"/>
                      <a:pt x="191" y="27"/>
                    </a:cubicBezTo>
                    <a:cubicBezTo>
                      <a:pt x="191" y="313"/>
                      <a:pt x="191" y="313"/>
                      <a:pt x="191" y="313"/>
                    </a:cubicBezTo>
                    <a:cubicBezTo>
                      <a:pt x="191" y="327"/>
                      <a:pt x="177" y="340"/>
                      <a:pt x="163" y="340"/>
                    </a:cubicBezTo>
                    <a:cubicBezTo>
                      <a:pt x="41" y="340"/>
                      <a:pt x="41" y="340"/>
                      <a:pt x="41" y="340"/>
                    </a:cubicBezTo>
                    <a:cubicBezTo>
                      <a:pt x="28" y="340"/>
                      <a:pt x="14" y="327"/>
                      <a:pt x="14" y="313"/>
                    </a:cubicBezTo>
                    <a:lnTo>
                      <a:pt x="0" y="123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bevel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66" name="Freeform 27">
                <a:extLst>
                  <a:ext uri="{FF2B5EF4-FFF2-40B4-BE49-F238E27FC236}">
                    <a16:creationId xmlns:a16="http://schemas.microsoft.com/office/drawing/2014/main" xmlns="" id="{A78BC28B-2927-4627-8A23-FC9E03AF73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2775" y="1323394"/>
                <a:ext cx="142860" cy="250009"/>
              </a:xfrm>
              <a:custGeom>
                <a:avLst/>
                <a:gdLst>
                  <a:gd name="T0" fmla="*/ 0 w 192"/>
                  <a:gd name="T1" fmla="*/ 123 h 341"/>
                  <a:gd name="T2" fmla="*/ 0 w 192"/>
                  <a:gd name="T3" fmla="*/ 123 h 341"/>
                  <a:gd name="T4" fmla="*/ 0 w 192"/>
                  <a:gd name="T5" fmla="*/ 27 h 341"/>
                  <a:gd name="T6" fmla="*/ 41 w 192"/>
                  <a:gd name="T7" fmla="*/ 0 h 341"/>
                  <a:gd name="T8" fmla="*/ 163 w 192"/>
                  <a:gd name="T9" fmla="*/ 0 h 341"/>
                  <a:gd name="T10" fmla="*/ 191 w 192"/>
                  <a:gd name="T11" fmla="*/ 27 h 341"/>
                  <a:gd name="T12" fmla="*/ 191 w 192"/>
                  <a:gd name="T13" fmla="*/ 313 h 341"/>
                  <a:gd name="T14" fmla="*/ 163 w 192"/>
                  <a:gd name="T15" fmla="*/ 340 h 341"/>
                  <a:gd name="T16" fmla="*/ 41 w 192"/>
                  <a:gd name="T17" fmla="*/ 340 h 341"/>
                  <a:gd name="T18" fmla="*/ 14 w 192"/>
                  <a:gd name="T19" fmla="*/ 313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2" h="341">
                    <a:moveTo>
                      <a:pt x="0" y="123"/>
                    </a:moveTo>
                    <a:lnTo>
                      <a:pt x="0" y="123"/>
                    </a:lnTo>
                    <a:cubicBezTo>
                      <a:pt x="0" y="27"/>
                      <a:pt x="0" y="27"/>
                      <a:pt x="0" y="27"/>
                    </a:cubicBezTo>
                    <a:cubicBezTo>
                      <a:pt x="0" y="14"/>
                      <a:pt x="14" y="0"/>
                      <a:pt x="41" y="0"/>
                    </a:cubicBezTo>
                    <a:cubicBezTo>
                      <a:pt x="163" y="0"/>
                      <a:pt x="163" y="0"/>
                      <a:pt x="163" y="0"/>
                    </a:cubicBezTo>
                    <a:cubicBezTo>
                      <a:pt x="177" y="0"/>
                      <a:pt x="191" y="14"/>
                      <a:pt x="191" y="27"/>
                    </a:cubicBezTo>
                    <a:cubicBezTo>
                      <a:pt x="191" y="313"/>
                      <a:pt x="191" y="313"/>
                      <a:pt x="191" y="313"/>
                    </a:cubicBezTo>
                    <a:cubicBezTo>
                      <a:pt x="191" y="327"/>
                      <a:pt x="177" y="340"/>
                      <a:pt x="163" y="340"/>
                    </a:cubicBezTo>
                    <a:cubicBezTo>
                      <a:pt x="41" y="340"/>
                      <a:pt x="41" y="340"/>
                      <a:pt x="41" y="340"/>
                    </a:cubicBezTo>
                    <a:cubicBezTo>
                      <a:pt x="28" y="340"/>
                      <a:pt x="14" y="327"/>
                      <a:pt x="14" y="313"/>
                    </a:cubicBez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67" name="Line 28">
                <a:extLst>
                  <a:ext uri="{FF2B5EF4-FFF2-40B4-BE49-F238E27FC236}">
                    <a16:creationId xmlns:a16="http://schemas.microsoft.com/office/drawing/2014/main" xmlns="" id="{879616E0-C0C5-4E39-ACD2-13DCA37199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83686" y="1680549"/>
                <a:ext cx="3246" cy="558457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68" name="Line 30">
                <a:extLst>
                  <a:ext uri="{FF2B5EF4-FFF2-40B4-BE49-F238E27FC236}">
                    <a16:creationId xmlns:a16="http://schemas.microsoft.com/office/drawing/2014/main" xmlns="" id="{2C3D3738-2B3F-4601-BB27-3C211EF174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465965" y="1204491"/>
                <a:ext cx="3246" cy="496769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69" name="Freeform 31">
                <a:extLst>
                  <a:ext uri="{FF2B5EF4-FFF2-40B4-BE49-F238E27FC236}">
                    <a16:creationId xmlns:a16="http://schemas.microsoft.com/office/drawing/2014/main" xmlns="" id="{5D0989CE-596A-4D8F-80B1-095C73B36A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15502" y="1342875"/>
                <a:ext cx="29223" cy="32469"/>
              </a:xfrm>
              <a:prstGeom prst="ellipse">
                <a:avLst/>
              </a:prstGeom>
              <a:grpFill/>
              <a:ln w="6350" cap="flat">
                <a:solidFill>
                  <a:schemeClr val="bg2"/>
                </a:solidFill>
                <a:bevel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70" name="Freeform 29">
                <a:extLst>
                  <a:ext uri="{FF2B5EF4-FFF2-40B4-BE49-F238E27FC236}">
                    <a16:creationId xmlns:a16="http://schemas.microsoft.com/office/drawing/2014/main" xmlns="" id="{F5486965-C81B-4D2A-AACA-BE4EC80194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94715" y="1213003"/>
                <a:ext cx="301959" cy="360401"/>
              </a:xfrm>
              <a:custGeom>
                <a:avLst/>
                <a:gdLst>
                  <a:gd name="T0" fmla="*/ 150 w 409"/>
                  <a:gd name="T1" fmla="*/ 273 h 491"/>
                  <a:gd name="T2" fmla="*/ 150 w 409"/>
                  <a:gd name="T3" fmla="*/ 273 h 491"/>
                  <a:gd name="T4" fmla="*/ 150 w 409"/>
                  <a:gd name="T5" fmla="*/ 0 h 491"/>
                  <a:gd name="T6" fmla="*/ 82 w 409"/>
                  <a:gd name="T7" fmla="*/ 55 h 491"/>
                  <a:gd name="T8" fmla="*/ 27 w 409"/>
                  <a:gd name="T9" fmla="*/ 177 h 491"/>
                  <a:gd name="T10" fmla="*/ 54 w 409"/>
                  <a:gd name="T11" fmla="*/ 259 h 491"/>
                  <a:gd name="T12" fmla="*/ 286 w 409"/>
                  <a:gd name="T13" fmla="*/ 273 h 491"/>
                  <a:gd name="T14" fmla="*/ 381 w 409"/>
                  <a:gd name="T15" fmla="*/ 341 h 491"/>
                  <a:gd name="T16" fmla="*/ 150 w 409"/>
                  <a:gd name="T17" fmla="*/ 463 h 4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9" h="491">
                    <a:moveTo>
                      <a:pt x="150" y="273"/>
                    </a:moveTo>
                    <a:lnTo>
                      <a:pt x="150" y="273"/>
                    </a:lnTo>
                    <a:cubicBezTo>
                      <a:pt x="150" y="0"/>
                      <a:pt x="150" y="0"/>
                      <a:pt x="150" y="0"/>
                    </a:cubicBezTo>
                    <a:cubicBezTo>
                      <a:pt x="136" y="0"/>
                      <a:pt x="122" y="0"/>
                      <a:pt x="82" y="55"/>
                    </a:cubicBezTo>
                    <a:cubicBezTo>
                      <a:pt x="68" y="82"/>
                      <a:pt x="41" y="150"/>
                      <a:pt x="27" y="177"/>
                    </a:cubicBezTo>
                    <a:cubicBezTo>
                      <a:pt x="0" y="245"/>
                      <a:pt x="27" y="259"/>
                      <a:pt x="54" y="259"/>
                    </a:cubicBezTo>
                    <a:cubicBezTo>
                      <a:pt x="150" y="286"/>
                      <a:pt x="231" y="273"/>
                      <a:pt x="286" y="273"/>
                    </a:cubicBezTo>
                    <a:cubicBezTo>
                      <a:pt x="354" y="273"/>
                      <a:pt x="381" y="314"/>
                      <a:pt x="381" y="341"/>
                    </a:cubicBezTo>
                    <a:cubicBezTo>
                      <a:pt x="381" y="368"/>
                      <a:pt x="408" y="490"/>
                      <a:pt x="150" y="463"/>
                    </a:cubicBez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round/>
                <a:headEnd/>
                <a:tailEnd/>
              </a:ln>
              <a:effectLst/>
              <a:extLst/>
            </p:spPr>
            <p:txBody>
              <a:bodyPr/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471" name="Group 198">
              <a:extLst>
                <a:ext uri="{FF2B5EF4-FFF2-40B4-BE49-F238E27FC236}">
                  <a16:creationId xmlns:a16="http://schemas.microsoft.com/office/drawing/2014/main" xmlns="" id="{7CC998D3-5788-47A9-A48E-D6BECE5D706E}"/>
                </a:ext>
              </a:extLst>
            </p:cNvPr>
            <p:cNvGrpSpPr/>
            <p:nvPr/>
          </p:nvGrpSpPr>
          <p:grpSpPr>
            <a:xfrm flipH="1">
              <a:off x="767254" y="2169405"/>
              <a:ext cx="69239" cy="142897"/>
              <a:chOff x="3822636" y="751953"/>
              <a:chExt cx="763005" cy="1564975"/>
            </a:xfrm>
            <a:solidFill>
              <a:srgbClr val="F2F4F6"/>
            </a:solidFill>
          </p:grpSpPr>
          <p:sp>
            <p:nvSpPr>
              <p:cNvPr id="472" name="Freeform 75">
                <a:extLst>
                  <a:ext uri="{FF2B5EF4-FFF2-40B4-BE49-F238E27FC236}">
                    <a16:creationId xmlns:a16="http://schemas.microsoft.com/office/drawing/2014/main" xmlns="" id="{A1C4BF5A-A57D-498C-B873-025E4EC772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2636" y="751953"/>
                <a:ext cx="763005" cy="1564975"/>
              </a:xfrm>
              <a:custGeom>
                <a:avLst/>
                <a:gdLst>
                  <a:gd name="T0" fmla="*/ 816 w 1035"/>
                  <a:gd name="T1" fmla="*/ 409 h 2124"/>
                  <a:gd name="T2" fmla="*/ 816 w 1035"/>
                  <a:gd name="T3" fmla="*/ 409 h 2124"/>
                  <a:gd name="T4" fmla="*/ 734 w 1035"/>
                  <a:gd name="T5" fmla="*/ 409 h 2124"/>
                  <a:gd name="T6" fmla="*/ 707 w 1035"/>
                  <a:gd name="T7" fmla="*/ 409 h 2124"/>
                  <a:gd name="T8" fmla="*/ 816 w 1035"/>
                  <a:gd name="T9" fmla="*/ 204 h 2124"/>
                  <a:gd name="T10" fmla="*/ 599 w 1035"/>
                  <a:gd name="T11" fmla="*/ 14 h 2124"/>
                  <a:gd name="T12" fmla="*/ 408 w 1035"/>
                  <a:gd name="T13" fmla="*/ 232 h 2124"/>
                  <a:gd name="T14" fmla="*/ 517 w 1035"/>
                  <a:gd name="T15" fmla="*/ 409 h 2124"/>
                  <a:gd name="T16" fmla="*/ 503 w 1035"/>
                  <a:gd name="T17" fmla="*/ 409 h 2124"/>
                  <a:gd name="T18" fmla="*/ 408 w 1035"/>
                  <a:gd name="T19" fmla="*/ 409 h 2124"/>
                  <a:gd name="T20" fmla="*/ 163 w 1035"/>
                  <a:gd name="T21" fmla="*/ 599 h 2124"/>
                  <a:gd name="T22" fmla="*/ 81 w 1035"/>
                  <a:gd name="T23" fmla="*/ 844 h 2124"/>
                  <a:gd name="T24" fmla="*/ 381 w 1035"/>
                  <a:gd name="T25" fmla="*/ 1089 h 2124"/>
                  <a:gd name="T26" fmla="*/ 381 w 1035"/>
                  <a:gd name="T27" fmla="*/ 2015 h 2124"/>
                  <a:gd name="T28" fmla="*/ 503 w 1035"/>
                  <a:gd name="T29" fmla="*/ 2123 h 2124"/>
                  <a:gd name="T30" fmla="*/ 503 w 1035"/>
                  <a:gd name="T31" fmla="*/ 2123 h 2124"/>
                  <a:gd name="T32" fmla="*/ 626 w 1035"/>
                  <a:gd name="T33" fmla="*/ 2001 h 2124"/>
                  <a:gd name="T34" fmla="*/ 748 w 1035"/>
                  <a:gd name="T35" fmla="*/ 2123 h 2124"/>
                  <a:gd name="T36" fmla="*/ 871 w 1035"/>
                  <a:gd name="T37" fmla="*/ 2015 h 2124"/>
                  <a:gd name="T38" fmla="*/ 871 w 1035"/>
                  <a:gd name="T39" fmla="*/ 1293 h 2124"/>
                  <a:gd name="T40" fmla="*/ 1034 w 1035"/>
                  <a:gd name="T41" fmla="*/ 1035 h 2124"/>
                  <a:gd name="T42" fmla="*/ 1034 w 1035"/>
                  <a:gd name="T43" fmla="*/ 653 h 2124"/>
                  <a:gd name="T44" fmla="*/ 816 w 1035"/>
                  <a:gd name="T45" fmla="*/ 409 h 2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35" h="2124">
                    <a:moveTo>
                      <a:pt x="816" y="409"/>
                    </a:moveTo>
                    <a:lnTo>
                      <a:pt x="816" y="409"/>
                    </a:lnTo>
                    <a:cubicBezTo>
                      <a:pt x="734" y="409"/>
                      <a:pt x="734" y="409"/>
                      <a:pt x="734" y="409"/>
                    </a:cubicBezTo>
                    <a:cubicBezTo>
                      <a:pt x="707" y="409"/>
                      <a:pt x="707" y="409"/>
                      <a:pt x="707" y="409"/>
                    </a:cubicBezTo>
                    <a:cubicBezTo>
                      <a:pt x="775" y="354"/>
                      <a:pt x="830" y="300"/>
                      <a:pt x="816" y="204"/>
                    </a:cubicBezTo>
                    <a:cubicBezTo>
                      <a:pt x="816" y="96"/>
                      <a:pt x="721" y="0"/>
                      <a:pt x="599" y="14"/>
                    </a:cubicBezTo>
                    <a:cubicBezTo>
                      <a:pt x="490" y="14"/>
                      <a:pt x="408" y="123"/>
                      <a:pt x="408" y="232"/>
                    </a:cubicBezTo>
                    <a:cubicBezTo>
                      <a:pt x="408" y="313"/>
                      <a:pt x="462" y="354"/>
                      <a:pt x="517" y="409"/>
                    </a:cubicBezTo>
                    <a:cubicBezTo>
                      <a:pt x="503" y="409"/>
                      <a:pt x="503" y="409"/>
                      <a:pt x="503" y="409"/>
                    </a:cubicBezTo>
                    <a:cubicBezTo>
                      <a:pt x="408" y="409"/>
                      <a:pt x="408" y="409"/>
                      <a:pt x="408" y="409"/>
                    </a:cubicBezTo>
                    <a:cubicBezTo>
                      <a:pt x="326" y="409"/>
                      <a:pt x="204" y="450"/>
                      <a:pt x="163" y="599"/>
                    </a:cubicBezTo>
                    <a:cubicBezTo>
                      <a:pt x="81" y="844"/>
                      <a:pt x="81" y="844"/>
                      <a:pt x="81" y="844"/>
                    </a:cubicBezTo>
                    <a:cubicBezTo>
                      <a:pt x="0" y="1035"/>
                      <a:pt x="258" y="1076"/>
                      <a:pt x="381" y="1089"/>
                    </a:cubicBezTo>
                    <a:cubicBezTo>
                      <a:pt x="381" y="2015"/>
                      <a:pt x="381" y="2015"/>
                      <a:pt x="381" y="2015"/>
                    </a:cubicBezTo>
                    <a:cubicBezTo>
                      <a:pt x="381" y="2083"/>
                      <a:pt x="435" y="2123"/>
                      <a:pt x="503" y="2123"/>
                    </a:cubicBezTo>
                    <a:lnTo>
                      <a:pt x="503" y="2123"/>
                    </a:lnTo>
                    <a:cubicBezTo>
                      <a:pt x="571" y="2123"/>
                      <a:pt x="626" y="2069"/>
                      <a:pt x="626" y="2001"/>
                    </a:cubicBezTo>
                    <a:cubicBezTo>
                      <a:pt x="626" y="2069"/>
                      <a:pt x="680" y="2123"/>
                      <a:pt x="748" y="2123"/>
                    </a:cubicBezTo>
                    <a:cubicBezTo>
                      <a:pt x="816" y="2123"/>
                      <a:pt x="871" y="2083"/>
                      <a:pt x="871" y="2015"/>
                    </a:cubicBezTo>
                    <a:cubicBezTo>
                      <a:pt x="871" y="1293"/>
                      <a:pt x="871" y="1293"/>
                      <a:pt x="871" y="1293"/>
                    </a:cubicBezTo>
                    <a:cubicBezTo>
                      <a:pt x="1007" y="1280"/>
                      <a:pt x="1034" y="1171"/>
                      <a:pt x="1034" y="1035"/>
                    </a:cubicBezTo>
                    <a:cubicBezTo>
                      <a:pt x="1034" y="653"/>
                      <a:pt x="1034" y="653"/>
                      <a:pt x="1034" y="653"/>
                    </a:cubicBezTo>
                    <a:cubicBezTo>
                      <a:pt x="1034" y="518"/>
                      <a:pt x="966" y="409"/>
                      <a:pt x="816" y="409"/>
                    </a:cubicBez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73" name="Freeform 26">
                <a:extLst>
                  <a:ext uri="{FF2B5EF4-FFF2-40B4-BE49-F238E27FC236}">
                    <a16:creationId xmlns:a16="http://schemas.microsoft.com/office/drawing/2014/main" xmlns="" id="{2646E8BF-87BF-4EC2-92FF-977392EF7C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2775" y="1323394"/>
                <a:ext cx="142860" cy="250009"/>
              </a:xfrm>
              <a:custGeom>
                <a:avLst/>
                <a:gdLst>
                  <a:gd name="T0" fmla="*/ 0 w 192"/>
                  <a:gd name="T1" fmla="*/ 123 h 341"/>
                  <a:gd name="T2" fmla="*/ 0 w 192"/>
                  <a:gd name="T3" fmla="*/ 123 h 341"/>
                  <a:gd name="T4" fmla="*/ 0 w 192"/>
                  <a:gd name="T5" fmla="*/ 27 h 341"/>
                  <a:gd name="T6" fmla="*/ 41 w 192"/>
                  <a:gd name="T7" fmla="*/ 0 h 341"/>
                  <a:gd name="T8" fmla="*/ 163 w 192"/>
                  <a:gd name="T9" fmla="*/ 0 h 341"/>
                  <a:gd name="T10" fmla="*/ 191 w 192"/>
                  <a:gd name="T11" fmla="*/ 27 h 341"/>
                  <a:gd name="T12" fmla="*/ 191 w 192"/>
                  <a:gd name="T13" fmla="*/ 313 h 341"/>
                  <a:gd name="T14" fmla="*/ 163 w 192"/>
                  <a:gd name="T15" fmla="*/ 340 h 341"/>
                  <a:gd name="T16" fmla="*/ 41 w 192"/>
                  <a:gd name="T17" fmla="*/ 340 h 341"/>
                  <a:gd name="T18" fmla="*/ 14 w 192"/>
                  <a:gd name="T19" fmla="*/ 313 h 341"/>
                  <a:gd name="T20" fmla="*/ 0 w 192"/>
                  <a:gd name="T21" fmla="*/ 123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2" h="341">
                    <a:moveTo>
                      <a:pt x="0" y="123"/>
                    </a:moveTo>
                    <a:lnTo>
                      <a:pt x="0" y="123"/>
                    </a:lnTo>
                    <a:cubicBezTo>
                      <a:pt x="0" y="27"/>
                      <a:pt x="0" y="27"/>
                      <a:pt x="0" y="27"/>
                    </a:cubicBezTo>
                    <a:cubicBezTo>
                      <a:pt x="0" y="14"/>
                      <a:pt x="14" y="0"/>
                      <a:pt x="41" y="0"/>
                    </a:cubicBezTo>
                    <a:cubicBezTo>
                      <a:pt x="163" y="0"/>
                      <a:pt x="163" y="0"/>
                      <a:pt x="163" y="0"/>
                    </a:cubicBezTo>
                    <a:cubicBezTo>
                      <a:pt x="177" y="0"/>
                      <a:pt x="191" y="14"/>
                      <a:pt x="191" y="27"/>
                    </a:cubicBezTo>
                    <a:cubicBezTo>
                      <a:pt x="191" y="313"/>
                      <a:pt x="191" y="313"/>
                      <a:pt x="191" y="313"/>
                    </a:cubicBezTo>
                    <a:cubicBezTo>
                      <a:pt x="191" y="327"/>
                      <a:pt x="177" y="340"/>
                      <a:pt x="163" y="340"/>
                    </a:cubicBezTo>
                    <a:cubicBezTo>
                      <a:pt x="41" y="340"/>
                      <a:pt x="41" y="340"/>
                      <a:pt x="41" y="340"/>
                    </a:cubicBezTo>
                    <a:cubicBezTo>
                      <a:pt x="28" y="340"/>
                      <a:pt x="14" y="327"/>
                      <a:pt x="14" y="313"/>
                    </a:cubicBezTo>
                    <a:lnTo>
                      <a:pt x="0" y="123"/>
                    </a:ln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bevel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74" name="Freeform 27">
                <a:extLst>
                  <a:ext uri="{FF2B5EF4-FFF2-40B4-BE49-F238E27FC236}">
                    <a16:creationId xmlns:a16="http://schemas.microsoft.com/office/drawing/2014/main" xmlns="" id="{9C9F4E79-C84C-4E08-9B52-0DFB32ADDF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2775" y="1323394"/>
                <a:ext cx="142860" cy="250009"/>
              </a:xfrm>
              <a:custGeom>
                <a:avLst/>
                <a:gdLst>
                  <a:gd name="T0" fmla="*/ 0 w 192"/>
                  <a:gd name="T1" fmla="*/ 123 h 341"/>
                  <a:gd name="T2" fmla="*/ 0 w 192"/>
                  <a:gd name="T3" fmla="*/ 123 h 341"/>
                  <a:gd name="T4" fmla="*/ 0 w 192"/>
                  <a:gd name="T5" fmla="*/ 27 h 341"/>
                  <a:gd name="T6" fmla="*/ 41 w 192"/>
                  <a:gd name="T7" fmla="*/ 0 h 341"/>
                  <a:gd name="T8" fmla="*/ 163 w 192"/>
                  <a:gd name="T9" fmla="*/ 0 h 341"/>
                  <a:gd name="T10" fmla="*/ 191 w 192"/>
                  <a:gd name="T11" fmla="*/ 27 h 341"/>
                  <a:gd name="T12" fmla="*/ 191 w 192"/>
                  <a:gd name="T13" fmla="*/ 313 h 341"/>
                  <a:gd name="T14" fmla="*/ 163 w 192"/>
                  <a:gd name="T15" fmla="*/ 340 h 341"/>
                  <a:gd name="T16" fmla="*/ 41 w 192"/>
                  <a:gd name="T17" fmla="*/ 340 h 341"/>
                  <a:gd name="T18" fmla="*/ 14 w 192"/>
                  <a:gd name="T19" fmla="*/ 313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2" h="341">
                    <a:moveTo>
                      <a:pt x="0" y="123"/>
                    </a:moveTo>
                    <a:lnTo>
                      <a:pt x="0" y="123"/>
                    </a:lnTo>
                    <a:cubicBezTo>
                      <a:pt x="0" y="27"/>
                      <a:pt x="0" y="27"/>
                      <a:pt x="0" y="27"/>
                    </a:cubicBezTo>
                    <a:cubicBezTo>
                      <a:pt x="0" y="14"/>
                      <a:pt x="14" y="0"/>
                      <a:pt x="41" y="0"/>
                    </a:cubicBezTo>
                    <a:cubicBezTo>
                      <a:pt x="163" y="0"/>
                      <a:pt x="163" y="0"/>
                      <a:pt x="163" y="0"/>
                    </a:cubicBezTo>
                    <a:cubicBezTo>
                      <a:pt x="177" y="0"/>
                      <a:pt x="191" y="14"/>
                      <a:pt x="191" y="27"/>
                    </a:cubicBezTo>
                    <a:cubicBezTo>
                      <a:pt x="191" y="313"/>
                      <a:pt x="191" y="313"/>
                      <a:pt x="191" y="313"/>
                    </a:cubicBezTo>
                    <a:cubicBezTo>
                      <a:pt x="191" y="327"/>
                      <a:pt x="177" y="340"/>
                      <a:pt x="163" y="340"/>
                    </a:cubicBezTo>
                    <a:cubicBezTo>
                      <a:pt x="41" y="340"/>
                      <a:pt x="41" y="340"/>
                      <a:pt x="41" y="340"/>
                    </a:cubicBezTo>
                    <a:cubicBezTo>
                      <a:pt x="28" y="340"/>
                      <a:pt x="14" y="327"/>
                      <a:pt x="14" y="313"/>
                    </a:cubicBez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75" name="Line 28">
                <a:extLst>
                  <a:ext uri="{FF2B5EF4-FFF2-40B4-BE49-F238E27FC236}">
                    <a16:creationId xmlns:a16="http://schemas.microsoft.com/office/drawing/2014/main" xmlns="" id="{A4D752F9-FEF6-4C08-B383-383F7532E6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83686" y="1680549"/>
                <a:ext cx="3246" cy="558457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76" name="Line 30">
                <a:extLst>
                  <a:ext uri="{FF2B5EF4-FFF2-40B4-BE49-F238E27FC236}">
                    <a16:creationId xmlns:a16="http://schemas.microsoft.com/office/drawing/2014/main" xmlns="" id="{02052E0C-5FDE-406B-A673-8CDA1A47CA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465965" y="1204491"/>
                <a:ext cx="3246" cy="496769"/>
              </a:xfrm>
              <a:prstGeom prst="line">
                <a:avLst/>
              </a:prstGeom>
              <a:grpFill/>
              <a:ln w="6350" cap="flat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77" name="Freeform 31">
                <a:extLst>
                  <a:ext uri="{FF2B5EF4-FFF2-40B4-BE49-F238E27FC236}">
                    <a16:creationId xmlns:a16="http://schemas.microsoft.com/office/drawing/2014/main" xmlns="" id="{2B11D610-0D57-4FA6-8B9F-86DC414237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15502" y="1342875"/>
                <a:ext cx="29223" cy="32469"/>
              </a:xfrm>
              <a:prstGeom prst="ellipse">
                <a:avLst/>
              </a:prstGeom>
              <a:grpFill/>
              <a:ln w="6350" cap="flat">
                <a:solidFill>
                  <a:schemeClr val="bg2"/>
                </a:solidFill>
                <a:bevel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78" name="Freeform 29">
                <a:extLst>
                  <a:ext uri="{FF2B5EF4-FFF2-40B4-BE49-F238E27FC236}">
                    <a16:creationId xmlns:a16="http://schemas.microsoft.com/office/drawing/2014/main" xmlns="" id="{A18BB9B2-617D-4006-897F-808ED389AD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94715" y="1213003"/>
                <a:ext cx="301959" cy="360401"/>
              </a:xfrm>
              <a:custGeom>
                <a:avLst/>
                <a:gdLst>
                  <a:gd name="T0" fmla="*/ 150 w 409"/>
                  <a:gd name="T1" fmla="*/ 273 h 491"/>
                  <a:gd name="T2" fmla="*/ 150 w 409"/>
                  <a:gd name="T3" fmla="*/ 273 h 491"/>
                  <a:gd name="T4" fmla="*/ 150 w 409"/>
                  <a:gd name="T5" fmla="*/ 0 h 491"/>
                  <a:gd name="T6" fmla="*/ 82 w 409"/>
                  <a:gd name="T7" fmla="*/ 55 h 491"/>
                  <a:gd name="T8" fmla="*/ 27 w 409"/>
                  <a:gd name="T9" fmla="*/ 177 h 491"/>
                  <a:gd name="T10" fmla="*/ 54 w 409"/>
                  <a:gd name="T11" fmla="*/ 259 h 491"/>
                  <a:gd name="T12" fmla="*/ 286 w 409"/>
                  <a:gd name="T13" fmla="*/ 273 h 491"/>
                  <a:gd name="T14" fmla="*/ 381 w 409"/>
                  <a:gd name="T15" fmla="*/ 341 h 491"/>
                  <a:gd name="T16" fmla="*/ 150 w 409"/>
                  <a:gd name="T17" fmla="*/ 463 h 4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9" h="491">
                    <a:moveTo>
                      <a:pt x="150" y="273"/>
                    </a:moveTo>
                    <a:lnTo>
                      <a:pt x="150" y="273"/>
                    </a:lnTo>
                    <a:cubicBezTo>
                      <a:pt x="150" y="0"/>
                      <a:pt x="150" y="0"/>
                      <a:pt x="150" y="0"/>
                    </a:cubicBezTo>
                    <a:cubicBezTo>
                      <a:pt x="136" y="0"/>
                      <a:pt x="122" y="0"/>
                      <a:pt x="82" y="55"/>
                    </a:cubicBezTo>
                    <a:cubicBezTo>
                      <a:pt x="68" y="82"/>
                      <a:pt x="41" y="150"/>
                      <a:pt x="27" y="177"/>
                    </a:cubicBezTo>
                    <a:cubicBezTo>
                      <a:pt x="0" y="245"/>
                      <a:pt x="27" y="259"/>
                      <a:pt x="54" y="259"/>
                    </a:cubicBezTo>
                    <a:cubicBezTo>
                      <a:pt x="150" y="286"/>
                      <a:pt x="231" y="273"/>
                      <a:pt x="286" y="273"/>
                    </a:cubicBezTo>
                    <a:cubicBezTo>
                      <a:pt x="354" y="273"/>
                      <a:pt x="381" y="314"/>
                      <a:pt x="381" y="341"/>
                    </a:cubicBezTo>
                    <a:cubicBezTo>
                      <a:pt x="381" y="368"/>
                      <a:pt x="408" y="490"/>
                      <a:pt x="150" y="463"/>
                    </a:cubicBezTo>
                  </a:path>
                </a:pathLst>
              </a:custGeom>
              <a:grpFill/>
              <a:ln w="6350" cap="flat">
                <a:solidFill>
                  <a:schemeClr val="bg2"/>
                </a:solidFill>
                <a:round/>
                <a:headEnd/>
                <a:tailEnd/>
              </a:ln>
              <a:effectLst/>
              <a:extLst/>
            </p:spPr>
            <p:txBody>
              <a:bodyPr/>
              <a:lstStyle/>
              <a:p>
                <a:pPr marL="0" marR="0" lvl="0" indent="0" algn="l" defTabSz="9200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11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479" name="Rectangle 478">
            <a:extLst>
              <a:ext uri="{FF2B5EF4-FFF2-40B4-BE49-F238E27FC236}">
                <a16:creationId xmlns:a16="http://schemas.microsoft.com/office/drawing/2014/main" xmlns="" id="{AA9B1408-5057-4D69-8D78-AAF9D0655978}"/>
              </a:ext>
            </a:extLst>
          </p:cNvPr>
          <p:cNvSpPr/>
          <p:nvPr/>
        </p:nvSpPr>
        <p:spPr>
          <a:xfrm>
            <a:off x="5119343" y="4817871"/>
            <a:ext cx="2370214" cy="209109"/>
          </a:xfrm>
          <a:prstGeom prst="rect">
            <a:avLst/>
          </a:prstGeom>
          <a:solidFill>
            <a:schemeClr val="bg1"/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447" tIns="72447" rIns="72447" bIns="724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60035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9" b="0" i="0" u="none" strike="noStrike" kern="1200" cap="none" spc="0" normalizeH="0" baseline="0" noProof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 panose="020B0403020202020204" pitchFamily="34" charset="0"/>
              <a:ea typeface="Nokia Pure Text Light" panose="020B0403020202020204" pitchFamily="34" charset="0"/>
              <a:cs typeface="+mn-cs"/>
            </a:endParaRPr>
          </a:p>
        </p:txBody>
      </p:sp>
      <p:sp>
        <p:nvSpPr>
          <p:cNvPr id="480" name="Titel 1"/>
          <p:cNvSpPr txBox="1">
            <a:spLocks/>
          </p:cNvSpPr>
          <p:nvPr/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31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bg-BG" dirty="0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ъзможностите в различен спектрален диапазон</a:t>
            </a:r>
            <a:endParaRPr lang="de-AT" dirty="0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17924" y="3063922"/>
            <a:ext cx="1272186" cy="355534"/>
          </a:xfrm>
          <a:prstGeom prst="rect">
            <a:avLst/>
          </a:prstGeom>
          <a:solidFill>
            <a:srgbClr val="DA291C"/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45717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bg-BG" sz="1000" b="1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критие</a:t>
            </a:r>
          </a:p>
        </p:txBody>
      </p:sp>
      <p:sp>
        <p:nvSpPr>
          <p:cNvPr id="482" name="Rectangle 481"/>
          <p:cNvSpPr/>
          <p:nvPr/>
        </p:nvSpPr>
        <p:spPr>
          <a:xfrm>
            <a:off x="417924" y="3466464"/>
            <a:ext cx="1272186" cy="363600"/>
          </a:xfrm>
          <a:prstGeom prst="rect">
            <a:avLst/>
          </a:prstGeom>
          <a:solidFill>
            <a:srgbClr val="DA291C"/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6203" indent="-176203" algn="ctr" defTabSz="457171">
              <a:lnSpc>
                <a:spcPct val="90000"/>
              </a:lnSpc>
              <a:defRPr/>
            </a:pPr>
            <a:r>
              <a:rPr lang="bg-BG" sz="1000" b="1" kern="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икова</a:t>
            </a:r>
          </a:p>
          <a:p>
            <a:pPr marL="176203" indent="-176203" algn="ctr" defTabSz="457171">
              <a:lnSpc>
                <a:spcPct val="90000"/>
              </a:lnSpc>
              <a:defRPr/>
            </a:pPr>
            <a:r>
              <a:rPr lang="bg-BG" sz="1000" b="1" kern="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корост</a:t>
            </a:r>
            <a:endParaRPr lang="bg-BG" sz="1000" b="1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3" name="Rectangle 482"/>
          <p:cNvSpPr/>
          <p:nvPr/>
        </p:nvSpPr>
        <p:spPr>
          <a:xfrm>
            <a:off x="413074" y="3866425"/>
            <a:ext cx="1273386" cy="363600"/>
          </a:xfrm>
          <a:prstGeom prst="rect">
            <a:avLst/>
          </a:prstGeom>
          <a:solidFill>
            <a:srgbClr val="DA291C"/>
          </a:solidFill>
          <a:ln w="12700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6203" indent="-176203" algn="ctr" defTabSz="457171">
              <a:lnSpc>
                <a:spcPct val="90000"/>
              </a:lnSpc>
              <a:defRPr/>
            </a:pPr>
            <a:r>
              <a:rPr lang="bg-BG" sz="1000" b="1" kern="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Честотен</a:t>
            </a:r>
          </a:p>
          <a:p>
            <a:pPr marL="176203" indent="-176203" algn="ctr" defTabSz="457171">
              <a:lnSpc>
                <a:spcPct val="90000"/>
              </a:lnSpc>
              <a:defRPr/>
            </a:pPr>
            <a:r>
              <a:rPr lang="bg-BG" sz="1000" b="1" kern="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иапазон</a:t>
            </a:r>
            <a:endParaRPr lang="bg-BG" sz="1000" b="1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687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9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7"/>
                  </p:tgtEl>
                </p:cond>
              </p:nextCondLst>
            </p:seq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9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6"/>
                  </p:tgtEl>
                </p:cond>
              </p:nextCondLst>
            </p:seq>
          </p:childTnLst>
        </p:cTn>
      </p:par>
    </p:tnLst>
    <p:bldLst>
      <p:bldP spid="96" grpId="0" animBg="1"/>
      <p:bldP spid="97" grpId="0" animBg="1"/>
      <p:bldP spid="97" grpId="1" animBg="1"/>
      <p:bldP spid="97" grpId="2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57" name="think-cell Folie" r:id="rId6" imgW="359" imgH="355" progId="TCLayout.ActiveDocument.1">
                  <p:embed/>
                </p:oleObj>
              </mc:Choice>
              <mc:Fallback>
                <p:oleObj name="think-cell Folie" r:id="rId6" imgW="359" imgH="355" progId="TCLayout.ActiveDocument.1">
                  <p:embed/>
                  <p:pic>
                    <p:nvPicPr>
                      <p:cNvPr id="24" name="Objekt 2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hteck 3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AT" sz="2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6" name="Titel 1"/>
          <p:cNvSpPr>
            <a:spLocks noGrp="1"/>
          </p:cNvSpPr>
          <p:nvPr>
            <p:ph type="title"/>
          </p:nvPr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bg-BG" dirty="0" smtClean="0">
                <a:solidFill>
                  <a:srgbClr val="DA291C"/>
                </a:solidFill>
              </a:rPr>
              <a:t>5</a:t>
            </a:r>
            <a:r>
              <a:rPr lang="en-US" dirty="0" smtClean="0">
                <a:solidFill>
                  <a:srgbClr val="DA291C"/>
                </a:solidFill>
              </a:rPr>
              <a:t>G </a:t>
            </a:r>
            <a:r>
              <a:rPr lang="bg-BG" dirty="0" smtClean="0">
                <a:solidFill>
                  <a:srgbClr val="DA291C"/>
                </a:solidFill>
              </a:rPr>
              <a:t>мрежа за </a:t>
            </a:r>
            <a:r>
              <a:rPr lang="bg-BG" dirty="0" err="1" smtClean="0">
                <a:solidFill>
                  <a:srgbClr val="DA291C"/>
                </a:solidFill>
              </a:rPr>
              <a:t>радиодостъп</a:t>
            </a:r>
            <a:endParaRPr lang="de-AT" dirty="0">
              <a:solidFill>
                <a:srgbClr val="DA291C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17" b="20872"/>
          <a:stretch/>
        </p:blipFill>
        <p:spPr>
          <a:xfrm>
            <a:off x="487126" y="1171173"/>
            <a:ext cx="7884636" cy="354786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26" y="1171173"/>
            <a:ext cx="7955834" cy="3547859"/>
          </a:xfrm>
          <a:prstGeom prst="rect">
            <a:avLst/>
          </a:prstGeom>
          <a:noFill/>
        </p:spPr>
      </p:pic>
      <p:sp>
        <p:nvSpPr>
          <p:cNvPr id="19" name="Oval 18"/>
          <p:cNvSpPr/>
          <p:nvPr/>
        </p:nvSpPr>
        <p:spPr>
          <a:xfrm>
            <a:off x="2330750" y="1720362"/>
            <a:ext cx="504044" cy="509450"/>
          </a:xfrm>
          <a:prstGeom prst="ellipse">
            <a:avLst/>
          </a:prstGeom>
          <a:gradFill flip="none" rotWithShape="1">
            <a:gsLst>
              <a:gs pos="85000">
                <a:schemeClr val="bg1">
                  <a:alpha val="90000"/>
                </a:schemeClr>
              </a:gs>
              <a:gs pos="48000">
                <a:srgbClr val="FFFFFF">
                  <a:alpha val="0"/>
                </a:srgbClr>
              </a:gs>
              <a:gs pos="62000">
                <a:srgbClr val="FFFFFF">
                  <a:alpha val="3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chemeClr val="bg1">
                <a:alpha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6750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6079840" y="2685199"/>
            <a:ext cx="501764" cy="509452"/>
          </a:xfrm>
          <a:prstGeom prst="ellipse">
            <a:avLst/>
          </a:prstGeom>
          <a:gradFill flip="none" rotWithShape="1">
            <a:gsLst>
              <a:gs pos="85000">
                <a:schemeClr val="bg1">
                  <a:alpha val="90000"/>
                </a:schemeClr>
              </a:gs>
              <a:gs pos="48000">
                <a:srgbClr val="FFFFFF">
                  <a:alpha val="0"/>
                </a:srgbClr>
              </a:gs>
              <a:gs pos="62000">
                <a:srgbClr val="FFFFFF">
                  <a:alpha val="3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chemeClr val="bg1">
                <a:alpha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6750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5569929" y="2841494"/>
            <a:ext cx="501764" cy="509452"/>
          </a:xfrm>
          <a:prstGeom prst="ellipse">
            <a:avLst/>
          </a:prstGeom>
          <a:gradFill flip="none" rotWithShape="1">
            <a:gsLst>
              <a:gs pos="85000">
                <a:schemeClr val="bg1">
                  <a:alpha val="90000"/>
                </a:schemeClr>
              </a:gs>
              <a:gs pos="48000">
                <a:srgbClr val="FFFFFF">
                  <a:alpha val="0"/>
                </a:srgbClr>
              </a:gs>
              <a:gs pos="62000">
                <a:srgbClr val="FFFFFF">
                  <a:alpha val="3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chemeClr val="bg1">
                <a:alpha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6750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680769" y="2978747"/>
            <a:ext cx="504044" cy="509450"/>
          </a:xfrm>
          <a:prstGeom prst="ellipse">
            <a:avLst/>
          </a:prstGeom>
          <a:gradFill flip="none" rotWithShape="1">
            <a:gsLst>
              <a:gs pos="85000">
                <a:schemeClr val="bg1">
                  <a:alpha val="90000"/>
                </a:schemeClr>
              </a:gs>
              <a:gs pos="48000">
                <a:srgbClr val="FFFFFF">
                  <a:alpha val="0"/>
                </a:srgbClr>
              </a:gs>
              <a:gs pos="62000">
                <a:srgbClr val="FFFFFF">
                  <a:alpha val="3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chemeClr val="bg1">
                <a:alpha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6750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4737848" y="1547826"/>
            <a:ext cx="504044" cy="509450"/>
          </a:xfrm>
          <a:prstGeom prst="ellipse">
            <a:avLst/>
          </a:prstGeom>
          <a:gradFill flip="none" rotWithShape="1">
            <a:gsLst>
              <a:gs pos="85000">
                <a:schemeClr val="bg1">
                  <a:alpha val="90000"/>
                </a:schemeClr>
              </a:gs>
              <a:gs pos="48000">
                <a:srgbClr val="FFFFFF">
                  <a:alpha val="0"/>
                </a:srgbClr>
              </a:gs>
              <a:gs pos="62000">
                <a:srgbClr val="FFFFFF">
                  <a:alpha val="3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chemeClr val="bg1">
                <a:alpha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6750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6623041" y="2768394"/>
            <a:ext cx="504044" cy="509450"/>
          </a:xfrm>
          <a:prstGeom prst="ellipse">
            <a:avLst/>
          </a:prstGeom>
          <a:gradFill flip="none" rotWithShape="1">
            <a:gsLst>
              <a:gs pos="85000">
                <a:schemeClr val="bg1">
                  <a:alpha val="90000"/>
                </a:schemeClr>
              </a:gs>
              <a:gs pos="48000">
                <a:srgbClr val="FFFFFF">
                  <a:alpha val="0"/>
                </a:srgbClr>
              </a:gs>
              <a:gs pos="62000">
                <a:srgbClr val="FFFFFF">
                  <a:alpha val="3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chemeClr val="bg1">
                <a:alpha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6750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6770510" y="1834836"/>
            <a:ext cx="504044" cy="509450"/>
          </a:xfrm>
          <a:prstGeom prst="ellipse">
            <a:avLst/>
          </a:prstGeom>
          <a:gradFill flip="none" rotWithShape="1">
            <a:gsLst>
              <a:gs pos="85000">
                <a:schemeClr val="bg1">
                  <a:alpha val="90000"/>
                </a:schemeClr>
              </a:gs>
              <a:gs pos="48000">
                <a:srgbClr val="FFFFFF">
                  <a:alpha val="0"/>
                </a:srgbClr>
              </a:gs>
              <a:gs pos="62000">
                <a:srgbClr val="FFFFFF">
                  <a:alpha val="3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chemeClr val="bg1">
                <a:alpha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6750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7132790" y="2891670"/>
            <a:ext cx="759740" cy="329694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67500" rIns="27000" bIns="54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Arial" pitchFamily="34" charset="0"/>
              </a:rPr>
              <a:t>Частни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Arial" pitchFamily="34" charset="0"/>
              </a:rPr>
              <a:t>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Arial" pitchFamily="34" charset="0"/>
              </a:rPr>
              <a:t>Hot-Spots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798980" y="3543827"/>
            <a:ext cx="1159359" cy="291216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67500" rIns="27000" bIns="54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Arial" pitchFamily="34" charset="0"/>
              </a:rPr>
              <a:t>В билбордовете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1087734" y="2511300"/>
            <a:ext cx="504044" cy="509450"/>
          </a:xfrm>
          <a:prstGeom prst="ellipse">
            <a:avLst/>
          </a:prstGeom>
          <a:gradFill flip="none" rotWithShape="1">
            <a:gsLst>
              <a:gs pos="85000">
                <a:schemeClr val="bg1">
                  <a:alpha val="90000"/>
                </a:schemeClr>
              </a:gs>
              <a:gs pos="48000">
                <a:srgbClr val="FFFFFF">
                  <a:alpha val="0"/>
                </a:srgbClr>
              </a:gs>
              <a:gs pos="62000">
                <a:srgbClr val="FFFFFF">
                  <a:alpha val="3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chemeClr val="bg1">
                <a:alpha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6750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6511988" y="3323350"/>
            <a:ext cx="991422" cy="438638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67500" rIns="27000" bIns="54000" rtlCol="0" anchor="ctr">
            <a:noAutofit/>
          </a:bodyPr>
          <a:lstStyle/>
          <a:p>
            <a:pPr lvl="0" algn="ctr">
              <a:lnSpc>
                <a:spcPts val="900"/>
              </a:lnSpc>
              <a:defRPr/>
            </a:pPr>
            <a:r>
              <a:rPr lang="bg-BG" sz="1000" dirty="0" smtClean="0">
                <a:solidFill>
                  <a:srgbClr val="000000"/>
                </a:solidFill>
                <a:latin typeface="Verdana" panose="020B0604030504040204"/>
                <a:cs typeface="Arial" pitchFamily="34" charset="0"/>
              </a:rPr>
              <a:t>Обществени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Arial" pitchFamily="34" charset="0"/>
              </a:rPr>
              <a:t> </a:t>
            </a:r>
            <a:r>
              <a:rPr lang="de-DE" sz="1000" dirty="0" smtClean="0">
                <a:solidFill>
                  <a:srgbClr val="000000"/>
                </a:solidFill>
                <a:cs typeface="Arial" pitchFamily="34" charset="0"/>
              </a:rPr>
              <a:t>Hot-Spots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698752" y="2571028"/>
            <a:ext cx="1045608" cy="329694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67500" rIns="27000" bIns="54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bg-BG" sz="1000" dirty="0" smtClean="0">
                <a:solidFill>
                  <a:srgbClr val="000000"/>
                </a:solidFill>
                <a:latin typeface="Verdana" panose="020B0604030504040204"/>
                <a:cs typeface="Arial" pitchFamily="34" charset="0"/>
              </a:rPr>
              <a:t>На уличното осветление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003525" y="2900722"/>
            <a:ext cx="1089984" cy="377122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67500" rIns="27000" bIns="54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Arial" pitchFamily="34" charset="0"/>
              </a:rPr>
              <a:t>В обществения</a:t>
            </a:r>
            <a:r>
              <a:rPr kumimoji="0" lang="bg-BG" sz="10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Arial" pitchFamily="34" charset="0"/>
              </a:rPr>
              <a:t> транспорт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280422" y="1448454"/>
            <a:ext cx="1139864" cy="370568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67500" rIns="27000" bIns="54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0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Arial" pitchFamily="34" charset="0"/>
              </a:rPr>
              <a:t>Мрежови елементи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239883" y="3392068"/>
            <a:ext cx="1091374" cy="442975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67500" rIns="27000" bIns="54000" rtlCol="0" anchor="ctr">
            <a:noAutofit/>
          </a:bodyPr>
          <a:lstStyle/>
          <a:p>
            <a:pPr lvl="0" algn="ctr">
              <a:lnSpc>
                <a:spcPts val="900"/>
              </a:lnSpc>
              <a:defRPr/>
            </a:pPr>
            <a:r>
              <a:rPr kumimoji="0" lang="bg-BG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Arial" pitchFamily="34" charset="0"/>
              </a:rPr>
              <a:t>Магазини с </a:t>
            </a:r>
            <a:r>
              <a:rPr lang="de-DE" sz="1000" dirty="0" smtClean="0">
                <a:solidFill>
                  <a:srgbClr val="000000"/>
                </a:solidFill>
                <a:cs typeface="Arial" pitchFamily="34" charset="0"/>
              </a:rPr>
              <a:t>Hot-Spots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812398" y="1834837"/>
            <a:ext cx="883653" cy="251854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67500" rIns="27000" bIns="54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bg-BG" sz="1000" dirty="0" smtClean="0">
                <a:solidFill>
                  <a:srgbClr val="000000"/>
                </a:solidFill>
                <a:latin typeface="Verdana" panose="020B0604030504040204"/>
                <a:cs typeface="Arial" pitchFamily="34" charset="0"/>
              </a:rPr>
              <a:t>На у</a:t>
            </a:r>
            <a:r>
              <a:rPr kumimoji="0" lang="bg-BG" sz="10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Arial" pitchFamily="34" charset="0"/>
              </a:rPr>
              <a:t>личните лампи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3774960" y="1849548"/>
            <a:ext cx="826278" cy="329694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67500" rIns="27000" bIns="54000" rtlCol="0" anchor="ctr">
            <a:noAutofit/>
          </a:bodyPr>
          <a:lstStyle/>
          <a:p>
            <a:pPr lvl="0" algn="ctr">
              <a:lnSpc>
                <a:spcPts val="900"/>
              </a:lnSpc>
              <a:defRPr/>
            </a:pPr>
            <a:r>
              <a:rPr kumimoji="0" lang="bg-BG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Arial" pitchFamily="34" charset="0"/>
              </a:rPr>
              <a:t>Офиси</a:t>
            </a:r>
            <a:r>
              <a:rPr kumimoji="0" lang="bg-BG" sz="10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Arial" pitchFamily="34" charset="0"/>
              </a:rPr>
              <a:t> с </a:t>
            </a:r>
            <a:r>
              <a:rPr lang="de-DE" sz="1000" dirty="0" smtClean="0">
                <a:solidFill>
                  <a:srgbClr val="000000"/>
                </a:solidFill>
                <a:cs typeface="Arial" pitchFamily="34" charset="0"/>
              </a:rPr>
              <a:t>Hot-Spots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7302796" y="1801738"/>
            <a:ext cx="822856" cy="384256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67500" rIns="27000" bIns="54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Arial" pitchFamily="34" charset="0"/>
              </a:rPr>
              <a:t>В сградите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5170856" y="2035986"/>
            <a:ext cx="1109460" cy="269544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67500" rIns="27000" bIns="54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Arial" pitchFamily="34" charset="0"/>
              </a:rPr>
              <a:t>На пътните знаци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pic>
        <p:nvPicPr>
          <p:cNvPr id="43" name="Picture 302" descr="https://d30y9cdsu7xlg0.cloudfront.net/png/53241-200.png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5217"/>
          <a:stretch/>
        </p:blipFill>
        <p:spPr bwMode="auto">
          <a:xfrm rot="20106356">
            <a:off x="6656590" y="1957405"/>
            <a:ext cx="731884" cy="258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302" descr="https://d30y9cdsu7xlg0.cloudfront.net/png/53241-200.png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5217"/>
          <a:stretch/>
        </p:blipFill>
        <p:spPr bwMode="auto">
          <a:xfrm rot="5747874">
            <a:off x="3934468" y="2341912"/>
            <a:ext cx="743098" cy="254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302" descr="https://d30y9cdsu7xlg0.cloudfront.net/png/53241-200.png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5217"/>
          <a:stretch/>
        </p:blipFill>
        <p:spPr bwMode="auto">
          <a:xfrm rot="13417705">
            <a:off x="5019823" y="2493951"/>
            <a:ext cx="731884" cy="258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302" descr="https://d30y9cdsu7xlg0.cloudfront.net/png/53241-200.png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5217"/>
          <a:stretch/>
        </p:blipFill>
        <p:spPr bwMode="auto">
          <a:xfrm rot="6830410">
            <a:off x="664530" y="3146409"/>
            <a:ext cx="743096" cy="254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302" descr="https://d30y9cdsu7xlg0.cloudfront.net/png/53241-200.png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5217"/>
          <a:stretch/>
        </p:blipFill>
        <p:spPr bwMode="auto">
          <a:xfrm>
            <a:off x="4623928" y="1701858"/>
            <a:ext cx="731884" cy="22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302" descr="https://d30y9cdsu7xlg0.cloudfront.net/png/53241-200.png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5217"/>
          <a:stretch/>
        </p:blipFill>
        <p:spPr bwMode="auto">
          <a:xfrm rot="6535720">
            <a:off x="5519858" y="2976722"/>
            <a:ext cx="635910" cy="228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302" descr="https://d30y9cdsu7xlg0.cloudfront.net/png/53241-200.png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5217"/>
          <a:stretch/>
        </p:blipFill>
        <p:spPr bwMode="auto">
          <a:xfrm rot="15950654">
            <a:off x="2128684" y="1835171"/>
            <a:ext cx="830996" cy="284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302" descr="https://d30y9cdsu7xlg0.cloudfront.net/png/53241-200.png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5217"/>
          <a:stretch/>
        </p:blipFill>
        <p:spPr bwMode="auto">
          <a:xfrm rot="13511855">
            <a:off x="6443181" y="2915919"/>
            <a:ext cx="874787" cy="275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302" descr="https://d30y9cdsu7xlg0.cloudfront.net/png/53241-200.png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5217"/>
          <a:stretch/>
        </p:blipFill>
        <p:spPr bwMode="auto">
          <a:xfrm rot="8321229">
            <a:off x="5978608" y="2833950"/>
            <a:ext cx="731884" cy="258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302" descr="https://d30y9cdsu7xlg0.cloudfront.net/png/53241-200.png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5217"/>
          <a:stretch/>
        </p:blipFill>
        <p:spPr bwMode="auto">
          <a:xfrm rot="6065777">
            <a:off x="2451200" y="2976709"/>
            <a:ext cx="624988" cy="224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Oval 57"/>
          <p:cNvSpPr/>
          <p:nvPr/>
        </p:nvSpPr>
        <p:spPr>
          <a:xfrm>
            <a:off x="7571990" y="2342362"/>
            <a:ext cx="504044" cy="509450"/>
          </a:xfrm>
          <a:prstGeom prst="ellipse">
            <a:avLst/>
          </a:prstGeom>
          <a:gradFill flip="none" rotWithShape="1">
            <a:gsLst>
              <a:gs pos="85000">
                <a:schemeClr val="bg1">
                  <a:alpha val="90000"/>
                </a:schemeClr>
              </a:gs>
              <a:gs pos="48000">
                <a:srgbClr val="FFFFFF">
                  <a:alpha val="0"/>
                </a:srgbClr>
              </a:gs>
              <a:gs pos="62000">
                <a:srgbClr val="FFFFFF">
                  <a:alpha val="3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chemeClr val="bg1">
                <a:alpha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6750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pic>
        <p:nvPicPr>
          <p:cNvPr id="59" name="Picture 302" descr="https://d30y9cdsu7xlg0.cloudfront.net/png/53241-200.png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5217"/>
          <a:stretch/>
        </p:blipFill>
        <p:spPr bwMode="auto">
          <a:xfrm rot="13500000">
            <a:off x="7454302" y="2499009"/>
            <a:ext cx="704630" cy="246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Oval 59"/>
          <p:cNvSpPr/>
          <p:nvPr/>
        </p:nvSpPr>
        <p:spPr>
          <a:xfrm>
            <a:off x="2509112" y="2817840"/>
            <a:ext cx="504044" cy="509450"/>
          </a:xfrm>
          <a:prstGeom prst="ellipse">
            <a:avLst/>
          </a:prstGeom>
          <a:gradFill flip="none" rotWithShape="1">
            <a:gsLst>
              <a:gs pos="85000">
                <a:schemeClr val="bg1">
                  <a:alpha val="90000"/>
                </a:schemeClr>
              </a:gs>
              <a:gs pos="48000">
                <a:srgbClr val="FFFFFF">
                  <a:alpha val="0"/>
                </a:srgbClr>
              </a:gs>
              <a:gs pos="62000">
                <a:srgbClr val="FFFFFF">
                  <a:alpha val="3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chemeClr val="bg1">
                <a:alpha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6750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pic>
        <p:nvPicPr>
          <p:cNvPr id="61" name="Picture 302" descr="https://d30y9cdsu7xlg0.cloudfront.net/png/53241-200.png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5217"/>
          <a:stretch/>
        </p:blipFill>
        <p:spPr bwMode="auto">
          <a:xfrm rot="5747874">
            <a:off x="1001019" y="2638740"/>
            <a:ext cx="743098" cy="254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Oval 61"/>
          <p:cNvSpPr/>
          <p:nvPr/>
        </p:nvSpPr>
        <p:spPr>
          <a:xfrm>
            <a:off x="4045711" y="2209222"/>
            <a:ext cx="504044" cy="509450"/>
          </a:xfrm>
          <a:prstGeom prst="ellipse">
            <a:avLst/>
          </a:prstGeom>
          <a:gradFill flip="none" rotWithShape="1">
            <a:gsLst>
              <a:gs pos="85000">
                <a:schemeClr val="bg1">
                  <a:alpha val="90000"/>
                </a:schemeClr>
              </a:gs>
              <a:gs pos="48000">
                <a:srgbClr val="FFFFFF">
                  <a:alpha val="0"/>
                </a:srgbClr>
              </a:gs>
              <a:gs pos="62000">
                <a:srgbClr val="FFFFFF">
                  <a:alpha val="3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chemeClr val="bg1">
                <a:alpha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6750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  <p:sp>
        <p:nvSpPr>
          <p:cNvPr id="63" name="Oval 62"/>
          <p:cNvSpPr/>
          <p:nvPr/>
        </p:nvSpPr>
        <p:spPr>
          <a:xfrm>
            <a:off x="5199904" y="2334341"/>
            <a:ext cx="501764" cy="509452"/>
          </a:xfrm>
          <a:prstGeom prst="ellipse">
            <a:avLst/>
          </a:prstGeom>
          <a:gradFill flip="none" rotWithShape="1">
            <a:gsLst>
              <a:gs pos="85000">
                <a:schemeClr val="bg1">
                  <a:alpha val="90000"/>
                </a:schemeClr>
              </a:gs>
              <a:gs pos="48000">
                <a:srgbClr val="FFFFFF">
                  <a:alpha val="0"/>
                </a:srgbClr>
              </a:gs>
              <a:gs pos="62000">
                <a:srgbClr val="FFFFFF">
                  <a:alpha val="30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chemeClr val="bg1">
                <a:alpha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6750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Verdana" panose="020B060403050404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5952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480" name="Titel 1"/>
          <p:cNvSpPr txBox="1">
            <a:spLocks/>
          </p:cNvSpPr>
          <p:nvPr/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31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bg-BG" dirty="0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Честотни диапазони в България</a:t>
            </a:r>
            <a:endParaRPr lang="de-AT" dirty="0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484" name="Group 483"/>
          <p:cNvGrpSpPr/>
          <p:nvPr/>
        </p:nvGrpSpPr>
        <p:grpSpPr>
          <a:xfrm>
            <a:off x="523068" y="2126418"/>
            <a:ext cx="7020000" cy="441479"/>
            <a:chOff x="1338683" y="2847146"/>
            <a:chExt cx="9360000" cy="588638"/>
          </a:xfrm>
        </p:grpSpPr>
        <p:grpSp>
          <p:nvGrpSpPr>
            <p:cNvPr id="485" name="Group 484"/>
            <p:cNvGrpSpPr/>
            <p:nvPr/>
          </p:nvGrpSpPr>
          <p:grpSpPr>
            <a:xfrm>
              <a:off x="3084362" y="2877195"/>
              <a:ext cx="6209826" cy="555736"/>
              <a:chOff x="2516991" y="1784920"/>
              <a:chExt cx="4657369" cy="466374"/>
            </a:xfrm>
          </p:grpSpPr>
          <p:sp>
            <p:nvSpPr>
              <p:cNvPr id="488" name="Rectangle 29"/>
              <p:cNvSpPr>
                <a:spLocks noChangeArrowheads="1"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3067053" y="1784923"/>
                <a:ext cx="345282" cy="182252"/>
              </a:xfrm>
              <a:prstGeom prst="rect">
                <a:avLst/>
              </a:prstGeom>
              <a:solidFill>
                <a:srgbClr val="00ACE7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5</a:t>
                </a:r>
              </a:p>
            </p:txBody>
          </p:sp>
          <p:sp>
            <p:nvSpPr>
              <p:cNvPr id="489" name="Rectangle 30"/>
              <p:cNvSpPr>
                <a:spLocks noChangeArrowheads="1"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2726533" y="1784923"/>
                <a:ext cx="345282" cy="182252"/>
              </a:xfrm>
              <a:prstGeom prst="rect">
                <a:avLst/>
              </a:prstGeom>
              <a:solidFill>
                <a:srgbClr val="00B0F0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5</a:t>
                </a:r>
              </a:p>
            </p:txBody>
          </p:sp>
          <p:sp>
            <p:nvSpPr>
              <p:cNvPr id="490" name="Rectangle 31"/>
              <p:cNvSpPr>
                <a:spLocks noChangeArrowheads="1"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4102895" y="1784923"/>
                <a:ext cx="345282" cy="182252"/>
              </a:xfrm>
              <a:prstGeom prst="rect">
                <a:avLst/>
              </a:prstGeom>
              <a:solidFill>
                <a:srgbClr val="DA291C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 smtClean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5*</a:t>
                </a:r>
                <a:endParaRPr lang="en-US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491" name="Rectangle 32"/>
              <p:cNvSpPr>
                <a:spLocks noChangeArrowheads="1"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3755233" y="1784923"/>
                <a:ext cx="345282" cy="182252"/>
              </a:xfrm>
              <a:prstGeom prst="rect">
                <a:avLst/>
              </a:prstGeom>
              <a:solidFill>
                <a:srgbClr val="00B0F0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5</a:t>
                </a:r>
              </a:p>
            </p:txBody>
          </p:sp>
          <p:sp>
            <p:nvSpPr>
              <p:cNvPr id="492" name="Rectangle 33"/>
              <p:cNvSpPr>
                <a:spLocks noChangeArrowheads="1"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3408761" y="1784923"/>
                <a:ext cx="345282" cy="182252"/>
              </a:xfrm>
              <a:prstGeom prst="rect">
                <a:avLst/>
              </a:prstGeom>
              <a:solidFill>
                <a:srgbClr val="00B0F0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5</a:t>
                </a:r>
              </a:p>
            </p:txBody>
          </p:sp>
          <p:sp>
            <p:nvSpPr>
              <p:cNvPr id="493" name="Rectangle 34"/>
              <p:cNvSpPr>
                <a:spLocks noChangeArrowheads="1"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4449368" y="1784923"/>
                <a:ext cx="345282" cy="182252"/>
              </a:xfrm>
              <a:prstGeom prst="rect">
                <a:avLst/>
              </a:prstGeom>
              <a:solidFill>
                <a:srgbClr val="DA291C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 smtClean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5</a:t>
                </a:r>
                <a:endParaRPr lang="en-US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494" name="Rectangle 35"/>
              <p:cNvSpPr>
                <a:spLocks noChangeArrowheads="1"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5139510" y="1784920"/>
                <a:ext cx="351000" cy="181267"/>
              </a:xfrm>
              <a:prstGeom prst="rect">
                <a:avLst/>
              </a:prstGeom>
              <a:solidFill>
                <a:srgbClr val="DA291C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smtClean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5</a:t>
                </a:r>
                <a:endParaRPr lang="en-US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495" name="Rectangle 36"/>
              <p:cNvSpPr>
                <a:spLocks noChangeArrowheads="1"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4792268" y="1784923"/>
                <a:ext cx="345282" cy="182252"/>
              </a:xfrm>
              <a:prstGeom prst="rect">
                <a:avLst/>
              </a:prstGeom>
              <a:solidFill>
                <a:srgbClr val="DA291C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 smtClean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5</a:t>
                </a:r>
                <a:endParaRPr lang="en-US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496" name="Rectangle 37"/>
              <p:cNvSpPr>
                <a:spLocks noChangeArrowheads="1"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6177735" y="1784923"/>
                <a:ext cx="345282" cy="181268"/>
              </a:xfrm>
              <a:prstGeom prst="rect">
                <a:avLst/>
              </a:prstGeom>
              <a:pattFill prst="dotDmnd">
                <a:fgClr>
                  <a:srgbClr val="FDBA31"/>
                </a:fgClr>
                <a:bgClr>
                  <a:srgbClr val="FDBA31"/>
                </a:bgClr>
              </a:patt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5</a:t>
                </a:r>
              </a:p>
            </p:txBody>
          </p:sp>
          <p:sp>
            <p:nvSpPr>
              <p:cNvPr id="497" name="Rectangle 38"/>
              <p:cNvSpPr>
                <a:spLocks noChangeArrowheads="1"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5832453" y="1784923"/>
                <a:ext cx="345282" cy="181268"/>
              </a:xfrm>
              <a:prstGeom prst="rect">
                <a:avLst/>
              </a:prstGeom>
              <a:pattFill prst="dotDmnd">
                <a:fgClr>
                  <a:srgbClr val="FDBA31"/>
                </a:fgClr>
                <a:bgClr>
                  <a:srgbClr val="FDBA31"/>
                </a:bgClr>
              </a:patt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5</a:t>
                </a:r>
              </a:p>
            </p:txBody>
          </p:sp>
          <p:sp>
            <p:nvSpPr>
              <p:cNvPr id="498" name="Rectangle 39"/>
              <p:cNvSpPr>
                <a:spLocks noChangeArrowheads="1"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5489553" y="1784923"/>
                <a:ext cx="345282" cy="181268"/>
              </a:xfrm>
              <a:prstGeom prst="rect">
                <a:avLst/>
              </a:prstGeom>
              <a:solidFill>
                <a:srgbClr val="FFC000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5*</a:t>
                </a:r>
                <a:endParaRPr lang="en-US" sz="8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499" name="Rectangle 40"/>
              <p:cNvSpPr>
                <a:spLocks noChangeArrowheads="1"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6519863" y="1784923"/>
                <a:ext cx="345282" cy="181268"/>
              </a:xfrm>
              <a:prstGeom prst="rect">
                <a:avLst/>
              </a:prstGeom>
              <a:pattFill prst="dotDmnd">
                <a:fgClr>
                  <a:srgbClr val="FDBA31"/>
                </a:fgClr>
                <a:bgClr>
                  <a:srgbClr val="FDBA31"/>
                </a:bgClr>
              </a:patt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5</a:t>
                </a:r>
              </a:p>
            </p:txBody>
          </p:sp>
          <p:sp>
            <p:nvSpPr>
              <p:cNvPr id="500" name="Text Box 41"/>
              <p:cNvSpPr txBox="1">
                <a:spLocks noChangeArrowheads="1"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2516991" y="1967229"/>
                <a:ext cx="526321" cy="2840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68528" tIns="34268" rIns="68528" bIns="34268">
                <a:spAutoFit/>
              </a:bodyPr>
              <a:lstStyle/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920 MHz</a:t>
                </a:r>
              </a:p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2110 MHz</a:t>
                </a:r>
              </a:p>
            </p:txBody>
          </p:sp>
          <p:sp>
            <p:nvSpPr>
              <p:cNvPr id="501" name="Text Box 42"/>
              <p:cNvSpPr txBox="1">
                <a:spLocks noChangeArrowheads="1"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6648039" y="1952810"/>
                <a:ext cx="526321" cy="2840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68528" tIns="34268" rIns="68528" bIns="34268">
                <a:spAutoFit/>
              </a:bodyPr>
              <a:lstStyle/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980 MHz</a:t>
                </a:r>
              </a:p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2170 MHz</a:t>
                </a:r>
              </a:p>
            </p:txBody>
          </p:sp>
          <p:sp>
            <p:nvSpPr>
              <p:cNvPr id="502" name="Text Box 43"/>
              <p:cNvSpPr txBox="1">
                <a:spLocks noChangeArrowheads="1"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4632834" y="1959623"/>
                <a:ext cx="489453" cy="2840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68528" tIns="34268" rIns="68528" bIns="34268">
                <a:spAutoFit/>
              </a:bodyPr>
              <a:lstStyle/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Uplink</a:t>
                </a:r>
              </a:p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ownlink</a:t>
                </a:r>
              </a:p>
            </p:txBody>
          </p:sp>
        </p:grpSp>
        <p:sp>
          <p:nvSpPr>
            <p:cNvPr id="486" name="Rectangle 44"/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auto">
            <a:xfrm flipH="1">
              <a:off x="1338683" y="2847146"/>
              <a:ext cx="1620000" cy="432000"/>
            </a:xfrm>
            <a:prstGeom prst="rect">
              <a:avLst/>
            </a:prstGeom>
            <a:solidFill>
              <a:srgbClr val="DA291C"/>
            </a:solidFill>
            <a:ln w="19050" algn="ctr">
              <a:solidFill>
                <a:srgbClr val="DA291C"/>
              </a:solidFill>
              <a:miter lim="800000"/>
              <a:headEnd/>
              <a:tailEnd/>
            </a:ln>
          </p:spPr>
          <p:txBody>
            <a:bodyPr lIns="13491" tIns="35075" rIns="13491" bIns="35075" anchor="ctr" anchorCtr="1"/>
            <a:lstStyle/>
            <a:p>
              <a:pPr algn="ctr" defTabSz="45713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1200" b="1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,1 </a:t>
              </a:r>
              <a:r>
                <a:rPr lang="en-US" sz="1200" b="1" dirty="0" smtClean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Hz</a:t>
              </a:r>
              <a:endParaRPr lang="en-US" sz="12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87" name="Line 45"/>
            <p:cNvSpPr>
              <a:spLocks noChangeShapeType="1"/>
            </p:cNvSpPr>
            <p:nvPr>
              <p:custDataLst>
                <p:tags r:id="rId77"/>
              </p:custDataLst>
            </p:nvPr>
          </p:nvSpPr>
          <p:spPr bwMode="auto">
            <a:xfrm flipV="1">
              <a:off x="1338683" y="3421496"/>
              <a:ext cx="9360000" cy="14288"/>
            </a:xfrm>
            <a:prstGeom prst="line">
              <a:avLst/>
            </a:prstGeom>
            <a:noFill/>
            <a:ln w="12700">
              <a:solidFill>
                <a:srgbClr val="808080"/>
              </a:solidFill>
              <a:prstDash val="dash"/>
              <a:round/>
              <a:headEnd/>
              <a:tailEnd/>
            </a:ln>
          </p:spPr>
          <p:txBody>
            <a:bodyPr lIns="67448" tIns="35075" rIns="67448" bIns="35075" anchor="ctr"/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503" name="Group 502"/>
          <p:cNvGrpSpPr/>
          <p:nvPr/>
        </p:nvGrpSpPr>
        <p:grpSpPr>
          <a:xfrm>
            <a:off x="517451" y="1556401"/>
            <a:ext cx="7025618" cy="486328"/>
            <a:chOff x="1331192" y="1639706"/>
            <a:chExt cx="9367491" cy="648437"/>
          </a:xfrm>
        </p:grpSpPr>
        <p:sp>
          <p:nvSpPr>
            <p:cNvPr id="504" name="Line 23"/>
            <p:cNvSpPr>
              <a:spLocks noChangeShapeType="1"/>
            </p:cNvSpPr>
            <p:nvPr>
              <p:custDataLst>
                <p:tags r:id="rId57"/>
              </p:custDataLst>
            </p:nvPr>
          </p:nvSpPr>
          <p:spPr bwMode="auto">
            <a:xfrm>
              <a:off x="1338683" y="2268208"/>
              <a:ext cx="9360000" cy="1588"/>
            </a:xfrm>
            <a:prstGeom prst="line">
              <a:avLst/>
            </a:prstGeom>
            <a:noFill/>
            <a:ln w="12700">
              <a:solidFill>
                <a:srgbClr val="808080"/>
              </a:solidFill>
              <a:prstDash val="dash"/>
              <a:round/>
              <a:headEnd/>
              <a:tailEnd/>
            </a:ln>
          </p:spPr>
          <p:txBody>
            <a:bodyPr lIns="67448" tIns="35075" rIns="67448" bIns="35075" anchor="ctr"/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505" name="Rectangle 63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auto">
            <a:xfrm flipH="1">
              <a:off x="1331192" y="1639706"/>
              <a:ext cx="1620000" cy="432000"/>
            </a:xfrm>
            <a:prstGeom prst="rect">
              <a:avLst/>
            </a:prstGeom>
            <a:solidFill>
              <a:srgbClr val="DA291C"/>
            </a:solidFill>
            <a:ln w="19050" algn="ctr">
              <a:solidFill>
                <a:srgbClr val="DA291C"/>
              </a:solidFill>
              <a:miter lim="800000"/>
              <a:headEnd/>
              <a:tailEnd/>
            </a:ln>
          </p:spPr>
          <p:txBody>
            <a:bodyPr lIns="13491" tIns="35075" rIns="13491" bIns="35075" anchor="ctr" anchorCtr="1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1200" b="1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,6 </a:t>
              </a:r>
              <a:r>
                <a:rPr lang="en-US" sz="1200" b="1" dirty="0" smtClean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Hz</a:t>
              </a:r>
              <a:endParaRPr lang="en-US" sz="12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506" name="Group 505"/>
            <p:cNvGrpSpPr/>
            <p:nvPr/>
          </p:nvGrpSpPr>
          <p:grpSpPr>
            <a:xfrm>
              <a:off x="3012603" y="1724095"/>
              <a:ext cx="7191462" cy="564048"/>
              <a:chOff x="2259452" y="1045421"/>
              <a:chExt cx="5393596" cy="423036"/>
            </a:xfrm>
          </p:grpSpPr>
          <p:sp>
            <p:nvSpPr>
              <p:cNvPr id="507" name="Text Box 134"/>
              <p:cNvSpPr txBox="1">
                <a:spLocks noChangeArrowheads="1"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2259452" y="1214587"/>
                <a:ext cx="526321" cy="2538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68528" tIns="34268" rIns="68528" bIns="34268">
                <a:spAutoFit/>
              </a:bodyPr>
              <a:lstStyle/>
              <a:p>
                <a:pPr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2500 MHz</a:t>
                </a:r>
              </a:p>
              <a:p>
                <a:pPr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2620 MHz</a:t>
                </a:r>
                <a:endParaRPr lang="de-DE" sz="9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grpSp>
            <p:nvGrpSpPr>
              <p:cNvPr id="508" name="Group 507"/>
              <p:cNvGrpSpPr/>
              <p:nvPr/>
            </p:nvGrpSpPr>
            <p:grpSpPr>
              <a:xfrm>
                <a:off x="2506915" y="1045421"/>
                <a:ext cx="5146133" cy="420653"/>
                <a:chOff x="2744410" y="810190"/>
                <a:chExt cx="5146133" cy="420653"/>
              </a:xfrm>
            </p:grpSpPr>
            <p:sp>
              <p:nvSpPr>
                <p:cNvPr id="509" name="Rectangle 128"/>
                <p:cNvSpPr>
                  <a:spLocks noChangeArrowheads="1"/>
                </p:cNvSpPr>
                <p:nvPr>
                  <p:custDataLst>
                    <p:tags r:id="rId60"/>
                  </p:custDataLst>
                </p:nvPr>
              </p:nvSpPr>
              <p:spPr bwMode="auto">
                <a:xfrm>
                  <a:off x="6215064" y="810190"/>
                  <a:ext cx="347662" cy="162000"/>
                </a:xfrm>
                <a:prstGeom prst="rect">
                  <a:avLst/>
                </a:prstGeom>
                <a:solidFill>
                  <a:srgbClr val="FFC000"/>
                </a:solidFill>
                <a:ln w="12700" algn="ctr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68528" tIns="34268" rIns="68528" bIns="34268" anchor="ctr"/>
                <a:lstStyle/>
                <a:p>
                  <a:pPr algn="ctr"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800" dirty="0" smtClean="0">
                      <a:solidFill>
                        <a:prstClr val="black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5*</a:t>
                  </a:r>
                  <a:endParaRPr lang="de-DE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510" name="Rectangle 131"/>
                <p:cNvSpPr>
                  <a:spLocks noChangeArrowheads="1"/>
                </p:cNvSpPr>
                <p:nvPr>
                  <p:custDataLst>
                    <p:tags r:id="rId61"/>
                  </p:custDataLst>
                </p:nvPr>
              </p:nvSpPr>
              <p:spPr bwMode="auto">
                <a:xfrm>
                  <a:off x="6562729" y="810190"/>
                  <a:ext cx="346472" cy="162000"/>
                </a:xfrm>
                <a:prstGeom prst="rect">
                  <a:avLst/>
                </a:prstGeom>
                <a:solidFill>
                  <a:srgbClr val="FFC000"/>
                </a:solidFill>
                <a:ln w="12700" algn="ctr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68528" tIns="34268" rIns="68528" bIns="34268" anchor="ctr"/>
                <a:lstStyle/>
                <a:p>
                  <a:pPr algn="ctr"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800" dirty="0" smtClean="0">
                      <a:solidFill>
                        <a:prstClr val="black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5*</a:t>
                  </a:r>
                  <a:endParaRPr lang="de-DE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511" name="Rectangle 132"/>
                <p:cNvSpPr>
                  <a:spLocks noChangeArrowheads="1"/>
                </p:cNvSpPr>
                <p:nvPr>
                  <p:custDataLst>
                    <p:tags r:id="rId62"/>
                  </p:custDataLst>
                </p:nvPr>
              </p:nvSpPr>
              <p:spPr bwMode="auto">
                <a:xfrm>
                  <a:off x="6909198" y="810190"/>
                  <a:ext cx="347662" cy="162000"/>
                </a:xfrm>
                <a:prstGeom prst="rect">
                  <a:avLst/>
                </a:prstGeom>
                <a:solidFill>
                  <a:srgbClr val="FFC000"/>
                </a:solidFill>
                <a:ln w="12700" algn="ctr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68528" tIns="34268" rIns="68528" bIns="34268" anchor="ctr"/>
                <a:lstStyle/>
                <a:p>
                  <a:pPr algn="ctr"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800" dirty="0" smtClean="0">
                      <a:solidFill>
                        <a:prstClr val="black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5*</a:t>
                  </a:r>
                  <a:endParaRPr lang="de-DE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512" name="Rectangle 133"/>
                <p:cNvSpPr>
                  <a:spLocks noChangeArrowheads="1"/>
                </p:cNvSpPr>
                <p:nvPr>
                  <p:custDataLst>
                    <p:tags r:id="rId63"/>
                  </p:custDataLst>
                </p:nvPr>
              </p:nvSpPr>
              <p:spPr bwMode="auto">
                <a:xfrm>
                  <a:off x="7256876" y="810190"/>
                  <a:ext cx="346471" cy="162000"/>
                </a:xfrm>
                <a:prstGeom prst="rect">
                  <a:avLst/>
                </a:prstGeom>
                <a:solidFill>
                  <a:srgbClr val="FFC000"/>
                </a:solidFill>
                <a:ln w="12700" algn="ctr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68528" tIns="34268" rIns="68528" bIns="34268" anchor="ctr"/>
                <a:lstStyle/>
                <a:p>
                  <a:pPr algn="ctr"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800" dirty="0" smtClean="0">
                      <a:solidFill>
                        <a:prstClr val="black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5*</a:t>
                  </a:r>
                  <a:endParaRPr lang="de-DE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513" name="Text Box 135"/>
                <p:cNvSpPr txBox="1">
                  <a:spLocks noChangeArrowheads="1"/>
                </p:cNvSpPr>
                <p:nvPr>
                  <p:custDataLst>
                    <p:tags r:id="rId64"/>
                  </p:custDataLst>
                </p:nvPr>
              </p:nvSpPr>
              <p:spPr bwMode="auto">
                <a:xfrm>
                  <a:off x="4913911" y="976972"/>
                  <a:ext cx="489453" cy="25387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68528" tIns="34268" rIns="68528" bIns="34268">
                  <a:spAutoFit/>
                </a:bodyPr>
                <a:lstStyle/>
                <a:p>
                  <a:pPr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600" dirty="0">
                      <a:solidFill>
                        <a:prstClr val="black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Uplink</a:t>
                  </a:r>
                </a:p>
                <a:p>
                  <a:pPr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600" dirty="0">
                      <a:solidFill>
                        <a:prstClr val="black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Downlink</a:t>
                  </a:r>
                  <a:endParaRPr lang="de-DE" sz="9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514" name="Rectangle 136"/>
                <p:cNvSpPr>
                  <a:spLocks noChangeArrowheads="1"/>
                </p:cNvSpPr>
                <p:nvPr>
                  <p:custDataLst>
                    <p:tags r:id="rId65"/>
                  </p:custDataLst>
                </p:nvPr>
              </p:nvSpPr>
              <p:spPr bwMode="auto">
                <a:xfrm>
                  <a:off x="3090864" y="810190"/>
                  <a:ext cx="347662" cy="162000"/>
                </a:xfrm>
                <a:prstGeom prst="rect">
                  <a:avLst/>
                </a:prstGeom>
                <a:noFill/>
                <a:ln w="12700" algn="ctr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68528" tIns="34268" rIns="68528" bIns="34268" anchor="ctr"/>
                <a:lstStyle/>
                <a:p>
                  <a:pPr algn="ctr"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800" dirty="0">
                      <a:solidFill>
                        <a:prstClr val="black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5</a:t>
                  </a:r>
                  <a:endParaRPr lang="de-DE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515" name="Rectangle 137"/>
                <p:cNvSpPr>
                  <a:spLocks noChangeArrowheads="1"/>
                </p:cNvSpPr>
                <p:nvPr>
                  <p:custDataLst>
                    <p:tags r:id="rId66"/>
                  </p:custDataLst>
                </p:nvPr>
              </p:nvSpPr>
              <p:spPr bwMode="auto">
                <a:xfrm>
                  <a:off x="2744410" y="810190"/>
                  <a:ext cx="346471" cy="162000"/>
                </a:xfrm>
                <a:prstGeom prst="rect">
                  <a:avLst/>
                </a:prstGeom>
                <a:noFill/>
                <a:ln w="12700" algn="ctr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68528" tIns="34268" rIns="68528" bIns="34268" anchor="ctr"/>
                <a:lstStyle/>
                <a:p>
                  <a:pPr algn="ctr"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800" dirty="0">
                      <a:solidFill>
                        <a:prstClr val="black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5</a:t>
                  </a:r>
                  <a:endParaRPr lang="de-DE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516" name="Rectangle 138"/>
                <p:cNvSpPr>
                  <a:spLocks noChangeArrowheads="1"/>
                </p:cNvSpPr>
                <p:nvPr>
                  <p:custDataLst>
                    <p:tags r:id="rId67"/>
                  </p:custDataLst>
                </p:nvPr>
              </p:nvSpPr>
              <p:spPr bwMode="auto">
                <a:xfrm>
                  <a:off x="4132679" y="810190"/>
                  <a:ext cx="346471" cy="162000"/>
                </a:xfrm>
                <a:prstGeom prst="rect">
                  <a:avLst/>
                </a:prstGeom>
                <a:solidFill>
                  <a:srgbClr val="DA291C"/>
                </a:solidFill>
                <a:ln w="12700" algn="ctr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68528" tIns="34268" rIns="68528" bIns="34268" anchor="ctr"/>
                <a:lstStyle/>
                <a:p>
                  <a:pPr algn="ctr"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800" dirty="0" smtClean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5*</a:t>
                  </a:r>
                  <a:endParaRPr lang="de-DE" sz="800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517" name="Rectangle 139"/>
                <p:cNvSpPr>
                  <a:spLocks noChangeArrowheads="1"/>
                </p:cNvSpPr>
                <p:nvPr>
                  <p:custDataLst>
                    <p:tags r:id="rId68"/>
                  </p:custDataLst>
                </p:nvPr>
              </p:nvSpPr>
              <p:spPr bwMode="auto">
                <a:xfrm>
                  <a:off x="3784998" y="810190"/>
                  <a:ext cx="347662" cy="162000"/>
                </a:xfrm>
                <a:prstGeom prst="rect">
                  <a:avLst/>
                </a:prstGeom>
                <a:solidFill>
                  <a:srgbClr val="DA291C"/>
                </a:solidFill>
                <a:ln w="12700" algn="ctr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68528" tIns="34268" rIns="68528" bIns="34268" anchor="ctr"/>
                <a:lstStyle/>
                <a:p>
                  <a:pPr algn="ctr"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800" dirty="0" smtClean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5*</a:t>
                  </a:r>
                  <a:endParaRPr lang="de-DE" sz="800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518" name="Rectangle 140"/>
                <p:cNvSpPr>
                  <a:spLocks noChangeArrowheads="1"/>
                </p:cNvSpPr>
                <p:nvPr>
                  <p:custDataLst>
                    <p:tags r:id="rId69"/>
                  </p:custDataLst>
                </p:nvPr>
              </p:nvSpPr>
              <p:spPr bwMode="auto">
                <a:xfrm>
                  <a:off x="3438529" y="810190"/>
                  <a:ext cx="346472" cy="162000"/>
                </a:xfrm>
                <a:prstGeom prst="rect">
                  <a:avLst/>
                </a:prstGeom>
                <a:solidFill>
                  <a:srgbClr val="DA291C"/>
                </a:solidFill>
                <a:ln w="12700" algn="ctr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68528" tIns="34268" rIns="68528" bIns="34268" anchor="ctr"/>
                <a:lstStyle/>
                <a:p>
                  <a:pPr algn="ctr"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800" dirty="0" smtClean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5*</a:t>
                  </a:r>
                  <a:endParaRPr lang="de-DE" sz="800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519" name="Rectangle 141"/>
                <p:cNvSpPr>
                  <a:spLocks noChangeArrowheads="1"/>
                </p:cNvSpPr>
                <p:nvPr>
                  <p:custDataLst>
                    <p:tags r:id="rId70"/>
                  </p:custDataLst>
                </p:nvPr>
              </p:nvSpPr>
              <p:spPr bwMode="auto">
                <a:xfrm>
                  <a:off x="4479132" y="810190"/>
                  <a:ext cx="347662" cy="162000"/>
                </a:xfrm>
                <a:prstGeom prst="rect">
                  <a:avLst/>
                </a:prstGeom>
                <a:solidFill>
                  <a:srgbClr val="DA291C"/>
                </a:solidFill>
                <a:ln w="12700" algn="ctr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68528" tIns="34268" rIns="68528" bIns="34268" anchor="ctr"/>
                <a:lstStyle/>
                <a:p>
                  <a:pPr algn="ctr"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800" dirty="0" smtClean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5*</a:t>
                  </a:r>
                  <a:endParaRPr lang="de-DE" sz="800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520" name="Rectangle 142"/>
                <p:cNvSpPr>
                  <a:spLocks noChangeArrowheads="1"/>
                </p:cNvSpPr>
                <p:nvPr>
                  <p:custDataLst>
                    <p:tags r:id="rId71"/>
                  </p:custDataLst>
                </p:nvPr>
              </p:nvSpPr>
              <p:spPr bwMode="auto">
                <a:xfrm>
                  <a:off x="5174461" y="810190"/>
                  <a:ext cx="346472" cy="162000"/>
                </a:xfrm>
                <a:prstGeom prst="rect">
                  <a:avLst/>
                </a:prstGeom>
                <a:solidFill>
                  <a:srgbClr val="00B0F0"/>
                </a:solidFill>
                <a:ln w="12700" algn="ctr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68528" tIns="34268" rIns="68528" bIns="34268" anchor="ctr"/>
                <a:lstStyle/>
                <a:p>
                  <a:pPr algn="ctr"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800" dirty="0" smtClean="0">
                      <a:solidFill>
                        <a:prstClr val="black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5*</a:t>
                  </a:r>
                  <a:endParaRPr lang="de-DE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521" name="Rectangle 143"/>
                <p:cNvSpPr>
                  <a:spLocks noChangeArrowheads="1"/>
                </p:cNvSpPr>
                <p:nvPr>
                  <p:custDataLst>
                    <p:tags r:id="rId72"/>
                  </p:custDataLst>
                </p:nvPr>
              </p:nvSpPr>
              <p:spPr bwMode="auto">
                <a:xfrm>
                  <a:off x="4826796" y="810190"/>
                  <a:ext cx="347662" cy="162000"/>
                </a:xfrm>
                <a:prstGeom prst="rect">
                  <a:avLst/>
                </a:prstGeom>
                <a:solidFill>
                  <a:srgbClr val="00B0F0"/>
                </a:solidFill>
                <a:ln w="12700" algn="ctr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68528" tIns="34268" rIns="68528" bIns="34268" anchor="ctr"/>
                <a:lstStyle/>
                <a:p>
                  <a:pPr algn="ctr"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800" dirty="0" smtClean="0">
                      <a:solidFill>
                        <a:prstClr val="black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5*</a:t>
                  </a:r>
                  <a:endParaRPr lang="de-DE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522" name="Rectangle 144"/>
                <p:cNvSpPr>
                  <a:spLocks noChangeArrowheads="1"/>
                </p:cNvSpPr>
                <p:nvPr>
                  <p:custDataLst>
                    <p:tags r:id="rId73"/>
                  </p:custDataLst>
                </p:nvPr>
              </p:nvSpPr>
              <p:spPr bwMode="auto">
                <a:xfrm>
                  <a:off x="5868605" y="810190"/>
                  <a:ext cx="346471" cy="162000"/>
                </a:xfrm>
                <a:prstGeom prst="rect">
                  <a:avLst/>
                </a:prstGeom>
                <a:solidFill>
                  <a:srgbClr val="00B0F0"/>
                </a:solidFill>
                <a:ln w="12700" algn="ctr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68528" tIns="34268" rIns="68528" bIns="34268" anchor="ctr"/>
                <a:lstStyle/>
                <a:p>
                  <a:pPr algn="ctr"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800" dirty="0" smtClean="0">
                      <a:solidFill>
                        <a:prstClr val="black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5*</a:t>
                  </a:r>
                  <a:endParaRPr lang="de-DE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523" name="Rectangle 145"/>
                <p:cNvSpPr>
                  <a:spLocks noChangeArrowheads="1"/>
                </p:cNvSpPr>
                <p:nvPr>
                  <p:custDataLst>
                    <p:tags r:id="rId74"/>
                  </p:custDataLst>
                </p:nvPr>
              </p:nvSpPr>
              <p:spPr bwMode="auto">
                <a:xfrm>
                  <a:off x="5520930" y="810190"/>
                  <a:ext cx="347662" cy="162000"/>
                </a:xfrm>
                <a:prstGeom prst="rect">
                  <a:avLst/>
                </a:prstGeom>
                <a:solidFill>
                  <a:srgbClr val="00B0F0"/>
                </a:solidFill>
                <a:ln w="12700" algn="ctr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68528" tIns="34268" rIns="68528" bIns="34268" anchor="ctr"/>
                <a:lstStyle/>
                <a:p>
                  <a:pPr algn="ctr"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800" dirty="0" smtClean="0">
                      <a:solidFill>
                        <a:prstClr val="black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5*</a:t>
                  </a:r>
                  <a:endParaRPr lang="de-DE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524" name="Text Box 146"/>
                <p:cNvSpPr txBox="1">
                  <a:spLocks noChangeArrowheads="1"/>
                </p:cNvSpPr>
                <p:nvPr>
                  <p:custDataLst>
                    <p:tags r:id="rId75"/>
                  </p:custDataLst>
                </p:nvPr>
              </p:nvSpPr>
              <p:spPr bwMode="auto">
                <a:xfrm>
                  <a:off x="7364222" y="974592"/>
                  <a:ext cx="526321" cy="25387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68528" tIns="34268" rIns="68528" bIns="34268">
                  <a:spAutoFit/>
                </a:bodyPr>
                <a:lstStyle/>
                <a:p>
                  <a:pPr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600" dirty="0">
                      <a:solidFill>
                        <a:prstClr val="black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2570 MHz</a:t>
                  </a:r>
                </a:p>
                <a:p>
                  <a:pPr defTabSz="45713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1F497D"/>
                    </a:buClr>
                  </a:pPr>
                  <a:r>
                    <a:rPr lang="en-US" sz="600" dirty="0">
                      <a:solidFill>
                        <a:prstClr val="black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2690 MHz</a:t>
                  </a:r>
                  <a:endParaRPr lang="de-DE" sz="9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</p:grpSp>
      </p:grpSp>
      <p:grpSp>
        <p:nvGrpSpPr>
          <p:cNvPr id="525" name="Group 524"/>
          <p:cNvGrpSpPr/>
          <p:nvPr/>
        </p:nvGrpSpPr>
        <p:grpSpPr>
          <a:xfrm>
            <a:off x="517451" y="3191228"/>
            <a:ext cx="4039010" cy="469702"/>
            <a:chOff x="1331192" y="3771845"/>
            <a:chExt cx="5385347" cy="626269"/>
          </a:xfrm>
        </p:grpSpPr>
        <p:sp>
          <p:nvSpPr>
            <p:cNvPr id="526" name="Rectangle 83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 flipH="1">
              <a:off x="1331192" y="3771845"/>
              <a:ext cx="1620000" cy="432000"/>
            </a:xfrm>
            <a:prstGeom prst="rect">
              <a:avLst/>
            </a:prstGeom>
            <a:solidFill>
              <a:srgbClr val="DA291C"/>
            </a:solidFill>
            <a:ln w="19050" algn="ctr">
              <a:solidFill>
                <a:srgbClr val="DA291C"/>
              </a:solidFill>
              <a:miter lim="800000"/>
              <a:headEnd/>
              <a:tailEnd/>
            </a:ln>
          </p:spPr>
          <p:txBody>
            <a:bodyPr lIns="13491" tIns="35075" rIns="13491" bIns="35075" anchor="ctr" anchorCtr="1"/>
            <a:lstStyle/>
            <a:p>
              <a:pPr algn="ctr" defTabSz="45713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1200" b="1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900 </a:t>
              </a:r>
              <a:r>
                <a:rPr lang="en-US" sz="1200" b="1" dirty="0" smtClean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Hz</a:t>
              </a:r>
              <a:endParaRPr lang="en-US" sz="12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27" name="Line 84"/>
            <p:cNvSpPr>
              <a:spLocks noChangeShapeType="1"/>
            </p:cNvSpPr>
            <p:nvPr>
              <p:custDataLst>
                <p:tags r:id="rId48"/>
              </p:custDataLst>
            </p:nvPr>
          </p:nvSpPr>
          <p:spPr bwMode="auto">
            <a:xfrm>
              <a:off x="1331192" y="4376706"/>
              <a:ext cx="5257800" cy="7939"/>
            </a:xfrm>
            <a:prstGeom prst="line">
              <a:avLst/>
            </a:prstGeom>
            <a:noFill/>
            <a:ln w="12700">
              <a:solidFill>
                <a:srgbClr val="808080"/>
              </a:solidFill>
              <a:prstDash val="dash"/>
              <a:round/>
              <a:headEnd/>
              <a:tailEnd/>
            </a:ln>
          </p:spPr>
          <p:txBody>
            <a:bodyPr lIns="67448" tIns="35075" rIns="67448" bIns="35075" anchor="ctr"/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  <p:grpSp>
          <p:nvGrpSpPr>
            <p:cNvPr id="528" name="Group 527"/>
            <p:cNvGrpSpPr/>
            <p:nvPr/>
          </p:nvGrpSpPr>
          <p:grpSpPr>
            <a:xfrm>
              <a:off x="3084362" y="3850240"/>
              <a:ext cx="3632177" cy="547874"/>
              <a:chOff x="3110443" y="3849890"/>
              <a:chExt cx="3632177" cy="547874"/>
            </a:xfrm>
          </p:grpSpPr>
          <p:sp>
            <p:nvSpPr>
              <p:cNvPr id="529" name="Text Box 85"/>
              <p:cNvSpPr txBox="1">
                <a:spLocks noChangeArrowheads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3110443" y="4059269"/>
                <a:ext cx="635505" cy="33849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68528" tIns="34268" rIns="68528" bIns="34268">
                <a:spAutoFit/>
              </a:bodyPr>
              <a:lstStyle/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880 MHz</a:t>
                </a:r>
              </a:p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925 MHz</a:t>
                </a:r>
              </a:p>
            </p:txBody>
          </p:sp>
          <p:sp>
            <p:nvSpPr>
              <p:cNvPr id="530" name="Text Box 86"/>
              <p:cNvSpPr txBox="1">
                <a:spLocks noChangeArrowheads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6107115" y="4054506"/>
                <a:ext cx="635505" cy="33849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68528" tIns="34268" rIns="68528" bIns="34268">
                <a:spAutoFit/>
              </a:bodyPr>
              <a:lstStyle/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915 MHz</a:t>
                </a:r>
              </a:p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960 MHz</a:t>
                </a:r>
              </a:p>
            </p:txBody>
          </p:sp>
          <p:sp>
            <p:nvSpPr>
              <p:cNvPr id="531" name="Text Box 87"/>
              <p:cNvSpPr txBox="1">
                <a:spLocks noChangeArrowheads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4669372" y="4054506"/>
                <a:ext cx="652604" cy="33849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68528" tIns="34268" rIns="68528" bIns="34268">
                <a:spAutoFit/>
              </a:bodyPr>
              <a:lstStyle/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Uplink</a:t>
                </a:r>
              </a:p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ownlink</a:t>
                </a:r>
              </a:p>
            </p:txBody>
          </p:sp>
          <p:sp>
            <p:nvSpPr>
              <p:cNvPr id="532" name="Rectangle 105"/>
              <p:cNvSpPr>
                <a:spLocks noChangeArrowheads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3364012" y="3849890"/>
                <a:ext cx="165600" cy="216000"/>
              </a:xfrm>
              <a:prstGeom prst="rect">
                <a:avLst/>
              </a:prstGeom>
              <a:solidFill>
                <a:srgbClr val="DA291C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vert270"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,8</a:t>
                </a:r>
              </a:p>
            </p:txBody>
          </p:sp>
          <p:sp>
            <p:nvSpPr>
              <p:cNvPr id="533" name="Rectangle 105"/>
              <p:cNvSpPr>
                <a:spLocks noChangeArrowheads="1"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3557335" y="3849890"/>
                <a:ext cx="165600" cy="216000"/>
              </a:xfrm>
              <a:prstGeom prst="rect">
                <a:avLst/>
              </a:prstGeom>
              <a:solidFill>
                <a:srgbClr val="00B0F0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vert270"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,8</a:t>
                </a:r>
              </a:p>
            </p:txBody>
          </p:sp>
          <p:sp>
            <p:nvSpPr>
              <p:cNvPr id="534" name="Rectangle 105"/>
              <p:cNvSpPr>
                <a:spLocks noChangeArrowheads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4807979" y="3849890"/>
                <a:ext cx="864000" cy="216000"/>
              </a:xfrm>
              <a:prstGeom prst="rect">
                <a:avLst/>
              </a:prstGeom>
              <a:solidFill>
                <a:srgbClr val="DA291C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solidFill>
                      <a:prstClr val="whit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9,4</a:t>
                </a:r>
              </a:p>
            </p:txBody>
          </p:sp>
          <p:sp>
            <p:nvSpPr>
              <p:cNvPr id="535" name="Rectangle 105"/>
              <p:cNvSpPr>
                <a:spLocks noChangeArrowheads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5699703" y="3849890"/>
                <a:ext cx="720000" cy="216000"/>
              </a:xfrm>
              <a:prstGeom prst="rect">
                <a:avLst/>
              </a:prstGeom>
              <a:solidFill>
                <a:srgbClr val="00B0F0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9,4</a:t>
                </a:r>
              </a:p>
            </p:txBody>
          </p:sp>
          <p:sp>
            <p:nvSpPr>
              <p:cNvPr id="536" name="Rectangle 105"/>
              <p:cNvSpPr>
                <a:spLocks noChangeArrowheads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3750658" y="3849890"/>
                <a:ext cx="1029600" cy="216000"/>
              </a:xfrm>
              <a:prstGeom prst="rect">
                <a:avLst/>
              </a:prstGeom>
              <a:pattFill prst="dotDmnd">
                <a:fgClr>
                  <a:srgbClr val="FDBA31"/>
                </a:fgClr>
                <a:bgClr>
                  <a:srgbClr val="FDBA31"/>
                </a:bgClr>
              </a:patt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1,2</a:t>
                </a:r>
              </a:p>
            </p:txBody>
          </p:sp>
        </p:grpSp>
      </p:grpSp>
      <p:grpSp>
        <p:nvGrpSpPr>
          <p:cNvPr id="537" name="Group 536"/>
          <p:cNvGrpSpPr/>
          <p:nvPr/>
        </p:nvGrpSpPr>
        <p:grpSpPr>
          <a:xfrm>
            <a:off x="523068" y="2668302"/>
            <a:ext cx="7020000" cy="461945"/>
            <a:chOff x="881483" y="3131758"/>
            <a:chExt cx="9360000" cy="615925"/>
          </a:xfrm>
        </p:grpSpPr>
        <p:sp>
          <p:nvSpPr>
            <p:cNvPr id="538" name="Text Box 25"/>
            <p:cNvSpPr txBox="1"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2600339" y="3382200"/>
              <a:ext cx="701761" cy="33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28" tIns="34268" rIns="68528" bIns="34268">
              <a:spAutoFit/>
            </a:bodyPr>
            <a:lstStyle/>
            <a:p>
              <a:pPr defTabSz="45713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710 MHz</a:t>
              </a:r>
            </a:p>
            <a:p>
              <a:pPr defTabSz="45713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805 MHz</a:t>
              </a:r>
            </a:p>
          </p:txBody>
        </p:sp>
        <p:sp>
          <p:nvSpPr>
            <p:cNvPr id="539" name="Text Box 26"/>
            <p:cNvSpPr txBox="1"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5822974" y="3398076"/>
              <a:ext cx="652604" cy="33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28" tIns="34268" rIns="68528" bIns="34268">
              <a:spAutoFit/>
            </a:bodyPr>
            <a:lstStyle/>
            <a:p>
              <a:pPr defTabSz="45713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Uplink</a:t>
              </a:r>
            </a:p>
            <a:p>
              <a:pPr defTabSz="45713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ownlink</a:t>
              </a:r>
            </a:p>
          </p:txBody>
        </p:sp>
        <p:sp>
          <p:nvSpPr>
            <p:cNvPr id="540" name="Rectangle 28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 flipH="1">
              <a:off x="881483" y="3131758"/>
              <a:ext cx="1620000" cy="432000"/>
            </a:xfrm>
            <a:prstGeom prst="rect">
              <a:avLst/>
            </a:prstGeom>
            <a:solidFill>
              <a:srgbClr val="DA291C"/>
            </a:solidFill>
            <a:ln w="19050" algn="ctr">
              <a:solidFill>
                <a:srgbClr val="DA291C"/>
              </a:solidFill>
              <a:miter lim="800000"/>
              <a:headEnd/>
              <a:tailEnd/>
            </a:ln>
          </p:spPr>
          <p:txBody>
            <a:bodyPr lIns="13491" tIns="35075" rIns="13491" bIns="35075" anchor="ctr" anchorCtr="1"/>
            <a:lstStyle/>
            <a:p>
              <a:pPr algn="ctr" defTabSz="457130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1200" b="1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,8 </a:t>
              </a:r>
              <a:r>
                <a:rPr lang="en-US" sz="1200" b="1" dirty="0" smtClean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Hz</a:t>
              </a:r>
              <a:endParaRPr lang="en-US" sz="12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41" name="Line 64"/>
            <p:cNvSpPr>
              <a:spLocks noChangeShapeType="1"/>
            </p:cNvSpPr>
            <p:nvPr>
              <p:custDataLst>
                <p:tags r:id="rId39"/>
              </p:custDataLst>
            </p:nvPr>
          </p:nvSpPr>
          <p:spPr bwMode="auto">
            <a:xfrm>
              <a:off x="881483" y="3708037"/>
              <a:ext cx="9360000" cy="14287"/>
            </a:xfrm>
            <a:prstGeom prst="line">
              <a:avLst/>
            </a:prstGeom>
            <a:noFill/>
            <a:ln w="12700">
              <a:solidFill>
                <a:srgbClr val="808080"/>
              </a:solidFill>
              <a:prstDash val="dash"/>
              <a:round/>
              <a:headEnd/>
              <a:tailEnd/>
            </a:ln>
          </p:spPr>
          <p:txBody>
            <a:bodyPr lIns="67448" tIns="35075" rIns="67448" bIns="35075" anchor="ctr"/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542" name="Text Box 97"/>
            <p:cNvSpPr txBox="1"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9220047" y="3409189"/>
              <a:ext cx="701761" cy="338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28" tIns="34268" rIns="68528" bIns="34268">
              <a:spAutoFit/>
            </a:bodyPr>
            <a:lstStyle/>
            <a:p>
              <a:pPr defTabSz="45713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785 MHz</a:t>
              </a:r>
            </a:p>
            <a:p>
              <a:pPr defTabSz="45713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880 MHz</a:t>
              </a:r>
            </a:p>
          </p:txBody>
        </p:sp>
        <p:sp>
          <p:nvSpPr>
            <p:cNvPr id="543" name="Rectangle 105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2878066" y="3198827"/>
              <a:ext cx="1429111" cy="216000"/>
            </a:xfrm>
            <a:prstGeom prst="rect">
              <a:avLst/>
            </a:prstGeom>
            <a:solidFill>
              <a:srgbClr val="DA291C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5</a:t>
              </a:r>
            </a:p>
          </p:txBody>
        </p:sp>
        <p:sp>
          <p:nvSpPr>
            <p:cNvPr id="544" name="Rectangle 105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4307183" y="3198827"/>
              <a:ext cx="1411295" cy="216000"/>
            </a:xfrm>
            <a:prstGeom prst="rect">
              <a:avLst/>
            </a:prstGeom>
            <a:solidFill>
              <a:srgbClr val="00B0F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8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5</a:t>
              </a:r>
            </a:p>
          </p:txBody>
        </p:sp>
        <p:sp>
          <p:nvSpPr>
            <p:cNvPr id="545" name="Rectangle 105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5718478" y="3198827"/>
              <a:ext cx="1423375" cy="216000"/>
            </a:xfrm>
            <a:prstGeom prst="rect">
              <a:avLst/>
            </a:prstGeom>
            <a:pattFill prst="dotDmnd">
              <a:fgClr>
                <a:srgbClr val="FDBA31"/>
              </a:fgClr>
              <a:bgClr>
                <a:srgbClr val="FDBA31"/>
              </a:bgClr>
            </a:patt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8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5</a:t>
              </a:r>
            </a:p>
          </p:txBody>
        </p:sp>
        <p:sp>
          <p:nvSpPr>
            <p:cNvPr id="546" name="Rectangle 110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7142489" y="3198288"/>
              <a:ext cx="503548" cy="216000"/>
            </a:xfrm>
            <a:prstGeom prst="rect">
              <a:avLst/>
            </a:prstGeom>
            <a:solidFill>
              <a:srgbClr val="7030A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none" lIns="68528" tIns="34268" rIns="68528" bIns="34268" anchor="ctr"/>
            <a:lstStyle/>
            <a:p>
              <a:pPr algn="ctr" defTabSz="457130" eaLnBrk="0" hangingPunct="0">
                <a:buClr>
                  <a:srgbClr val="1F497D"/>
                </a:buClr>
              </a:pPr>
              <a:r>
                <a:rPr lang="en-US" sz="8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5</a:t>
              </a:r>
            </a:p>
          </p:txBody>
        </p:sp>
        <p:sp>
          <p:nvSpPr>
            <p:cNvPr id="547" name="Rectangle 110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8438404" y="3198023"/>
              <a:ext cx="1072231" cy="216000"/>
            </a:xfrm>
            <a:prstGeom prst="rect">
              <a:avLst/>
            </a:prstGeom>
            <a:solidFill>
              <a:srgbClr val="FACDC8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8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5</a:t>
              </a:r>
            </a:p>
          </p:txBody>
        </p:sp>
        <p:sp>
          <p:nvSpPr>
            <p:cNvPr id="548" name="Rectangle 110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auto">
            <a:xfrm>
              <a:off x="7646037" y="3198287"/>
              <a:ext cx="792367" cy="21600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8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0</a:t>
              </a:r>
            </a:p>
          </p:txBody>
        </p:sp>
      </p:grpSp>
      <p:sp>
        <p:nvSpPr>
          <p:cNvPr id="549" name="Rectangle 10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20505" y="3785643"/>
            <a:ext cx="1609748" cy="162000"/>
          </a:xfrm>
          <a:prstGeom prst="rect">
            <a:avLst/>
          </a:prstGeom>
          <a:solidFill>
            <a:schemeClr val="accent6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vert="horz" wrap="none" lIns="68528" tIns="34268" rIns="68528" bIns="34268" anchor="ctr"/>
          <a:lstStyle/>
          <a:p>
            <a:pPr algn="ctr" defTabSz="457130" eaLnBrk="0" fontAlgn="base" hangingPunct="0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</a:pPr>
            <a:r>
              <a:rPr lang="bg-BG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1</a:t>
            </a:r>
            <a:endParaRPr lang="en-US" sz="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50" name="Rectangle 10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630252" y="3785643"/>
            <a:ext cx="542090" cy="162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vert="horz" wrap="none" lIns="68528" tIns="34268" rIns="68528" bIns="34268" anchor="ctr"/>
          <a:lstStyle/>
          <a:p>
            <a:pPr algn="ctr" defTabSz="457130" eaLnBrk="0" fontAlgn="base" hangingPunct="0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</a:pPr>
            <a:r>
              <a:rPr lang="bg-BG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</a:t>
            </a:r>
            <a:endParaRPr lang="en-US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551" name="Group 550"/>
          <p:cNvGrpSpPr/>
          <p:nvPr/>
        </p:nvGrpSpPr>
        <p:grpSpPr>
          <a:xfrm>
            <a:off x="517450" y="1028292"/>
            <a:ext cx="7209008" cy="436849"/>
            <a:chOff x="912143" y="1029853"/>
            <a:chExt cx="9612010" cy="582465"/>
          </a:xfrm>
        </p:grpSpPr>
        <p:sp>
          <p:nvSpPr>
            <p:cNvPr id="552" name="Line 23"/>
            <p:cNvSpPr>
              <a:spLocks noChangeShapeType="1"/>
            </p:cNvSpPr>
            <p:nvPr>
              <p:custDataLst>
                <p:tags r:id="rId25"/>
              </p:custDataLst>
            </p:nvPr>
          </p:nvSpPr>
          <p:spPr bwMode="auto">
            <a:xfrm>
              <a:off x="919634" y="1610730"/>
              <a:ext cx="9360000" cy="1588"/>
            </a:xfrm>
            <a:prstGeom prst="line">
              <a:avLst/>
            </a:prstGeom>
            <a:noFill/>
            <a:ln w="12700">
              <a:solidFill>
                <a:srgbClr val="808080"/>
              </a:solidFill>
              <a:prstDash val="dash"/>
              <a:round/>
              <a:headEnd/>
              <a:tailEnd/>
            </a:ln>
          </p:spPr>
          <p:txBody>
            <a:bodyPr lIns="67448" tIns="35075" rIns="67448" bIns="35075" anchor="ctr"/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553" name="Rectangle 63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 flipH="1">
              <a:off x="912143" y="1029853"/>
              <a:ext cx="1620000" cy="432000"/>
            </a:xfrm>
            <a:prstGeom prst="rect">
              <a:avLst/>
            </a:prstGeom>
            <a:solidFill>
              <a:srgbClr val="DA291C"/>
            </a:solidFill>
            <a:ln w="19050" algn="ctr">
              <a:solidFill>
                <a:srgbClr val="DA291C"/>
              </a:solidFill>
              <a:miter lim="800000"/>
              <a:headEnd/>
              <a:tailEnd/>
            </a:ln>
          </p:spPr>
          <p:txBody>
            <a:bodyPr lIns="13491" tIns="35075" rIns="13491" bIns="35075" anchor="ctr" anchorCtr="1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1200" b="1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,6 </a:t>
              </a:r>
              <a:r>
                <a:rPr lang="en-US" sz="1200" b="1" dirty="0" smtClean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Hz</a:t>
              </a:r>
              <a:endParaRPr lang="en-US" sz="12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54" name="Text Box 134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2593554" y="1339806"/>
              <a:ext cx="701761" cy="2153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28" tIns="34268" rIns="68528" bIns="34268">
              <a:spAutoFit/>
            </a:bodyPr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400 MHz</a:t>
              </a:r>
            </a:p>
          </p:txBody>
        </p:sp>
        <p:sp>
          <p:nvSpPr>
            <p:cNvPr id="555" name="Text Box 135"/>
            <p:cNvSpPr txBox="1"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5816172" y="1336627"/>
              <a:ext cx="406809" cy="2153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28" tIns="34268" rIns="68528" bIns="34268">
              <a:spAutoFit/>
            </a:bodyPr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DD</a:t>
              </a:r>
              <a:endParaRPr lang="de-DE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56" name="Rectangle 136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2916014" y="1124773"/>
              <a:ext cx="540000" cy="21600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8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0</a:t>
              </a:r>
              <a:endParaRPr lang="de-DE" sz="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57" name="Text Box 146"/>
            <p:cNvSpPr txBox="1"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9822392" y="1333454"/>
              <a:ext cx="701761" cy="2153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28" tIns="34268" rIns="68528" bIns="34268">
              <a:spAutoFit/>
            </a:bodyPr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6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800 MHz</a:t>
              </a:r>
              <a:endParaRPr lang="de-DE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58" name="Rectangle 136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3456014" y="1124576"/>
              <a:ext cx="3059999" cy="216001"/>
            </a:xfrm>
            <a:prstGeom prst="rect">
              <a:avLst/>
            </a:prstGeom>
            <a:noFill/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800" dirty="0">
                  <a:solidFill>
                    <a:srgbClr val="000000"/>
                  </a:solidFill>
                  <a:ea typeface="ＭＳ Ｐゴシック" pitchFamily="34" charset="-128"/>
                  <a:cs typeface="Arial" pitchFamily="34" charset="0"/>
                </a:rPr>
                <a:t>170</a:t>
              </a:r>
              <a:endParaRPr lang="de-DE" sz="800" dirty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559" name="Rectangle 136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6517781" y="1125807"/>
              <a:ext cx="756000" cy="21600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8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42</a:t>
              </a:r>
              <a:endParaRPr lang="de-DE" sz="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60" name="Rectangle 136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7335422" y="1124616"/>
              <a:ext cx="990000" cy="216001"/>
            </a:xfrm>
            <a:prstGeom prst="rect">
              <a:avLst/>
            </a:prstGeom>
            <a:noFill/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800" dirty="0">
                  <a:solidFill>
                    <a:prstClr val="black"/>
                  </a:solidFill>
                  <a:ea typeface="ＭＳ Ｐゴシック" pitchFamily="34" charset="-128"/>
                  <a:cs typeface="Arial" pitchFamily="34" charset="0"/>
                </a:rPr>
                <a:t>55</a:t>
              </a:r>
              <a:endParaRPr lang="de-DE" sz="800" dirty="0">
                <a:solidFill>
                  <a:prstClr val="black"/>
                </a:solidFill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561" name="Rectangle 13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9137772" y="1124572"/>
              <a:ext cx="990000" cy="216001"/>
            </a:xfrm>
            <a:prstGeom prst="rect">
              <a:avLst/>
            </a:prstGeom>
            <a:noFill/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800" dirty="0">
                  <a:solidFill>
                    <a:prstClr val="black"/>
                  </a:solidFill>
                  <a:ea typeface="ＭＳ Ｐゴシック" pitchFamily="34" charset="-128"/>
                  <a:cs typeface="Arial" pitchFamily="34" charset="0"/>
                </a:rPr>
                <a:t>55</a:t>
              </a:r>
              <a:endParaRPr lang="de-DE" sz="800" dirty="0">
                <a:solidFill>
                  <a:prstClr val="black"/>
                </a:solidFill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562" name="Rectangle 136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8325422" y="1126184"/>
              <a:ext cx="756000" cy="21600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8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42</a:t>
              </a:r>
              <a:endParaRPr lang="de-DE" sz="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563" name="Group 562"/>
          <p:cNvGrpSpPr/>
          <p:nvPr/>
        </p:nvGrpSpPr>
        <p:grpSpPr>
          <a:xfrm>
            <a:off x="523069" y="3731814"/>
            <a:ext cx="4039010" cy="469702"/>
            <a:chOff x="1331192" y="3771845"/>
            <a:chExt cx="5385347" cy="626269"/>
          </a:xfrm>
        </p:grpSpPr>
        <p:sp>
          <p:nvSpPr>
            <p:cNvPr id="564" name="Rectangle 8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 flipH="1">
              <a:off x="1331192" y="3771845"/>
              <a:ext cx="1620000" cy="432000"/>
            </a:xfrm>
            <a:prstGeom prst="rect">
              <a:avLst/>
            </a:prstGeom>
            <a:solidFill>
              <a:srgbClr val="DA291C"/>
            </a:solidFill>
            <a:ln w="19050" algn="ctr">
              <a:solidFill>
                <a:srgbClr val="DA291C"/>
              </a:solidFill>
              <a:miter lim="800000"/>
              <a:headEnd/>
              <a:tailEnd/>
            </a:ln>
          </p:spPr>
          <p:txBody>
            <a:bodyPr lIns="13491" tIns="35075" rIns="13491" bIns="35075" anchor="ctr" anchorCtr="1"/>
            <a:lstStyle/>
            <a:p>
              <a:pPr algn="ctr" defTabSz="45713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1200" b="1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800 </a:t>
              </a:r>
              <a:r>
                <a:rPr lang="en-US" sz="1200" b="1" dirty="0" smtClean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Hz</a:t>
              </a:r>
              <a:endParaRPr lang="en-US" sz="12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65" name="Line 84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1331192" y="4376706"/>
              <a:ext cx="5257800" cy="7939"/>
            </a:xfrm>
            <a:prstGeom prst="line">
              <a:avLst/>
            </a:prstGeom>
            <a:noFill/>
            <a:ln w="12700">
              <a:solidFill>
                <a:srgbClr val="808080"/>
              </a:solidFill>
              <a:prstDash val="dash"/>
              <a:round/>
              <a:headEnd/>
              <a:tailEnd/>
            </a:ln>
          </p:spPr>
          <p:txBody>
            <a:bodyPr lIns="67448" tIns="35075" rIns="67448" bIns="35075" anchor="ctr"/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  <p:grpSp>
          <p:nvGrpSpPr>
            <p:cNvPr id="566" name="Group 565"/>
            <p:cNvGrpSpPr/>
            <p:nvPr/>
          </p:nvGrpSpPr>
          <p:grpSpPr>
            <a:xfrm>
              <a:off x="3084362" y="4054856"/>
              <a:ext cx="3632177" cy="343258"/>
              <a:chOff x="3110443" y="4054506"/>
              <a:chExt cx="3632177" cy="343258"/>
            </a:xfrm>
          </p:grpSpPr>
          <p:sp>
            <p:nvSpPr>
              <p:cNvPr id="567" name="Text Box 85"/>
              <p:cNvSpPr txBox="1"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3110443" y="4059269"/>
                <a:ext cx="635505" cy="33849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68528" tIns="34268" rIns="68528" bIns="34268">
                <a:spAutoFit/>
              </a:bodyPr>
              <a:lstStyle/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bg-BG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790</a:t>
                </a:r>
                <a:r>
                  <a:rPr lang="en-GB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MHz</a:t>
                </a:r>
              </a:p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bg-BG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822</a:t>
                </a: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MHz</a:t>
                </a:r>
              </a:p>
            </p:txBody>
          </p:sp>
          <p:sp>
            <p:nvSpPr>
              <p:cNvPr id="568" name="Text Box 86"/>
              <p:cNvSpPr txBox="1"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6107115" y="4054506"/>
                <a:ext cx="635505" cy="33849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68528" tIns="34268" rIns="68528" bIns="34268">
                <a:spAutoFit/>
              </a:bodyPr>
              <a:lstStyle/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bg-BG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821</a:t>
                </a: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MHz</a:t>
                </a:r>
              </a:p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bg-BG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852</a:t>
                </a: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MHz</a:t>
                </a:r>
              </a:p>
            </p:txBody>
          </p:sp>
          <p:sp>
            <p:nvSpPr>
              <p:cNvPr id="569" name="Text Box 87"/>
              <p:cNvSpPr txBox="1"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669372" y="4054506"/>
                <a:ext cx="652604" cy="33849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68528" tIns="34268" rIns="68528" bIns="34268">
                <a:spAutoFit/>
              </a:bodyPr>
              <a:lstStyle/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Uplink</a:t>
                </a:r>
              </a:p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ownlink</a:t>
                </a:r>
              </a:p>
            </p:txBody>
          </p:sp>
        </p:grpSp>
      </p:grpSp>
      <p:grpSp>
        <p:nvGrpSpPr>
          <p:cNvPr id="570" name="Group 569"/>
          <p:cNvGrpSpPr/>
          <p:nvPr/>
        </p:nvGrpSpPr>
        <p:grpSpPr>
          <a:xfrm>
            <a:off x="5765009" y="3403486"/>
            <a:ext cx="2287870" cy="1030832"/>
            <a:chOff x="7884963" y="4037548"/>
            <a:chExt cx="3050492" cy="1374442"/>
          </a:xfrm>
        </p:grpSpPr>
        <p:sp>
          <p:nvSpPr>
            <p:cNvPr id="571" name="Rectangle 11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7973909" y="4704310"/>
              <a:ext cx="103312" cy="116487"/>
            </a:xfrm>
            <a:prstGeom prst="rect">
              <a:avLst/>
            </a:prstGeom>
            <a:solidFill>
              <a:srgbClr val="FACDC8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endParaRPr lang="en-US" sz="800" dirty="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572" name="Text Box 65"/>
            <p:cNvSpPr txBox="1">
              <a:spLocks noChangeArrowheads="1"/>
            </p:cNvSpPr>
            <p:nvPr/>
          </p:nvSpPr>
          <p:spPr bwMode="auto">
            <a:xfrm>
              <a:off x="7884963" y="4037548"/>
              <a:ext cx="2950550" cy="239422"/>
            </a:xfrm>
            <a:prstGeom prst="rect">
              <a:avLst/>
            </a:prstGeom>
            <a:noFill/>
            <a:ln w="254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67448" tIns="26978" rIns="67448" bIns="80938"/>
            <a:lstStyle/>
            <a:p>
              <a:pPr marL="135620" indent="-135620" defTabSz="457130" eaLnBrk="0" hangingPunct="0">
                <a:spcBef>
                  <a:spcPct val="50000"/>
                </a:spcBef>
                <a:buClr>
                  <a:srgbClr val="1F497D"/>
                </a:buClr>
              </a:pPr>
              <a:r>
                <a:rPr lang="bg-BG" sz="900" b="1" dirty="0" smtClean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Легенда</a:t>
              </a:r>
              <a:endParaRPr lang="en-GB" sz="9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73" name="Rectangle 5"/>
            <p:cNvSpPr>
              <a:spLocks noChangeArrowheads="1"/>
            </p:cNvSpPr>
            <p:nvPr/>
          </p:nvSpPr>
          <p:spPr bwMode="auto">
            <a:xfrm>
              <a:off x="8962102" y="4427422"/>
              <a:ext cx="106073" cy="119063"/>
            </a:xfrm>
            <a:prstGeom prst="rect">
              <a:avLst/>
            </a:prstGeom>
            <a:solidFill>
              <a:srgbClr val="00B0F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endParaRPr lang="de-DE" sz="800" dirty="0">
                <a:solidFill>
                  <a:prstClr val="black"/>
                </a:solidFill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574" name="Text Box 89"/>
            <p:cNvSpPr txBox="1">
              <a:spLocks noChangeArrowheads="1"/>
            </p:cNvSpPr>
            <p:nvPr/>
          </p:nvSpPr>
          <p:spPr bwMode="auto">
            <a:xfrm>
              <a:off x="9068175" y="4357120"/>
              <a:ext cx="697487" cy="2564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28" tIns="34268" rIns="68528" bIns="34268">
              <a:spAutoFit/>
            </a:bodyPr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de-DE" sz="8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elenor</a:t>
              </a:r>
            </a:p>
          </p:txBody>
        </p:sp>
        <p:sp>
          <p:nvSpPr>
            <p:cNvPr id="575" name="Text Box 100"/>
            <p:cNvSpPr txBox="1">
              <a:spLocks noChangeArrowheads="1"/>
            </p:cNvSpPr>
            <p:nvPr/>
          </p:nvSpPr>
          <p:spPr bwMode="auto">
            <a:xfrm>
              <a:off x="10030704" y="4346248"/>
              <a:ext cx="804808" cy="2564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8528" tIns="34268" rIns="68528" bIns="34268">
              <a:spAutoFit/>
            </a:bodyPr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de-DE" sz="8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Vivacom</a:t>
              </a:r>
            </a:p>
          </p:txBody>
        </p:sp>
        <p:sp>
          <p:nvSpPr>
            <p:cNvPr id="576" name="Rectangle 5"/>
            <p:cNvSpPr>
              <a:spLocks noChangeArrowheads="1"/>
            </p:cNvSpPr>
            <p:nvPr/>
          </p:nvSpPr>
          <p:spPr bwMode="auto">
            <a:xfrm>
              <a:off x="7977660" y="4427679"/>
              <a:ext cx="106073" cy="119063"/>
            </a:xfrm>
            <a:prstGeom prst="rect">
              <a:avLst/>
            </a:prstGeom>
            <a:solidFill>
              <a:srgbClr val="FF000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endParaRPr lang="de-DE" sz="800" dirty="0">
                <a:solidFill>
                  <a:prstClr val="black"/>
                </a:solidFill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577" name="Text Box 89"/>
            <p:cNvSpPr txBox="1">
              <a:spLocks noChangeArrowheads="1"/>
            </p:cNvSpPr>
            <p:nvPr/>
          </p:nvSpPr>
          <p:spPr bwMode="auto">
            <a:xfrm>
              <a:off x="8108020" y="4353832"/>
              <a:ext cx="616268" cy="2564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28" tIns="34268" rIns="68528" bIns="34268">
              <a:spAutoFit/>
            </a:bodyPr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8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1 BG</a:t>
              </a:r>
              <a:endParaRPr lang="de-DE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78" name="Rectangle 5"/>
            <p:cNvSpPr>
              <a:spLocks noChangeArrowheads="1"/>
            </p:cNvSpPr>
            <p:nvPr/>
          </p:nvSpPr>
          <p:spPr bwMode="auto">
            <a:xfrm>
              <a:off x="9896263" y="4427422"/>
              <a:ext cx="106073" cy="119063"/>
            </a:xfrm>
            <a:prstGeom prst="rect">
              <a:avLst/>
            </a:prstGeom>
            <a:solidFill>
              <a:srgbClr val="F8DA4C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endParaRPr lang="de-DE" sz="800" dirty="0">
                <a:solidFill>
                  <a:prstClr val="black"/>
                </a:solidFill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579" name="Text Box 89"/>
            <p:cNvSpPr txBox="1">
              <a:spLocks noChangeArrowheads="1"/>
            </p:cNvSpPr>
            <p:nvPr/>
          </p:nvSpPr>
          <p:spPr bwMode="auto">
            <a:xfrm>
              <a:off x="8083734" y="4637125"/>
              <a:ext cx="1546010" cy="2564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28" tIns="34268" rIns="68528" bIns="34268">
              <a:spAutoFit/>
            </a:bodyPr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800" dirty="0" err="1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com</a:t>
              </a:r>
              <a:r>
                <a:rPr lang="en-US" sz="8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(</a:t>
              </a:r>
              <a:r>
                <a:rPr lang="en-US" sz="800" dirty="0" err="1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axtelecom</a:t>
              </a:r>
              <a:r>
                <a:rPr lang="en-US" sz="800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)</a:t>
              </a:r>
              <a:endParaRPr lang="de-DE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80" name="Text Box 89"/>
            <p:cNvSpPr txBox="1">
              <a:spLocks noChangeArrowheads="1"/>
            </p:cNvSpPr>
            <p:nvPr/>
          </p:nvSpPr>
          <p:spPr bwMode="auto">
            <a:xfrm>
              <a:off x="10039195" y="4604846"/>
              <a:ext cx="896260" cy="2564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28" tIns="34268" rIns="68528" bIns="34268">
              <a:spAutoFit/>
            </a:bodyPr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800" dirty="0" err="1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ulsatcom</a:t>
              </a:r>
              <a:endParaRPr lang="de-DE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81" name="Text Box 89"/>
            <p:cNvSpPr txBox="1">
              <a:spLocks noChangeArrowheads="1"/>
            </p:cNvSpPr>
            <p:nvPr/>
          </p:nvSpPr>
          <p:spPr bwMode="auto">
            <a:xfrm>
              <a:off x="10033891" y="4911436"/>
              <a:ext cx="361925" cy="2564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28" tIns="34268" rIns="68528" bIns="34268">
              <a:spAutoFit/>
            </a:bodyPr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bg-BG" sz="800" dirty="0" smtClean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ТВ</a:t>
              </a:r>
              <a:endParaRPr lang="de-DE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82" name="Text Box 89"/>
            <p:cNvSpPr txBox="1">
              <a:spLocks noChangeArrowheads="1"/>
            </p:cNvSpPr>
            <p:nvPr/>
          </p:nvSpPr>
          <p:spPr bwMode="auto">
            <a:xfrm>
              <a:off x="8082944" y="4892842"/>
              <a:ext cx="1802490" cy="2564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28" tIns="34268" rIns="68528" bIns="34268">
              <a:spAutoFit/>
            </a:bodyPr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bg-BG" sz="800" dirty="0" smtClean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Национална сигурност</a:t>
              </a:r>
              <a:endParaRPr lang="de-DE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83" name="Rectangle 110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9893056" y="4701711"/>
              <a:ext cx="112489" cy="116464"/>
            </a:xfrm>
            <a:prstGeom prst="rect">
              <a:avLst/>
            </a:prstGeom>
            <a:solidFill>
              <a:srgbClr val="7030A0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none" lIns="68528" tIns="34268" rIns="68528" bIns="34268" anchor="ctr"/>
            <a:lstStyle/>
            <a:p>
              <a:pPr algn="ctr" defTabSz="457130" eaLnBrk="0" hangingPunct="0">
                <a:buClr>
                  <a:srgbClr val="1F497D"/>
                </a:buClr>
              </a:pPr>
              <a:endParaRPr lang="en-US" sz="800" dirty="0">
                <a:solidFill>
                  <a:prstClr val="black"/>
                </a:solidFill>
                <a:ea typeface="ＭＳ Ｐゴシック" pitchFamily="34" charset="-128"/>
              </a:endParaRPr>
            </a:p>
          </p:txBody>
        </p:sp>
        <p:sp>
          <p:nvSpPr>
            <p:cNvPr id="584" name="Rectangle 136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7971377" y="4961555"/>
              <a:ext cx="111329" cy="11906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endParaRPr lang="de-DE" sz="80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585" name="Rectangle 136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9901449" y="4971225"/>
              <a:ext cx="111329" cy="119062"/>
            </a:xfrm>
            <a:prstGeom prst="rect">
              <a:avLst/>
            </a:prstGeom>
            <a:solidFill>
              <a:schemeClr val="accent6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endParaRPr lang="de-DE" sz="800" dirty="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586" name="Rectangle 136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7971377" y="5228999"/>
              <a:ext cx="108377" cy="109629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 w="12700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68528" tIns="34268" rIns="68528" bIns="34268" anchor="ctr"/>
            <a:lstStyle/>
            <a:p>
              <a:pPr algn="ctr"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endParaRPr lang="de-DE" sz="800" dirty="0">
                <a:solidFill>
                  <a:prstClr val="black"/>
                </a:solidFill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587" name="Text Box 89"/>
            <p:cNvSpPr txBox="1">
              <a:spLocks noChangeArrowheads="1"/>
            </p:cNvSpPr>
            <p:nvPr/>
          </p:nvSpPr>
          <p:spPr bwMode="auto">
            <a:xfrm>
              <a:off x="8083734" y="5155569"/>
              <a:ext cx="691076" cy="2564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28" tIns="34268" rIns="68528" bIns="34268">
              <a:spAutoFit/>
            </a:bodyPr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800" dirty="0" err="1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ulatsa</a:t>
              </a:r>
              <a:endParaRPr lang="de-DE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588" name="Group 587"/>
          <p:cNvGrpSpPr/>
          <p:nvPr/>
        </p:nvGrpSpPr>
        <p:grpSpPr>
          <a:xfrm>
            <a:off x="523068" y="4278355"/>
            <a:ext cx="4860000" cy="714346"/>
            <a:chOff x="881483" y="5499378"/>
            <a:chExt cx="6480000" cy="952461"/>
          </a:xfrm>
        </p:grpSpPr>
        <p:sp>
          <p:nvSpPr>
            <p:cNvPr id="589" name="Rectangle 8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flipH="1">
              <a:off x="881483" y="5708231"/>
              <a:ext cx="1620000" cy="432000"/>
            </a:xfrm>
            <a:prstGeom prst="rect">
              <a:avLst/>
            </a:prstGeom>
            <a:solidFill>
              <a:srgbClr val="DA291C"/>
            </a:solidFill>
            <a:ln w="19050" algn="ctr">
              <a:noFill/>
              <a:miter lim="800000"/>
              <a:headEnd/>
              <a:tailEnd/>
            </a:ln>
          </p:spPr>
          <p:txBody>
            <a:bodyPr lIns="13491" tIns="35075" rIns="13491" bIns="35075" anchor="ctr" anchorCtr="1"/>
            <a:lstStyle/>
            <a:p>
              <a:pPr algn="ctr" defTabSz="45713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en-US" sz="1200" b="1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700 </a:t>
              </a:r>
              <a:r>
                <a:rPr lang="en-US" sz="1200" b="1" dirty="0" smtClean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Hz</a:t>
              </a:r>
              <a:endParaRPr lang="en-US" sz="12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90" name="Line 84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881483" y="6443900"/>
              <a:ext cx="6480000" cy="7939"/>
            </a:xfrm>
            <a:prstGeom prst="line">
              <a:avLst/>
            </a:prstGeom>
            <a:noFill/>
            <a:ln w="12700">
              <a:solidFill>
                <a:srgbClr val="808080"/>
              </a:solidFill>
              <a:prstDash val="dash"/>
              <a:round/>
              <a:headEnd/>
              <a:tailEnd/>
            </a:ln>
          </p:spPr>
          <p:txBody>
            <a:bodyPr lIns="67448" tIns="35075" rIns="67448" bIns="35075" anchor="ctr"/>
            <a:lstStyle/>
            <a:p>
              <a:pPr defTabSz="45713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  <p:grpSp>
          <p:nvGrpSpPr>
            <p:cNvPr id="591" name="Group 590"/>
            <p:cNvGrpSpPr/>
            <p:nvPr/>
          </p:nvGrpSpPr>
          <p:grpSpPr>
            <a:xfrm>
              <a:off x="1583642" y="5499378"/>
              <a:ext cx="5727145" cy="855777"/>
              <a:chOff x="2059432" y="4009140"/>
              <a:chExt cx="5727145" cy="855777"/>
            </a:xfrm>
          </p:grpSpPr>
          <p:sp>
            <p:nvSpPr>
              <p:cNvPr id="599" name="Text Box 85"/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3102952" y="4266717"/>
                <a:ext cx="635505" cy="33849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68528" tIns="34268" rIns="68528" bIns="34268">
                <a:spAutoFit/>
              </a:bodyPr>
              <a:lstStyle/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bg-BG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703</a:t>
                </a:r>
                <a:r>
                  <a:rPr lang="en-GB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MHz</a:t>
                </a:r>
              </a:p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bg-BG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758</a:t>
                </a: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MHz</a:t>
                </a:r>
              </a:p>
            </p:txBody>
          </p:sp>
          <p:sp>
            <p:nvSpPr>
              <p:cNvPr id="600" name="Text Box 86"/>
              <p:cNvSpPr txBox="1"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7151072" y="4266717"/>
                <a:ext cx="635505" cy="33849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68528" tIns="34268" rIns="68528" bIns="34268">
                <a:spAutoFit/>
              </a:bodyPr>
              <a:lstStyle/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bg-BG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748</a:t>
                </a: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MHz</a:t>
                </a:r>
              </a:p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bg-BG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803</a:t>
                </a: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MHz</a:t>
                </a:r>
              </a:p>
            </p:txBody>
          </p:sp>
          <p:sp>
            <p:nvSpPr>
              <p:cNvPr id="601" name="Text Box 87"/>
              <p:cNvSpPr txBox="1"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5015092" y="4250729"/>
                <a:ext cx="652604" cy="33849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68528" tIns="34268" rIns="68528" bIns="34268">
                <a:spAutoFit/>
              </a:bodyPr>
              <a:lstStyle/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Uplink</a:t>
                </a:r>
              </a:p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ownlink</a:t>
                </a:r>
              </a:p>
            </p:txBody>
          </p:sp>
          <p:sp>
            <p:nvSpPr>
              <p:cNvPr id="602" name="Text Box 85"/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2059432" y="4009140"/>
                <a:ext cx="1157015" cy="21538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68528" tIns="34268" rIns="68528" bIns="34268">
                <a:spAutoFit/>
              </a:bodyPr>
              <a:lstStyle/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bg-BG" sz="600" dirty="0" smtClean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Преди</a:t>
                </a:r>
                <a:r>
                  <a:rPr lang="en-US" sz="600" dirty="0" smtClean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31.05.2020</a:t>
                </a:r>
              </a:p>
            </p:txBody>
          </p:sp>
          <p:sp>
            <p:nvSpPr>
              <p:cNvPr id="603" name="Text Box 85"/>
              <p:cNvSpPr txBox="1"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2142788" y="4649533"/>
                <a:ext cx="1086483" cy="21538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68528" tIns="34268" rIns="68528" bIns="34268">
                <a:spAutoFit/>
              </a:bodyPr>
              <a:lstStyle/>
              <a:p>
                <a:pPr defTabSz="4571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bg-BG" sz="600" dirty="0" smtClean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След</a:t>
                </a:r>
                <a:r>
                  <a:rPr lang="en-US" sz="600" dirty="0" smtClean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en-US" sz="6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31.05.2020</a:t>
                </a:r>
              </a:p>
            </p:txBody>
          </p:sp>
        </p:grpSp>
        <p:grpSp>
          <p:nvGrpSpPr>
            <p:cNvPr id="592" name="Group 591"/>
            <p:cNvGrpSpPr/>
            <p:nvPr/>
          </p:nvGrpSpPr>
          <p:grpSpPr>
            <a:xfrm>
              <a:off x="2741455" y="5502136"/>
              <a:ext cx="4187597" cy="854454"/>
              <a:chOff x="2741455" y="5540236"/>
              <a:chExt cx="4187597" cy="854454"/>
            </a:xfrm>
          </p:grpSpPr>
          <p:sp>
            <p:nvSpPr>
              <p:cNvPr id="596" name="Rectangle 105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741455" y="5540236"/>
                <a:ext cx="2160000" cy="216000"/>
              </a:xfrm>
              <a:prstGeom prst="rect">
                <a:avLst/>
              </a:prstGeom>
              <a:solidFill>
                <a:schemeClr val="accent6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23</a:t>
                </a:r>
              </a:p>
            </p:txBody>
          </p:sp>
          <p:sp>
            <p:nvSpPr>
              <p:cNvPr id="597" name="Rectangle 105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901455" y="5540236"/>
                <a:ext cx="2027597" cy="216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22</a:t>
                </a:r>
              </a:p>
            </p:txBody>
          </p:sp>
          <p:sp>
            <p:nvSpPr>
              <p:cNvPr id="598" name="Rectangle 105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901455" y="6178690"/>
                <a:ext cx="2027597" cy="21600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22</a:t>
                </a:r>
              </a:p>
            </p:txBody>
          </p:sp>
        </p:grpSp>
        <p:grpSp>
          <p:nvGrpSpPr>
            <p:cNvPr id="593" name="Group 592"/>
            <p:cNvGrpSpPr/>
            <p:nvPr/>
          </p:nvGrpSpPr>
          <p:grpSpPr>
            <a:xfrm>
              <a:off x="2741456" y="6141721"/>
              <a:ext cx="2160127" cy="217423"/>
              <a:chOff x="2741456" y="6141721"/>
              <a:chExt cx="2160127" cy="217423"/>
            </a:xfrm>
          </p:grpSpPr>
          <p:sp>
            <p:nvSpPr>
              <p:cNvPr id="594" name="Rectangle 105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741456" y="6143144"/>
                <a:ext cx="1764128" cy="21600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20</a:t>
                </a:r>
              </a:p>
            </p:txBody>
          </p:sp>
          <p:sp>
            <p:nvSpPr>
              <p:cNvPr id="595" name="Rectangle 105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4505583" y="6141721"/>
                <a:ext cx="396000" cy="216000"/>
              </a:xfrm>
              <a:prstGeom prst="rect">
                <a:avLst/>
              </a:prstGeom>
              <a:solidFill>
                <a:schemeClr val="accent6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vert="horz" wrap="none" lIns="68528" tIns="34268" rIns="68528" bIns="34268" anchor="ctr"/>
              <a:lstStyle/>
              <a:p>
                <a:pPr algn="ctr" defTabSz="45713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1F497D"/>
                  </a:buClr>
                </a:pPr>
                <a:r>
                  <a:rPr lang="en-US" sz="80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3</a:t>
                </a:r>
              </a:p>
            </p:txBody>
          </p:sp>
        </p:grpSp>
      </p:grpSp>
      <p:sp>
        <p:nvSpPr>
          <p:cNvPr id="124" name="TextBox 123"/>
          <p:cNvSpPr txBox="1"/>
          <p:nvPr/>
        </p:nvSpPr>
        <p:spPr>
          <a:xfrm>
            <a:off x="5796049" y="4527914"/>
            <a:ext cx="33344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</a:t>
            </a:r>
            <a:r>
              <a:rPr lang="bg-BG" sz="8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Честоти, които са за временно ползване от А1</a:t>
            </a:r>
            <a:r>
              <a:rPr lang="en-US" sz="8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en-US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4138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pic>
        <p:nvPicPr>
          <p:cNvPr id="484" name="Picture 48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125" y="294214"/>
            <a:ext cx="6714032" cy="4790525"/>
          </a:xfrm>
          <a:prstGeom prst="rect">
            <a:avLst/>
          </a:prstGeom>
        </p:spPr>
      </p:pic>
      <p:cxnSp>
        <p:nvCxnSpPr>
          <p:cNvPr id="485" name="Straight Arrow Connector 484"/>
          <p:cNvCxnSpPr/>
          <p:nvPr/>
        </p:nvCxnSpPr>
        <p:spPr>
          <a:xfrm flipH="1" flipV="1">
            <a:off x="537210" y="2429827"/>
            <a:ext cx="384077" cy="23813"/>
          </a:xfrm>
          <a:prstGeom prst="straightConnector1">
            <a:avLst/>
          </a:prstGeom>
          <a:ln w="28575"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6" name="TextBox 485"/>
          <p:cNvSpPr txBox="1"/>
          <p:nvPr/>
        </p:nvSpPr>
        <p:spPr>
          <a:xfrm>
            <a:off x="-28547" y="2283931"/>
            <a:ext cx="6431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rbia</a:t>
            </a:r>
            <a:endParaRPr lang="bg-BG" sz="1000" b="1" dirty="0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87" name="Straight Arrow Connector 486"/>
          <p:cNvCxnSpPr/>
          <p:nvPr/>
        </p:nvCxnSpPr>
        <p:spPr>
          <a:xfrm flipH="1">
            <a:off x="383125" y="3491866"/>
            <a:ext cx="154086" cy="464299"/>
          </a:xfrm>
          <a:prstGeom prst="straightConnector1">
            <a:avLst/>
          </a:prstGeom>
          <a:ln w="28575"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9" name="Straight Arrow Connector 488"/>
          <p:cNvCxnSpPr/>
          <p:nvPr/>
        </p:nvCxnSpPr>
        <p:spPr>
          <a:xfrm flipH="1" flipV="1">
            <a:off x="614578" y="4312502"/>
            <a:ext cx="456033" cy="210552"/>
          </a:xfrm>
          <a:prstGeom prst="straightConnector1">
            <a:avLst/>
          </a:prstGeom>
          <a:ln w="28575"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0" name="TextBox 489"/>
          <p:cNvSpPr txBox="1"/>
          <p:nvPr/>
        </p:nvSpPr>
        <p:spPr>
          <a:xfrm>
            <a:off x="-28547" y="4032677"/>
            <a:ext cx="11047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err="1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.Macedonia</a:t>
            </a:r>
            <a:endParaRPr lang="bg-BG" sz="1000" b="1" dirty="0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91" name="Straight Arrow Connector 490"/>
          <p:cNvCxnSpPr/>
          <p:nvPr/>
        </p:nvCxnSpPr>
        <p:spPr>
          <a:xfrm>
            <a:off x="1553309" y="4804329"/>
            <a:ext cx="265014" cy="244874"/>
          </a:xfrm>
          <a:prstGeom prst="straightConnector1">
            <a:avLst/>
          </a:prstGeom>
          <a:ln w="28575"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2" name="TextBox 491"/>
          <p:cNvSpPr txBox="1"/>
          <p:nvPr/>
        </p:nvSpPr>
        <p:spPr>
          <a:xfrm>
            <a:off x="1834779" y="4853906"/>
            <a:ext cx="70884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eece</a:t>
            </a:r>
            <a:endParaRPr lang="bg-BG" sz="1000" b="1" dirty="0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93" name="Straight Arrow Connector 492"/>
          <p:cNvCxnSpPr/>
          <p:nvPr/>
        </p:nvCxnSpPr>
        <p:spPr>
          <a:xfrm>
            <a:off x="4720371" y="4447141"/>
            <a:ext cx="265014" cy="244874"/>
          </a:xfrm>
          <a:prstGeom prst="straightConnector1">
            <a:avLst/>
          </a:prstGeom>
          <a:ln w="28575"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4" name="TextBox 493"/>
          <p:cNvSpPr txBox="1"/>
          <p:nvPr/>
        </p:nvSpPr>
        <p:spPr>
          <a:xfrm>
            <a:off x="4720914" y="4738456"/>
            <a:ext cx="70724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rkey</a:t>
            </a:r>
            <a:endParaRPr lang="bg-BG" sz="1000" b="1" dirty="0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95" name="Straight Arrow Connector 494"/>
          <p:cNvCxnSpPr/>
          <p:nvPr/>
        </p:nvCxnSpPr>
        <p:spPr>
          <a:xfrm>
            <a:off x="6832143" y="1765854"/>
            <a:ext cx="501155" cy="122437"/>
          </a:xfrm>
          <a:prstGeom prst="straightConnector1">
            <a:avLst/>
          </a:prstGeom>
          <a:ln w="28575"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6" name="TextBox 495"/>
          <p:cNvSpPr txBox="1"/>
          <p:nvPr/>
        </p:nvSpPr>
        <p:spPr>
          <a:xfrm>
            <a:off x="6842688" y="1942584"/>
            <a:ext cx="13372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err="1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ucaus</a:t>
            </a:r>
            <a:r>
              <a:rPr lang="en-US" sz="1000" b="1" dirty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ystem</a:t>
            </a:r>
          </a:p>
          <a:p>
            <a:r>
              <a:rPr lang="en-US" sz="1000" dirty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Georgia)</a:t>
            </a:r>
            <a:endParaRPr lang="bg-BG" sz="1000" dirty="0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97" name="Straight Arrow Connector 496"/>
          <p:cNvCxnSpPr/>
          <p:nvPr/>
        </p:nvCxnSpPr>
        <p:spPr>
          <a:xfrm flipH="1" flipV="1">
            <a:off x="4161473" y="754816"/>
            <a:ext cx="66675" cy="284362"/>
          </a:xfrm>
          <a:prstGeom prst="straightConnector1">
            <a:avLst/>
          </a:prstGeom>
          <a:ln w="28575"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TextBox 497"/>
          <p:cNvSpPr txBox="1"/>
          <p:nvPr/>
        </p:nvSpPr>
        <p:spPr>
          <a:xfrm>
            <a:off x="3588047" y="523983"/>
            <a:ext cx="8146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omania</a:t>
            </a:r>
            <a:endParaRPr lang="bg-BG" sz="1000" b="1" dirty="0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99" name="Straight Arrow Connector 498"/>
          <p:cNvCxnSpPr/>
          <p:nvPr/>
        </p:nvCxnSpPr>
        <p:spPr>
          <a:xfrm flipV="1">
            <a:off x="1032510" y="754816"/>
            <a:ext cx="463957" cy="227212"/>
          </a:xfrm>
          <a:prstGeom prst="straightConnector1">
            <a:avLst/>
          </a:prstGeom>
          <a:ln w="28575">
            <a:solidFill>
              <a:srgbClr val="DA29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0" name="TextBox 499"/>
          <p:cNvSpPr txBox="1"/>
          <p:nvPr/>
        </p:nvSpPr>
        <p:spPr>
          <a:xfrm>
            <a:off x="1474604" y="630030"/>
            <a:ext cx="8146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omania</a:t>
            </a:r>
            <a:endParaRPr lang="bg-BG" sz="1000" b="1" dirty="0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0" name="Titel 1"/>
          <p:cNvSpPr txBox="1">
            <a:spLocks/>
          </p:cNvSpPr>
          <p:nvPr/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31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bg-BG" dirty="0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сновна преносна мрежа на А1 България </a:t>
            </a:r>
            <a:endParaRPr lang="de-AT" dirty="0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AutoShape 6" descr="Bildergebnis für Schloss icon"/>
          <p:cNvSpPr>
            <a:spLocks noGrp="1" noChangeAspect="1" noChangeArrowheads="1"/>
          </p:cNvSpPr>
          <p:nvPr>
            <p:ph type="body" sz="quarter" idx="4294967295"/>
          </p:nvPr>
        </p:nvSpPr>
        <p:spPr bwMode="auto">
          <a:xfrm>
            <a:off x="6532368" y="2416613"/>
            <a:ext cx="2611632" cy="1201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80000" indent="-180000" defTabSz="457200">
              <a:spcBef>
                <a:spcPts val="600"/>
              </a:spcBef>
              <a:spcAft>
                <a:spcPts val="600"/>
              </a:spcAft>
              <a:buClr>
                <a:srgbClr val="DA291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Verdana"/>
                <a:cs typeface="Verdana"/>
              </a:rPr>
              <a:t>IP Global Transit</a:t>
            </a:r>
            <a:r>
              <a:rPr lang="bg-BG" sz="1200" dirty="0">
                <a:solidFill>
                  <a:srgbClr val="000000"/>
                </a:solidFill>
                <a:latin typeface="Verdana"/>
                <a:cs typeface="Verdana"/>
              </a:rPr>
              <a:t>:</a:t>
            </a:r>
            <a:r>
              <a:rPr lang="en-US" sz="1200" dirty="0">
                <a:solidFill>
                  <a:srgbClr val="000000"/>
                </a:solidFill>
                <a:latin typeface="Verdana"/>
                <a:cs typeface="Verdana"/>
              </a:rPr>
              <a:t> </a:t>
            </a:r>
            <a:r>
              <a:rPr lang="en-US" sz="1200" b="1" dirty="0" smtClean="0">
                <a:solidFill>
                  <a:srgbClr val="DA291C"/>
                </a:solidFill>
                <a:latin typeface="Verdana"/>
                <a:cs typeface="Verdana"/>
              </a:rPr>
              <a:t>70</a:t>
            </a:r>
            <a:r>
              <a:rPr lang="bg-BG" sz="1200" b="1" dirty="0" smtClean="0">
                <a:solidFill>
                  <a:srgbClr val="DA291C"/>
                </a:solidFill>
                <a:latin typeface="Verdana"/>
                <a:cs typeface="Verdana"/>
              </a:rPr>
              <a:t> </a:t>
            </a:r>
            <a:r>
              <a:rPr lang="en-US" sz="1200" b="1" dirty="0" err="1" smtClean="0">
                <a:solidFill>
                  <a:srgbClr val="DA291C"/>
                </a:solidFill>
                <a:latin typeface="Verdana"/>
                <a:cs typeface="Verdana"/>
              </a:rPr>
              <a:t>Gbps</a:t>
            </a:r>
            <a:r>
              <a:rPr lang="en-US" sz="1200" b="1" dirty="0">
                <a:solidFill>
                  <a:srgbClr val="DA291C"/>
                </a:solidFill>
                <a:latin typeface="Verdana"/>
                <a:cs typeface="Verdana"/>
              </a:rPr>
              <a:t>+</a:t>
            </a:r>
          </a:p>
          <a:p>
            <a:pPr marL="180000" indent="-180000" defTabSz="457200">
              <a:spcBef>
                <a:spcPts val="600"/>
              </a:spcBef>
              <a:spcAft>
                <a:spcPts val="600"/>
              </a:spcAft>
              <a:buClr>
                <a:srgbClr val="DA291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Verdana"/>
                <a:cs typeface="Verdana"/>
              </a:rPr>
              <a:t>Local Exchange</a:t>
            </a:r>
            <a:r>
              <a:rPr lang="bg-BG" sz="1200" dirty="0">
                <a:solidFill>
                  <a:srgbClr val="000000"/>
                </a:solidFill>
                <a:latin typeface="Verdana"/>
                <a:cs typeface="Verdana"/>
              </a:rPr>
              <a:t>:</a:t>
            </a:r>
            <a:r>
              <a:rPr lang="en-US" sz="1200" dirty="0">
                <a:solidFill>
                  <a:srgbClr val="000000"/>
                </a:solidFill>
                <a:latin typeface="Verdana"/>
                <a:cs typeface="Verdana"/>
              </a:rPr>
              <a:t> </a:t>
            </a:r>
            <a:r>
              <a:rPr lang="en-US" sz="1200" b="1" dirty="0" smtClean="0">
                <a:solidFill>
                  <a:srgbClr val="DA291C"/>
                </a:solidFill>
                <a:latin typeface="Verdana"/>
                <a:cs typeface="Verdana"/>
              </a:rPr>
              <a:t>250</a:t>
            </a:r>
            <a:r>
              <a:rPr lang="bg-BG" sz="1200" b="1" dirty="0" smtClean="0">
                <a:solidFill>
                  <a:srgbClr val="DA291C"/>
                </a:solidFill>
                <a:latin typeface="Verdana"/>
                <a:cs typeface="Verdana"/>
              </a:rPr>
              <a:t> </a:t>
            </a:r>
            <a:r>
              <a:rPr lang="en-US" sz="1200" b="1" dirty="0" err="1" smtClean="0">
                <a:solidFill>
                  <a:srgbClr val="DA291C"/>
                </a:solidFill>
                <a:latin typeface="Verdana"/>
                <a:cs typeface="Verdana"/>
              </a:rPr>
              <a:t>Gbps</a:t>
            </a:r>
            <a:r>
              <a:rPr lang="en-US" sz="1200" b="1" dirty="0">
                <a:solidFill>
                  <a:srgbClr val="DA291C"/>
                </a:solidFill>
                <a:latin typeface="Verdana"/>
                <a:cs typeface="Verdana"/>
              </a:rPr>
              <a:t>+</a:t>
            </a:r>
          </a:p>
          <a:p>
            <a:pPr marL="180000" indent="-180000" defTabSz="457200">
              <a:spcBef>
                <a:spcPts val="600"/>
              </a:spcBef>
              <a:spcAft>
                <a:spcPts val="600"/>
              </a:spcAft>
              <a:buClr>
                <a:srgbClr val="DA291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Verdana"/>
                <a:cs typeface="Verdana"/>
              </a:rPr>
              <a:t>Local CDN</a:t>
            </a:r>
            <a:r>
              <a:rPr lang="bg-BG" sz="1200" dirty="0">
                <a:solidFill>
                  <a:srgbClr val="000000"/>
                </a:solidFill>
                <a:latin typeface="Verdana"/>
                <a:cs typeface="Verdana"/>
              </a:rPr>
              <a:t>: </a:t>
            </a:r>
            <a:r>
              <a:rPr lang="en-US" sz="1200" b="1" dirty="0" smtClean="0">
                <a:solidFill>
                  <a:srgbClr val="DA291C"/>
                </a:solidFill>
                <a:latin typeface="Verdana"/>
                <a:cs typeface="Verdana"/>
              </a:rPr>
              <a:t>250</a:t>
            </a:r>
            <a:r>
              <a:rPr lang="bg-BG" sz="1200" b="1" dirty="0" smtClean="0">
                <a:solidFill>
                  <a:srgbClr val="DA291C"/>
                </a:solidFill>
                <a:latin typeface="Verdana"/>
                <a:cs typeface="Verdana"/>
              </a:rPr>
              <a:t> </a:t>
            </a:r>
            <a:r>
              <a:rPr lang="en-US" sz="1200" b="1" dirty="0" err="1" smtClean="0">
                <a:solidFill>
                  <a:srgbClr val="DA291C"/>
                </a:solidFill>
                <a:latin typeface="Verdana"/>
                <a:cs typeface="Verdana"/>
              </a:rPr>
              <a:t>Gbps</a:t>
            </a:r>
            <a:r>
              <a:rPr lang="en-US" sz="1200" b="1" dirty="0">
                <a:solidFill>
                  <a:srgbClr val="DA291C"/>
                </a:solidFill>
                <a:latin typeface="Verdana"/>
                <a:cs typeface="Verdana"/>
              </a:rPr>
              <a:t>+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4054388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480" name="Titel 1"/>
          <p:cNvSpPr txBox="1">
            <a:spLocks/>
          </p:cNvSpPr>
          <p:nvPr/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31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bg-BG" dirty="0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сновна преносна мрежа на А1 </a:t>
            </a:r>
            <a:r>
              <a:rPr lang="en-US" dirty="0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oup</a:t>
            </a:r>
            <a:endParaRPr lang="de-AT" dirty="0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028292"/>
            <a:ext cx="6137114" cy="4115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AutoShape 6" descr="Bildergebnis für Schloss icon"/>
          <p:cNvSpPr>
            <a:spLocks noGrp="1" noChangeAspect="1" noChangeArrowheads="1"/>
          </p:cNvSpPr>
          <p:nvPr>
            <p:ph type="body" sz="quarter" idx="4294967295"/>
          </p:nvPr>
        </p:nvSpPr>
        <p:spPr bwMode="auto">
          <a:xfrm>
            <a:off x="6137114" y="1037204"/>
            <a:ext cx="3006885" cy="420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80000" indent="-180000" defTabSz="457200">
              <a:spcBef>
                <a:spcPts val="600"/>
              </a:spcBef>
              <a:spcAft>
                <a:spcPts val="600"/>
              </a:spcAft>
              <a:buClr>
                <a:srgbClr val="DA291C"/>
              </a:buClr>
              <a:buFont typeface="Wingdings" panose="05000000000000000000" pitchFamily="2" charset="2"/>
              <a:buChar char="§"/>
            </a:pPr>
            <a:r>
              <a:rPr lang="bg-BG" sz="1200" dirty="0">
                <a:solidFill>
                  <a:srgbClr val="000000"/>
                </a:solidFill>
                <a:latin typeface="Verdana"/>
                <a:cs typeface="Verdana"/>
              </a:rPr>
              <a:t>П</a:t>
            </a:r>
            <a:r>
              <a:rPr lang="bg-BG" sz="1200" dirty="0" smtClean="0">
                <a:solidFill>
                  <a:srgbClr val="000000"/>
                </a:solidFill>
                <a:latin typeface="Verdana"/>
                <a:cs typeface="Verdana"/>
              </a:rPr>
              <a:t>окритие в региона на ЦИЕ</a:t>
            </a:r>
            <a:r>
              <a:rPr lang="en-US" sz="1200" dirty="0" smtClean="0">
                <a:solidFill>
                  <a:srgbClr val="000000"/>
                </a:solidFill>
                <a:latin typeface="Verdana"/>
                <a:cs typeface="Verdana"/>
              </a:rPr>
              <a:t> </a:t>
            </a:r>
            <a:endParaRPr lang="bg-BG" sz="1200" dirty="0" smtClean="0">
              <a:solidFill>
                <a:srgbClr val="000000"/>
              </a:solidFill>
              <a:latin typeface="Verdana"/>
              <a:cs typeface="Verdana"/>
            </a:endParaRPr>
          </a:p>
          <a:p>
            <a:pPr marL="180000" indent="-180000" defTabSz="457200">
              <a:spcBef>
                <a:spcPts val="600"/>
              </a:spcBef>
              <a:spcAft>
                <a:spcPts val="600"/>
              </a:spcAft>
              <a:buClr>
                <a:srgbClr val="DA291C"/>
              </a:buClr>
              <a:buFont typeface="Wingdings" panose="05000000000000000000" pitchFamily="2" charset="2"/>
              <a:buChar char="§"/>
            </a:pPr>
            <a:r>
              <a:rPr lang="bg-BG" sz="1200" dirty="0" smtClean="0">
                <a:solidFill>
                  <a:srgbClr val="000000"/>
                </a:solidFill>
                <a:latin typeface="Verdana"/>
                <a:cs typeface="Verdana"/>
              </a:rPr>
              <a:t>Собственик на </a:t>
            </a:r>
            <a:r>
              <a:rPr lang="bg-BG" sz="1200" smtClean="0">
                <a:solidFill>
                  <a:srgbClr val="000000"/>
                </a:solidFill>
                <a:latin typeface="Verdana"/>
                <a:cs typeface="Verdana"/>
              </a:rPr>
              <a:t>7 оператора</a:t>
            </a:r>
            <a:endParaRPr lang="en-US" sz="1200" dirty="0">
              <a:solidFill>
                <a:srgbClr val="000000"/>
              </a:solidFill>
              <a:latin typeface="Verdana"/>
              <a:cs typeface="Verdana"/>
            </a:endParaRPr>
          </a:p>
          <a:p>
            <a:pPr marL="180000" indent="-180000" defTabSz="457200">
              <a:spcBef>
                <a:spcPts val="600"/>
              </a:spcBef>
              <a:spcAft>
                <a:spcPts val="600"/>
              </a:spcAft>
              <a:buClr>
                <a:srgbClr val="DA291C"/>
              </a:buClr>
              <a:buFont typeface="Wingdings" panose="05000000000000000000" pitchFamily="2" charset="2"/>
              <a:buChar char="§"/>
            </a:pPr>
            <a:r>
              <a:rPr lang="bg-BG" sz="1200" dirty="0" smtClean="0">
                <a:solidFill>
                  <a:srgbClr val="000000"/>
                </a:solidFill>
                <a:latin typeface="Verdana"/>
                <a:cs typeface="Verdana"/>
              </a:rPr>
              <a:t>Дългосрочни партньорства </a:t>
            </a:r>
          </a:p>
          <a:p>
            <a:pPr marL="180000" indent="-180000" defTabSz="457200">
              <a:spcBef>
                <a:spcPts val="600"/>
              </a:spcBef>
              <a:spcAft>
                <a:spcPts val="600"/>
              </a:spcAft>
              <a:buClr>
                <a:srgbClr val="DA291C"/>
              </a:buClr>
              <a:buFont typeface="Wingdings" panose="05000000000000000000" pitchFamily="2" charset="2"/>
              <a:buChar char="§"/>
            </a:pPr>
            <a:r>
              <a:rPr lang="bg-BG" sz="1200" dirty="0" smtClean="0">
                <a:solidFill>
                  <a:srgbClr val="000000"/>
                </a:solidFill>
                <a:latin typeface="Verdana"/>
                <a:cs typeface="Verdana"/>
              </a:rPr>
              <a:t>Услуги от край до край </a:t>
            </a:r>
          </a:p>
          <a:p>
            <a:pPr marL="180000" indent="-180000" defTabSz="457200">
              <a:spcBef>
                <a:spcPts val="600"/>
              </a:spcBef>
              <a:spcAft>
                <a:spcPts val="600"/>
              </a:spcAft>
              <a:buClr>
                <a:srgbClr val="DA291C"/>
              </a:buClr>
              <a:buFont typeface="Wingdings" panose="05000000000000000000" pitchFamily="2" charset="2"/>
              <a:buChar char="§"/>
            </a:pPr>
            <a:r>
              <a:rPr lang="bg-BG" sz="1200" dirty="0" smtClean="0">
                <a:solidFill>
                  <a:srgbClr val="000000"/>
                </a:solidFill>
                <a:latin typeface="Verdana"/>
                <a:cs typeface="Verdana"/>
              </a:rPr>
              <a:t>Единно управление на мрежата</a:t>
            </a:r>
          </a:p>
          <a:p>
            <a:pPr marL="180000" indent="-180000" defTabSz="457200">
              <a:spcBef>
                <a:spcPts val="600"/>
              </a:spcBef>
              <a:spcAft>
                <a:spcPts val="600"/>
              </a:spcAft>
              <a:buClr>
                <a:srgbClr val="DA291C"/>
              </a:buClr>
              <a:buFont typeface="Wingdings" panose="05000000000000000000" pitchFamily="2" charset="2"/>
              <a:buChar char="§"/>
            </a:pPr>
            <a:r>
              <a:rPr lang="bg-BG" sz="1200" dirty="0" smtClean="0">
                <a:solidFill>
                  <a:srgbClr val="000000"/>
                </a:solidFill>
                <a:latin typeface="Verdana"/>
                <a:cs typeface="Verdana"/>
              </a:rPr>
              <a:t>Фокус върху качеството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265504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feld 22"/>
          <p:cNvSpPr txBox="1"/>
          <p:nvPr/>
        </p:nvSpPr>
        <p:spPr>
          <a:xfrm>
            <a:off x="4361361" y="3146607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bg-BG" sz="1200" kern="0" dirty="0">
                <a:solidFill>
                  <a:srgbClr val="4D5766"/>
                </a:solidFill>
                <a:ea typeface="Nokia Pure Text Light" panose="020B0403020202020204" pitchFamily="34" charset="0"/>
              </a:rPr>
              <a:t>Основен</a:t>
            </a:r>
            <a:endParaRPr lang="de-AT" sz="1200" kern="0" dirty="0">
              <a:solidFill>
                <a:srgbClr val="4D5766"/>
              </a:solidFill>
              <a:ea typeface="Nokia Pure Text Light" panose="020B0403020202020204" pitchFamily="34" charset="0"/>
            </a:endParaRPr>
          </a:p>
        </p:txBody>
      </p:sp>
      <p:sp>
        <p:nvSpPr>
          <p:cNvPr id="41" name="Freihandform: Form 92">
            <a:extLst>
              <a:ext uri="{FF2B5EF4-FFF2-40B4-BE49-F238E27FC236}">
                <a16:creationId xmlns:a16="http://schemas.microsoft.com/office/drawing/2014/main" xmlns="" id="{B2708324-272A-4EB1-8D5E-894D14E48610}"/>
              </a:ext>
            </a:extLst>
          </p:cNvPr>
          <p:cNvSpPr>
            <a:spLocks noChangeAspect="1"/>
          </p:cNvSpPr>
          <p:nvPr/>
        </p:nvSpPr>
        <p:spPr>
          <a:xfrm>
            <a:off x="2095688" y="2598396"/>
            <a:ext cx="724448" cy="528000"/>
          </a:xfrm>
          <a:custGeom>
            <a:avLst/>
            <a:gdLst>
              <a:gd name="connsiteX0" fmla="*/ 1767862 w 3535724"/>
              <a:gd name="connsiteY0" fmla="*/ 1995276 h 2576929"/>
              <a:gd name="connsiteX1" fmla="*/ 1608704 w 3535724"/>
              <a:gd name="connsiteY1" fmla="*/ 2100773 h 2576929"/>
              <a:gd name="connsiteX2" fmla="*/ 1595497 w 3535724"/>
              <a:gd name="connsiteY2" fmla="*/ 2166184 h 2576929"/>
              <a:gd name="connsiteX3" fmla="*/ 1595129 w 3535724"/>
              <a:gd name="connsiteY3" fmla="*/ 2166184 h 2576929"/>
              <a:gd name="connsiteX4" fmla="*/ 1595129 w 3535724"/>
              <a:gd name="connsiteY4" fmla="*/ 2168009 h 2576929"/>
              <a:gd name="connsiteX5" fmla="*/ 1595129 w 3535724"/>
              <a:gd name="connsiteY5" fmla="*/ 2238759 h 2576929"/>
              <a:gd name="connsiteX6" fmla="*/ 1595129 w 3535724"/>
              <a:gd name="connsiteY6" fmla="*/ 2533776 h 2576929"/>
              <a:gd name="connsiteX7" fmla="*/ 1940595 w 3535724"/>
              <a:gd name="connsiteY7" fmla="*/ 2533776 h 2576929"/>
              <a:gd name="connsiteX8" fmla="*/ 1940595 w 3535724"/>
              <a:gd name="connsiteY8" fmla="*/ 2238759 h 2576929"/>
              <a:gd name="connsiteX9" fmla="*/ 1940595 w 3535724"/>
              <a:gd name="connsiteY9" fmla="*/ 2168009 h 2576929"/>
              <a:gd name="connsiteX10" fmla="*/ 1940595 w 3535724"/>
              <a:gd name="connsiteY10" fmla="*/ 2166184 h 2576929"/>
              <a:gd name="connsiteX11" fmla="*/ 1940227 w 3535724"/>
              <a:gd name="connsiteY11" fmla="*/ 2166184 h 2576929"/>
              <a:gd name="connsiteX12" fmla="*/ 1927022 w 3535724"/>
              <a:gd name="connsiteY12" fmla="*/ 2100773 h 2576929"/>
              <a:gd name="connsiteX13" fmla="*/ 1767862 w 3535724"/>
              <a:gd name="connsiteY13" fmla="*/ 1995276 h 2576929"/>
              <a:gd name="connsiteX14" fmla="*/ 2978690 w 3535724"/>
              <a:gd name="connsiteY14" fmla="*/ 1659989 h 2576929"/>
              <a:gd name="connsiteX15" fmla="*/ 2893560 w 3535724"/>
              <a:gd name="connsiteY15" fmla="*/ 1716417 h 2576929"/>
              <a:gd name="connsiteX16" fmla="*/ 2886496 w 3535724"/>
              <a:gd name="connsiteY16" fmla="*/ 1751404 h 2576929"/>
              <a:gd name="connsiteX17" fmla="*/ 2886299 w 3535724"/>
              <a:gd name="connsiteY17" fmla="*/ 1751404 h 2576929"/>
              <a:gd name="connsiteX18" fmla="*/ 2886299 w 3535724"/>
              <a:gd name="connsiteY18" fmla="*/ 1752380 h 2576929"/>
              <a:gd name="connsiteX19" fmla="*/ 2886299 w 3535724"/>
              <a:gd name="connsiteY19" fmla="*/ 1790223 h 2576929"/>
              <a:gd name="connsiteX20" fmla="*/ 2886299 w 3535724"/>
              <a:gd name="connsiteY20" fmla="*/ 1948021 h 2576929"/>
              <a:gd name="connsiteX21" fmla="*/ 3071081 w 3535724"/>
              <a:gd name="connsiteY21" fmla="*/ 1948021 h 2576929"/>
              <a:gd name="connsiteX22" fmla="*/ 3071081 w 3535724"/>
              <a:gd name="connsiteY22" fmla="*/ 1790223 h 2576929"/>
              <a:gd name="connsiteX23" fmla="*/ 3071081 w 3535724"/>
              <a:gd name="connsiteY23" fmla="*/ 1752380 h 2576929"/>
              <a:gd name="connsiteX24" fmla="*/ 3071081 w 3535724"/>
              <a:gd name="connsiteY24" fmla="*/ 1751404 h 2576929"/>
              <a:gd name="connsiteX25" fmla="*/ 3070884 w 3535724"/>
              <a:gd name="connsiteY25" fmla="*/ 1751404 h 2576929"/>
              <a:gd name="connsiteX26" fmla="*/ 3063821 w 3535724"/>
              <a:gd name="connsiteY26" fmla="*/ 1716417 h 2576929"/>
              <a:gd name="connsiteX27" fmla="*/ 2978690 w 3535724"/>
              <a:gd name="connsiteY27" fmla="*/ 1659989 h 2576929"/>
              <a:gd name="connsiteX28" fmla="*/ 552990 w 3535724"/>
              <a:gd name="connsiteY28" fmla="*/ 1659989 h 2576929"/>
              <a:gd name="connsiteX29" fmla="*/ 467860 w 3535724"/>
              <a:gd name="connsiteY29" fmla="*/ 1716417 h 2576929"/>
              <a:gd name="connsiteX30" fmla="*/ 460796 w 3535724"/>
              <a:gd name="connsiteY30" fmla="*/ 1751404 h 2576929"/>
              <a:gd name="connsiteX31" fmla="*/ 460599 w 3535724"/>
              <a:gd name="connsiteY31" fmla="*/ 1751404 h 2576929"/>
              <a:gd name="connsiteX32" fmla="*/ 460599 w 3535724"/>
              <a:gd name="connsiteY32" fmla="*/ 1752380 h 2576929"/>
              <a:gd name="connsiteX33" fmla="*/ 460599 w 3535724"/>
              <a:gd name="connsiteY33" fmla="*/ 1790223 h 2576929"/>
              <a:gd name="connsiteX34" fmla="*/ 460599 w 3535724"/>
              <a:gd name="connsiteY34" fmla="*/ 1948021 h 2576929"/>
              <a:gd name="connsiteX35" fmla="*/ 645381 w 3535724"/>
              <a:gd name="connsiteY35" fmla="*/ 1948021 h 2576929"/>
              <a:gd name="connsiteX36" fmla="*/ 645381 w 3535724"/>
              <a:gd name="connsiteY36" fmla="*/ 1790223 h 2576929"/>
              <a:gd name="connsiteX37" fmla="*/ 645381 w 3535724"/>
              <a:gd name="connsiteY37" fmla="*/ 1752380 h 2576929"/>
              <a:gd name="connsiteX38" fmla="*/ 645381 w 3535724"/>
              <a:gd name="connsiteY38" fmla="*/ 1751404 h 2576929"/>
              <a:gd name="connsiteX39" fmla="*/ 645184 w 3535724"/>
              <a:gd name="connsiteY39" fmla="*/ 1751404 h 2576929"/>
              <a:gd name="connsiteX40" fmla="*/ 638121 w 3535724"/>
              <a:gd name="connsiteY40" fmla="*/ 1716417 h 2576929"/>
              <a:gd name="connsiteX41" fmla="*/ 552990 w 3535724"/>
              <a:gd name="connsiteY41" fmla="*/ 1659989 h 2576929"/>
              <a:gd name="connsiteX42" fmla="*/ 2978690 w 3535724"/>
              <a:gd name="connsiteY42" fmla="*/ 1197786 h 2576929"/>
              <a:gd name="connsiteX43" fmla="*/ 2893560 w 3535724"/>
              <a:gd name="connsiteY43" fmla="*/ 1254214 h 2576929"/>
              <a:gd name="connsiteX44" fmla="*/ 2886496 w 3535724"/>
              <a:gd name="connsiteY44" fmla="*/ 1289201 h 2576929"/>
              <a:gd name="connsiteX45" fmla="*/ 2886299 w 3535724"/>
              <a:gd name="connsiteY45" fmla="*/ 1289201 h 2576929"/>
              <a:gd name="connsiteX46" fmla="*/ 2886299 w 3535724"/>
              <a:gd name="connsiteY46" fmla="*/ 1290177 h 2576929"/>
              <a:gd name="connsiteX47" fmla="*/ 2886299 w 3535724"/>
              <a:gd name="connsiteY47" fmla="*/ 1328020 h 2576929"/>
              <a:gd name="connsiteX48" fmla="*/ 2886299 w 3535724"/>
              <a:gd name="connsiteY48" fmla="*/ 1485818 h 2576929"/>
              <a:gd name="connsiteX49" fmla="*/ 3071081 w 3535724"/>
              <a:gd name="connsiteY49" fmla="*/ 1485818 h 2576929"/>
              <a:gd name="connsiteX50" fmla="*/ 3071081 w 3535724"/>
              <a:gd name="connsiteY50" fmla="*/ 1328020 h 2576929"/>
              <a:gd name="connsiteX51" fmla="*/ 3071081 w 3535724"/>
              <a:gd name="connsiteY51" fmla="*/ 1290177 h 2576929"/>
              <a:gd name="connsiteX52" fmla="*/ 3071081 w 3535724"/>
              <a:gd name="connsiteY52" fmla="*/ 1289201 h 2576929"/>
              <a:gd name="connsiteX53" fmla="*/ 3070884 w 3535724"/>
              <a:gd name="connsiteY53" fmla="*/ 1289201 h 2576929"/>
              <a:gd name="connsiteX54" fmla="*/ 3063821 w 3535724"/>
              <a:gd name="connsiteY54" fmla="*/ 1254214 h 2576929"/>
              <a:gd name="connsiteX55" fmla="*/ 2978690 w 3535724"/>
              <a:gd name="connsiteY55" fmla="*/ 1197786 h 2576929"/>
              <a:gd name="connsiteX56" fmla="*/ 552990 w 3535724"/>
              <a:gd name="connsiteY56" fmla="*/ 1197786 h 2576929"/>
              <a:gd name="connsiteX57" fmla="*/ 467860 w 3535724"/>
              <a:gd name="connsiteY57" fmla="*/ 1254214 h 2576929"/>
              <a:gd name="connsiteX58" fmla="*/ 460796 w 3535724"/>
              <a:gd name="connsiteY58" fmla="*/ 1289201 h 2576929"/>
              <a:gd name="connsiteX59" fmla="*/ 460599 w 3535724"/>
              <a:gd name="connsiteY59" fmla="*/ 1289201 h 2576929"/>
              <a:gd name="connsiteX60" fmla="*/ 460599 w 3535724"/>
              <a:gd name="connsiteY60" fmla="*/ 1290177 h 2576929"/>
              <a:gd name="connsiteX61" fmla="*/ 460599 w 3535724"/>
              <a:gd name="connsiteY61" fmla="*/ 1328020 h 2576929"/>
              <a:gd name="connsiteX62" fmla="*/ 460599 w 3535724"/>
              <a:gd name="connsiteY62" fmla="*/ 1485818 h 2576929"/>
              <a:gd name="connsiteX63" fmla="*/ 645381 w 3535724"/>
              <a:gd name="connsiteY63" fmla="*/ 1485818 h 2576929"/>
              <a:gd name="connsiteX64" fmla="*/ 645381 w 3535724"/>
              <a:gd name="connsiteY64" fmla="*/ 1328020 h 2576929"/>
              <a:gd name="connsiteX65" fmla="*/ 645381 w 3535724"/>
              <a:gd name="connsiteY65" fmla="*/ 1290177 h 2576929"/>
              <a:gd name="connsiteX66" fmla="*/ 645381 w 3535724"/>
              <a:gd name="connsiteY66" fmla="*/ 1289201 h 2576929"/>
              <a:gd name="connsiteX67" fmla="*/ 645184 w 3535724"/>
              <a:gd name="connsiteY67" fmla="*/ 1289201 h 2576929"/>
              <a:gd name="connsiteX68" fmla="*/ 638121 w 3535724"/>
              <a:gd name="connsiteY68" fmla="*/ 1254214 h 2576929"/>
              <a:gd name="connsiteX69" fmla="*/ 552990 w 3535724"/>
              <a:gd name="connsiteY69" fmla="*/ 1197786 h 2576929"/>
              <a:gd name="connsiteX70" fmla="*/ 1767862 w 3535724"/>
              <a:gd name="connsiteY70" fmla="*/ 1197786 h 2576929"/>
              <a:gd name="connsiteX71" fmla="*/ 1608704 w 3535724"/>
              <a:gd name="connsiteY71" fmla="*/ 1303283 h 2576929"/>
              <a:gd name="connsiteX72" fmla="*/ 1595497 w 3535724"/>
              <a:gd name="connsiteY72" fmla="*/ 1368694 h 2576929"/>
              <a:gd name="connsiteX73" fmla="*/ 1595129 w 3535724"/>
              <a:gd name="connsiteY73" fmla="*/ 1368694 h 2576929"/>
              <a:gd name="connsiteX74" fmla="*/ 1595129 w 3535724"/>
              <a:gd name="connsiteY74" fmla="*/ 1370519 h 2576929"/>
              <a:gd name="connsiteX75" fmla="*/ 1595129 w 3535724"/>
              <a:gd name="connsiteY75" fmla="*/ 1441270 h 2576929"/>
              <a:gd name="connsiteX76" fmla="*/ 1595129 w 3535724"/>
              <a:gd name="connsiteY76" fmla="*/ 1485818 h 2576929"/>
              <a:gd name="connsiteX77" fmla="*/ 1940595 w 3535724"/>
              <a:gd name="connsiteY77" fmla="*/ 1485818 h 2576929"/>
              <a:gd name="connsiteX78" fmla="*/ 1940595 w 3535724"/>
              <a:gd name="connsiteY78" fmla="*/ 1441270 h 2576929"/>
              <a:gd name="connsiteX79" fmla="*/ 1940595 w 3535724"/>
              <a:gd name="connsiteY79" fmla="*/ 1370519 h 2576929"/>
              <a:gd name="connsiteX80" fmla="*/ 1940595 w 3535724"/>
              <a:gd name="connsiteY80" fmla="*/ 1368694 h 2576929"/>
              <a:gd name="connsiteX81" fmla="*/ 1940227 w 3535724"/>
              <a:gd name="connsiteY81" fmla="*/ 1368694 h 2576929"/>
              <a:gd name="connsiteX82" fmla="*/ 1927022 w 3535724"/>
              <a:gd name="connsiteY82" fmla="*/ 1303283 h 2576929"/>
              <a:gd name="connsiteX83" fmla="*/ 1767862 w 3535724"/>
              <a:gd name="connsiteY83" fmla="*/ 1197786 h 2576929"/>
              <a:gd name="connsiteX84" fmla="*/ 552990 w 3535724"/>
              <a:gd name="connsiteY84" fmla="*/ 735584 h 2576929"/>
              <a:gd name="connsiteX85" fmla="*/ 467860 w 3535724"/>
              <a:gd name="connsiteY85" fmla="*/ 792012 h 2576929"/>
              <a:gd name="connsiteX86" fmla="*/ 460796 w 3535724"/>
              <a:gd name="connsiteY86" fmla="*/ 826999 h 2576929"/>
              <a:gd name="connsiteX87" fmla="*/ 460599 w 3535724"/>
              <a:gd name="connsiteY87" fmla="*/ 826999 h 2576929"/>
              <a:gd name="connsiteX88" fmla="*/ 460599 w 3535724"/>
              <a:gd name="connsiteY88" fmla="*/ 827975 h 2576929"/>
              <a:gd name="connsiteX89" fmla="*/ 460599 w 3535724"/>
              <a:gd name="connsiteY89" fmla="*/ 865818 h 2576929"/>
              <a:gd name="connsiteX90" fmla="*/ 460599 w 3535724"/>
              <a:gd name="connsiteY90" fmla="*/ 1023616 h 2576929"/>
              <a:gd name="connsiteX91" fmla="*/ 645381 w 3535724"/>
              <a:gd name="connsiteY91" fmla="*/ 1023616 h 2576929"/>
              <a:gd name="connsiteX92" fmla="*/ 645381 w 3535724"/>
              <a:gd name="connsiteY92" fmla="*/ 865818 h 2576929"/>
              <a:gd name="connsiteX93" fmla="*/ 645381 w 3535724"/>
              <a:gd name="connsiteY93" fmla="*/ 827975 h 2576929"/>
              <a:gd name="connsiteX94" fmla="*/ 645381 w 3535724"/>
              <a:gd name="connsiteY94" fmla="*/ 826999 h 2576929"/>
              <a:gd name="connsiteX95" fmla="*/ 645184 w 3535724"/>
              <a:gd name="connsiteY95" fmla="*/ 826999 h 2576929"/>
              <a:gd name="connsiteX96" fmla="*/ 638121 w 3535724"/>
              <a:gd name="connsiteY96" fmla="*/ 792012 h 2576929"/>
              <a:gd name="connsiteX97" fmla="*/ 552990 w 3535724"/>
              <a:gd name="connsiteY97" fmla="*/ 735584 h 2576929"/>
              <a:gd name="connsiteX98" fmla="*/ 2978690 w 3535724"/>
              <a:gd name="connsiteY98" fmla="*/ 735584 h 2576929"/>
              <a:gd name="connsiteX99" fmla="*/ 2893560 w 3535724"/>
              <a:gd name="connsiteY99" fmla="*/ 792012 h 2576929"/>
              <a:gd name="connsiteX100" fmla="*/ 2886496 w 3535724"/>
              <a:gd name="connsiteY100" fmla="*/ 826999 h 2576929"/>
              <a:gd name="connsiteX101" fmla="*/ 2886299 w 3535724"/>
              <a:gd name="connsiteY101" fmla="*/ 826999 h 2576929"/>
              <a:gd name="connsiteX102" fmla="*/ 2886299 w 3535724"/>
              <a:gd name="connsiteY102" fmla="*/ 827975 h 2576929"/>
              <a:gd name="connsiteX103" fmla="*/ 2886299 w 3535724"/>
              <a:gd name="connsiteY103" fmla="*/ 865818 h 2576929"/>
              <a:gd name="connsiteX104" fmla="*/ 2886299 w 3535724"/>
              <a:gd name="connsiteY104" fmla="*/ 1023616 h 2576929"/>
              <a:gd name="connsiteX105" fmla="*/ 3071081 w 3535724"/>
              <a:gd name="connsiteY105" fmla="*/ 1023616 h 2576929"/>
              <a:gd name="connsiteX106" fmla="*/ 3071081 w 3535724"/>
              <a:gd name="connsiteY106" fmla="*/ 865818 h 2576929"/>
              <a:gd name="connsiteX107" fmla="*/ 3071081 w 3535724"/>
              <a:gd name="connsiteY107" fmla="*/ 827975 h 2576929"/>
              <a:gd name="connsiteX108" fmla="*/ 3071081 w 3535724"/>
              <a:gd name="connsiteY108" fmla="*/ 826999 h 2576929"/>
              <a:gd name="connsiteX109" fmla="*/ 3070884 w 3535724"/>
              <a:gd name="connsiteY109" fmla="*/ 826999 h 2576929"/>
              <a:gd name="connsiteX110" fmla="*/ 3063821 w 3535724"/>
              <a:gd name="connsiteY110" fmla="*/ 792012 h 2576929"/>
              <a:gd name="connsiteX111" fmla="*/ 2978690 w 3535724"/>
              <a:gd name="connsiteY111" fmla="*/ 735584 h 2576929"/>
              <a:gd name="connsiteX112" fmla="*/ 0 w 3535724"/>
              <a:gd name="connsiteY112" fmla="*/ 0 h 2576929"/>
              <a:gd name="connsiteX113" fmla="*/ 194211 w 3535724"/>
              <a:gd name="connsiteY113" fmla="*/ 0 h 2576929"/>
              <a:gd name="connsiteX114" fmla="*/ 194211 w 3535724"/>
              <a:gd name="connsiteY114" fmla="*/ 166345 h 2576929"/>
              <a:gd name="connsiteX115" fmla="*/ 306299 w 3535724"/>
              <a:gd name="connsiteY115" fmla="*/ 166345 h 2576929"/>
              <a:gd name="connsiteX116" fmla="*/ 306299 w 3535724"/>
              <a:gd name="connsiteY116" fmla="*/ 0 h 2576929"/>
              <a:gd name="connsiteX117" fmla="*/ 500510 w 3535724"/>
              <a:gd name="connsiteY117" fmla="*/ 0 h 2576929"/>
              <a:gd name="connsiteX118" fmla="*/ 500510 w 3535724"/>
              <a:gd name="connsiteY118" fmla="*/ 166345 h 2576929"/>
              <a:gd name="connsiteX119" fmla="*/ 612598 w 3535724"/>
              <a:gd name="connsiteY119" fmla="*/ 166345 h 2576929"/>
              <a:gd name="connsiteX120" fmla="*/ 612598 w 3535724"/>
              <a:gd name="connsiteY120" fmla="*/ 0 h 2576929"/>
              <a:gd name="connsiteX121" fmla="*/ 806809 w 3535724"/>
              <a:gd name="connsiteY121" fmla="*/ 0 h 2576929"/>
              <a:gd name="connsiteX122" fmla="*/ 806809 w 3535724"/>
              <a:gd name="connsiteY122" fmla="*/ 166345 h 2576929"/>
              <a:gd name="connsiteX123" fmla="*/ 918896 w 3535724"/>
              <a:gd name="connsiteY123" fmla="*/ 166345 h 2576929"/>
              <a:gd name="connsiteX124" fmla="*/ 918896 w 3535724"/>
              <a:gd name="connsiteY124" fmla="*/ 0 h 2576929"/>
              <a:gd name="connsiteX125" fmla="*/ 1113107 w 3535724"/>
              <a:gd name="connsiteY125" fmla="*/ 0 h 2576929"/>
              <a:gd name="connsiteX126" fmla="*/ 1113107 w 3535724"/>
              <a:gd name="connsiteY126" fmla="*/ 166345 h 2576929"/>
              <a:gd name="connsiteX127" fmla="*/ 1113107 w 3535724"/>
              <a:gd name="connsiteY127" fmla="*/ 168412 h 2576929"/>
              <a:gd name="connsiteX128" fmla="*/ 1112591 w 3535724"/>
              <a:gd name="connsiteY128" fmla="*/ 168412 h 2576929"/>
              <a:gd name="connsiteX129" fmla="*/ 978149 w 3535724"/>
              <a:gd name="connsiteY129" fmla="*/ 706182 h 2576929"/>
              <a:gd name="connsiteX130" fmla="*/ 1105052 w 3535724"/>
              <a:gd name="connsiteY130" fmla="*/ 706182 h 2576929"/>
              <a:gd name="connsiteX131" fmla="*/ 1105052 w 3535724"/>
              <a:gd name="connsiteY131" fmla="*/ 1052195 h 2576929"/>
              <a:gd name="connsiteX132" fmla="*/ 1225256 w 3535724"/>
              <a:gd name="connsiteY132" fmla="*/ 1052195 h 2576929"/>
              <a:gd name="connsiteX133" fmla="*/ 1225256 w 3535724"/>
              <a:gd name="connsiteY133" fmla="*/ 919309 h 2576929"/>
              <a:gd name="connsiteX134" fmla="*/ 1405256 w 3535724"/>
              <a:gd name="connsiteY134" fmla="*/ 919309 h 2576929"/>
              <a:gd name="connsiteX135" fmla="*/ 1405256 w 3535724"/>
              <a:gd name="connsiteY135" fmla="*/ 1052195 h 2576929"/>
              <a:gd name="connsiteX136" fmla="*/ 1526994 w 3535724"/>
              <a:gd name="connsiteY136" fmla="*/ 1052195 h 2576929"/>
              <a:gd name="connsiteX137" fmla="*/ 1526994 w 3535724"/>
              <a:gd name="connsiteY137" fmla="*/ 919309 h 2576929"/>
              <a:gd name="connsiteX138" fmla="*/ 1706994 w 3535724"/>
              <a:gd name="connsiteY138" fmla="*/ 919309 h 2576929"/>
              <a:gd name="connsiteX139" fmla="*/ 1706994 w 3535724"/>
              <a:gd name="connsiteY139" fmla="*/ 1052195 h 2576929"/>
              <a:gd name="connsiteX140" fmla="*/ 1828732 w 3535724"/>
              <a:gd name="connsiteY140" fmla="*/ 1052195 h 2576929"/>
              <a:gd name="connsiteX141" fmla="*/ 1828732 w 3535724"/>
              <a:gd name="connsiteY141" fmla="*/ 919309 h 2576929"/>
              <a:gd name="connsiteX142" fmla="*/ 2008732 w 3535724"/>
              <a:gd name="connsiteY142" fmla="*/ 919309 h 2576929"/>
              <a:gd name="connsiteX143" fmla="*/ 2008732 w 3535724"/>
              <a:gd name="connsiteY143" fmla="*/ 1052195 h 2576929"/>
              <a:gd name="connsiteX144" fmla="*/ 2130469 w 3535724"/>
              <a:gd name="connsiteY144" fmla="*/ 1052195 h 2576929"/>
              <a:gd name="connsiteX145" fmla="*/ 2130469 w 3535724"/>
              <a:gd name="connsiteY145" fmla="*/ 919309 h 2576929"/>
              <a:gd name="connsiteX146" fmla="*/ 2310469 w 3535724"/>
              <a:gd name="connsiteY146" fmla="*/ 919309 h 2576929"/>
              <a:gd name="connsiteX147" fmla="*/ 2310469 w 3535724"/>
              <a:gd name="connsiteY147" fmla="*/ 1052195 h 2576929"/>
              <a:gd name="connsiteX148" fmla="*/ 2430672 w 3535724"/>
              <a:gd name="connsiteY148" fmla="*/ 1052195 h 2576929"/>
              <a:gd name="connsiteX149" fmla="*/ 2430672 w 3535724"/>
              <a:gd name="connsiteY149" fmla="*/ 706182 h 2576929"/>
              <a:gd name="connsiteX150" fmla="*/ 2552333 w 3535724"/>
              <a:gd name="connsiteY150" fmla="*/ 706182 h 2576929"/>
              <a:gd name="connsiteX151" fmla="*/ 2417890 w 3535724"/>
              <a:gd name="connsiteY151" fmla="*/ 168412 h 2576929"/>
              <a:gd name="connsiteX152" fmla="*/ 2417373 w 3535724"/>
              <a:gd name="connsiteY152" fmla="*/ 168412 h 2576929"/>
              <a:gd name="connsiteX153" fmla="*/ 2417373 w 3535724"/>
              <a:gd name="connsiteY153" fmla="*/ 166345 h 2576929"/>
              <a:gd name="connsiteX154" fmla="*/ 2417373 w 3535724"/>
              <a:gd name="connsiteY154" fmla="*/ 0 h 2576929"/>
              <a:gd name="connsiteX155" fmla="*/ 2611584 w 3535724"/>
              <a:gd name="connsiteY155" fmla="*/ 0 h 2576929"/>
              <a:gd name="connsiteX156" fmla="*/ 2611584 w 3535724"/>
              <a:gd name="connsiteY156" fmla="*/ 166345 h 2576929"/>
              <a:gd name="connsiteX157" fmla="*/ 2723672 w 3535724"/>
              <a:gd name="connsiteY157" fmla="*/ 166345 h 2576929"/>
              <a:gd name="connsiteX158" fmla="*/ 2723672 w 3535724"/>
              <a:gd name="connsiteY158" fmla="*/ 0 h 2576929"/>
              <a:gd name="connsiteX159" fmla="*/ 2917883 w 3535724"/>
              <a:gd name="connsiteY159" fmla="*/ 0 h 2576929"/>
              <a:gd name="connsiteX160" fmla="*/ 2917883 w 3535724"/>
              <a:gd name="connsiteY160" fmla="*/ 166345 h 2576929"/>
              <a:gd name="connsiteX161" fmla="*/ 3029971 w 3535724"/>
              <a:gd name="connsiteY161" fmla="*/ 166345 h 2576929"/>
              <a:gd name="connsiteX162" fmla="*/ 3029971 w 3535724"/>
              <a:gd name="connsiteY162" fmla="*/ 0 h 2576929"/>
              <a:gd name="connsiteX163" fmla="*/ 3224182 w 3535724"/>
              <a:gd name="connsiteY163" fmla="*/ 0 h 2576929"/>
              <a:gd name="connsiteX164" fmla="*/ 3224182 w 3535724"/>
              <a:gd name="connsiteY164" fmla="*/ 166345 h 2576929"/>
              <a:gd name="connsiteX165" fmla="*/ 3336269 w 3535724"/>
              <a:gd name="connsiteY165" fmla="*/ 166345 h 2576929"/>
              <a:gd name="connsiteX166" fmla="*/ 3336269 w 3535724"/>
              <a:gd name="connsiteY166" fmla="*/ 0 h 2576929"/>
              <a:gd name="connsiteX167" fmla="*/ 3530480 w 3535724"/>
              <a:gd name="connsiteY167" fmla="*/ 0 h 2576929"/>
              <a:gd name="connsiteX168" fmla="*/ 3530480 w 3535724"/>
              <a:gd name="connsiteY168" fmla="*/ 166345 h 2576929"/>
              <a:gd name="connsiteX169" fmla="*/ 3530480 w 3535724"/>
              <a:gd name="connsiteY169" fmla="*/ 168412 h 2576929"/>
              <a:gd name="connsiteX170" fmla="*/ 3529963 w 3535724"/>
              <a:gd name="connsiteY170" fmla="*/ 168412 h 2576929"/>
              <a:gd name="connsiteX171" fmla="*/ 3395521 w 3535724"/>
              <a:gd name="connsiteY171" fmla="*/ 706182 h 2576929"/>
              <a:gd name="connsiteX172" fmla="*/ 3535724 w 3535724"/>
              <a:gd name="connsiteY172" fmla="*/ 706182 h 2576929"/>
              <a:gd name="connsiteX173" fmla="*/ 3535724 w 3535724"/>
              <a:gd name="connsiteY173" fmla="*/ 1052195 h 2576929"/>
              <a:gd name="connsiteX174" fmla="*/ 3535724 w 3535724"/>
              <a:gd name="connsiteY174" fmla="*/ 2230916 h 2576929"/>
              <a:gd name="connsiteX175" fmla="*/ 3535724 w 3535724"/>
              <a:gd name="connsiteY175" fmla="*/ 2576929 h 2576929"/>
              <a:gd name="connsiteX176" fmla="*/ 0 w 3535724"/>
              <a:gd name="connsiteY176" fmla="*/ 2576929 h 2576929"/>
              <a:gd name="connsiteX177" fmla="*/ 0 w 3535724"/>
              <a:gd name="connsiteY177" fmla="*/ 2230916 h 2576929"/>
              <a:gd name="connsiteX178" fmla="*/ 0 w 3535724"/>
              <a:gd name="connsiteY178" fmla="*/ 1052195 h 2576929"/>
              <a:gd name="connsiteX179" fmla="*/ 0 w 3535724"/>
              <a:gd name="connsiteY179" fmla="*/ 706182 h 2576929"/>
              <a:gd name="connsiteX180" fmla="*/ 134960 w 3535724"/>
              <a:gd name="connsiteY180" fmla="*/ 706182 h 2576929"/>
              <a:gd name="connsiteX181" fmla="*/ 517 w 3535724"/>
              <a:gd name="connsiteY181" fmla="*/ 168412 h 2576929"/>
              <a:gd name="connsiteX182" fmla="*/ 0 w 3535724"/>
              <a:gd name="connsiteY182" fmla="*/ 168412 h 2576929"/>
              <a:gd name="connsiteX183" fmla="*/ 0 w 3535724"/>
              <a:gd name="connsiteY183" fmla="*/ 166345 h 2576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3535724" h="2576929">
                <a:moveTo>
                  <a:pt x="1767862" y="1995276"/>
                </a:moveTo>
                <a:cubicBezTo>
                  <a:pt x="1696315" y="1995276"/>
                  <a:pt x="1634927" y="2038778"/>
                  <a:pt x="1608704" y="2100773"/>
                </a:cubicBezTo>
                <a:lnTo>
                  <a:pt x="1595497" y="2166184"/>
                </a:lnTo>
                <a:lnTo>
                  <a:pt x="1595129" y="2166184"/>
                </a:lnTo>
                <a:lnTo>
                  <a:pt x="1595129" y="2168009"/>
                </a:lnTo>
                <a:lnTo>
                  <a:pt x="1595129" y="2238759"/>
                </a:lnTo>
                <a:lnTo>
                  <a:pt x="1595129" y="2533776"/>
                </a:lnTo>
                <a:lnTo>
                  <a:pt x="1940595" y="2533776"/>
                </a:lnTo>
                <a:lnTo>
                  <a:pt x="1940595" y="2238759"/>
                </a:lnTo>
                <a:lnTo>
                  <a:pt x="1940595" y="2168009"/>
                </a:lnTo>
                <a:lnTo>
                  <a:pt x="1940595" y="2166184"/>
                </a:lnTo>
                <a:lnTo>
                  <a:pt x="1940227" y="2166184"/>
                </a:lnTo>
                <a:lnTo>
                  <a:pt x="1927022" y="2100773"/>
                </a:lnTo>
                <a:cubicBezTo>
                  <a:pt x="1900799" y="2038778"/>
                  <a:pt x="1839411" y="1995276"/>
                  <a:pt x="1767862" y="1995276"/>
                </a:cubicBezTo>
                <a:close/>
                <a:moveTo>
                  <a:pt x="2978690" y="1659989"/>
                </a:moveTo>
                <a:cubicBezTo>
                  <a:pt x="2940421" y="1659989"/>
                  <a:pt x="2907586" y="1683257"/>
                  <a:pt x="2893560" y="1716417"/>
                </a:cubicBezTo>
                <a:lnTo>
                  <a:pt x="2886496" y="1751404"/>
                </a:lnTo>
                <a:lnTo>
                  <a:pt x="2886299" y="1751404"/>
                </a:lnTo>
                <a:lnTo>
                  <a:pt x="2886299" y="1752380"/>
                </a:lnTo>
                <a:lnTo>
                  <a:pt x="2886299" y="1790223"/>
                </a:lnTo>
                <a:lnTo>
                  <a:pt x="2886299" y="1948021"/>
                </a:lnTo>
                <a:lnTo>
                  <a:pt x="3071081" y="1948021"/>
                </a:lnTo>
                <a:lnTo>
                  <a:pt x="3071081" y="1790223"/>
                </a:lnTo>
                <a:lnTo>
                  <a:pt x="3071081" y="1752380"/>
                </a:lnTo>
                <a:lnTo>
                  <a:pt x="3071081" y="1751404"/>
                </a:lnTo>
                <a:lnTo>
                  <a:pt x="3070884" y="1751404"/>
                </a:lnTo>
                <a:lnTo>
                  <a:pt x="3063821" y="1716417"/>
                </a:lnTo>
                <a:cubicBezTo>
                  <a:pt x="3049795" y="1683257"/>
                  <a:pt x="3016960" y="1659989"/>
                  <a:pt x="2978690" y="1659989"/>
                </a:cubicBezTo>
                <a:close/>
                <a:moveTo>
                  <a:pt x="552990" y="1659989"/>
                </a:moveTo>
                <a:cubicBezTo>
                  <a:pt x="514721" y="1659989"/>
                  <a:pt x="481886" y="1683257"/>
                  <a:pt x="467860" y="1716417"/>
                </a:cubicBezTo>
                <a:lnTo>
                  <a:pt x="460796" y="1751404"/>
                </a:lnTo>
                <a:lnTo>
                  <a:pt x="460599" y="1751404"/>
                </a:lnTo>
                <a:lnTo>
                  <a:pt x="460599" y="1752380"/>
                </a:lnTo>
                <a:lnTo>
                  <a:pt x="460599" y="1790223"/>
                </a:lnTo>
                <a:lnTo>
                  <a:pt x="460599" y="1948021"/>
                </a:lnTo>
                <a:lnTo>
                  <a:pt x="645381" y="1948021"/>
                </a:lnTo>
                <a:lnTo>
                  <a:pt x="645381" y="1790223"/>
                </a:lnTo>
                <a:lnTo>
                  <a:pt x="645381" y="1752380"/>
                </a:lnTo>
                <a:lnTo>
                  <a:pt x="645381" y="1751404"/>
                </a:lnTo>
                <a:lnTo>
                  <a:pt x="645184" y="1751404"/>
                </a:lnTo>
                <a:lnTo>
                  <a:pt x="638121" y="1716417"/>
                </a:lnTo>
                <a:cubicBezTo>
                  <a:pt x="624095" y="1683257"/>
                  <a:pt x="591260" y="1659989"/>
                  <a:pt x="552990" y="1659989"/>
                </a:cubicBezTo>
                <a:close/>
                <a:moveTo>
                  <a:pt x="2978690" y="1197786"/>
                </a:moveTo>
                <a:cubicBezTo>
                  <a:pt x="2940421" y="1197786"/>
                  <a:pt x="2907586" y="1221054"/>
                  <a:pt x="2893560" y="1254214"/>
                </a:cubicBezTo>
                <a:lnTo>
                  <a:pt x="2886496" y="1289201"/>
                </a:lnTo>
                <a:lnTo>
                  <a:pt x="2886299" y="1289201"/>
                </a:lnTo>
                <a:lnTo>
                  <a:pt x="2886299" y="1290177"/>
                </a:lnTo>
                <a:lnTo>
                  <a:pt x="2886299" y="1328020"/>
                </a:lnTo>
                <a:lnTo>
                  <a:pt x="2886299" y="1485818"/>
                </a:lnTo>
                <a:lnTo>
                  <a:pt x="3071081" y="1485818"/>
                </a:lnTo>
                <a:lnTo>
                  <a:pt x="3071081" y="1328020"/>
                </a:lnTo>
                <a:lnTo>
                  <a:pt x="3071081" y="1290177"/>
                </a:lnTo>
                <a:lnTo>
                  <a:pt x="3071081" y="1289201"/>
                </a:lnTo>
                <a:lnTo>
                  <a:pt x="3070884" y="1289201"/>
                </a:lnTo>
                <a:lnTo>
                  <a:pt x="3063821" y="1254214"/>
                </a:lnTo>
                <a:cubicBezTo>
                  <a:pt x="3049795" y="1221054"/>
                  <a:pt x="3016960" y="1197786"/>
                  <a:pt x="2978690" y="1197786"/>
                </a:cubicBezTo>
                <a:close/>
                <a:moveTo>
                  <a:pt x="552990" y="1197786"/>
                </a:moveTo>
                <a:cubicBezTo>
                  <a:pt x="514721" y="1197786"/>
                  <a:pt x="481886" y="1221054"/>
                  <a:pt x="467860" y="1254214"/>
                </a:cubicBezTo>
                <a:lnTo>
                  <a:pt x="460796" y="1289201"/>
                </a:lnTo>
                <a:lnTo>
                  <a:pt x="460599" y="1289201"/>
                </a:lnTo>
                <a:lnTo>
                  <a:pt x="460599" y="1290177"/>
                </a:lnTo>
                <a:lnTo>
                  <a:pt x="460599" y="1328020"/>
                </a:lnTo>
                <a:lnTo>
                  <a:pt x="460599" y="1485818"/>
                </a:lnTo>
                <a:lnTo>
                  <a:pt x="645381" y="1485818"/>
                </a:lnTo>
                <a:lnTo>
                  <a:pt x="645381" y="1328020"/>
                </a:lnTo>
                <a:lnTo>
                  <a:pt x="645381" y="1290177"/>
                </a:lnTo>
                <a:lnTo>
                  <a:pt x="645381" y="1289201"/>
                </a:lnTo>
                <a:lnTo>
                  <a:pt x="645184" y="1289201"/>
                </a:lnTo>
                <a:lnTo>
                  <a:pt x="638121" y="1254214"/>
                </a:lnTo>
                <a:cubicBezTo>
                  <a:pt x="624095" y="1221054"/>
                  <a:pt x="591260" y="1197786"/>
                  <a:pt x="552990" y="1197786"/>
                </a:cubicBezTo>
                <a:close/>
                <a:moveTo>
                  <a:pt x="1767862" y="1197786"/>
                </a:moveTo>
                <a:cubicBezTo>
                  <a:pt x="1696315" y="1197786"/>
                  <a:pt x="1634927" y="1241288"/>
                  <a:pt x="1608704" y="1303283"/>
                </a:cubicBezTo>
                <a:lnTo>
                  <a:pt x="1595497" y="1368694"/>
                </a:lnTo>
                <a:lnTo>
                  <a:pt x="1595129" y="1368694"/>
                </a:lnTo>
                <a:lnTo>
                  <a:pt x="1595129" y="1370519"/>
                </a:lnTo>
                <a:lnTo>
                  <a:pt x="1595129" y="1441270"/>
                </a:lnTo>
                <a:lnTo>
                  <a:pt x="1595129" y="1485818"/>
                </a:lnTo>
                <a:lnTo>
                  <a:pt x="1940595" y="1485818"/>
                </a:lnTo>
                <a:lnTo>
                  <a:pt x="1940595" y="1441270"/>
                </a:lnTo>
                <a:lnTo>
                  <a:pt x="1940595" y="1370519"/>
                </a:lnTo>
                <a:lnTo>
                  <a:pt x="1940595" y="1368694"/>
                </a:lnTo>
                <a:lnTo>
                  <a:pt x="1940227" y="1368694"/>
                </a:lnTo>
                <a:lnTo>
                  <a:pt x="1927022" y="1303283"/>
                </a:lnTo>
                <a:cubicBezTo>
                  <a:pt x="1900799" y="1241288"/>
                  <a:pt x="1839411" y="1197786"/>
                  <a:pt x="1767862" y="1197786"/>
                </a:cubicBezTo>
                <a:close/>
                <a:moveTo>
                  <a:pt x="552990" y="735584"/>
                </a:moveTo>
                <a:cubicBezTo>
                  <a:pt x="514721" y="735584"/>
                  <a:pt x="481886" y="758852"/>
                  <a:pt x="467860" y="792012"/>
                </a:cubicBezTo>
                <a:lnTo>
                  <a:pt x="460796" y="826999"/>
                </a:lnTo>
                <a:lnTo>
                  <a:pt x="460599" y="826999"/>
                </a:lnTo>
                <a:lnTo>
                  <a:pt x="460599" y="827975"/>
                </a:lnTo>
                <a:lnTo>
                  <a:pt x="460599" y="865818"/>
                </a:lnTo>
                <a:lnTo>
                  <a:pt x="460599" y="1023616"/>
                </a:lnTo>
                <a:lnTo>
                  <a:pt x="645381" y="1023616"/>
                </a:lnTo>
                <a:lnTo>
                  <a:pt x="645381" y="865818"/>
                </a:lnTo>
                <a:lnTo>
                  <a:pt x="645381" y="827975"/>
                </a:lnTo>
                <a:lnTo>
                  <a:pt x="645381" y="826999"/>
                </a:lnTo>
                <a:lnTo>
                  <a:pt x="645184" y="826999"/>
                </a:lnTo>
                <a:lnTo>
                  <a:pt x="638121" y="792012"/>
                </a:lnTo>
                <a:cubicBezTo>
                  <a:pt x="624095" y="758852"/>
                  <a:pt x="591260" y="735584"/>
                  <a:pt x="552990" y="735584"/>
                </a:cubicBezTo>
                <a:close/>
                <a:moveTo>
                  <a:pt x="2978690" y="735584"/>
                </a:moveTo>
                <a:cubicBezTo>
                  <a:pt x="2940421" y="735584"/>
                  <a:pt x="2907586" y="758852"/>
                  <a:pt x="2893560" y="792012"/>
                </a:cubicBezTo>
                <a:lnTo>
                  <a:pt x="2886496" y="826999"/>
                </a:lnTo>
                <a:lnTo>
                  <a:pt x="2886299" y="826999"/>
                </a:lnTo>
                <a:lnTo>
                  <a:pt x="2886299" y="827975"/>
                </a:lnTo>
                <a:lnTo>
                  <a:pt x="2886299" y="865818"/>
                </a:lnTo>
                <a:lnTo>
                  <a:pt x="2886299" y="1023616"/>
                </a:lnTo>
                <a:lnTo>
                  <a:pt x="3071081" y="1023616"/>
                </a:lnTo>
                <a:lnTo>
                  <a:pt x="3071081" y="865818"/>
                </a:lnTo>
                <a:lnTo>
                  <a:pt x="3071081" y="827975"/>
                </a:lnTo>
                <a:lnTo>
                  <a:pt x="3071081" y="826999"/>
                </a:lnTo>
                <a:lnTo>
                  <a:pt x="3070884" y="826999"/>
                </a:lnTo>
                <a:lnTo>
                  <a:pt x="3063821" y="792012"/>
                </a:lnTo>
                <a:cubicBezTo>
                  <a:pt x="3049795" y="758852"/>
                  <a:pt x="3016960" y="735584"/>
                  <a:pt x="2978690" y="735584"/>
                </a:cubicBezTo>
                <a:close/>
                <a:moveTo>
                  <a:pt x="0" y="0"/>
                </a:moveTo>
                <a:lnTo>
                  <a:pt x="194211" y="0"/>
                </a:lnTo>
                <a:lnTo>
                  <a:pt x="194211" y="166345"/>
                </a:lnTo>
                <a:lnTo>
                  <a:pt x="306299" y="166345"/>
                </a:lnTo>
                <a:lnTo>
                  <a:pt x="306299" y="0"/>
                </a:lnTo>
                <a:lnTo>
                  <a:pt x="500510" y="0"/>
                </a:lnTo>
                <a:lnTo>
                  <a:pt x="500510" y="166345"/>
                </a:lnTo>
                <a:lnTo>
                  <a:pt x="612598" y="166345"/>
                </a:lnTo>
                <a:lnTo>
                  <a:pt x="612598" y="0"/>
                </a:lnTo>
                <a:lnTo>
                  <a:pt x="806809" y="0"/>
                </a:lnTo>
                <a:lnTo>
                  <a:pt x="806809" y="166345"/>
                </a:lnTo>
                <a:lnTo>
                  <a:pt x="918896" y="166345"/>
                </a:lnTo>
                <a:lnTo>
                  <a:pt x="918896" y="0"/>
                </a:lnTo>
                <a:lnTo>
                  <a:pt x="1113107" y="0"/>
                </a:lnTo>
                <a:lnTo>
                  <a:pt x="1113107" y="166345"/>
                </a:lnTo>
                <a:lnTo>
                  <a:pt x="1113107" y="168412"/>
                </a:lnTo>
                <a:lnTo>
                  <a:pt x="1112591" y="168412"/>
                </a:lnTo>
                <a:lnTo>
                  <a:pt x="978149" y="706182"/>
                </a:lnTo>
                <a:lnTo>
                  <a:pt x="1105052" y="706182"/>
                </a:lnTo>
                <a:lnTo>
                  <a:pt x="1105052" y="1052195"/>
                </a:lnTo>
                <a:lnTo>
                  <a:pt x="1225256" y="1052195"/>
                </a:lnTo>
                <a:lnTo>
                  <a:pt x="1225256" y="919309"/>
                </a:lnTo>
                <a:lnTo>
                  <a:pt x="1405256" y="919309"/>
                </a:lnTo>
                <a:lnTo>
                  <a:pt x="1405256" y="1052195"/>
                </a:lnTo>
                <a:lnTo>
                  <a:pt x="1526994" y="1052195"/>
                </a:lnTo>
                <a:lnTo>
                  <a:pt x="1526994" y="919309"/>
                </a:lnTo>
                <a:lnTo>
                  <a:pt x="1706994" y="919309"/>
                </a:lnTo>
                <a:lnTo>
                  <a:pt x="1706994" y="1052195"/>
                </a:lnTo>
                <a:lnTo>
                  <a:pt x="1828732" y="1052195"/>
                </a:lnTo>
                <a:lnTo>
                  <a:pt x="1828732" y="919309"/>
                </a:lnTo>
                <a:lnTo>
                  <a:pt x="2008732" y="919309"/>
                </a:lnTo>
                <a:lnTo>
                  <a:pt x="2008732" y="1052195"/>
                </a:lnTo>
                <a:lnTo>
                  <a:pt x="2130469" y="1052195"/>
                </a:lnTo>
                <a:lnTo>
                  <a:pt x="2130469" y="919309"/>
                </a:lnTo>
                <a:lnTo>
                  <a:pt x="2310469" y="919309"/>
                </a:lnTo>
                <a:lnTo>
                  <a:pt x="2310469" y="1052195"/>
                </a:lnTo>
                <a:lnTo>
                  <a:pt x="2430672" y="1052195"/>
                </a:lnTo>
                <a:lnTo>
                  <a:pt x="2430672" y="706182"/>
                </a:lnTo>
                <a:lnTo>
                  <a:pt x="2552333" y="706182"/>
                </a:lnTo>
                <a:lnTo>
                  <a:pt x="2417890" y="168412"/>
                </a:lnTo>
                <a:lnTo>
                  <a:pt x="2417373" y="168412"/>
                </a:lnTo>
                <a:lnTo>
                  <a:pt x="2417373" y="166345"/>
                </a:lnTo>
                <a:lnTo>
                  <a:pt x="2417373" y="0"/>
                </a:lnTo>
                <a:lnTo>
                  <a:pt x="2611584" y="0"/>
                </a:lnTo>
                <a:lnTo>
                  <a:pt x="2611584" y="166345"/>
                </a:lnTo>
                <a:lnTo>
                  <a:pt x="2723672" y="166345"/>
                </a:lnTo>
                <a:lnTo>
                  <a:pt x="2723672" y="0"/>
                </a:lnTo>
                <a:lnTo>
                  <a:pt x="2917883" y="0"/>
                </a:lnTo>
                <a:lnTo>
                  <a:pt x="2917883" y="166345"/>
                </a:lnTo>
                <a:lnTo>
                  <a:pt x="3029971" y="166345"/>
                </a:lnTo>
                <a:lnTo>
                  <a:pt x="3029971" y="0"/>
                </a:lnTo>
                <a:lnTo>
                  <a:pt x="3224182" y="0"/>
                </a:lnTo>
                <a:lnTo>
                  <a:pt x="3224182" y="166345"/>
                </a:lnTo>
                <a:lnTo>
                  <a:pt x="3336269" y="166345"/>
                </a:lnTo>
                <a:lnTo>
                  <a:pt x="3336269" y="0"/>
                </a:lnTo>
                <a:lnTo>
                  <a:pt x="3530480" y="0"/>
                </a:lnTo>
                <a:lnTo>
                  <a:pt x="3530480" y="166345"/>
                </a:lnTo>
                <a:lnTo>
                  <a:pt x="3530480" y="168412"/>
                </a:lnTo>
                <a:lnTo>
                  <a:pt x="3529963" y="168412"/>
                </a:lnTo>
                <a:lnTo>
                  <a:pt x="3395521" y="706182"/>
                </a:lnTo>
                <a:lnTo>
                  <a:pt x="3535724" y="706182"/>
                </a:lnTo>
                <a:lnTo>
                  <a:pt x="3535724" y="1052195"/>
                </a:lnTo>
                <a:lnTo>
                  <a:pt x="3535724" y="2230916"/>
                </a:lnTo>
                <a:lnTo>
                  <a:pt x="3535724" y="2576929"/>
                </a:lnTo>
                <a:lnTo>
                  <a:pt x="0" y="2576929"/>
                </a:lnTo>
                <a:lnTo>
                  <a:pt x="0" y="2230916"/>
                </a:lnTo>
                <a:lnTo>
                  <a:pt x="0" y="1052195"/>
                </a:lnTo>
                <a:lnTo>
                  <a:pt x="0" y="706182"/>
                </a:lnTo>
                <a:lnTo>
                  <a:pt x="134960" y="706182"/>
                </a:lnTo>
                <a:lnTo>
                  <a:pt x="517" y="168412"/>
                </a:lnTo>
                <a:lnTo>
                  <a:pt x="0" y="168412"/>
                </a:lnTo>
                <a:lnTo>
                  <a:pt x="0" y="166345"/>
                </a:lnTo>
                <a:close/>
              </a:path>
            </a:pathLst>
          </a:custGeom>
          <a:solidFill>
            <a:srgbClr val="98A2AE">
              <a:lumMod val="75000"/>
            </a:srgbClr>
          </a:solidFill>
        </p:spPr>
        <p:txBody>
          <a:bodyPr wrap="none" tIns="672000" rtlCol="0" anchor="t">
            <a:noAutofit/>
          </a:bodyPr>
          <a:lstStyle/>
          <a:p>
            <a:pPr marL="0" marR="0" lvl="0" indent="0" algn="ctr" defTabSz="6133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bg-BG" sz="1200" kern="0" dirty="0" smtClean="0">
                <a:solidFill>
                  <a:srgbClr val="4D5766"/>
                </a:solidFill>
                <a:ea typeface="Nokia Pure Text Light" panose="020B0403020202020204" pitchFamily="34" charset="0"/>
              </a:rPr>
              <a:t>Радио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4D5766"/>
              </a:solidFill>
              <a:effectLst/>
              <a:uLnTx/>
              <a:uFillTx/>
              <a:ea typeface="Nokia Pure Text Light" panose="020B0403020202020204" pitchFamily="34" charset="0"/>
            </a:endParaRPr>
          </a:p>
        </p:txBody>
      </p:sp>
      <p:sp>
        <p:nvSpPr>
          <p:cNvPr id="42" name="Freihandform: Form 95">
            <a:extLst>
              <a:ext uri="{FF2B5EF4-FFF2-40B4-BE49-F238E27FC236}">
                <a16:creationId xmlns:a16="http://schemas.microsoft.com/office/drawing/2014/main" xmlns="" id="{4A7A3718-44D3-4E27-AEF9-486BB2E03F73}"/>
              </a:ext>
            </a:extLst>
          </p:cNvPr>
          <p:cNvSpPr>
            <a:spLocks noChangeAspect="1"/>
          </p:cNvSpPr>
          <p:nvPr/>
        </p:nvSpPr>
        <p:spPr>
          <a:xfrm>
            <a:off x="3263408" y="2598396"/>
            <a:ext cx="724451" cy="528000"/>
          </a:xfrm>
          <a:custGeom>
            <a:avLst/>
            <a:gdLst>
              <a:gd name="connsiteX0" fmla="*/ 1767862 w 3535724"/>
              <a:gd name="connsiteY0" fmla="*/ 1995276 h 2576929"/>
              <a:gd name="connsiteX1" fmla="*/ 1608704 w 3535724"/>
              <a:gd name="connsiteY1" fmla="*/ 2100773 h 2576929"/>
              <a:gd name="connsiteX2" fmla="*/ 1595497 w 3535724"/>
              <a:gd name="connsiteY2" fmla="*/ 2166184 h 2576929"/>
              <a:gd name="connsiteX3" fmla="*/ 1595129 w 3535724"/>
              <a:gd name="connsiteY3" fmla="*/ 2166184 h 2576929"/>
              <a:gd name="connsiteX4" fmla="*/ 1595129 w 3535724"/>
              <a:gd name="connsiteY4" fmla="*/ 2168009 h 2576929"/>
              <a:gd name="connsiteX5" fmla="*/ 1595129 w 3535724"/>
              <a:gd name="connsiteY5" fmla="*/ 2238759 h 2576929"/>
              <a:gd name="connsiteX6" fmla="*/ 1595129 w 3535724"/>
              <a:gd name="connsiteY6" fmla="*/ 2533776 h 2576929"/>
              <a:gd name="connsiteX7" fmla="*/ 1940595 w 3535724"/>
              <a:gd name="connsiteY7" fmla="*/ 2533776 h 2576929"/>
              <a:gd name="connsiteX8" fmla="*/ 1940595 w 3535724"/>
              <a:gd name="connsiteY8" fmla="*/ 2238759 h 2576929"/>
              <a:gd name="connsiteX9" fmla="*/ 1940595 w 3535724"/>
              <a:gd name="connsiteY9" fmla="*/ 2168009 h 2576929"/>
              <a:gd name="connsiteX10" fmla="*/ 1940595 w 3535724"/>
              <a:gd name="connsiteY10" fmla="*/ 2166184 h 2576929"/>
              <a:gd name="connsiteX11" fmla="*/ 1940227 w 3535724"/>
              <a:gd name="connsiteY11" fmla="*/ 2166184 h 2576929"/>
              <a:gd name="connsiteX12" fmla="*/ 1927022 w 3535724"/>
              <a:gd name="connsiteY12" fmla="*/ 2100773 h 2576929"/>
              <a:gd name="connsiteX13" fmla="*/ 1767862 w 3535724"/>
              <a:gd name="connsiteY13" fmla="*/ 1995276 h 2576929"/>
              <a:gd name="connsiteX14" fmla="*/ 2978690 w 3535724"/>
              <a:gd name="connsiteY14" fmla="*/ 1659989 h 2576929"/>
              <a:gd name="connsiteX15" fmla="*/ 2893560 w 3535724"/>
              <a:gd name="connsiteY15" fmla="*/ 1716417 h 2576929"/>
              <a:gd name="connsiteX16" fmla="*/ 2886496 w 3535724"/>
              <a:gd name="connsiteY16" fmla="*/ 1751404 h 2576929"/>
              <a:gd name="connsiteX17" fmla="*/ 2886299 w 3535724"/>
              <a:gd name="connsiteY17" fmla="*/ 1751404 h 2576929"/>
              <a:gd name="connsiteX18" fmla="*/ 2886299 w 3535724"/>
              <a:gd name="connsiteY18" fmla="*/ 1752380 h 2576929"/>
              <a:gd name="connsiteX19" fmla="*/ 2886299 w 3535724"/>
              <a:gd name="connsiteY19" fmla="*/ 1790223 h 2576929"/>
              <a:gd name="connsiteX20" fmla="*/ 2886299 w 3535724"/>
              <a:gd name="connsiteY20" fmla="*/ 1948021 h 2576929"/>
              <a:gd name="connsiteX21" fmla="*/ 3071081 w 3535724"/>
              <a:gd name="connsiteY21" fmla="*/ 1948021 h 2576929"/>
              <a:gd name="connsiteX22" fmla="*/ 3071081 w 3535724"/>
              <a:gd name="connsiteY22" fmla="*/ 1790223 h 2576929"/>
              <a:gd name="connsiteX23" fmla="*/ 3071081 w 3535724"/>
              <a:gd name="connsiteY23" fmla="*/ 1752380 h 2576929"/>
              <a:gd name="connsiteX24" fmla="*/ 3071081 w 3535724"/>
              <a:gd name="connsiteY24" fmla="*/ 1751404 h 2576929"/>
              <a:gd name="connsiteX25" fmla="*/ 3070884 w 3535724"/>
              <a:gd name="connsiteY25" fmla="*/ 1751404 h 2576929"/>
              <a:gd name="connsiteX26" fmla="*/ 3063821 w 3535724"/>
              <a:gd name="connsiteY26" fmla="*/ 1716417 h 2576929"/>
              <a:gd name="connsiteX27" fmla="*/ 2978690 w 3535724"/>
              <a:gd name="connsiteY27" fmla="*/ 1659989 h 2576929"/>
              <a:gd name="connsiteX28" fmla="*/ 552990 w 3535724"/>
              <a:gd name="connsiteY28" fmla="*/ 1659989 h 2576929"/>
              <a:gd name="connsiteX29" fmla="*/ 467860 w 3535724"/>
              <a:gd name="connsiteY29" fmla="*/ 1716417 h 2576929"/>
              <a:gd name="connsiteX30" fmla="*/ 460796 w 3535724"/>
              <a:gd name="connsiteY30" fmla="*/ 1751404 h 2576929"/>
              <a:gd name="connsiteX31" fmla="*/ 460599 w 3535724"/>
              <a:gd name="connsiteY31" fmla="*/ 1751404 h 2576929"/>
              <a:gd name="connsiteX32" fmla="*/ 460599 w 3535724"/>
              <a:gd name="connsiteY32" fmla="*/ 1752380 h 2576929"/>
              <a:gd name="connsiteX33" fmla="*/ 460599 w 3535724"/>
              <a:gd name="connsiteY33" fmla="*/ 1790223 h 2576929"/>
              <a:gd name="connsiteX34" fmla="*/ 460599 w 3535724"/>
              <a:gd name="connsiteY34" fmla="*/ 1948021 h 2576929"/>
              <a:gd name="connsiteX35" fmla="*/ 645381 w 3535724"/>
              <a:gd name="connsiteY35" fmla="*/ 1948021 h 2576929"/>
              <a:gd name="connsiteX36" fmla="*/ 645381 w 3535724"/>
              <a:gd name="connsiteY36" fmla="*/ 1790223 h 2576929"/>
              <a:gd name="connsiteX37" fmla="*/ 645381 w 3535724"/>
              <a:gd name="connsiteY37" fmla="*/ 1752380 h 2576929"/>
              <a:gd name="connsiteX38" fmla="*/ 645381 w 3535724"/>
              <a:gd name="connsiteY38" fmla="*/ 1751404 h 2576929"/>
              <a:gd name="connsiteX39" fmla="*/ 645184 w 3535724"/>
              <a:gd name="connsiteY39" fmla="*/ 1751404 h 2576929"/>
              <a:gd name="connsiteX40" fmla="*/ 638121 w 3535724"/>
              <a:gd name="connsiteY40" fmla="*/ 1716417 h 2576929"/>
              <a:gd name="connsiteX41" fmla="*/ 552990 w 3535724"/>
              <a:gd name="connsiteY41" fmla="*/ 1659989 h 2576929"/>
              <a:gd name="connsiteX42" fmla="*/ 2978690 w 3535724"/>
              <a:gd name="connsiteY42" fmla="*/ 1197786 h 2576929"/>
              <a:gd name="connsiteX43" fmla="*/ 2893560 w 3535724"/>
              <a:gd name="connsiteY43" fmla="*/ 1254214 h 2576929"/>
              <a:gd name="connsiteX44" fmla="*/ 2886496 w 3535724"/>
              <a:gd name="connsiteY44" fmla="*/ 1289201 h 2576929"/>
              <a:gd name="connsiteX45" fmla="*/ 2886299 w 3535724"/>
              <a:gd name="connsiteY45" fmla="*/ 1289201 h 2576929"/>
              <a:gd name="connsiteX46" fmla="*/ 2886299 w 3535724"/>
              <a:gd name="connsiteY46" fmla="*/ 1290177 h 2576929"/>
              <a:gd name="connsiteX47" fmla="*/ 2886299 w 3535724"/>
              <a:gd name="connsiteY47" fmla="*/ 1328020 h 2576929"/>
              <a:gd name="connsiteX48" fmla="*/ 2886299 w 3535724"/>
              <a:gd name="connsiteY48" fmla="*/ 1485818 h 2576929"/>
              <a:gd name="connsiteX49" fmla="*/ 3071081 w 3535724"/>
              <a:gd name="connsiteY49" fmla="*/ 1485818 h 2576929"/>
              <a:gd name="connsiteX50" fmla="*/ 3071081 w 3535724"/>
              <a:gd name="connsiteY50" fmla="*/ 1328020 h 2576929"/>
              <a:gd name="connsiteX51" fmla="*/ 3071081 w 3535724"/>
              <a:gd name="connsiteY51" fmla="*/ 1290177 h 2576929"/>
              <a:gd name="connsiteX52" fmla="*/ 3071081 w 3535724"/>
              <a:gd name="connsiteY52" fmla="*/ 1289201 h 2576929"/>
              <a:gd name="connsiteX53" fmla="*/ 3070884 w 3535724"/>
              <a:gd name="connsiteY53" fmla="*/ 1289201 h 2576929"/>
              <a:gd name="connsiteX54" fmla="*/ 3063821 w 3535724"/>
              <a:gd name="connsiteY54" fmla="*/ 1254214 h 2576929"/>
              <a:gd name="connsiteX55" fmla="*/ 2978690 w 3535724"/>
              <a:gd name="connsiteY55" fmla="*/ 1197786 h 2576929"/>
              <a:gd name="connsiteX56" fmla="*/ 552990 w 3535724"/>
              <a:gd name="connsiteY56" fmla="*/ 1197786 h 2576929"/>
              <a:gd name="connsiteX57" fmla="*/ 467860 w 3535724"/>
              <a:gd name="connsiteY57" fmla="*/ 1254214 h 2576929"/>
              <a:gd name="connsiteX58" fmla="*/ 460796 w 3535724"/>
              <a:gd name="connsiteY58" fmla="*/ 1289201 h 2576929"/>
              <a:gd name="connsiteX59" fmla="*/ 460599 w 3535724"/>
              <a:gd name="connsiteY59" fmla="*/ 1289201 h 2576929"/>
              <a:gd name="connsiteX60" fmla="*/ 460599 w 3535724"/>
              <a:gd name="connsiteY60" fmla="*/ 1290177 h 2576929"/>
              <a:gd name="connsiteX61" fmla="*/ 460599 w 3535724"/>
              <a:gd name="connsiteY61" fmla="*/ 1328020 h 2576929"/>
              <a:gd name="connsiteX62" fmla="*/ 460599 w 3535724"/>
              <a:gd name="connsiteY62" fmla="*/ 1485818 h 2576929"/>
              <a:gd name="connsiteX63" fmla="*/ 645381 w 3535724"/>
              <a:gd name="connsiteY63" fmla="*/ 1485818 h 2576929"/>
              <a:gd name="connsiteX64" fmla="*/ 645381 w 3535724"/>
              <a:gd name="connsiteY64" fmla="*/ 1328020 h 2576929"/>
              <a:gd name="connsiteX65" fmla="*/ 645381 w 3535724"/>
              <a:gd name="connsiteY65" fmla="*/ 1290177 h 2576929"/>
              <a:gd name="connsiteX66" fmla="*/ 645381 w 3535724"/>
              <a:gd name="connsiteY66" fmla="*/ 1289201 h 2576929"/>
              <a:gd name="connsiteX67" fmla="*/ 645184 w 3535724"/>
              <a:gd name="connsiteY67" fmla="*/ 1289201 h 2576929"/>
              <a:gd name="connsiteX68" fmla="*/ 638121 w 3535724"/>
              <a:gd name="connsiteY68" fmla="*/ 1254214 h 2576929"/>
              <a:gd name="connsiteX69" fmla="*/ 552990 w 3535724"/>
              <a:gd name="connsiteY69" fmla="*/ 1197786 h 2576929"/>
              <a:gd name="connsiteX70" fmla="*/ 1767862 w 3535724"/>
              <a:gd name="connsiteY70" fmla="*/ 1197786 h 2576929"/>
              <a:gd name="connsiteX71" fmla="*/ 1608704 w 3535724"/>
              <a:gd name="connsiteY71" fmla="*/ 1303283 h 2576929"/>
              <a:gd name="connsiteX72" fmla="*/ 1595497 w 3535724"/>
              <a:gd name="connsiteY72" fmla="*/ 1368694 h 2576929"/>
              <a:gd name="connsiteX73" fmla="*/ 1595129 w 3535724"/>
              <a:gd name="connsiteY73" fmla="*/ 1368694 h 2576929"/>
              <a:gd name="connsiteX74" fmla="*/ 1595129 w 3535724"/>
              <a:gd name="connsiteY74" fmla="*/ 1370519 h 2576929"/>
              <a:gd name="connsiteX75" fmla="*/ 1595129 w 3535724"/>
              <a:gd name="connsiteY75" fmla="*/ 1441270 h 2576929"/>
              <a:gd name="connsiteX76" fmla="*/ 1595129 w 3535724"/>
              <a:gd name="connsiteY76" fmla="*/ 1485818 h 2576929"/>
              <a:gd name="connsiteX77" fmla="*/ 1940595 w 3535724"/>
              <a:gd name="connsiteY77" fmla="*/ 1485818 h 2576929"/>
              <a:gd name="connsiteX78" fmla="*/ 1940595 w 3535724"/>
              <a:gd name="connsiteY78" fmla="*/ 1441270 h 2576929"/>
              <a:gd name="connsiteX79" fmla="*/ 1940595 w 3535724"/>
              <a:gd name="connsiteY79" fmla="*/ 1370519 h 2576929"/>
              <a:gd name="connsiteX80" fmla="*/ 1940595 w 3535724"/>
              <a:gd name="connsiteY80" fmla="*/ 1368694 h 2576929"/>
              <a:gd name="connsiteX81" fmla="*/ 1940227 w 3535724"/>
              <a:gd name="connsiteY81" fmla="*/ 1368694 h 2576929"/>
              <a:gd name="connsiteX82" fmla="*/ 1927022 w 3535724"/>
              <a:gd name="connsiteY82" fmla="*/ 1303283 h 2576929"/>
              <a:gd name="connsiteX83" fmla="*/ 1767862 w 3535724"/>
              <a:gd name="connsiteY83" fmla="*/ 1197786 h 2576929"/>
              <a:gd name="connsiteX84" fmla="*/ 552990 w 3535724"/>
              <a:gd name="connsiteY84" fmla="*/ 735584 h 2576929"/>
              <a:gd name="connsiteX85" fmla="*/ 467860 w 3535724"/>
              <a:gd name="connsiteY85" fmla="*/ 792012 h 2576929"/>
              <a:gd name="connsiteX86" fmla="*/ 460796 w 3535724"/>
              <a:gd name="connsiteY86" fmla="*/ 826999 h 2576929"/>
              <a:gd name="connsiteX87" fmla="*/ 460599 w 3535724"/>
              <a:gd name="connsiteY87" fmla="*/ 826999 h 2576929"/>
              <a:gd name="connsiteX88" fmla="*/ 460599 w 3535724"/>
              <a:gd name="connsiteY88" fmla="*/ 827975 h 2576929"/>
              <a:gd name="connsiteX89" fmla="*/ 460599 w 3535724"/>
              <a:gd name="connsiteY89" fmla="*/ 865818 h 2576929"/>
              <a:gd name="connsiteX90" fmla="*/ 460599 w 3535724"/>
              <a:gd name="connsiteY90" fmla="*/ 1023616 h 2576929"/>
              <a:gd name="connsiteX91" fmla="*/ 645381 w 3535724"/>
              <a:gd name="connsiteY91" fmla="*/ 1023616 h 2576929"/>
              <a:gd name="connsiteX92" fmla="*/ 645381 w 3535724"/>
              <a:gd name="connsiteY92" fmla="*/ 865818 h 2576929"/>
              <a:gd name="connsiteX93" fmla="*/ 645381 w 3535724"/>
              <a:gd name="connsiteY93" fmla="*/ 827975 h 2576929"/>
              <a:gd name="connsiteX94" fmla="*/ 645381 w 3535724"/>
              <a:gd name="connsiteY94" fmla="*/ 826999 h 2576929"/>
              <a:gd name="connsiteX95" fmla="*/ 645184 w 3535724"/>
              <a:gd name="connsiteY95" fmla="*/ 826999 h 2576929"/>
              <a:gd name="connsiteX96" fmla="*/ 638121 w 3535724"/>
              <a:gd name="connsiteY96" fmla="*/ 792012 h 2576929"/>
              <a:gd name="connsiteX97" fmla="*/ 552990 w 3535724"/>
              <a:gd name="connsiteY97" fmla="*/ 735584 h 2576929"/>
              <a:gd name="connsiteX98" fmla="*/ 2978690 w 3535724"/>
              <a:gd name="connsiteY98" fmla="*/ 735584 h 2576929"/>
              <a:gd name="connsiteX99" fmla="*/ 2893560 w 3535724"/>
              <a:gd name="connsiteY99" fmla="*/ 792012 h 2576929"/>
              <a:gd name="connsiteX100" fmla="*/ 2886496 w 3535724"/>
              <a:gd name="connsiteY100" fmla="*/ 826999 h 2576929"/>
              <a:gd name="connsiteX101" fmla="*/ 2886299 w 3535724"/>
              <a:gd name="connsiteY101" fmla="*/ 826999 h 2576929"/>
              <a:gd name="connsiteX102" fmla="*/ 2886299 w 3535724"/>
              <a:gd name="connsiteY102" fmla="*/ 827975 h 2576929"/>
              <a:gd name="connsiteX103" fmla="*/ 2886299 w 3535724"/>
              <a:gd name="connsiteY103" fmla="*/ 865818 h 2576929"/>
              <a:gd name="connsiteX104" fmla="*/ 2886299 w 3535724"/>
              <a:gd name="connsiteY104" fmla="*/ 1023616 h 2576929"/>
              <a:gd name="connsiteX105" fmla="*/ 3071081 w 3535724"/>
              <a:gd name="connsiteY105" fmla="*/ 1023616 h 2576929"/>
              <a:gd name="connsiteX106" fmla="*/ 3071081 w 3535724"/>
              <a:gd name="connsiteY106" fmla="*/ 865818 h 2576929"/>
              <a:gd name="connsiteX107" fmla="*/ 3071081 w 3535724"/>
              <a:gd name="connsiteY107" fmla="*/ 827975 h 2576929"/>
              <a:gd name="connsiteX108" fmla="*/ 3071081 w 3535724"/>
              <a:gd name="connsiteY108" fmla="*/ 826999 h 2576929"/>
              <a:gd name="connsiteX109" fmla="*/ 3070884 w 3535724"/>
              <a:gd name="connsiteY109" fmla="*/ 826999 h 2576929"/>
              <a:gd name="connsiteX110" fmla="*/ 3063821 w 3535724"/>
              <a:gd name="connsiteY110" fmla="*/ 792012 h 2576929"/>
              <a:gd name="connsiteX111" fmla="*/ 2978690 w 3535724"/>
              <a:gd name="connsiteY111" fmla="*/ 735584 h 2576929"/>
              <a:gd name="connsiteX112" fmla="*/ 0 w 3535724"/>
              <a:gd name="connsiteY112" fmla="*/ 0 h 2576929"/>
              <a:gd name="connsiteX113" fmla="*/ 194211 w 3535724"/>
              <a:gd name="connsiteY113" fmla="*/ 0 h 2576929"/>
              <a:gd name="connsiteX114" fmla="*/ 194211 w 3535724"/>
              <a:gd name="connsiteY114" fmla="*/ 166345 h 2576929"/>
              <a:gd name="connsiteX115" fmla="*/ 306299 w 3535724"/>
              <a:gd name="connsiteY115" fmla="*/ 166345 h 2576929"/>
              <a:gd name="connsiteX116" fmla="*/ 306299 w 3535724"/>
              <a:gd name="connsiteY116" fmla="*/ 0 h 2576929"/>
              <a:gd name="connsiteX117" fmla="*/ 500510 w 3535724"/>
              <a:gd name="connsiteY117" fmla="*/ 0 h 2576929"/>
              <a:gd name="connsiteX118" fmla="*/ 500510 w 3535724"/>
              <a:gd name="connsiteY118" fmla="*/ 166345 h 2576929"/>
              <a:gd name="connsiteX119" fmla="*/ 612598 w 3535724"/>
              <a:gd name="connsiteY119" fmla="*/ 166345 h 2576929"/>
              <a:gd name="connsiteX120" fmla="*/ 612598 w 3535724"/>
              <a:gd name="connsiteY120" fmla="*/ 0 h 2576929"/>
              <a:gd name="connsiteX121" fmla="*/ 806809 w 3535724"/>
              <a:gd name="connsiteY121" fmla="*/ 0 h 2576929"/>
              <a:gd name="connsiteX122" fmla="*/ 806809 w 3535724"/>
              <a:gd name="connsiteY122" fmla="*/ 166345 h 2576929"/>
              <a:gd name="connsiteX123" fmla="*/ 918896 w 3535724"/>
              <a:gd name="connsiteY123" fmla="*/ 166345 h 2576929"/>
              <a:gd name="connsiteX124" fmla="*/ 918896 w 3535724"/>
              <a:gd name="connsiteY124" fmla="*/ 0 h 2576929"/>
              <a:gd name="connsiteX125" fmla="*/ 1113107 w 3535724"/>
              <a:gd name="connsiteY125" fmla="*/ 0 h 2576929"/>
              <a:gd name="connsiteX126" fmla="*/ 1113107 w 3535724"/>
              <a:gd name="connsiteY126" fmla="*/ 166345 h 2576929"/>
              <a:gd name="connsiteX127" fmla="*/ 1113107 w 3535724"/>
              <a:gd name="connsiteY127" fmla="*/ 168412 h 2576929"/>
              <a:gd name="connsiteX128" fmla="*/ 1112591 w 3535724"/>
              <a:gd name="connsiteY128" fmla="*/ 168412 h 2576929"/>
              <a:gd name="connsiteX129" fmla="*/ 978149 w 3535724"/>
              <a:gd name="connsiteY129" fmla="*/ 706182 h 2576929"/>
              <a:gd name="connsiteX130" fmla="*/ 1105052 w 3535724"/>
              <a:gd name="connsiteY130" fmla="*/ 706182 h 2576929"/>
              <a:gd name="connsiteX131" fmla="*/ 1105052 w 3535724"/>
              <a:gd name="connsiteY131" fmla="*/ 1052195 h 2576929"/>
              <a:gd name="connsiteX132" fmla="*/ 1225256 w 3535724"/>
              <a:gd name="connsiteY132" fmla="*/ 1052195 h 2576929"/>
              <a:gd name="connsiteX133" fmla="*/ 1225256 w 3535724"/>
              <a:gd name="connsiteY133" fmla="*/ 919309 h 2576929"/>
              <a:gd name="connsiteX134" fmla="*/ 1405256 w 3535724"/>
              <a:gd name="connsiteY134" fmla="*/ 919309 h 2576929"/>
              <a:gd name="connsiteX135" fmla="*/ 1405256 w 3535724"/>
              <a:gd name="connsiteY135" fmla="*/ 1052195 h 2576929"/>
              <a:gd name="connsiteX136" fmla="*/ 1526994 w 3535724"/>
              <a:gd name="connsiteY136" fmla="*/ 1052195 h 2576929"/>
              <a:gd name="connsiteX137" fmla="*/ 1526994 w 3535724"/>
              <a:gd name="connsiteY137" fmla="*/ 919309 h 2576929"/>
              <a:gd name="connsiteX138" fmla="*/ 1706994 w 3535724"/>
              <a:gd name="connsiteY138" fmla="*/ 919309 h 2576929"/>
              <a:gd name="connsiteX139" fmla="*/ 1706994 w 3535724"/>
              <a:gd name="connsiteY139" fmla="*/ 1052195 h 2576929"/>
              <a:gd name="connsiteX140" fmla="*/ 1828732 w 3535724"/>
              <a:gd name="connsiteY140" fmla="*/ 1052195 h 2576929"/>
              <a:gd name="connsiteX141" fmla="*/ 1828732 w 3535724"/>
              <a:gd name="connsiteY141" fmla="*/ 919309 h 2576929"/>
              <a:gd name="connsiteX142" fmla="*/ 2008732 w 3535724"/>
              <a:gd name="connsiteY142" fmla="*/ 919309 h 2576929"/>
              <a:gd name="connsiteX143" fmla="*/ 2008732 w 3535724"/>
              <a:gd name="connsiteY143" fmla="*/ 1052195 h 2576929"/>
              <a:gd name="connsiteX144" fmla="*/ 2130469 w 3535724"/>
              <a:gd name="connsiteY144" fmla="*/ 1052195 h 2576929"/>
              <a:gd name="connsiteX145" fmla="*/ 2130469 w 3535724"/>
              <a:gd name="connsiteY145" fmla="*/ 919309 h 2576929"/>
              <a:gd name="connsiteX146" fmla="*/ 2310469 w 3535724"/>
              <a:gd name="connsiteY146" fmla="*/ 919309 h 2576929"/>
              <a:gd name="connsiteX147" fmla="*/ 2310469 w 3535724"/>
              <a:gd name="connsiteY147" fmla="*/ 1052195 h 2576929"/>
              <a:gd name="connsiteX148" fmla="*/ 2430672 w 3535724"/>
              <a:gd name="connsiteY148" fmla="*/ 1052195 h 2576929"/>
              <a:gd name="connsiteX149" fmla="*/ 2430672 w 3535724"/>
              <a:gd name="connsiteY149" fmla="*/ 706182 h 2576929"/>
              <a:gd name="connsiteX150" fmla="*/ 2552333 w 3535724"/>
              <a:gd name="connsiteY150" fmla="*/ 706182 h 2576929"/>
              <a:gd name="connsiteX151" fmla="*/ 2417890 w 3535724"/>
              <a:gd name="connsiteY151" fmla="*/ 168412 h 2576929"/>
              <a:gd name="connsiteX152" fmla="*/ 2417373 w 3535724"/>
              <a:gd name="connsiteY152" fmla="*/ 168412 h 2576929"/>
              <a:gd name="connsiteX153" fmla="*/ 2417373 w 3535724"/>
              <a:gd name="connsiteY153" fmla="*/ 166345 h 2576929"/>
              <a:gd name="connsiteX154" fmla="*/ 2417373 w 3535724"/>
              <a:gd name="connsiteY154" fmla="*/ 0 h 2576929"/>
              <a:gd name="connsiteX155" fmla="*/ 2611584 w 3535724"/>
              <a:gd name="connsiteY155" fmla="*/ 0 h 2576929"/>
              <a:gd name="connsiteX156" fmla="*/ 2611584 w 3535724"/>
              <a:gd name="connsiteY156" fmla="*/ 166345 h 2576929"/>
              <a:gd name="connsiteX157" fmla="*/ 2723672 w 3535724"/>
              <a:gd name="connsiteY157" fmla="*/ 166345 h 2576929"/>
              <a:gd name="connsiteX158" fmla="*/ 2723672 w 3535724"/>
              <a:gd name="connsiteY158" fmla="*/ 0 h 2576929"/>
              <a:gd name="connsiteX159" fmla="*/ 2917883 w 3535724"/>
              <a:gd name="connsiteY159" fmla="*/ 0 h 2576929"/>
              <a:gd name="connsiteX160" fmla="*/ 2917883 w 3535724"/>
              <a:gd name="connsiteY160" fmla="*/ 166345 h 2576929"/>
              <a:gd name="connsiteX161" fmla="*/ 3029971 w 3535724"/>
              <a:gd name="connsiteY161" fmla="*/ 166345 h 2576929"/>
              <a:gd name="connsiteX162" fmla="*/ 3029971 w 3535724"/>
              <a:gd name="connsiteY162" fmla="*/ 0 h 2576929"/>
              <a:gd name="connsiteX163" fmla="*/ 3224182 w 3535724"/>
              <a:gd name="connsiteY163" fmla="*/ 0 h 2576929"/>
              <a:gd name="connsiteX164" fmla="*/ 3224182 w 3535724"/>
              <a:gd name="connsiteY164" fmla="*/ 166345 h 2576929"/>
              <a:gd name="connsiteX165" fmla="*/ 3336269 w 3535724"/>
              <a:gd name="connsiteY165" fmla="*/ 166345 h 2576929"/>
              <a:gd name="connsiteX166" fmla="*/ 3336269 w 3535724"/>
              <a:gd name="connsiteY166" fmla="*/ 0 h 2576929"/>
              <a:gd name="connsiteX167" fmla="*/ 3530480 w 3535724"/>
              <a:gd name="connsiteY167" fmla="*/ 0 h 2576929"/>
              <a:gd name="connsiteX168" fmla="*/ 3530480 w 3535724"/>
              <a:gd name="connsiteY168" fmla="*/ 166345 h 2576929"/>
              <a:gd name="connsiteX169" fmla="*/ 3530480 w 3535724"/>
              <a:gd name="connsiteY169" fmla="*/ 168412 h 2576929"/>
              <a:gd name="connsiteX170" fmla="*/ 3529963 w 3535724"/>
              <a:gd name="connsiteY170" fmla="*/ 168412 h 2576929"/>
              <a:gd name="connsiteX171" fmla="*/ 3395521 w 3535724"/>
              <a:gd name="connsiteY171" fmla="*/ 706182 h 2576929"/>
              <a:gd name="connsiteX172" fmla="*/ 3535724 w 3535724"/>
              <a:gd name="connsiteY172" fmla="*/ 706182 h 2576929"/>
              <a:gd name="connsiteX173" fmla="*/ 3535724 w 3535724"/>
              <a:gd name="connsiteY173" fmla="*/ 1052195 h 2576929"/>
              <a:gd name="connsiteX174" fmla="*/ 3535724 w 3535724"/>
              <a:gd name="connsiteY174" fmla="*/ 2230916 h 2576929"/>
              <a:gd name="connsiteX175" fmla="*/ 3535724 w 3535724"/>
              <a:gd name="connsiteY175" fmla="*/ 2576929 h 2576929"/>
              <a:gd name="connsiteX176" fmla="*/ 0 w 3535724"/>
              <a:gd name="connsiteY176" fmla="*/ 2576929 h 2576929"/>
              <a:gd name="connsiteX177" fmla="*/ 0 w 3535724"/>
              <a:gd name="connsiteY177" fmla="*/ 2230916 h 2576929"/>
              <a:gd name="connsiteX178" fmla="*/ 0 w 3535724"/>
              <a:gd name="connsiteY178" fmla="*/ 1052195 h 2576929"/>
              <a:gd name="connsiteX179" fmla="*/ 0 w 3535724"/>
              <a:gd name="connsiteY179" fmla="*/ 706182 h 2576929"/>
              <a:gd name="connsiteX180" fmla="*/ 134960 w 3535724"/>
              <a:gd name="connsiteY180" fmla="*/ 706182 h 2576929"/>
              <a:gd name="connsiteX181" fmla="*/ 517 w 3535724"/>
              <a:gd name="connsiteY181" fmla="*/ 168412 h 2576929"/>
              <a:gd name="connsiteX182" fmla="*/ 0 w 3535724"/>
              <a:gd name="connsiteY182" fmla="*/ 168412 h 2576929"/>
              <a:gd name="connsiteX183" fmla="*/ 0 w 3535724"/>
              <a:gd name="connsiteY183" fmla="*/ 166345 h 2576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3535724" h="2576929">
                <a:moveTo>
                  <a:pt x="1767862" y="1995276"/>
                </a:moveTo>
                <a:cubicBezTo>
                  <a:pt x="1696315" y="1995276"/>
                  <a:pt x="1634927" y="2038778"/>
                  <a:pt x="1608704" y="2100773"/>
                </a:cubicBezTo>
                <a:lnTo>
                  <a:pt x="1595497" y="2166184"/>
                </a:lnTo>
                <a:lnTo>
                  <a:pt x="1595129" y="2166184"/>
                </a:lnTo>
                <a:lnTo>
                  <a:pt x="1595129" y="2168009"/>
                </a:lnTo>
                <a:lnTo>
                  <a:pt x="1595129" y="2238759"/>
                </a:lnTo>
                <a:lnTo>
                  <a:pt x="1595129" y="2533776"/>
                </a:lnTo>
                <a:lnTo>
                  <a:pt x="1940595" y="2533776"/>
                </a:lnTo>
                <a:lnTo>
                  <a:pt x="1940595" y="2238759"/>
                </a:lnTo>
                <a:lnTo>
                  <a:pt x="1940595" y="2168009"/>
                </a:lnTo>
                <a:lnTo>
                  <a:pt x="1940595" y="2166184"/>
                </a:lnTo>
                <a:lnTo>
                  <a:pt x="1940227" y="2166184"/>
                </a:lnTo>
                <a:lnTo>
                  <a:pt x="1927022" y="2100773"/>
                </a:lnTo>
                <a:cubicBezTo>
                  <a:pt x="1900799" y="2038778"/>
                  <a:pt x="1839411" y="1995276"/>
                  <a:pt x="1767862" y="1995276"/>
                </a:cubicBezTo>
                <a:close/>
                <a:moveTo>
                  <a:pt x="2978690" y="1659989"/>
                </a:moveTo>
                <a:cubicBezTo>
                  <a:pt x="2940421" y="1659989"/>
                  <a:pt x="2907586" y="1683257"/>
                  <a:pt x="2893560" y="1716417"/>
                </a:cubicBezTo>
                <a:lnTo>
                  <a:pt x="2886496" y="1751404"/>
                </a:lnTo>
                <a:lnTo>
                  <a:pt x="2886299" y="1751404"/>
                </a:lnTo>
                <a:lnTo>
                  <a:pt x="2886299" y="1752380"/>
                </a:lnTo>
                <a:lnTo>
                  <a:pt x="2886299" y="1790223"/>
                </a:lnTo>
                <a:lnTo>
                  <a:pt x="2886299" y="1948021"/>
                </a:lnTo>
                <a:lnTo>
                  <a:pt x="3071081" y="1948021"/>
                </a:lnTo>
                <a:lnTo>
                  <a:pt x="3071081" y="1790223"/>
                </a:lnTo>
                <a:lnTo>
                  <a:pt x="3071081" y="1752380"/>
                </a:lnTo>
                <a:lnTo>
                  <a:pt x="3071081" y="1751404"/>
                </a:lnTo>
                <a:lnTo>
                  <a:pt x="3070884" y="1751404"/>
                </a:lnTo>
                <a:lnTo>
                  <a:pt x="3063821" y="1716417"/>
                </a:lnTo>
                <a:cubicBezTo>
                  <a:pt x="3049795" y="1683257"/>
                  <a:pt x="3016960" y="1659989"/>
                  <a:pt x="2978690" y="1659989"/>
                </a:cubicBezTo>
                <a:close/>
                <a:moveTo>
                  <a:pt x="552990" y="1659989"/>
                </a:moveTo>
                <a:cubicBezTo>
                  <a:pt x="514721" y="1659989"/>
                  <a:pt x="481886" y="1683257"/>
                  <a:pt x="467860" y="1716417"/>
                </a:cubicBezTo>
                <a:lnTo>
                  <a:pt x="460796" y="1751404"/>
                </a:lnTo>
                <a:lnTo>
                  <a:pt x="460599" y="1751404"/>
                </a:lnTo>
                <a:lnTo>
                  <a:pt x="460599" y="1752380"/>
                </a:lnTo>
                <a:lnTo>
                  <a:pt x="460599" y="1790223"/>
                </a:lnTo>
                <a:lnTo>
                  <a:pt x="460599" y="1948021"/>
                </a:lnTo>
                <a:lnTo>
                  <a:pt x="645381" y="1948021"/>
                </a:lnTo>
                <a:lnTo>
                  <a:pt x="645381" y="1790223"/>
                </a:lnTo>
                <a:lnTo>
                  <a:pt x="645381" y="1752380"/>
                </a:lnTo>
                <a:lnTo>
                  <a:pt x="645381" y="1751404"/>
                </a:lnTo>
                <a:lnTo>
                  <a:pt x="645184" y="1751404"/>
                </a:lnTo>
                <a:lnTo>
                  <a:pt x="638121" y="1716417"/>
                </a:lnTo>
                <a:cubicBezTo>
                  <a:pt x="624095" y="1683257"/>
                  <a:pt x="591260" y="1659989"/>
                  <a:pt x="552990" y="1659989"/>
                </a:cubicBezTo>
                <a:close/>
                <a:moveTo>
                  <a:pt x="2978690" y="1197786"/>
                </a:moveTo>
                <a:cubicBezTo>
                  <a:pt x="2940421" y="1197786"/>
                  <a:pt x="2907586" y="1221054"/>
                  <a:pt x="2893560" y="1254214"/>
                </a:cubicBezTo>
                <a:lnTo>
                  <a:pt x="2886496" y="1289201"/>
                </a:lnTo>
                <a:lnTo>
                  <a:pt x="2886299" y="1289201"/>
                </a:lnTo>
                <a:lnTo>
                  <a:pt x="2886299" y="1290177"/>
                </a:lnTo>
                <a:lnTo>
                  <a:pt x="2886299" y="1328020"/>
                </a:lnTo>
                <a:lnTo>
                  <a:pt x="2886299" y="1485818"/>
                </a:lnTo>
                <a:lnTo>
                  <a:pt x="3071081" y="1485818"/>
                </a:lnTo>
                <a:lnTo>
                  <a:pt x="3071081" y="1328020"/>
                </a:lnTo>
                <a:lnTo>
                  <a:pt x="3071081" y="1290177"/>
                </a:lnTo>
                <a:lnTo>
                  <a:pt x="3071081" y="1289201"/>
                </a:lnTo>
                <a:lnTo>
                  <a:pt x="3070884" y="1289201"/>
                </a:lnTo>
                <a:lnTo>
                  <a:pt x="3063821" y="1254214"/>
                </a:lnTo>
                <a:cubicBezTo>
                  <a:pt x="3049795" y="1221054"/>
                  <a:pt x="3016960" y="1197786"/>
                  <a:pt x="2978690" y="1197786"/>
                </a:cubicBezTo>
                <a:close/>
                <a:moveTo>
                  <a:pt x="552990" y="1197786"/>
                </a:moveTo>
                <a:cubicBezTo>
                  <a:pt x="514721" y="1197786"/>
                  <a:pt x="481886" y="1221054"/>
                  <a:pt x="467860" y="1254214"/>
                </a:cubicBezTo>
                <a:lnTo>
                  <a:pt x="460796" y="1289201"/>
                </a:lnTo>
                <a:lnTo>
                  <a:pt x="460599" y="1289201"/>
                </a:lnTo>
                <a:lnTo>
                  <a:pt x="460599" y="1290177"/>
                </a:lnTo>
                <a:lnTo>
                  <a:pt x="460599" y="1328020"/>
                </a:lnTo>
                <a:lnTo>
                  <a:pt x="460599" y="1485818"/>
                </a:lnTo>
                <a:lnTo>
                  <a:pt x="645381" y="1485818"/>
                </a:lnTo>
                <a:lnTo>
                  <a:pt x="645381" y="1328020"/>
                </a:lnTo>
                <a:lnTo>
                  <a:pt x="645381" y="1290177"/>
                </a:lnTo>
                <a:lnTo>
                  <a:pt x="645381" y="1289201"/>
                </a:lnTo>
                <a:lnTo>
                  <a:pt x="645184" y="1289201"/>
                </a:lnTo>
                <a:lnTo>
                  <a:pt x="638121" y="1254214"/>
                </a:lnTo>
                <a:cubicBezTo>
                  <a:pt x="624095" y="1221054"/>
                  <a:pt x="591260" y="1197786"/>
                  <a:pt x="552990" y="1197786"/>
                </a:cubicBezTo>
                <a:close/>
                <a:moveTo>
                  <a:pt x="1767862" y="1197786"/>
                </a:moveTo>
                <a:cubicBezTo>
                  <a:pt x="1696315" y="1197786"/>
                  <a:pt x="1634927" y="1241288"/>
                  <a:pt x="1608704" y="1303283"/>
                </a:cubicBezTo>
                <a:lnTo>
                  <a:pt x="1595497" y="1368694"/>
                </a:lnTo>
                <a:lnTo>
                  <a:pt x="1595129" y="1368694"/>
                </a:lnTo>
                <a:lnTo>
                  <a:pt x="1595129" y="1370519"/>
                </a:lnTo>
                <a:lnTo>
                  <a:pt x="1595129" y="1441270"/>
                </a:lnTo>
                <a:lnTo>
                  <a:pt x="1595129" y="1485818"/>
                </a:lnTo>
                <a:lnTo>
                  <a:pt x="1940595" y="1485818"/>
                </a:lnTo>
                <a:lnTo>
                  <a:pt x="1940595" y="1441270"/>
                </a:lnTo>
                <a:lnTo>
                  <a:pt x="1940595" y="1370519"/>
                </a:lnTo>
                <a:lnTo>
                  <a:pt x="1940595" y="1368694"/>
                </a:lnTo>
                <a:lnTo>
                  <a:pt x="1940227" y="1368694"/>
                </a:lnTo>
                <a:lnTo>
                  <a:pt x="1927022" y="1303283"/>
                </a:lnTo>
                <a:cubicBezTo>
                  <a:pt x="1900799" y="1241288"/>
                  <a:pt x="1839411" y="1197786"/>
                  <a:pt x="1767862" y="1197786"/>
                </a:cubicBezTo>
                <a:close/>
                <a:moveTo>
                  <a:pt x="552990" y="735584"/>
                </a:moveTo>
                <a:cubicBezTo>
                  <a:pt x="514721" y="735584"/>
                  <a:pt x="481886" y="758852"/>
                  <a:pt x="467860" y="792012"/>
                </a:cubicBezTo>
                <a:lnTo>
                  <a:pt x="460796" y="826999"/>
                </a:lnTo>
                <a:lnTo>
                  <a:pt x="460599" y="826999"/>
                </a:lnTo>
                <a:lnTo>
                  <a:pt x="460599" y="827975"/>
                </a:lnTo>
                <a:lnTo>
                  <a:pt x="460599" y="865818"/>
                </a:lnTo>
                <a:lnTo>
                  <a:pt x="460599" y="1023616"/>
                </a:lnTo>
                <a:lnTo>
                  <a:pt x="645381" y="1023616"/>
                </a:lnTo>
                <a:lnTo>
                  <a:pt x="645381" y="865818"/>
                </a:lnTo>
                <a:lnTo>
                  <a:pt x="645381" y="827975"/>
                </a:lnTo>
                <a:lnTo>
                  <a:pt x="645381" y="826999"/>
                </a:lnTo>
                <a:lnTo>
                  <a:pt x="645184" y="826999"/>
                </a:lnTo>
                <a:lnTo>
                  <a:pt x="638121" y="792012"/>
                </a:lnTo>
                <a:cubicBezTo>
                  <a:pt x="624095" y="758852"/>
                  <a:pt x="591260" y="735584"/>
                  <a:pt x="552990" y="735584"/>
                </a:cubicBezTo>
                <a:close/>
                <a:moveTo>
                  <a:pt x="2978690" y="735584"/>
                </a:moveTo>
                <a:cubicBezTo>
                  <a:pt x="2940421" y="735584"/>
                  <a:pt x="2907586" y="758852"/>
                  <a:pt x="2893560" y="792012"/>
                </a:cubicBezTo>
                <a:lnTo>
                  <a:pt x="2886496" y="826999"/>
                </a:lnTo>
                <a:lnTo>
                  <a:pt x="2886299" y="826999"/>
                </a:lnTo>
                <a:lnTo>
                  <a:pt x="2886299" y="827975"/>
                </a:lnTo>
                <a:lnTo>
                  <a:pt x="2886299" y="865818"/>
                </a:lnTo>
                <a:lnTo>
                  <a:pt x="2886299" y="1023616"/>
                </a:lnTo>
                <a:lnTo>
                  <a:pt x="3071081" y="1023616"/>
                </a:lnTo>
                <a:lnTo>
                  <a:pt x="3071081" y="865818"/>
                </a:lnTo>
                <a:lnTo>
                  <a:pt x="3071081" y="827975"/>
                </a:lnTo>
                <a:lnTo>
                  <a:pt x="3071081" y="826999"/>
                </a:lnTo>
                <a:lnTo>
                  <a:pt x="3070884" y="826999"/>
                </a:lnTo>
                <a:lnTo>
                  <a:pt x="3063821" y="792012"/>
                </a:lnTo>
                <a:cubicBezTo>
                  <a:pt x="3049795" y="758852"/>
                  <a:pt x="3016960" y="735584"/>
                  <a:pt x="2978690" y="735584"/>
                </a:cubicBezTo>
                <a:close/>
                <a:moveTo>
                  <a:pt x="0" y="0"/>
                </a:moveTo>
                <a:lnTo>
                  <a:pt x="194211" y="0"/>
                </a:lnTo>
                <a:lnTo>
                  <a:pt x="194211" y="166345"/>
                </a:lnTo>
                <a:lnTo>
                  <a:pt x="306299" y="166345"/>
                </a:lnTo>
                <a:lnTo>
                  <a:pt x="306299" y="0"/>
                </a:lnTo>
                <a:lnTo>
                  <a:pt x="500510" y="0"/>
                </a:lnTo>
                <a:lnTo>
                  <a:pt x="500510" y="166345"/>
                </a:lnTo>
                <a:lnTo>
                  <a:pt x="612598" y="166345"/>
                </a:lnTo>
                <a:lnTo>
                  <a:pt x="612598" y="0"/>
                </a:lnTo>
                <a:lnTo>
                  <a:pt x="806809" y="0"/>
                </a:lnTo>
                <a:lnTo>
                  <a:pt x="806809" y="166345"/>
                </a:lnTo>
                <a:lnTo>
                  <a:pt x="918896" y="166345"/>
                </a:lnTo>
                <a:lnTo>
                  <a:pt x="918896" y="0"/>
                </a:lnTo>
                <a:lnTo>
                  <a:pt x="1113107" y="0"/>
                </a:lnTo>
                <a:lnTo>
                  <a:pt x="1113107" y="166345"/>
                </a:lnTo>
                <a:lnTo>
                  <a:pt x="1113107" y="168412"/>
                </a:lnTo>
                <a:lnTo>
                  <a:pt x="1112591" y="168412"/>
                </a:lnTo>
                <a:lnTo>
                  <a:pt x="978149" y="706182"/>
                </a:lnTo>
                <a:lnTo>
                  <a:pt x="1105052" y="706182"/>
                </a:lnTo>
                <a:lnTo>
                  <a:pt x="1105052" y="1052195"/>
                </a:lnTo>
                <a:lnTo>
                  <a:pt x="1225256" y="1052195"/>
                </a:lnTo>
                <a:lnTo>
                  <a:pt x="1225256" y="919309"/>
                </a:lnTo>
                <a:lnTo>
                  <a:pt x="1405256" y="919309"/>
                </a:lnTo>
                <a:lnTo>
                  <a:pt x="1405256" y="1052195"/>
                </a:lnTo>
                <a:lnTo>
                  <a:pt x="1526994" y="1052195"/>
                </a:lnTo>
                <a:lnTo>
                  <a:pt x="1526994" y="919309"/>
                </a:lnTo>
                <a:lnTo>
                  <a:pt x="1706994" y="919309"/>
                </a:lnTo>
                <a:lnTo>
                  <a:pt x="1706994" y="1052195"/>
                </a:lnTo>
                <a:lnTo>
                  <a:pt x="1828732" y="1052195"/>
                </a:lnTo>
                <a:lnTo>
                  <a:pt x="1828732" y="919309"/>
                </a:lnTo>
                <a:lnTo>
                  <a:pt x="2008732" y="919309"/>
                </a:lnTo>
                <a:lnTo>
                  <a:pt x="2008732" y="1052195"/>
                </a:lnTo>
                <a:lnTo>
                  <a:pt x="2130469" y="1052195"/>
                </a:lnTo>
                <a:lnTo>
                  <a:pt x="2130469" y="919309"/>
                </a:lnTo>
                <a:lnTo>
                  <a:pt x="2310469" y="919309"/>
                </a:lnTo>
                <a:lnTo>
                  <a:pt x="2310469" y="1052195"/>
                </a:lnTo>
                <a:lnTo>
                  <a:pt x="2430672" y="1052195"/>
                </a:lnTo>
                <a:lnTo>
                  <a:pt x="2430672" y="706182"/>
                </a:lnTo>
                <a:lnTo>
                  <a:pt x="2552333" y="706182"/>
                </a:lnTo>
                <a:lnTo>
                  <a:pt x="2417890" y="168412"/>
                </a:lnTo>
                <a:lnTo>
                  <a:pt x="2417373" y="168412"/>
                </a:lnTo>
                <a:lnTo>
                  <a:pt x="2417373" y="166345"/>
                </a:lnTo>
                <a:lnTo>
                  <a:pt x="2417373" y="0"/>
                </a:lnTo>
                <a:lnTo>
                  <a:pt x="2611584" y="0"/>
                </a:lnTo>
                <a:lnTo>
                  <a:pt x="2611584" y="166345"/>
                </a:lnTo>
                <a:lnTo>
                  <a:pt x="2723672" y="166345"/>
                </a:lnTo>
                <a:lnTo>
                  <a:pt x="2723672" y="0"/>
                </a:lnTo>
                <a:lnTo>
                  <a:pt x="2917883" y="0"/>
                </a:lnTo>
                <a:lnTo>
                  <a:pt x="2917883" y="166345"/>
                </a:lnTo>
                <a:lnTo>
                  <a:pt x="3029971" y="166345"/>
                </a:lnTo>
                <a:lnTo>
                  <a:pt x="3029971" y="0"/>
                </a:lnTo>
                <a:lnTo>
                  <a:pt x="3224182" y="0"/>
                </a:lnTo>
                <a:lnTo>
                  <a:pt x="3224182" y="166345"/>
                </a:lnTo>
                <a:lnTo>
                  <a:pt x="3336269" y="166345"/>
                </a:lnTo>
                <a:lnTo>
                  <a:pt x="3336269" y="0"/>
                </a:lnTo>
                <a:lnTo>
                  <a:pt x="3530480" y="0"/>
                </a:lnTo>
                <a:lnTo>
                  <a:pt x="3530480" y="166345"/>
                </a:lnTo>
                <a:lnTo>
                  <a:pt x="3530480" y="168412"/>
                </a:lnTo>
                <a:lnTo>
                  <a:pt x="3529963" y="168412"/>
                </a:lnTo>
                <a:lnTo>
                  <a:pt x="3395521" y="706182"/>
                </a:lnTo>
                <a:lnTo>
                  <a:pt x="3535724" y="706182"/>
                </a:lnTo>
                <a:lnTo>
                  <a:pt x="3535724" y="1052195"/>
                </a:lnTo>
                <a:lnTo>
                  <a:pt x="3535724" y="2230916"/>
                </a:lnTo>
                <a:lnTo>
                  <a:pt x="3535724" y="2576929"/>
                </a:lnTo>
                <a:lnTo>
                  <a:pt x="0" y="2576929"/>
                </a:lnTo>
                <a:lnTo>
                  <a:pt x="0" y="2230916"/>
                </a:lnTo>
                <a:lnTo>
                  <a:pt x="0" y="1052195"/>
                </a:lnTo>
                <a:lnTo>
                  <a:pt x="0" y="706182"/>
                </a:lnTo>
                <a:lnTo>
                  <a:pt x="134960" y="706182"/>
                </a:lnTo>
                <a:lnTo>
                  <a:pt x="517" y="168412"/>
                </a:lnTo>
                <a:lnTo>
                  <a:pt x="0" y="168412"/>
                </a:lnTo>
                <a:lnTo>
                  <a:pt x="0" y="166345"/>
                </a:lnTo>
                <a:close/>
              </a:path>
            </a:pathLst>
          </a:custGeom>
          <a:solidFill>
            <a:srgbClr val="4D5766"/>
          </a:solidFill>
        </p:spPr>
        <p:txBody>
          <a:bodyPr wrap="none" tIns="672000" rtlCol="0" anchor="t">
            <a:noAutofit/>
          </a:bodyPr>
          <a:lstStyle/>
          <a:p>
            <a:pPr marL="0" marR="0" lvl="0" indent="0" algn="ctr" defTabSz="6133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bg-BG" sz="1200" kern="0" dirty="0" smtClean="0">
                <a:solidFill>
                  <a:srgbClr val="4D5766"/>
                </a:solidFill>
                <a:ea typeface="Nokia Pure Text Light" panose="020B0403020202020204" pitchFamily="34" charset="0"/>
              </a:rPr>
              <a:t>Транспорт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4D5766"/>
              </a:solidFill>
              <a:effectLst/>
              <a:uLnTx/>
              <a:uFillTx/>
              <a:ea typeface="Nokia Pure Text Light" panose="020B0403020202020204" pitchFamily="34" charset="0"/>
            </a:endParaRPr>
          </a:p>
          <a:p>
            <a:pPr marL="0" marR="0" lvl="0" indent="0" algn="ctr" defTabSz="6133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67" b="0" i="0" u="none" strike="noStrike" kern="0" cap="none" spc="0" normalizeH="0" baseline="0" noProof="0" dirty="0" smtClean="0">
              <a:ln>
                <a:noFill/>
              </a:ln>
              <a:solidFill>
                <a:srgbClr val="124191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43" name="Freihandform: Form 98">
            <a:extLst>
              <a:ext uri="{FF2B5EF4-FFF2-40B4-BE49-F238E27FC236}">
                <a16:creationId xmlns:a16="http://schemas.microsoft.com/office/drawing/2014/main" xmlns="" id="{89264147-DC2C-4F40-A6A3-84425F63A21C}"/>
              </a:ext>
            </a:extLst>
          </p:cNvPr>
          <p:cNvSpPr>
            <a:spLocks noChangeAspect="1"/>
          </p:cNvSpPr>
          <p:nvPr/>
        </p:nvSpPr>
        <p:spPr>
          <a:xfrm>
            <a:off x="4431129" y="2598396"/>
            <a:ext cx="724451" cy="528000"/>
          </a:xfrm>
          <a:custGeom>
            <a:avLst/>
            <a:gdLst>
              <a:gd name="connsiteX0" fmla="*/ 1767862 w 3535724"/>
              <a:gd name="connsiteY0" fmla="*/ 1995276 h 2576929"/>
              <a:gd name="connsiteX1" fmla="*/ 1608704 w 3535724"/>
              <a:gd name="connsiteY1" fmla="*/ 2100773 h 2576929"/>
              <a:gd name="connsiteX2" fmla="*/ 1595497 w 3535724"/>
              <a:gd name="connsiteY2" fmla="*/ 2166184 h 2576929"/>
              <a:gd name="connsiteX3" fmla="*/ 1595129 w 3535724"/>
              <a:gd name="connsiteY3" fmla="*/ 2166184 h 2576929"/>
              <a:gd name="connsiteX4" fmla="*/ 1595129 w 3535724"/>
              <a:gd name="connsiteY4" fmla="*/ 2168009 h 2576929"/>
              <a:gd name="connsiteX5" fmla="*/ 1595129 w 3535724"/>
              <a:gd name="connsiteY5" fmla="*/ 2238759 h 2576929"/>
              <a:gd name="connsiteX6" fmla="*/ 1595129 w 3535724"/>
              <a:gd name="connsiteY6" fmla="*/ 2533776 h 2576929"/>
              <a:gd name="connsiteX7" fmla="*/ 1940595 w 3535724"/>
              <a:gd name="connsiteY7" fmla="*/ 2533776 h 2576929"/>
              <a:gd name="connsiteX8" fmla="*/ 1940595 w 3535724"/>
              <a:gd name="connsiteY8" fmla="*/ 2238759 h 2576929"/>
              <a:gd name="connsiteX9" fmla="*/ 1940595 w 3535724"/>
              <a:gd name="connsiteY9" fmla="*/ 2168009 h 2576929"/>
              <a:gd name="connsiteX10" fmla="*/ 1940595 w 3535724"/>
              <a:gd name="connsiteY10" fmla="*/ 2166184 h 2576929"/>
              <a:gd name="connsiteX11" fmla="*/ 1940227 w 3535724"/>
              <a:gd name="connsiteY11" fmla="*/ 2166184 h 2576929"/>
              <a:gd name="connsiteX12" fmla="*/ 1927022 w 3535724"/>
              <a:gd name="connsiteY12" fmla="*/ 2100773 h 2576929"/>
              <a:gd name="connsiteX13" fmla="*/ 1767862 w 3535724"/>
              <a:gd name="connsiteY13" fmla="*/ 1995276 h 2576929"/>
              <a:gd name="connsiteX14" fmla="*/ 2978690 w 3535724"/>
              <a:gd name="connsiteY14" fmla="*/ 1659989 h 2576929"/>
              <a:gd name="connsiteX15" fmla="*/ 2893560 w 3535724"/>
              <a:gd name="connsiteY15" fmla="*/ 1716417 h 2576929"/>
              <a:gd name="connsiteX16" fmla="*/ 2886496 w 3535724"/>
              <a:gd name="connsiteY16" fmla="*/ 1751404 h 2576929"/>
              <a:gd name="connsiteX17" fmla="*/ 2886299 w 3535724"/>
              <a:gd name="connsiteY17" fmla="*/ 1751404 h 2576929"/>
              <a:gd name="connsiteX18" fmla="*/ 2886299 w 3535724"/>
              <a:gd name="connsiteY18" fmla="*/ 1752380 h 2576929"/>
              <a:gd name="connsiteX19" fmla="*/ 2886299 w 3535724"/>
              <a:gd name="connsiteY19" fmla="*/ 1790223 h 2576929"/>
              <a:gd name="connsiteX20" fmla="*/ 2886299 w 3535724"/>
              <a:gd name="connsiteY20" fmla="*/ 1948021 h 2576929"/>
              <a:gd name="connsiteX21" fmla="*/ 3071081 w 3535724"/>
              <a:gd name="connsiteY21" fmla="*/ 1948021 h 2576929"/>
              <a:gd name="connsiteX22" fmla="*/ 3071081 w 3535724"/>
              <a:gd name="connsiteY22" fmla="*/ 1790223 h 2576929"/>
              <a:gd name="connsiteX23" fmla="*/ 3071081 w 3535724"/>
              <a:gd name="connsiteY23" fmla="*/ 1752380 h 2576929"/>
              <a:gd name="connsiteX24" fmla="*/ 3071081 w 3535724"/>
              <a:gd name="connsiteY24" fmla="*/ 1751404 h 2576929"/>
              <a:gd name="connsiteX25" fmla="*/ 3070884 w 3535724"/>
              <a:gd name="connsiteY25" fmla="*/ 1751404 h 2576929"/>
              <a:gd name="connsiteX26" fmla="*/ 3063821 w 3535724"/>
              <a:gd name="connsiteY26" fmla="*/ 1716417 h 2576929"/>
              <a:gd name="connsiteX27" fmla="*/ 2978690 w 3535724"/>
              <a:gd name="connsiteY27" fmla="*/ 1659989 h 2576929"/>
              <a:gd name="connsiteX28" fmla="*/ 552990 w 3535724"/>
              <a:gd name="connsiteY28" fmla="*/ 1659989 h 2576929"/>
              <a:gd name="connsiteX29" fmla="*/ 467860 w 3535724"/>
              <a:gd name="connsiteY29" fmla="*/ 1716417 h 2576929"/>
              <a:gd name="connsiteX30" fmla="*/ 460796 w 3535724"/>
              <a:gd name="connsiteY30" fmla="*/ 1751404 h 2576929"/>
              <a:gd name="connsiteX31" fmla="*/ 460599 w 3535724"/>
              <a:gd name="connsiteY31" fmla="*/ 1751404 h 2576929"/>
              <a:gd name="connsiteX32" fmla="*/ 460599 w 3535724"/>
              <a:gd name="connsiteY32" fmla="*/ 1752380 h 2576929"/>
              <a:gd name="connsiteX33" fmla="*/ 460599 w 3535724"/>
              <a:gd name="connsiteY33" fmla="*/ 1790223 h 2576929"/>
              <a:gd name="connsiteX34" fmla="*/ 460599 w 3535724"/>
              <a:gd name="connsiteY34" fmla="*/ 1948021 h 2576929"/>
              <a:gd name="connsiteX35" fmla="*/ 645381 w 3535724"/>
              <a:gd name="connsiteY35" fmla="*/ 1948021 h 2576929"/>
              <a:gd name="connsiteX36" fmla="*/ 645381 w 3535724"/>
              <a:gd name="connsiteY36" fmla="*/ 1790223 h 2576929"/>
              <a:gd name="connsiteX37" fmla="*/ 645381 w 3535724"/>
              <a:gd name="connsiteY37" fmla="*/ 1752380 h 2576929"/>
              <a:gd name="connsiteX38" fmla="*/ 645381 w 3535724"/>
              <a:gd name="connsiteY38" fmla="*/ 1751404 h 2576929"/>
              <a:gd name="connsiteX39" fmla="*/ 645184 w 3535724"/>
              <a:gd name="connsiteY39" fmla="*/ 1751404 h 2576929"/>
              <a:gd name="connsiteX40" fmla="*/ 638121 w 3535724"/>
              <a:gd name="connsiteY40" fmla="*/ 1716417 h 2576929"/>
              <a:gd name="connsiteX41" fmla="*/ 552990 w 3535724"/>
              <a:gd name="connsiteY41" fmla="*/ 1659989 h 2576929"/>
              <a:gd name="connsiteX42" fmla="*/ 2978690 w 3535724"/>
              <a:gd name="connsiteY42" fmla="*/ 1197786 h 2576929"/>
              <a:gd name="connsiteX43" fmla="*/ 2893560 w 3535724"/>
              <a:gd name="connsiteY43" fmla="*/ 1254214 h 2576929"/>
              <a:gd name="connsiteX44" fmla="*/ 2886496 w 3535724"/>
              <a:gd name="connsiteY44" fmla="*/ 1289201 h 2576929"/>
              <a:gd name="connsiteX45" fmla="*/ 2886299 w 3535724"/>
              <a:gd name="connsiteY45" fmla="*/ 1289201 h 2576929"/>
              <a:gd name="connsiteX46" fmla="*/ 2886299 w 3535724"/>
              <a:gd name="connsiteY46" fmla="*/ 1290177 h 2576929"/>
              <a:gd name="connsiteX47" fmla="*/ 2886299 w 3535724"/>
              <a:gd name="connsiteY47" fmla="*/ 1328020 h 2576929"/>
              <a:gd name="connsiteX48" fmla="*/ 2886299 w 3535724"/>
              <a:gd name="connsiteY48" fmla="*/ 1485818 h 2576929"/>
              <a:gd name="connsiteX49" fmla="*/ 3071081 w 3535724"/>
              <a:gd name="connsiteY49" fmla="*/ 1485818 h 2576929"/>
              <a:gd name="connsiteX50" fmla="*/ 3071081 w 3535724"/>
              <a:gd name="connsiteY50" fmla="*/ 1328020 h 2576929"/>
              <a:gd name="connsiteX51" fmla="*/ 3071081 w 3535724"/>
              <a:gd name="connsiteY51" fmla="*/ 1290177 h 2576929"/>
              <a:gd name="connsiteX52" fmla="*/ 3071081 w 3535724"/>
              <a:gd name="connsiteY52" fmla="*/ 1289201 h 2576929"/>
              <a:gd name="connsiteX53" fmla="*/ 3070884 w 3535724"/>
              <a:gd name="connsiteY53" fmla="*/ 1289201 h 2576929"/>
              <a:gd name="connsiteX54" fmla="*/ 3063821 w 3535724"/>
              <a:gd name="connsiteY54" fmla="*/ 1254214 h 2576929"/>
              <a:gd name="connsiteX55" fmla="*/ 2978690 w 3535724"/>
              <a:gd name="connsiteY55" fmla="*/ 1197786 h 2576929"/>
              <a:gd name="connsiteX56" fmla="*/ 552990 w 3535724"/>
              <a:gd name="connsiteY56" fmla="*/ 1197786 h 2576929"/>
              <a:gd name="connsiteX57" fmla="*/ 467860 w 3535724"/>
              <a:gd name="connsiteY57" fmla="*/ 1254214 h 2576929"/>
              <a:gd name="connsiteX58" fmla="*/ 460796 w 3535724"/>
              <a:gd name="connsiteY58" fmla="*/ 1289201 h 2576929"/>
              <a:gd name="connsiteX59" fmla="*/ 460599 w 3535724"/>
              <a:gd name="connsiteY59" fmla="*/ 1289201 h 2576929"/>
              <a:gd name="connsiteX60" fmla="*/ 460599 w 3535724"/>
              <a:gd name="connsiteY60" fmla="*/ 1290177 h 2576929"/>
              <a:gd name="connsiteX61" fmla="*/ 460599 w 3535724"/>
              <a:gd name="connsiteY61" fmla="*/ 1328020 h 2576929"/>
              <a:gd name="connsiteX62" fmla="*/ 460599 w 3535724"/>
              <a:gd name="connsiteY62" fmla="*/ 1485818 h 2576929"/>
              <a:gd name="connsiteX63" fmla="*/ 645381 w 3535724"/>
              <a:gd name="connsiteY63" fmla="*/ 1485818 h 2576929"/>
              <a:gd name="connsiteX64" fmla="*/ 645381 w 3535724"/>
              <a:gd name="connsiteY64" fmla="*/ 1328020 h 2576929"/>
              <a:gd name="connsiteX65" fmla="*/ 645381 w 3535724"/>
              <a:gd name="connsiteY65" fmla="*/ 1290177 h 2576929"/>
              <a:gd name="connsiteX66" fmla="*/ 645381 w 3535724"/>
              <a:gd name="connsiteY66" fmla="*/ 1289201 h 2576929"/>
              <a:gd name="connsiteX67" fmla="*/ 645184 w 3535724"/>
              <a:gd name="connsiteY67" fmla="*/ 1289201 h 2576929"/>
              <a:gd name="connsiteX68" fmla="*/ 638121 w 3535724"/>
              <a:gd name="connsiteY68" fmla="*/ 1254214 h 2576929"/>
              <a:gd name="connsiteX69" fmla="*/ 552990 w 3535724"/>
              <a:gd name="connsiteY69" fmla="*/ 1197786 h 2576929"/>
              <a:gd name="connsiteX70" fmla="*/ 1767862 w 3535724"/>
              <a:gd name="connsiteY70" fmla="*/ 1197786 h 2576929"/>
              <a:gd name="connsiteX71" fmla="*/ 1608704 w 3535724"/>
              <a:gd name="connsiteY71" fmla="*/ 1303283 h 2576929"/>
              <a:gd name="connsiteX72" fmla="*/ 1595497 w 3535724"/>
              <a:gd name="connsiteY72" fmla="*/ 1368694 h 2576929"/>
              <a:gd name="connsiteX73" fmla="*/ 1595129 w 3535724"/>
              <a:gd name="connsiteY73" fmla="*/ 1368694 h 2576929"/>
              <a:gd name="connsiteX74" fmla="*/ 1595129 w 3535724"/>
              <a:gd name="connsiteY74" fmla="*/ 1370519 h 2576929"/>
              <a:gd name="connsiteX75" fmla="*/ 1595129 w 3535724"/>
              <a:gd name="connsiteY75" fmla="*/ 1441270 h 2576929"/>
              <a:gd name="connsiteX76" fmla="*/ 1595129 w 3535724"/>
              <a:gd name="connsiteY76" fmla="*/ 1485818 h 2576929"/>
              <a:gd name="connsiteX77" fmla="*/ 1940595 w 3535724"/>
              <a:gd name="connsiteY77" fmla="*/ 1485818 h 2576929"/>
              <a:gd name="connsiteX78" fmla="*/ 1940595 w 3535724"/>
              <a:gd name="connsiteY78" fmla="*/ 1441270 h 2576929"/>
              <a:gd name="connsiteX79" fmla="*/ 1940595 w 3535724"/>
              <a:gd name="connsiteY79" fmla="*/ 1370519 h 2576929"/>
              <a:gd name="connsiteX80" fmla="*/ 1940595 w 3535724"/>
              <a:gd name="connsiteY80" fmla="*/ 1368694 h 2576929"/>
              <a:gd name="connsiteX81" fmla="*/ 1940227 w 3535724"/>
              <a:gd name="connsiteY81" fmla="*/ 1368694 h 2576929"/>
              <a:gd name="connsiteX82" fmla="*/ 1927022 w 3535724"/>
              <a:gd name="connsiteY82" fmla="*/ 1303283 h 2576929"/>
              <a:gd name="connsiteX83" fmla="*/ 1767862 w 3535724"/>
              <a:gd name="connsiteY83" fmla="*/ 1197786 h 2576929"/>
              <a:gd name="connsiteX84" fmla="*/ 552990 w 3535724"/>
              <a:gd name="connsiteY84" fmla="*/ 735584 h 2576929"/>
              <a:gd name="connsiteX85" fmla="*/ 467860 w 3535724"/>
              <a:gd name="connsiteY85" fmla="*/ 792012 h 2576929"/>
              <a:gd name="connsiteX86" fmla="*/ 460796 w 3535724"/>
              <a:gd name="connsiteY86" fmla="*/ 826999 h 2576929"/>
              <a:gd name="connsiteX87" fmla="*/ 460599 w 3535724"/>
              <a:gd name="connsiteY87" fmla="*/ 826999 h 2576929"/>
              <a:gd name="connsiteX88" fmla="*/ 460599 w 3535724"/>
              <a:gd name="connsiteY88" fmla="*/ 827975 h 2576929"/>
              <a:gd name="connsiteX89" fmla="*/ 460599 w 3535724"/>
              <a:gd name="connsiteY89" fmla="*/ 865818 h 2576929"/>
              <a:gd name="connsiteX90" fmla="*/ 460599 w 3535724"/>
              <a:gd name="connsiteY90" fmla="*/ 1023616 h 2576929"/>
              <a:gd name="connsiteX91" fmla="*/ 645381 w 3535724"/>
              <a:gd name="connsiteY91" fmla="*/ 1023616 h 2576929"/>
              <a:gd name="connsiteX92" fmla="*/ 645381 w 3535724"/>
              <a:gd name="connsiteY92" fmla="*/ 865818 h 2576929"/>
              <a:gd name="connsiteX93" fmla="*/ 645381 w 3535724"/>
              <a:gd name="connsiteY93" fmla="*/ 827975 h 2576929"/>
              <a:gd name="connsiteX94" fmla="*/ 645381 w 3535724"/>
              <a:gd name="connsiteY94" fmla="*/ 826999 h 2576929"/>
              <a:gd name="connsiteX95" fmla="*/ 645184 w 3535724"/>
              <a:gd name="connsiteY95" fmla="*/ 826999 h 2576929"/>
              <a:gd name="connsiteX96" fmla="*/ 638121 w 3535724"/>
              <a:gd name="connsiteY96" fmla="*/ 792012 h 2576929"/>
              <a:gd name="connsiteX97" fmla="*/ 552990 w 3535724"/>
              <a:gd name="connsiteY97" fmla="*/ 735584 h 2576929"/>
              <a:gd name="connsiteX98" fmla="*/ 2978690 w 3535724"/>
              <a:gd name="connsiteY98" fmla="*/ 735584 h 2576929"/>
              <a:gd name="connsiteX99" fmla="*/ 2893560 w 3535724"/>
              <a:gd name="connsiteY99" fmla="*/ 792012 h 2576929"/>
              <a:gd name="connsiteX100" fmla="*/ 2886496 w 3535724"/>
              <a:gd name="connsiteY100" fmla="*/ 826999 h 2576929"/>
              <a:gd name="connsiteX101" fmla="*/ 2886299 w 3535724"/>
              <a:gd name="connsiteY101" fmla="*/ 826999 h 2576929"/>
              <a:gd name="connsiteX102" fmla="*/ 2886299 w 3535724"/>
              <a:gd name="connsiteY102" fmla="*/ 827975 h 2576929"/>
              <a:gd name="connsiteX103" fmla="*/ 2886299 w 3535724"/>
              <a:gd name="connsiteY103" fmla="*/ 865818 h 2576929"/>
              <a:gd name="connsiteX104" fmla="*/ 2886299 w 3535724"/>
              <a:gd name="connsiteY104" fmla="*/ 1023616 h 2576929"/>
              <a:gd name="connsiteX105" fmla="*/ 3071081 w 3535724"/>
              <a:gd name="connsiteY105" fmla="*/ 1023616 h 2576929"/>
              <a:gd name="connsiteX106" fmla="*/ 3071081 w 3535724"/>
              <a:gd name="connsiteY106" fmla="*/ 865818 h 2576929"/>
              <a:gd name="connsiteX107" fmla="*/ 3071081 w 3535724"/>
              <a:gd name="connsiteY107" fmla="*/ 827975 h 2576929"/>
              <a:gd name="connsiteX108" fmla="*/ 3071081 w 3535724"/>
              <a:gd name="connsiteY108" fmla="*/ 826999 h 2576929"/>
              <a:gd name="connsiteX109" fmla="*/ 3070884 w 3535724"/>
              <a:gd name="connsiteY109" fmla="*/ 826999 h 2576929"/>
              <a:gd name="connsiteX110" fmla="*/ 3063821 w 3535724"/>
              <a:gd name="connsiteY110" fmla="*/ 792012 h 2576929"/>
              <a:gd name="connsiteX111" fmla="*/ 2978690 w 3535724"/>
              <a:gd name="connsiteY111" fmla="*/ 735584 h 2576929"/>
              <a:gd name="connsiteX112" fmla="*/ 0 w 3535724"/>
              <a:gd name="connsiteY112" fmla="*/ 0 h 2576929"/>
              <a:gd name="connsiteX113" fmla="*/ 194211 w 3535724"/>
              <a:gd name="connsiteY113" fmla="*/ 0 h 2576929"/>
              <a:gd name="connsiteX114" fmla="*/ 194211 w 3535724"/>
              <a:gd name="connsiteY114" fmla="*/ 166345 h 2576929"/>
              <a:gd name="connsiteX115" fmla="*/ 306299 w 3535724"/>
              <a:gd name="connsiteY115" fmla="*/ 166345 h 2576929"/>
              <a:gd name="connsiteX116" fmla="*/ 306299 w 3535724"/>
              <a:gd name="connsiteY116" fmla="*/ 0 h 2576929"/>
              <a:gd name="connsiteX117" fmla="*/ 500510 w 3535724"/>
              <a:gd name="connsiteY117" fmla="*/ 0 h 2576929"/>
              <a:gd name="connsiteX118" fmla="*/ 500510 w 3535724"/>
              <a:gd name="connsiteY118" fmla="*/ 166345 h 2576929"/>
              <a:gd name="connsiteX119" fmla="*/ 612598 w 3535724"/>
              <a:gd name="connsiteY119" fmla="*/ 166345 h 2576929"/>
              <a:gd name="connsiteX120" fmla="*/ 612598 w 3535724"/>
              <a:gd name="connsiteY120" fmla="*/ 0 h 2576929"/>
              <a:gd name="connsiteX121" fmla="*/ 806809 w 3535724"/>
              <a:gd name="connsiteY121" fmla="*/ 0 h 2576929"/>
              <a:gd name="connsiteX122" fmla="*/ 806809 w 3535724"/>
              <a:gd name="connsiteY122" fmla="*/ 166345 h 2576929"/>
              <a:gd name="connsiteX123" fmla="*/ 918896 w 3535724"/>
              <a:gd name="connsiteY123" fmla="*/ 166345 h 2576929"/>
              <a:gd name="connsiteX124" fmla="*/ 918896 w 3535724"/>
              <a:gd name="connsiteY124" fmla="*/ 0 h 2576929"/>
              <a:gd name="connsiteX125" fmla="*/ 1113107 w 3535724"/>
              <a:gd name="connsiteY125" fmla="*/ 0 h 2576929"/>
              <a:gd name="connsiteX126" fmla="*/ 1113107 w 3535724"/>
              <a:gd name="connsiteY126" fmla="*/ 166345 h 2576929"/>
              <a:gd name="connsiteX127" fmla="*/ 1113107 w 3535724"/>
              <a:gd name="connsiteY127" fmla="*/ 168412 h 2576929"/>
              <a:gd name="connsiteX128" fmla="*/ 1112591 w 3535724"/>
              <a:gd name="connsiteY128" fmla="*/ 168412 h 2576929"/>
              <a:gd name="connsiteX129" fmla="*/ 978149 w 3535724"/>
              <a:gd name="connsiteY129" fmla="*/ 706182 h 2576929"/>
              <a:gd name="connsiteX130" fmla="*/ 1105052 w 3535724"/>
              <a:gd name="connsiteY130" fmla="*/ 706182 h 2576929"/>
              <a:gd name="connsiteX131" fmla="*/ 1105052 w 3535724"/>
              <a:gd name="connsiteY131" fmla="*/ 1052195 h 2576929"/>
              <a:gd name="connsiteX132" fmla="*/ 1225256 w 3535724"/>
              <a:gd name="connsiteY132" fmla="*/ 1052195 h 2576929"/>
              <a:gd name="connsiteX133" fmla="*/ 1225256 w 3535724"/>
              <a:gd name="connsiteY133" fmla="*/ 919309 h 2576929"/>
              <a:gd name="connsiteX134" fmla="*/ 1405256 w 3535724"/>
              <a:gd name="connsiteY134" fmla="*/ 919309 h 2576929"/>
              <a:gd name="connsiteX135" fmla="*/ 1405256 w 3535724"/>
              <a:gd name="connsiteY135" fmla="*/ 1052195 h 2576929"/>
              <a:gd name="connsiteX136" fmla="*/ 1526994 w 3535724"/>
              <a:gd name="connsiteY136" fmla="*/ 1052195 h 2576929"/>
              <a:gd name="connsiteX137" fmla="*/ 1526994 w 3535724"/>
              <a:gd name="connsiteY137" fmla="*/ 919309 h 2576929"/>
              <a:gd name="connsiteX138" fmla="*/ 1706994 w 3535724"/>
              <a:gd name="connsiteY138" fmla="*/ 919309 h 2576929"/>
              <a:gd name="connsiteX139" fmla="*/ 1706994 w 3535724"/>
              <a:gd name="connsiteY139" fmla="*/ 1052195 h 2576929"/>
              <a:gd name="connsiteX140" fmla="*/ 1828732 w 3535724"/>
              <a:gd name="connsiteY140" fmla="*/ 1052195 h 2576929"/>
              <a:gd name="connsiteX141" fmla="*/ 1828732 w 3535724"/>
              <a:gd name="connsiteY141" fmla="*/ 919309 h 2576929"/>
              <a:gd name="connsiteX142" fmla="*/ 2008732 w 3535724"/>
              <a:gd name="connsiteY142" fmla="*/ 919309 h 2576929"/>
              <a:gd name="connsiteX143" fmla="*/ 2008732 w 3535724"/>
              <a:gd name="connsiteY143" fmla="*/ 1052195 h 2576929"/>
              <a:gd name="connsiteX144" fmla="*/ 2130469 w 3535724"/>
              <a:gd name="connsiteY144" fmla="*/ 1052195 h 2576929"/>
              <a:gd name="connsiteX145" fmla="*/ 2130469 w 3535724"/>
              <a:gd name="connsiteY145" fmla="*/ 919309 h 2576929"/>
              <a:gd name="connsiteX146" fmla="*/ 2310469 w 3535724"/>
              <a:gd name="connsiteY146" fmla="*/ 919309 h 2576929"/>
              <a:gd name="connsiteX147" fmla="*/ 2310469 w 3535724"/>
              <a:gd name="connsiteY147" fmla="*/ 1052195 h 2576929"/>
              <a:gd name="connsiteX148" fmla="*/ 2430672 w 3535724"/>
              <a:gd name="connsiteY148" fmla="*/ 1052195 h 2576929"/>
              <a:gd name="connsiteX149" fmla="*/ 2430672 w 3535724"/>
              <a:gd name="connsiteY149" fmla="*/ 706182 h 2576929"/>
              <a:gd name="connsiteX150" fmla="*/ 2552333 w 3535724"/>
              <a:gd name="connsiteY150" fmla="*/ 706182 h 2576929"/>
              <a:gd name="connsiteX151" fmla="*/ 2417890 w 3535724"/>
              <a:gd name="connsiteY151" fmla="*/ 168412 h 2576929"/>
              <a:gd name="connsiteX152" fmla="*/ 2417373 w 3535724"/>
              <a:gd name="connsiteY152" fmla="*/ 168412 h 2576929"/>
              <a:gd name="connsiteX153" fmla="*/ 2417373 w 3535724"/>
              <a:gd name="connsiteY153" fmla="*/ 166345 h 2576929"/>
              <a:gd name="connsiteX154" fmla="*/ 2417373 w 3535724"/>
              <a:gd name="connsiteY154" fmla="*/ 0 h 2576929"/>
              <a:gd name="connsiteX155" fmla="*/ 2611584 w 3535724"/>
              <a:gd name="connsiteY155" fmla="*/ 0 h 2576929"/>
              <a:gd name="connsiteX156" fmla="*/ 2611584 w 3535724"/>
              <a:gd name="connsiteY156" fmla="*/ 166345 h 2576929"/>
              <a:gd name="connsiteX157" fmla="*/ 2723672 w 3535724"/>
              <a:gd name="connsiteY157" fmla="*/ 166345 h 2576929"/>
              <a:gd name="connsiteX158" fmla="*/ 2723672 w 3535724"/>
              <a:gd name="connsiteY158" fmla="*/ 0 h 2576929"/>
              <a:gd name="connsiteX159" fmla="*/ 2917883 w 3535724"/>
              <a:gd name="connsiteY159" fmla="*/ 0 h 2576929"/>
              <a:gd name="connsiteX160" fmla="*/ 2917883 w 3535724"/>
              <a:gd name="connsiteY160" fmla="*/ 166345 h 2576929"/>
              <a:gd name="connsiteX161" fmla="*/ 3029971 w 3535724"/>
              <a:gd name="connsiteY161" fmla="*/ 166345 h 2576929"/>
              <a:gd name="connsiteX162" fmla="*/ 3029971 w 3535724"/>
              <a:gd name="connsiteY162" fmla="*/ 0 h 2576929"/>
              <a:gd name="connsiteX163" fmla="*/ 3224182 w 3535724"/>
              <a:gd name="connsiteY163" fmla="*/ 0 h 2576929"/>
              <a:gd name="connsiteX164" fmla="*/ 3224182 w 3535724"/>
              <a:gd name="connsiteY164" fmla="*/ 166345 h 2576929"/>
              <a:gd name="connsiteX165" fmla="*/ 3336269 w 3535724"/>
              <a:gd name="connsiteY165" fmla="*/ 166345 h 2576929"/>
              <a:gd name="connsiteX166" fmla="*/ 3336269 w 3535724"/>
              <a:gd name="connsiteY166" fmla="*/ 0 h 2576929"/>
              <a:gd name="connsiteX167" fmla="*/ 3530480 w 3535724"/>
              <a:gd name="connsiteY167" fmla="*/ 0 h 2576929"/>
              <a:gd name="connsiteX168" fmla="*/ 3530480 w 3535724"/>
              <a:gd name="connsiteY168" fmla="*/ 166345 h 2576929"/>
              <a:gd name="connsiteX169" fmla="*/ 3530480 w 3535724"/>
              <a:gd name="connsiteY169" fmla="*/ 168412 h 2576929"/>
              <a:gd name="connsiteX170" fmla="*/ 3529963 w 3535724"/>
              <a:gd name="connsiteY170" fmla="*/ 168412 h 2576929"/>
              <a:gd name="connsiteX171" fmla="*/ 3395521 w 3535724"/>
              <a:gd name="connsiteY171" fmla="*/ 706182 h 2576929"/>
              <a:gd name="connsiteX172" fmla="*/ 3535724 w 3535724"/>
              <a:gd name="connsiteY172" fmla="*/ 706182 h 2576929"/>
              <a:gd name="connsiteX173" fmla="*/ 3535724 w 3535724"/>
              <a:gd name="connsiteY173" fmla="*/ 1052195 h 2576929"/>
              <a:gd name="connsiteX174" fmla="*/ 3535724 w 3535724"/>
              <a:gd name="connsiteY174" fmla="*/ 2230916 h 2576929"/>
              <a:gd name="connsiteX175" fmla="*/ 3535724 w 3535724"/>
              <a:gd name="connsiteY175" fmla="*/ 2576929 h 2576929"/>
              <a:gd name="connsiteX176" fmla="*/ 0 w 3535724"/>
              <a:gd name="connsiteY176" fmla="*/ 2576929 h 2576929"/>
              <a:gd name="connsiteX177" fmla="*/ 0 w 3535724"/>
              <a:gd name="connsiteY177" fmla="*/ 2230916 h 2576929"/>
              <a:gd name="connsiteX178" fmla="*/ 0 w 3535724"/>
              <a:gd name="connsiteY178" fmla="*/ 1052195 h 2576929"/>
              <a:gd name="connsiteX179" fmla="*/ 0 w 3535724"/>
              <a:gd name="connsiteY179" fmla="*/ 706182 h 2576929"/>
              <a:gd name="connsiteX180" fmla="*/ 134960 w 3535724"/>
              <a:gd name="connsiteY180" fmla="*/ 706182 h 2576929"/>
              <a:gd name="connsiteX181" fmla="*/ 517 w 3535724"/>
              <a:gd name="connsiteY181" fmla="*/ 168412 h 2576929"/>
              <a:gd name="connsiteX182" fmla="*/ 0 w 3535724"/>
              <a:gd name="connsiteY182" fmla="*/ 168412 h 2576929"/>
              <a:gd name="connsiteX183" fmla="*/ 0 w 3535724"/>
              <a:gd name="connsiteY183" fmla="*/ 166345 h 2576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3535724" h="2576929">
                <a:moveTo>
                  <a:pt x="1767862" y="1995276"/>
                </a:moveTo>
                <a:cubicBezTo>
                  <a:pt x="1696315" y="1995276"/>
                  <a:pt x="1634927" y="2038778"/>
                  <a:pt x="1608704" y="2100773"/>
                </a:cubicBezTo>
                <a:lnTo>
                  <a:pt x="1595497" y="2166184"/>
                </a:lnTo>
                <a:lnTo>
                  <a:pt x="1595129" y="2166184"/>
                </a:lnTo>
                <a:lnTo>
                  <a:pt x="1595129" y="2168009"/>
                </a:lnTo>
                <a:lnTo>
                  <a:pt x="1595129" y="2238759"/>
                </a:lnTo>
                <a:lnTo>
                  <a:pt x="1595129" y="2533776"/>
                </a:lnTo>
                <a:lnTo>
                  <a:pt x="1940595" y="2533776"/>
                </a:lnTo>
                <a:lnTo>
                  <a:pt x="1940595" y="2238759"/>
                </a:lnTo>
                <a:lnTo>
                  <a:pt x="1940595" y="2168009"/>
                </a:lnTo>
                <a:lnTo>
                  <a:pt x="1940595" y="2166184"/>
                </a:lnTo>
                <a:lnTo>
                  <a:pt x="1940227" y="2166184"/>
                </a:lnTo>
                <a:lnTo>
                  <a:pt x="1927022" y="2100773"/>
                </a:lnTo>
                <a:cubicBezTo>
                  <a:pt x="1900799" y="2038778"/>
                  <a:pt x="1839411" y="1995276"/>
                  <a:pt x="1767862" y="1995276"/>
                </a:cubicBezTo>
                <a:close/>
                <a:moveTo>
                  <a:pt x="2978690" y="1659989"/>
                </a:moveTo>
                <a:cubicBezTo>
                  <a:pt x="2940421" y="1659989"/>
                  <a:pt x="2907586" y="1683257"/>
                  <a:pt x="2893560" y="1716417"/>
                </a:cubicBezTo>
                <a:lnTo>
                  <a:pt x="2886496" y="1751404"/>
                </a:lnTo>
                <a:lnTo>
                  <a:pt x="2886299" y="1751404"/>
                </a:lnTo>
                <a:lnTo>
                  <a:pt x="2886299" y="1752380"/>
                </a:lnTo>
                <a:lnTo>
                  <a:pt x="2886299" y="1790223"/>
                </a:lnTo>
                <a:lnTo>
                  <a:pt x="2886299" y="1948021"/>
                </a:lnTo>
                <a:lnTo>
                  <a:pt x="3071081" y="1948021"/>
                </a:lnTo>
                <a:lnTo>
                  <a:pt x="3071081" y="1790223"/>
                </a:lnTo>
                <a:lnTo>
                  <a:pt x="3071081" y="1752380"/>
                </a:lnTo>
                <a:lnTo>
                  <a:pt x="3071081" y="1751404"/>
                </a:lnTo>
                <a:lnTo>
                  <a:pt x="3070884" y="1751404"/>
                </a:lnTo>
                <a:lnTo>
                  <a:pt x="3063821" y="1716417"/>
                </a:lnTo>
                <a:cubicBezTo>
                  <a:pt x="3049795" y="1683257"/>
                  <a:pt x="3016960" y="1659989"/>
                  <a:pt x="2978690" y="1659989"/>
                </a:cubicBezTo>
                <a:close/>
                <a:moveTo>
                  <a:pt x="552990" y="1659989"/>
                </a:moveTo>
                <a:cubicBezTo>
                  <a:pt x="514721" y="1659989"/>
                  <a:pt x="481886" y="1683257"/>
                  <a:pt x="467860" y="1716417"/>
                </a:cubicBezTo>
                <a:lnTo>
                  <a:pt x="460796" y="1751404"/>
                </a:lnTo>
                <a:lnTo>
                  <a:pt x="460599" y="1751404"/>
                </a:lnTo>
                <a:lnTo>
                  <a:pt x="460599" y="1752380"/>
                </a:lnTo>
                <a:lnTo>
                  <a:pt x="460599" y="1790223"/>
                </a:lnTo>
                <a:lnTo>
                  <a:pt x="460599" y="1948021"/>
                </a:lnTo>
                <a:lnTo>
                  <a:pt x="645381" y="1948021"/>
                </a:lnTo>
                <a:lnTo>
                  <a:pt x="645381" y="1790223"/>
                </a:lnTo>
                <a:lnTo>
                  <a:pt x="645381" y="1752380"/>
                </a:lnTo>
                <a:lnTo>
                  <a:pt x="645381" y="1751404"/>
                </a:lnTo>
                <a:lnTo>
                  <a:pt x="645184" y="1751404"/>
                </a:lnTo>
                <a:lnTo>
                  <a:pt x="638121" y="1716417"/>
                </a:lnTo>
                <a:cubicBezTo>
                  <a:pt x="624095" y="1683257"/>
                  <a:pt x="591260" y="1659989"/>
                  <a:pt x="552990" y="1659989"/>
                </a:cubicBezTo>
                <a:close/>
                <a:moveTo>
                  <a:pt x="2978690" y="1197786"/>
                </a:moveTo>
                <a:cubicBezTo>
                  <a:pt x="2940421" y="1197786"/>
                  <a:pt x="2907586" y="1221054"/>
                  <a:pt x="2893560" y="1254214"/>
                </a:cubicBezTo>
                <a:lnTo>
                  <a:pt x="2886496" y="1289201"/>
                </a:lnTo>
                <a:lnTo>
                  <a:pt x="2886299" y="1289201"/>
                </a:lnTo>
                <a:lnTo>
                  <a:pt x="2886299" y="1290177"/>
                </a:lnTo>
                <a:lnTo>
                  <a:pt x="2886299" y="1328020"/>
                </a:lnTo>
                <a:lnTo>
                  <a:pt x="2886299" y="1485818"/>
                </a:lnTo>
                <a:lnTo>
                  <a:pt x="3071081" y="1485818"/>
                </a:lnTo>
                <a:lnTo>
                  <a:pt x="3071081" y="1328020"/>
                </a:lnTo>
                <a:lnTo>
                  <a:pt x="3071081" y="1290177"/>
                </a:lnTo>
                <a:lnTo>
                  <a:pt x="3071081" y="1289201"/>
                </a:lnTo>
                <a:lnTo>
                  <a:pt x="3070884" y="1289201"/>
                </a:lnTo>
                <a:lnTo>
                  <a:pt x="3063821" y="1254214"/>
                </a:lnTo>
                <a:cubicBezTo>
                  <a:pt x="3049795" y="1221054"/>
                  <a:pt x="3016960" y="1197786"/>
                  <a:pt x="2978690" y="1197786"/>
                </a:cubicBezTo>
                <a:close/>
                <a:moveTo>
                  <a:pt x="552990" y="1197786"/>
                </a:moveTo>
                <a:cubicBezTo>
                  <a:pt x="514721" y="1197786"/>
                  <a:pt x="481886" y="1221054"/>
                  <a:pt x="467860" y="1254214"/>
                </a:cubicBezTo>
                <a:lnTo>
                  <a:pt x="460796" y="1289201"/>
                </a:lnTo>
                <a:lnTo>
                  <a:pt x="460599" y="1289201"/>
                </a:lnTo>
                <a:lnTo>
                  <a:pt x="460599" y="1290177"/>
                </a:lnTo>
                <a:lnTo>
                  <a:pt x="460599" y="1328020"/>
                </a:lnTo>
                <a:lnTo>
                  <a:pt x="460599" y="1485818"/>
                </a:lnTo>
                <a:lnTo>
                  <a:pt x="645381" y="1485818"/>
                </a:lnTo>
                <a:lnTo>
                  <a:pt x="645381" y="1328020"/>
                </a:lnTo>
                <a:lnTo>
                  <a:pt x="645381" y="1290177"/>
                </a:lnTo>
                <a:lnTo>
                  <a:pt x="645381" y="1289201"/>
                </a:lnTo>
                <a:lnTo>
                  <a:pt x="645184" y="1289201"/>
                </a:lnTo>
                <a:lnTo>
                  <a:pt x="638121" y="1254214"/>
                </a:lnTo>
                <a:cubicBezTo>
                  <a:pt x="624095" y="1221054"/>
                  <a:pt x="591260" y="1197786"/>
                  <a:pt x="552990" y="1197786"/>
                </a:cubicBezTo>
                <a:close/>
                <a:moveTo>
                  <a:pt x="1767862" y="1197786"/>
                </a:moveTo>
                <a:cubicBezTo>
                  <a:pt x="1696315" y="1197786"/>
                  <a:pt x="1634927" y="1241288"/>
                  <a:pt x="1608704" y="1303283"/>
                </a:cubicBezTo>
                <a:lnTo>
                  <a:pt x="1595497" y="1368694"/>
                </a:lnTo>
                <a:lnTo>
                  <a:pt x="1595129" y="1368694"/>
                </a:lnTo>
                <a:lnTo>
                  <a:pt x="1595129" y="1370519"/>
                </a:lnTo>
                <a:lnTo>
                  <a:pt x="1595129" y="1441270"/>
                </a:lnTo>
                <a:lnTo>
                  <a:pt x="1595129" y="1485818"/>
                </a:lnTo>
                <a:lnTo>
                  <a:pt x="1940595" y="1485818"/>
                </a:lnTo>
                <a:lnTo>
                  <a:pt x="1940595" y="1441270"/>
                </a:lnTo>
                <a:lnTo>
                  <a:pt x="1940595" y="1370519"/>
                </a:lnTo>
                <a:lnTo>
                  <a:pt x="1940595" y="1368694"/>
                </a:lnTo>
                <a:lnTo>
                  <a:pt x="1940227" y="1368694"/>
                </a:lnTo>
                <a:lnTo>
                  <a:pt x="1927022" y="1303283"/>
                </a:lnTo>
                <a:cubicBezTo>
                  <a:pt x="1900799" y="1241288"/>
                  <a:pt x="1839411" y="1197786"/>
                  <a:pt x="1767862" y="1197786"/>
                </a:cubicBezTo>
                <a:close/>
                <a:moveTo>
                  <a:pt x="552990" y="735584"/>
                </a:moveTo>
                <a:cubicBezTo>
                  <a:pt x="514721" y="735584"/>
                  <a:pt x="481886" y="758852"/>
                  <a:pt x="467860" y="792012"/>
                </a:cubicBezTo>
                <a:lnTo>
                  <a:pt x="460796" y="826999"/>
                </a:lnTo>
                <a:lnTo>
                  <a:pt x="460599" y="826999"/>
                </a:lnTo>
                <a:lnTo>
                  <a:pt x="460599" y="827975"/>
                </a:lnTo>
                <a:lnTo>
                  <a:pt x="460599" y="865818"/>
                </a:lnTo>
                <a:lnTo>
                  <a:pt x="460599" y="1023616"/>
                </a:lnTo>
                <a:lnTo>
                  <a:pt x="645381" y="1023616"/>
                </a:lnTo>
                <a:lnTo>
                  <a:pt x="645381" y="865818"/>
                </a:lnTo>
                <a:lnTo>
                  <a:pt x="645381" y="827975"/>
                </a:lnTo>
                <a:lnTo>
                  <a:pt x="645381" y="826999"/>
                </a:lnTo>
                <a:lnTo>
                  <a:pt x="645184" y="826999"/>
                </a:lnTo>
                <a:lnTo>
                  <a:pt x="638121" y="792012"/>
                </a:lnTo>
                <a:cubicBezTo>
                  <a:pt x="624095" y="758852"/>
                  <a:pt x="591260" y="735584"/>
                  <a:pt x="552990" y="735584"/>
                </a:cubicBezTo>
                <a:close/>
                <a:moveTo>
                  <a:pt x="2978690" y="735584"/>
                </a:moveTo>
                <a:cubicBezTo>
                  <a:pt x="2940421" y="735584"/>
                  <a:pt x="2907586" y="758852"/>
                  <a:pt x="2893560" y="792012"/>
                </a:cubicBezTo>
                <a:lnTo>
                  <a:pt x="2886496" y="826999"/>
                </a:lnTo>
                <a:lnTo>
                  <a:pt x="2886299" y="826999"/>
                </a:lnTo>
                <a:lnTo>
                  <a:pt x="2886299" y="827975"/>
                </a:lnTo>
                <a:lnTo>
                  <a:pt x="2886299" y="865818"/>
                </a:lnTo>
                <a:lnTo>
                  <a:pt x="2886299" y="1023616"/>
                </a:lnTo>
                <a:lnTo>
                  <a:pt x="3071081" y="1023616"/>
                </a:lnTo>
                <a:lnTo>
                  <a:pt x="3071081" y="865818"/>
                </a:lnTo>
                <a:lnTo>
                  <a:pt x="3071081" y="827975"/>
                </a:lnTo>
                <a:lnTo>
                  <a:pt x="3071081" y="826999"/>
                </a:lnTo>
                <a:lnTo>
                  <a:pt x="3070884" y="826999"/>
                </a:lnTo>
                <a:lnTo>
                  <a:pt x="3063821" y="792012"/>
                </a:lnTo>
                <a:cubicBezTo>
                  <a:pt x="3049795" y="758852"/>
                  <a:pt x="3016960" y="735584"/>
                  <a:pt x="2978690" y="735584"/>
                </a:cubicBezTo>
                <a:close/>
                <a:moveTo>
                  <a:pt x="0" y="0"/>
                </a:moveTo>
                <a:lnTo>
                  <a:pt x="194211" y="0"/>
                </a:lnTo>
                <a:lnTo>
                  <a:pt x="194211" y="166345"/>
                </a:lnTo>
                <a:lnTo>
                  <a:pt x="306299" y="166345"/>
                </a:lnTo>
                <a:lnTo>
                  <a:pt x="306299" y="0"/>
                </a:lnTo>
                <a:lnTo>
                  <a:pt x="500510" y="0"/>
                </a:lnTo>
                <a:lnTo>
                  <a:pt x="500510" y="166345"/>
                </a:lnTo>
                <a:lnTo>
                  <a:pt x="612598" y="166345"/>
                </a:lnTo>
                <a:lnTo>
                  <a:pt x="612598" y="0"/>
                </a:lnTo>
                <a:lnTo>
                  <a:pt x="806809" y="0"/>
                </a:lnTo>
                <a:lnTo>
                  <a:pt x="806809" y="166345"/>
                </a:lnTo>
                <a:lnTo>
                  <a:pt x="918896" y="166345"/>
                </a:lnTo>
                <a:lnTo>
                  <a:pt x="918896" y="0"/>
                </a:lnTo>
                <a:lnTo>
                  <a:pt x="1113107" y="0"/>
                </a:lnTo>
                <a:lnTo>
                  <a:pt x="1113107" y="166345"/>
                </a:lnTo>
                <a:lnTo>
                  <a:pt x="1113107" y="168412"/>
                </a:lnTo>
                <a:lnTo>
                  <a:pt x="1112591" y="168412"/>
                </a:lnTo>
                <a:lnTo>
                  <a:pt x="978149" y="706182"/>
                </a:lnTo>
                <a:lnTo>
                  <a:pt x="1105052" y="706182"/>
                </a:lnTo>
                <a:lnTo>
                  <a:pt x="1105052" y="1052195"/>
                </a:lnTo>
                <a:lnTo>
                  <a:pt x="1225256" y="1052195"/>
                </a:lnTo>
                <a:lnTo>
                  <a:pt x="1225256" y="919309"/>
                </a:lnTo>
                <a:lnTo>
                  <a:pt x="1405256" y="919309"/>
                </a:lnTo>
                <a:lnTo>
                  <a:pt x="1405256" y="1052195"/>
                </a:lnTo>
                <a:lnTo>
                  <a:pt x="1526994" y="1052195"/>
                </a:lnTo>
                <a:lnTo>
                  <a:pt x="1526994" y="919309"/>
                </a:lnTo>
                <a:lnTo>
                  <a:pt x="1706994" y="919309"/>
                </a:lnTo>
                <a:lnTo>
                  <a:pt x="1706994" y="1052195"/>
                </a:lnTo>
                <a:lnTo>
                  <a:pt x="1828732" y="1052195"/>
                </a:lnTo>
                <a:lnTo>
                  <a:pt x="1828732" y="919309"/>
                </a:lnTo>
                <a:lnTo>
                  <a:pt x="2008732" y="919309"/>
                </a:lnTo>
                <a:lnTo>
                  <a:pt x="2008732" y="1052195"/>
                </a:lnTo>
                <a:lnTo>
                  <a:pt x="2130469" y="1052195"/>
                </a:lnTo>
                <a:lnTo>
                  <a:pt x="2130469" y="919309"/>
                </a:lnTo>
                <a:lnTo>
                  <a:pt x="2310469" y="919309"/>
                </a:lnTo>
                <a:lnTo>
                  <a:pt x="2310469" y="1052195"/>
                </a:lnTo>
                <a:lnTo>
                  <a:pt x="2430672" y="1052195"/>
                </a:lnTo>
                <a:lnTo>
                  <a:pt x="2430672" y="706182"/>
                </a:lnTo>
                <a:lnTo>
                  <a:pt x="2552333" y="706182"/>
                </a:lnTo>
                <a:lnTo>
                  <a:pt x="2417890" y="168412"/>
                </a:lnTo>
                <a:lnTo>
                  <a:pt x="2417373" y="168412"/>
                </a:lnTo>
                <a:lnTo>
                  <a:pt x="2417373" y="166345"/>
                </a:lnTo>
                <a:lnTo>
                  <a:pt x="2417373" y="0"/>
                </a:lnTo>
                <a:lnTo>
                  <a:pt x="2611584" y="0"/>
                </a:lnTo>
                <a:lnTo>
                  <a:pt x="2611584" y="166345"/>
                </a:lnTo>
                <a:lnTo>
                  <a:pt x="2723672" y="166345"/>
                </a:lnTo>
                <a:lnTo>
                  <a:pt x="2723672" y="0"/>
                </a:lnTo>
                <a:lnTo>
                  <a:pt x="2917883" y="0"/>
                </a:lnTo>
                <a:lnTo>
                  <a:pt x="2917883" y="166345"/>
                </a:lnTo>
                <a:lnTo>
                  <a:pt x="3029971" y="166345"/>
                </a:lnTo>
                <a:lnTo>
                  <a:pt x="3029971" y="0"/>
                </a:lnTo>
                <a:lnTo>
                  <a:pt x="3224182" y="0"/>
                </a:lnTo>
                <a:lnTo>
                  <a:pt x="3224182" y="166345"/>
                </a:lnTo>
                <a:lnTo>
                  <a:pt x="3336269" y="166345"/>
                </a:lnTo>
                <a:lnTo>
                  <a:pt x="3336269" y="0"/>
                </a:lnTo>
                <a:lnTo>
                  <a:pt x="3530480" y="0"/>
                </a:lnTo>
                <a:lnTo>
                  <a:pt x="3530480" y="166345"/>
                </a:lnTo>
                <a:lnTo>
                  <a:pt x="3530480" y="168412"/>
                </a:lnTo>
                <a:lnTo>
                  <a:pt x="3529963" y="168412"/>
                </a:lnTo>
                <a:lnTo>
                  <a:pt x="3395521" y="706182"/>
                </a:lnTo>
                <a:lnTo>
                  <a:pt x="3535724" y="706182"/>
                </a:lnTo>
                <a:lnTo>
                  <a:pt x="3535724" y="1052195"/>
                </a:lnTo>
                <a:lnTo>
                  <a:pt x="3535724" y="2230916"/>
                </a:lnTo>
                <a:lnTo>
                  <a:pt x="3535724" y="2576929"/>
                </a:lnTo>
                <a:lnTo>
                  <a:pt x="0" y="2576929"/>
                </a:lnTo>
                <a:lnTo>
                  <a:pt x="0" y="2230916"/>
                </a:lnTo>
                <a:lnTo>
                  <a:pt x="0" y="1052195"/>
                </a:lnTo>
                <a:lnTo>
                  <a:pt x="0" y="706182"/>
                </a:lnTo>
                <a:lnTo>
                  <a:pt x="134960" y="706182"/>
                </a:lnTo>
                <a:lnTo>
                  <a:pt x="517" y="168412"/>
                </a:lnTo>
                <a:lnTo>
                  <a:pt x="0" y="168412"/>
                </a:lnTo>
                <a:lnTo>
                  <a:pt x="0" y="166345"/>
                </a:lnTo>
                <a:close/>
              </a:path>
            </a:pathLst>
          </a:custGeom>
          <a:solidFill>
            <a:srgbClr val="4D5766"/>
          </a:solidFill>
        </p:spPr>
        <p:txBody>
          <a:bodyPr wrap="square" tIns="672000" rtlCol="0" anchor="t">
            <a:noAutofit/>
          </a:bodyPr>
          <a:lstStyle/>
          <a:p>
            <a:pPr marL="0" marR="0" lvl="0" indent="0" algn="ctr" defTabSz="6133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4D5766"/>
              </a:solidFill>
              <a:effectLst/>
              <a:uLnTx/>
              <a:uFillTx/>
              <a:ea typeface="Nokia Pure Text Light" panose="020B0403020202020204" pitchFamily="34" charset="0"/>
            </a:endParaRPr>
          </a:p>
        </p:txBody>
      </p:sp>
      <p:sp>
        <p:nvSpPr>
          <p:cNvPr id="49" name="Freihandform: Form 101">
            <a:extLst>
              <a:ext uri="{FF2B5EF4-FFF2-40B4-BE49-F238E27FC236}">
                <a16:creationId xmlns:a16="http://schemas.microsoft.com/office/drawing/2014/main" xmlns="" id="{891D8AFF-935E-4ED2-8863-EFC87A7C5F44}"/>
              </a:ext>
            </a:extLst>
          </p:cNvPr>
          <p:cNvSpPr>
            <a:spLocks noChangeAspect="1"/>
          </p:cNvSpPr>
          <p:nvPr/>
        </p:nvSpPr>
        <p:spPr>
          <a:xfrm>
            <a:off x="5598849" y="2598396"/>
            <a:ext cx="724451" cy="528000"/>
          </a:xfrm>
          <a:custGeom>
            <a:avLst/>
            <a:gdLst>
              <a:gd name="connsiteX0" fmla="*/ 1767862 w 3535724"/>
              <a:gd name="connsiteY0" fmla="*/ 1995276 h 2576929"/>
              <a:gd name="connsiteX1" fmla="*/ 1608704 w 3535724"/>
              <a:gd name="connsiteY1" fmla="*/ 2100773 h 2576929"/>
              <a:gd name="connsiteX2" fmla="*/ 1595497 w 3535724"/>
              <a:gd name="connsiteY2" fmla="*/ 2166184 h 2576929"/>
              <a:gd name="connsiteX3" fmla="*/ 1595129 w 3535724"/>
              <a:gd name="connsiteY3" fmla="*/ 2166184 h 2576929"/>
              <a:gd name="connsiteX4" fmla="*/ 1595129 w 3535724"/>
              <a:gd name="connsiteY4" fmla="*/ 2168009 h 2576929"/>
              <a:gd name="connsiteX5" fmla="*/ 1595129 w 3535724"/>
              <a:gd name="connsiteY5" fmla="*/ 2238759 h 2576929"/>
              <a:gd name="connsiteX6" fmla="*/ 1595129 w 3535724"/>
              <a:gd name="connsiteY6" fmla="*/ 2533776 h 2576929"/>
              <a:gd name="connsiteX7" fmla="*/ 1940595 w 3535724"/>
              <a:gd name="connsiteY7" fmla="*/ 2533776 h 2576929"/>
              <a:gd name="connsiteX8" fmla="*/ 1940595 w 3535724"/>
              <a:gd name="connsiteY8" fmla="*/ 2238759 h 2576929"/>
              <a:gd name="connsiteX9" fmla="*/ 1940595 w 3535724"/>
              <a:gd name="connsiteY9" fmla="*/ 2168009 h 2576929"/>
              <a:gd name="connsiteX10" fmla="*/ 1940595 w 3535724"/>
              <a:gd name="connsiteY10" fmla="*/ 2166184 h 2576929"/>
              <a:gd name="connsiteX11" fmla="*/ 1940227 w 3535724"/>
              <a:gd name="connsiteY11" fmla="*/ 2166184 h 2576929"/>
              <a:gd name="connsiteX12" fmla="*/ 1927022 w 3535724"/>
              <a:gd name="connsiteY12" fmla="*/ 2100773 h 2576929"/>
              <a:gd name="connsiteX13" fmla="*/ 1767862 w 3535724"/>
              <a:gd name="connsiteY13" fmla="*/ 1995276 h 2576929"/>
              <a:gd name="connsiteX14" fmla="*/ 2978690 w 3535724"/>
              <a:gd name="connsiteY14" fmla="*/ 1659989 h 2576929"/>
              <a:gd name="connsiteX15" fmla="*/ 2893560 w 3535724"/>
              <a:gd name="connsiteY15" fmla="*/ 1716417 h 2576929"/>
              <a:gd name="connsiteX16" fmla="*/ 2886496 w 3535724"/>
              <a:gd name="connsiteY16" fmla="*/ 1751404 h 2576929"/>
              <a:gd name="connsiteX17" fmla="*/ 2886299 w 3535724"/>
              <a:gd name="connsiteY17" fmla="*/ 1751404 h 2576929"/>
              <a:gd name="connsiteX18" fmla="*/ 2886299 w 3535724"/>
              <a:gd name="connsiteY18" fmla="*/ 1752380 h 2576929"/>
              <a:gd name="connsiteX19" fmla="*/ 2886299 w 3535724"/>
              <a:gd name="connsiteY19" fmla="*/ 1790223 h 2576929"/>
              <a:gd name="connsiteX20" fmla="*/ 2886299 w 3535724"/>
              <a:gd name="connsiteY20" fmla="*/ 1948021 h 2576929"/>
              <a:gd name="connsiteX21" fmla="*/ 3071081 w 3535724"/>
              <a:gd name="connsiteY21" fmla="*/ 1948021 h 2576929"/>
              <a:gd name="connsiteX22" fmla="*/ 3071081 w 3535724"/>
              <a:gd name="connsiteY22" fmla="*/ 1790223 h 2576929"/>
              <a:gd name="connsiteX23" fmla="*/ 3071081 w 3535724"/>
              <a:gd name="connsiteY23" fmla="*/ 1752380 h 2576929"/>
              <a:gd name="connsiteX24" fmla="*/ 3071081 w 3535724"/>
              <a:gd name="connsiteY24" fmla="*/ 1751404 h 2576929"/>
              <a:gd name="connsiteX25" fmla="*/ 3070884 w 3535724"/>
              <a:gd name="connsiteY25" fmla="*/ 1751404 h 2576929"/>
              <a:gd name="connsiteX26" fmla="*/ 3063821 w 3535724"/>
              <a:gd name="connsiteY26" fmla="*/ 1716417 h 2576929"/>
              <a:gd name="connsiteX27" fmla="*/ 2978690 w 3535724"/>
              <a:gd name="connsiteY27" fmla="*/ 1659989 h 2576929"/>
              <a:gd name="connsiteX28" fmla="*/ 552990 w 3535724"/>
              <a:gd name="connsiteY28" fmla="*/ 1659989 h 2576929"/>
              <a:gd name="connsiteX29" fmla="*/ 467860 w 3535724"/>
              <a:gd name="connsiteY29" fmla="*/ 1716417 h 2576929"/>
              <a:gd name="connsiteX30" fmla="*/ 460796 w 3535724"/>
              <a:gd name="connsiteY30" fmla="*/ 1751404 h 2576929"/>
              <a:gd name="connsiteX31" fmla="*/ 460599 w 3535724"/>
              <a:gd name="connsiteY31" fmla="*/ 1751404 h 2576929"/>
              <a:gd name="connsiteX32" fmla="*/ 460599 w 3535724"/>
              <a:gd name="connsiteY32" fmla="*/ 1752380 h 2576929"/>
              <a:gd name="connsiteX33" fmla="*/ 460599 w 3535724"/>
              <a:gd name="connsiteY33" fmla="*/ 1790223 h 2576929"/>
              <a:gd name="connsiteX34" fmla="*/ 460599 w 3535724"/>
              <a:gd name="connsiteY34" fmla="*/ 1948021 h 2576929"/>
              <a:gd name="connsiteX35" fmla="*/ 645381 w 3535724"/>
              <a:gd name="connsiteY35" fmla="*/ 1948021 h 2576929"/>
              <a:gd name="connsiteX36" fmla="*/ 645381 w 3535724"/>
              <a:gd name="connsiteY36" fmla="*/ 1790223 h 2576929"/>
              <a:gd name="connsiteX37" fmla="*/ 645381 w 3535724"/>
              <a:gd name="connsiteY37" fmla="*/ 1752380 h 2576929"/>
              <a:gd name="connsiteX38" fmla="*/ 645381 w 3535724"/>
              <a:gd name="connsiteY38" fmla="*/ 1751404 h 2576929"/>
              <a:gd name="connsiteX39" fmla="*/ 645184 w 3535724"/>
              <a:gd name="connsiteY39" fmla="*/ 1751404 h 2576929"/>
              <a:gd name="connsiteX40" fmla="*/ 638121 w 3535724"/>
              <a:gd name="connsiteY40" fmla="*/ 1716417 h 2576929"/>
              <a:gd name="connsiteX41" fmla="*/ 552990 w 3535724"/>
              <a:gd name="connsiteY41" fmla="*/ 1659989 h 2576929"/>
              <a:gd name="connsiteX42" fmla="*/ 2978690 w 3535724"/>
              <a:gd name="connsiteY42" fmla="*/ 1197786 h 2576929"/>
              <a:gd name="connsiteX43" fmla="*/ 2893560 w 3535724"/>
              <a:gd name="connsiteY43" fmla="*/ 1254214 h 2576929"/>
              <a:gd name="connsiteX44" fmla="*/ 2886496 w 3535724"/>
              <a:gd name="connsiteY44" fmla="*/ 1289201 h 2576929"/>
              <a:gd name="connsiteX45" fmla="*/ 2886299 w 3535724"/>
              <a:gd name="connsiteY45" fmla="*/ 1289201 h 2576929"/>
              <a:gd name="connsiteX46" fmla="*/ 2886299 w 3535724"/>
              <a:gd name="connsiteY46" fmla="*/ 1290177 h 2576929"/>
              <a:gd name="connsiteX47" fmla="*/ 2886299 w 3535724"/>
              <a:gd name="connsiteY47" fmla="*/ 1328020 h 2576929"/>
              <a:gd name="connsiteX48" fmla="*/ 2886299 w 3535724"/>
              <a:gd name="connsiteY48" fmla="*/ 1485818 h 2576929"/>
              <a:gd name="connsiteX49" fmla="*/ 3071081 w 3535724"/>
              <a:gd name="connsiteY49" fmla="*/ 1485818 h 2576929"/>
              <a:gd name="connsiteX50" fmla="*/ 3071081 w 3535724"/>
              <a:gd name="connsiteY50" fmla="*/ 1328020 h 2576929"/>
              <a:gd name="connsiteX51" fmla="*/ 3071081 w 3535724"/>
              <a:gd name="connsiteY51" fmla="*/ 1290177 h 2576929"/>
              <a:gd name="connsiteX52" fmla="*/ 3071081 w 3535724"/>
              <a:gd name="connsiteY52" fmla="*/ 1289201 h 2576929"/>
              <a:gd name="connsiteX53" fmla="*/ 3070884 w 3535724"/>
              <a:gd name="connsiteY53" fmla="*/ 1289201 h 2576929"/>
              <a:gd name="connsiteX54" fmla="*/ 3063821 w 3535724"/>
              <a:gd name="connsiteY54" fmla="*/ 1254214 h 2576929"/>
              <a:gd name="connsiteX55" fmla="*/ 2978690 w 3535724"/>
              <a:gd name="connsiteY55" fmla="*/ 1197786 h 2576929"/>
              <a:gd name="connsiteX56" fmla="*/ 552990 w 3535724"/>
              <a:gd name="connsiteY56" fmla="*/ 1197786 h 2576929"/>
              <a:gd name="connsiteX57" fmla="*/ 467860 w 3535724"/>
              <a:gd name="connsiteY57" fmla="*/ 1254214 h 2576929"/>
              <a:gd name="connsiteX58" fmla="*/ 460796 w 3535724"/>
              <a:gd name="connsiteY58" fmla="*/ 1289201 h 2576929"/>
              <a:gd name="connsiteX59" fmla="*/ 460599 w 3535724"/>
              <a:gd name="connsiteY59" fmla="*/ 1289201 h 2576929"/>
              <a:gd name="connsiteX60" fmla="*/ 460599 w 3535724"/>
              <a:gd name="connsiteY60" fmla="*/ 1290177 h 2576929"/>
              <a:gd name="connsiteX61" fmla="*/ 460599 w 3535724"/>
              <a:gd name="connsiteY61" fmla="*/ 1328020 h 2576929"/>
              <a:gd name="connsiteX62" fmla="*/ 460599 w 3535724"/>
              <a:gd name="connsiteY62" fmla="*/ 1485818 h 2576929"/>
              <a:gd name="connsiteX63" fmla="*/ 645381 w 3535724"/>
              <a:gd name="connsiteY63" fmla="*/ 1485818 h 2576929"/>
              <a:gd name="connsiteX64" fmla="*/ 645381 w 3535724"/>
              <a:gd name="connsiteY64" fmla="*/ 1328020 h 2576929"/>
              <a:gd name="connsiteX65" fmla="*/ 645381 w 3535724"/>
              <a:gd name="connsiteY65" fmla="*/ 1290177 h 2576929"/>
              <a:gd name="connsiteX66" fmla="*/ 645381 w 3535724"/>
              <a:gd name="connsiteY66" fmla="*/ 1289201 h 2576929"/>
              <a:gd name="connsiteX67" fmla="*/ 645184 w 3535724"/>
              <a:gd name="connsiteY67" fmla="*/ 1289201 h 2576929"/>
              <a:gd name="connsiteX68" fmla="*/ 638121 w 3535724"/>
              <a:gd name="connsiteY68" fmla="*/ 1254214 h 2576929"/>
              <a:gd name="connsiteX69" fmla="*/ 552990 w 3535724"/>
              <a:gd name="connsiteY69" fmla="*/ 1197786 h 2576929"/>
              <a:gd name="connsiteX70" fmla="*/ 1767862 w 3535724"/>
              <a:gd name="connsiteY70" fmla="*/ 1197786 h 2576929"/>
              <a:gd name="connsiteX71" fmla="*/ 1608704 w 3535724"/>
              <a:gd name="connsiteY71" fmla="*/ 1303283 h 2576929"/>
              <a:gd name="connsiteX72" fmla="*/ 1595497 w 3535724"/>
              <a:gd name="connsiteY72" fmla="*/ 1368694 h 2576929"/>
              <a:gd name="connsiteX73" fmla="*/ 1595129 w 3535724"/>
              <a:gd name="connsiteY73" fmla="*/ 1368694 h 2576929"/>
              <a:gd name="connsiteX74" fmla="*/ 1595129 w 3535724"/>
              <a:gd name="connsiteY74" fmla="*/ 1370519 h 2576929"/>
              <a:gd name="connsiteX75" fmla="*/ 1595129 w 3535724"/>
              <a:gd name="connsiteY75" fmla="*/ 1441270 h 2576929"/>
              <a:gd name="connsiteX76" fmla="*/ 1595129 w 3535724"/>
              <a:gd name="connsiteY76" fmla="*/ 1485818 h 2576929"/>
              <a:gd name="connsiteX77" fmla="*/ 1940595 w 3535724"/>
              <a:gd name="connsiteY77" fmla="*/ 1485818 h 2576929"/>
              <a:gd name="connsiteX78" fmla="*/ 1940595 w 3535724"/>
              <a:gd name="connsiteY78" fmla="*/ 1441270 h 2576929"/>
              <a:gd name="connsiteX79" fmla="*/ 1940595 w 3535724"/>
              <a:gd name="connsiteY79" fmla="*/ 1370519 h 2576929"/>
              <a:gd name="connsiteX80" fmla="*/ 1940595 w 3535724"/>
              <a:gd name="connsiteY80" fmla="*/ 1368694 h 2576929"/>
              <a:gd name="connsiteX81" fmla="*/ 1940227 w 3535724"/>
              <a:gd name="connsiteY81" fmla="*/ 1368694 h 2576929"/>
              <a:gd name="connsiteX82" fmla="*/ 1927022 w 3535724"/>
              <a:gd name="connsiteY82" fmla="*/ 1303283 h 2576929"/>
              <a:gd name="connsiteX83" fmla="*/ 1767862 w 3535724"/>
              <a:gd name="connsiteY83" fmla="*/ 1197786 h 2576929"/>
              <a:gd name="connsiteX84" fmla="*/ 552990 w 3535724"/>
              <a:gd name="connsiteY84" fmla="*/ 735584 h 2576929"/>
              <a:gd name="connsiteX85" fmla="*/ 467860 w 3535724"/>
              <a:gd name="connsiteY85" fmla="*/ 792012 h 2576929"/>
              <a:gd name="connsiteX86" fmla="*/ 460796 w 3535724"/>
              <a:gd name="connsiteY86" fmla="*/ 826999 h 2576929"/>
              <a:gd name="connsiteX87" fmla="*/ 460599 w 3535724"/>
              <a:gd name="connsiteY87" fmla="*/ 826999 h 2576929"/>
              <a:gd name="connsiteX88" fmla="*/ 460599 w 3535724"/>
              <a:gd name="connsiteY88" fmla="*/ 827975 h 2576929"/>
              <a:gd name="connsiteX89" fmla="*/ 460599 w 3535724"/>
              <a:gd name="connsiteY89" fmla="*/ 865818 h 2576929"/>
              <a:gd name="connsiteX90" fmla="*/ 460599 w 3535724"/>
              <a:gd name="connsiteY90" fmla="*/ 1023616 h 2576929"/>
              <a:gd name="connsiteX91" fmla="*/ 645381 w 3535724"/>
              <a:gd name="connsiteY91" fmla="*/ 1023616 h 2576929"/>
              <a:gd name="connsiteX92" fmla="*/ 645381 w 3535724"/>
              <a:gd name="connsiteY92" fmla="*/ 865818 h 2576929"/>
              <a:gd name="connsiteX93" fmla="*/ 645381 w 3535724"/>
              <a:gd name="connsiteY93" fmla="*/ 827975 h 2576929"/>
              <a:gd name="connsiteX94" fmla="*/ 645381 w 3535724"/>
              <a:gd name="connsiteY94" fmla="*/ 826999 h 2576929"/>
              <a:gd name="connsiteX95" fmla="*/ 645184 w 3535724"/>
              <a:gd name="connsiteY95" fmla="*/ 826999 h 2576929"/>
              <a:gd name="connsiteX96" fmla="*/ 638121 w 3535724"/>
              <a:gd name="connsiteY96" fmla="*/ 792012 h 2576929"/>
              <a:gd name="connsiteX97" fmla="*/ 552990 w 3535724"/>
              <a:gd name="connsiteY97" fmla="*/ 735584 h 2576929"/>
              <a:gd name="connsiteX98" fmla="*/ 2978690 w 3535724"/>
              <a:gd name="connsiteY98" fmla="*/ 735584 h 2576929"/>
              <a:gd name="connsiteX99" fmla="*/ 2893560 w 3535724"/>
              <a:gd name="connsiteY99" fmla="*/ 792012 h 2576929"/>
              <a:gd name="connsiteX100" fmla="*/ 2886496 w 3535724"/>
              <a:gd name="connsiteY100" fmla="*/ 826999 h 2576929"/>
              <a:gd name="connsiteX101" fmla="*/ 2886299 w 3535724"/>
              <a:gd name="connsiteY101" fmla="*/ 826999 h 2576929"/>
              <a:gd name="connsiteX102" fmla="*/ 2886299 w 3535724"/>
              <a:gd name="connsiteY102" fmla="*/ 827975 h 2576929"/>
              <a:gd name="connsiteX103" fmla="*/ 2886299 w 3535724"/>
              <a:gd name="connsiteY103" fmla="*/ 865818 h 2576929"/>
              <a:gd name="connsiteX104" fmla="*/ 2886299 w 3535724"/>
              <a:gd name="connsiteY104" fmla="*/ 1023616 h 2576929"/>
              <a:gd name="connsiteX105" fmla="*/ 3071081 w 3535724"/>
              <a:gd name="connsiteY105" fmla="*/ 1023616 h 2576929"/>
              <a:gd name="connsiteX106" fmla="*/ 3071081 w 3535724"/>
              <a:gd name="connsiteY106" fmla="*/ 865818 h 2576929"/>
              <a:gd name="connsiteX107" fmla="*/ 3071081 w 3535724"/>
              <a:gd name="connsiteY107" fmla="*/ 827975 h 2576929"/>
              <a:gd name="connsiteX108" fmla="*/ 3071081 w 3535724"/>
              <a:gd name="connsiteY108" fmla="*/ 826999 h 2576929"/>
              <a:gd name="connsiteX109" fmla="*/ 3070884 w 3535724"/>
              <a:gd name="connsiteY109" fmla="*/ 826999 h 2576929"/>
              <a:gd name="connsiteX110" fmla="*/ 3063821 w 3535724"/>
              <a:gd name="connsiteY110" fmla="*/ 792012 h 2576929"/>
              <a:gd name="connsiteX111" fmla="*/ 2978690 w 3535724"/>
              <a:gd name="connsiteY111" fmla="*/ 735584 h 2576929"/>
              <a:gd name="connsiteX112" fmla="*/ 0 w 3535724"/>
              <a:gd name="connsiteY112" fmla="*/ 0 h 2576929"/>
              <a:gd name="connsiteX113" fmla="*/ 194211 w 3535724"/>
              <a:gd name="connsiteY113" fmla="*/ 0 h 2576929"/>
              <a:gd name="connsiteX114" fmla="*/ 194211 w 3535724"/>
              <a:gd name="connsiteY114" fmla="*/ 166345 h 2576929"/>
              <a:gd name="connsiteX115" fmla="*/ 306299 w 3535724"/>
              <a:gd name="connsiteY115" fmla="*/ 166345 h 2576929"/>
              <a:gd name="connsiteX116" fmla="*/ 306299 w 3535724"/>
              <a:gd name="connsiteY116" fmla="*/ 0 h 2576929"/>
              <a:gd name="connsiteX117" fmla="*/ 500510 w 3535724"/>
              <a:gd name="connsiteY117" fmla="*/ 0 h 2576929"/>
              <a:gd name="connsiteX118" fmla="*/ 500510 w 3535724"/>
              <a:gd name="connsiteY118" fmla="*/ 166345 h 2576929"/>
              <a:gd name="connsiteX119" fmla="*/ 612598 w 3535724"/>
              <a:gd name="connsiteY119" fmla="*/ 166345 h 2576929"/>
              <a:gd name="connsiteX120" fmla="*/ 612598 w 3535724"/>
              <a:gd name="connsiteY120" fmla="*/ 0 h 2576929"/>
              <a:gd name="connsiteX121" fmla="*/ 806809 w 3535724"/>
              <a:gd name="connsiteY121" fmla="*/ 0 h 2576929"/>
              <a:gd name="connsiteX122" fmla="*/ 806809 w 3535724"/>
              <a:gd name="connsiteY122" fmla="*/ 166345 h 2576929"/>
              <a:gd name="connsiteX123" fmla="*/ 918896 w 3535724"/>
              <a:gd name="connsiteY123" fmla="*/ 166345 h 2576929"/>
              <a:gd name="connsiteX124" fmla="*/ 918896 w 3535724"/>
              <a:gd name="connsiteY124" fmla="*/ 0 h 2576929"/>
              <a:gd name="connsiteX125" fmla="*/ 1113107 w 3535724"/>
              <a:gd name="connsiteY125" fmla="*/ 0 h 2576929"/>
              <a:gd name="connsiteX126" fmla="*/ 1113107 w 3535724"/>
              <a:gd name="connsiteY126" fmla="*/ 166345 h 2576929"/>
              <a:gd name="connsiteX127" fmla="*/ 1113107 w 3535724"/>
              <a:gd name="connsiteY127" fmla="*/ 168412 h 2576929"/>
              <a:gd name="connsiteX128" fmla="*/ 1112591 w 3535724"/>
              <a:gd name="connsiteY128" fmla="*/ 168412 h 2576929"/>
              <a:gd name="connsiteX129" fmla="*/ 978149 w 3535724"/>
              <a:gd name="connsiteY129" fmla="*/ 706182 h 2576929"/>
              <a:gd name="connsiteX130" fmla="*/ 1105052 w 3535724"/>
              <a:gd name="connsiteY130" fmla="*/ 706182 h 2576929"/>
              <a:gd name="connsiteX131" fmla="*/ 1105052 w 3535724"/>
              <a:gd name="connsiteY131" fmla="*/ 1052195 h 2576929"/>
              <a:gd name="connsiteX132" fmla="*/ 1225256 w 3535724"/>
              <a:gd name="connsiteY132" fmla="*/ 1052195 h 2576929"/>
              <a:gd name="connsiteX133" fmla="*/ 1225256 w 3535724"/>
              <a:gd name="connsiteY133" fmla="*/ 919309 h 2576929"/>
              <a:gd name="connsiteX134" fmla="*/ 1405256 w 3535724"/>
              <a:gd name="connsiteY134" fmla="*/ 919309 h 2576929"/>
              <a:gd name="connsiteX135" fmla="*/ 1405256 w 3535724"/>
              <a:gd name="connsiteY135" fmla="*/ 1052195 h 2576929"/>
              <a:gd name="connsiteX136" fmla="*/ 1526994 w 3535724"/>
              <a:gd name="connsiteY136" fmla="*/ 1052195 h 2576929"/>
              <a:gd name="connsiteX137" fmla="*/ 1526994 w 3535724"/>
              <a:gd name="connsiteY137" fmla="*/ 919309 h 2576929"/>
              <a:gd name="connsiteX138" fmla="*/ 1706994 w 3535724"/>
              <a:gd name="connsiteY138" fmla="*/ 919309 h 2576929"/>
              <a:gd name="connsiteX139" fmla="*/ 1706994 w 3535724"/>
              <a:gd name="connsiteY139" fmla="*/ 1052195 h 2576929"/>
              <a:gd name="connsiteX140" fmla="*/ 1828732 w 3535724"/>
              <a:gd name="connsiteY140" fmla="*/ 1052195 h 2576929"/>
              <a:gd name="connsiteX141" fmla="*/ 1828732 w 3535724"/>
              <a:gd name="connsiteY141" fmla="*/ 919309 h 2576929"/>
              <a:gd name="connsiteX142" fmla="*/ 2008732 w 3535724"/>
              <a:gd name="connsiteY142" fmla="*/ 919309 h 2576929"/>
              <a:gd name="connsiteX143" fmla="*/ 2008732 w 3535724"/>
              <a:gd name="connsiteY143" fmla="*/ 1052195 h 2576929"/>
              <a:gd name="connsiteX144" fmla="*/ 2130469 w 3535724"/>
              <a:gd name="connsiteY144" fmla="*/ 1052195 h 2576929"/>
              <a:gd name="connsiteX145" fmla="*/ 2130469 w 3535724"/>
              <a:gd name="connsiteY145" fmla="*/ 919309 h 2576929"/>
              <a:gd name="connsiteX146" fmla="*/ 2310469 w 3535724"/>
              <a:gd name="connsiteY146" fmla="*/ 919309 h 2576929"/>
              <a:gd name="connsiteX147" fmla="*/ 2310469 w 3535724"/>
              <a:gd name="connsiteY147" fmla="*/ 1052195 h 2576929"/>
              <a:gd name="connsiteX148" fmla="*/ 2430672 w 3535724"/>
              <a:gd name="connsiteY148" fmla="*/ 1052195 h 2576929"/>
              <a:gd name="connsiteX149" fmla="*/ 2430672 w 3535724"/>
              <a:gd name="connsiteY149" fmla="*/ 706182 h 2576929"/>
              <a:gd name="connsiteX150" fmla="*/ 2552333 w 3535724"/>
              <a:gd name="connsiteY150" fmla="*/ 706182 h 2576929"/>
              <a:gd name="connsiteX151" fmla="*/ 2417890 w 3535724"/>
              <a:gd name="connsiteY151" fmla="*/ 168412 h 2576929"/>
              <a:gd name="connsiteX152" fmla="*/ 2417373 w 3535724"/>
              <a:gd name="connsiteY152" fmla="*/ 168412 h 2576929"/>
              <a:gd name="connsiteX153" fmla="*/ 2417373 w 3535724"/>
              <a:gd name="connsiteY153" fmla="*/ 166345 h 2576929"/>
              <a:gd name="connsiteX154" fmla="*/ 2417373 w 3535724"/>
              <a:gd name="connsiteY154" fmla="*/ 0 h 2576929"/>
              <a:gd name="connsiteX155" fmla="*/ 2611584 w 3535724"/>
              <a:gd name="connsiteY155" fmla="*/ 0 h 2576929"/>
              <a:gd name="connsiteX156" fmla="*/ 2611584 w 3535724"/>
              <a:gd name="connsiteY156" fmla="*/ 166345 h 2576929"/>
              <a:gd name="connsiteX157" fmla="*/ 2723672 w 3535724"/>
              <a:gd name="connsiteY157" fmla="*/ 166345 h 2576929"/>
              <a:gd name="connsiteX158" fmla="*/ 2723672 w 3535724"/>
              <a:gd name="connsiteY158" fmla="*/ 0 h 2576929"/>
              <a:gd name="connsiteX159" fmla="*/ 2917883 w 3535724"/>
              <a:gd name="connsiteY159" fmla="*/ 0 h 2576929"/>
              <a:gd name="connsiteX160" fmla="*/ 2917883 w 3535724"/>
              <a:gd name="connsiteY160" fmla="*/ 166345 h 2576929"/>
              <a:gd name="connsiteX161" fmla="*/ 3029971 w 3535724"/>
              <a:gd name="connsiteY161" fmla="*/ 166345 h 2576929"/>
              <a:gd name="connsiteX162" fmla="*/ 3029971 w 3535724"/>
              <a:gd name="connsiteY162" fmla="*/ 0 h 2576929"/>
              <a:gd name="connsiteX163" fmla="*/ 3224182 w 3535724"/>
              <a:gd name="connsiteY163" fmla="*/ 0 h 2576929"/>
              <a:gd name="connsiteX164" fmla="*/ 3224182 w 3535724"/>
              <a:gd name="connsiteY164" fmla="*/ 166345 h 2576929"/>
              <a:gd name="connsiteX165" fmla="*/ 3336269 w 3535724"/>
              <a:gd name="connsiteY165" fmla="*/ 166345 h 2576929"/>
              <a:gd name="connsiteX166" fmla="*/ 3336269 w 3535724"/>
              <a:gd name="connsiteY166" fmla="*/ 0 h 2576929"/>
              <a:gd name="connsiteX167" fmla="*/ 3530480 w 3535724"/>
              <a:gd name="connsiteY167" fmla="*/ 0 h 2576929"/>
              <a:gd name="connsiteX168" fmla="*/ 3530480 w 3535724"/>
              <a:gd name="connsiteY168" fmla="*/ 166345 h 2576929"/>
              <a:gd name="connsiteX169" fmla="*/ 3530480 w 3535724"/>
              <a:gd name="connsiteY169" fmla="*/ 168412 h 2576929"/>
              <a:gd name="connsiteX170" fmla="*/ 3529963 w 3535724"/>
              <a:gd name="connsiteY170" fmla="*/ 168412 h 2576929"/>
              <a:gd name="connsiteX171" fmla="*/ 3395521 w 3535724"/>
              <a:gd name="connsiteY171" fmla="*/ 706182 h 2576929"/>
              <a:gd name="connsiteX172" fmla="*/ 3535724 w 3535724"/>
              <a:gd name="connsiteY172" fmla="*/ 706182 h 2576929"/>
              <a:gd name="connsiteX173" fmla="*/ 3535724 w 3535724"/>
              <a:gd name="connsiteY173" fmla="*/ 1052195 h 2576929"/>
              <a:gd name="connsiteX174" fmla="*/ 3535724 w 3535724"/>
              <a:gd name="connsiteY174" fmla="*/ 2230916 h 2576929"/>
              <a:gd name="connsiteX175" fmla="*/ 3535724 w 3535724"/>
              <a:gd name="connsiteY175" fmla="*/ 2576929 h 2576929"/>
              <a:gd name="connsiteX176" fmla="*/ 0 w 3535724"/>
              <a:gd name="connsiteY176" fmla="*/ 2576929 h 2576929"/>
              <a:gd name="connsiteX177" fmla="*/ 0 w 3535724"/>
              <a:gd name="connsiteY177" fmla="*/ 2230916 h 2576929"/>
              <a:gd name="connsiteX178" fmla="*/ 0 w 3535724"/>
              <a:gd name="connsiteY178" fmla="*/ 1052195 h 2576929"/>
              <a:gd name="connsiteX179" fmla="*/ 0 w 3535724"/>
              <a:gd name="connsiteY179" fmla="*/ 706182 h 2576929"/>
              <a:gd name="connsiteX180" fmla="*/ 134960 w 3535724"/>
              <a:gd name="connsiteY180" fmla="*/ 706182 h 2576929"/>
              <a:gd name="connsiteX181" fmla="*/ 517 w 3535724"/>
              <a:gd name="connsiteY181" fmla="*/ 168412 h 2576929"/>
              <a:gd name="connsiteX182" fmla="*/ 0 w 3535724"/>
              <a:gd name="connsiteY182" fmla="*/ 168412 h 2576929"/>
              <a:gd name="connsiteX183" fmla="*/ 0 w 3535724"/>
              <a:gd name="connsiteY183" fmla="*/ 166345 h 2576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3535724" h="2576929">
                <a:moveTo>
                  <a:pt x="1767862" y="1995276"/>
                </a:moveTo>
                <a:cubicBezTo>
                  <a:pt x="1696315" y="1995276"/>
                  <a:pt x="1634927" y="2038778"/>
                  <a:pt x="1608704" y="2100773"/>
                </a:cubicBezTo>
                <a:lnTo>
                  <a:pt x="1595497" y="2166184"/>
                </a:lnTo>
                <a:lnTo>
                  <a:pt x="1595129" y="2166184"/>
                </a:lnTo>
                <a:lnTo>
                  <a:pt x="1595129" y="2168009"/>
                </a:lnTo>
                <a:lnTo>
                  <a:pt x="1595129" y="2238759"/>
                </a:lnTo>
                <a:lnTo>
                  <a:pt x="1595129" y="2533776"/>
                </a:lnTo>
                <a:lnTo>
                  <a:pt x="1940595" y="2533776"/>
                </a:lnTo>
                <a:lnTo>
                  <a:pt x="1940595" y="2238759"/>
                </a:lnTo>
                <a:lnTo>
                  <a:pt x="1940595" y="2168009"/>
                </a:lnTo>
                <a:lnTo>
                  <a:pt x="1940595" y="2166184"/>
                </a:lnTo>
                <a:lnTo>
                  <a:pt x="1940227" y="2166184"/>
                </a:lnTo>
                <a:lnTo>
                  <a:pt x="1927022" y="2100773"/>
                </a:lnTo>
                <a:cubicBezTo>
                  <a:pt x="1900799" y="2038778"/>
                  <a:pt x="1839411" y="1995276"/>
                  <a:pt x="1767862" y="1995276"/>
                </a:cubicBezTo>
                <a:close/>
                <a:moveTo>
                  <a:pt x="2978690" y="1659989"/>
                </a:moveTo>
                <a:cubicBezTo>
                  <a:pt x="2940421" y="1659989"/>
                  <a:pt x="2907586" y="1683257"/>
                  <a:pt x="2893560" y="1716417"/>
                </a:cubicBezTo>
                <a:lnTo>
                  <a:pt x="2886496" y="1751404"/>
                </a:lnTo>
                <a:lnTo>
                  <a:pt x="2886299" y="1751404"/>
                </a:lnTo>
                <a:lnTo>
                  <a:pt x="2886299" y="1752380"/>
                </a:lnTo>
                <a:lnTo>
                  <a:pt x="2886299" y="1790223"/>
                </a:lnTo>
                <a:lnTo>
                  <a:pt x="2886299" y="1948021"/>
                </a:lnTo>
                <a:lnTo>
                  <a:pt x="3071081" y="1948021"/>
                </a:lnTo>
                <a:lnTo>
                  <a:pt x="3071081" y="1790223"/>
                </a:lnTo>
                <a:lnTo>
                  <a:pt x="3071081" y="1752380"/>
                </a:lnTo>
                <a:lnTo>
                  <a:pt x="3071081" y="1751404"/>
                </a:lnTo>
                <a:lnTo>
                  <a:pt x="3070884" y="1751404"/>
                </a:lnTo>
                <a:lnTo>
                  <a:pt x="3063821" y="1716417"/>
                </a:lnTo>
                <a:cubicBezTo>
                  <a:pt x="3049795" y="1683257"/>
                  <a:pt x="3016960" y="1659989"/>
                  <a:pt x="2978690" y="1659989"/>
                </a:cubicBezTo>
                <a:close/>
                <a:moveTo>
                  <a:pt x="552990" y="1659989"/>
                </a:moveTo>
                <a:cubicBezTo>
                  <a:pt x="514721" y="1659989"/>
                  <a:pt x="481886" y="1683257"/>
                  <a:pt x="467860" y="1716417"/>
                </a:cubicBezTo>
                <a:lnTo>
                  <a:pt x="460796" y="1751404"/>
                </a:lnTo>
                <a:lnTo>
                  <a:pt x="460599" y="1751404"/>
                </a:lnTo>
                <a:lnTo>
                  <a:pt x="460599" y="1752380"/>
                </a:lnTo>
                <a:lnTo>
                  <a:pt x="460599" y="1790223"/>
                </a:lnTo>
                <a:lnTo>
                  <a:pt x="460599" y="1948021"/>
                </a:lnTo>
                <a:lnTo>
                  <a:pt x="645381" y="1948021"/>
                </a:lnTo>
                <a:lnTo>
                  <a:pt x="645381" y="1790223"/>
                </a:lnTo>
                <a:lnTo>
                  <a:pt x="645381" y="1752380"/>
                </a:lnTo>
                <a:lnTo>
                  <a:pt x="645381" y="1751404"/>
                </a:lnTo>
                <a:lnTo>
                  <a:pt x="645184" y="1751404"/>
                </a:lnTo>
                <a:lnTo>
                  <a:pt x="638121" y="1716417"/>
                </a:lnTo>
                <a:cubicBezTo>
                  <a:pt x="624095" y="1683257"/>
                  <a:pt x="591260" y="1659989"/>
                  <a:pt x="552990" y="1659989"/>
                </a:cubicBezTo>
                <a:close/>
                <a:moveTo>
                  <a:pt x="2978690" y="1197786"/>
                </a:moveTo>
                <a:cubicBezTo>
                  <a:pt x="2940421" y="1197786"/>
                  <a:pt x="2907586" y="1221054"/>
                  <a:pt x="2893560" y="1254214"/>
                </a:cubicBezTo>
                <a:lnTo>
                  <a:pt x="2886496" y="1289201"/>
                </a:lnTo>
                <a:lnTo>
                  <a:pt x="2886299" y="1289201"/>
                </a:lnTo>
                <a:lnTo>
                  <a:pt x="2886299" y="1290177"/>
                </a:lnTo>
                <a:lnTo>
                  <a:pt x="2886299" y="1328020"/>
                </a:lnTo>
                <a:lnTo>
                  <a:pt x="2886299" y="1485818"/>
                </a:lnTo>
                <a:lnTo>
                  <a:pt x="3071081" y="1485818"/>
                </a:lnTo>
                <a:lnTo>
                  <a:pt x="3071081" y="1328020"/>
                </a:lnTo>
                <a:lnTo>
                  <a:pt x="3071081" y="1290177"/>
                </a:lnTo>
                <a:lnTo>
                  <a:pt x="3071081" y="1289201"/>
                </a:lnTo>
                <a:lnTo>
                  <a:pt x="3070884" y="1289201"/>
                </a:lnTo>
                <a:lnTo>
                  <a:pt x="3063821" y="1254214"/>
                </a:lnTo>
                <a:cubicBezTo>
                  <a:pt x="3049795" y="1221054"/>
                  <a:pt x="3016960" y="1197786"/>
                  <a:pt x="2978690" y="1197786"/>
                </a:cubicBezTo>
                <a:close/>
                <a:moveTo>
                  <a:pt x="552990" y="1197786"/>
                </a:moveTo>
                <a:cubicBezTo>
                  <a:pt x="514721" y="1197786"/>
                  <a:pt x="481886" y="1221054"/>
                  <a:pt x="467860" y="1254214"/>
                </a:cubicBezTo>
                <a:lnTo>
                  <a:pt x="460796" y="1289201"/>
                </a:lnTo>
                <a:lnTo>
                  <a:pt x="460599" y="1289201"/>
                </a:lnTo>
                <a:lnTo>
                  <a:pt x="460599" y="1290177"/>
                </a:lnTo>
                <a:lnTo>
                  <a:pt x="460599" y="1328020"/>
                </a:lnTo>
                <a:lnTo>
                  <a:pt x="460599" y="1485818"/>
                </a:lnTo>
                <a:lnTo>
                  <a:pt x="645381" y="1485818"/>
                </a:lnTo>
                <a:lnTo>
                  <a:pt x="645381" y="1328020"/>
                </a:lnTo>
                <a:lnTo>
                  <a:pt x="645381" y="1290177"/>
                </a:lnTo>
                <a:lnTo>
                  <a:pt x="645381" y="1289201"/>
                </a:lnTo>
                <a:lnTo>
                  <a:pt x="645184" y="1289201"/>
                </a:lnTo>
                <a:lnTo>
                  <a:pt x="638121" y="1254214"/>
                </a:lnTo>
                <a:cubicBezTo>
                  <a:pt x="624095" y="1221054"/>
                  <a:pt x="591260" y="1197786"/>
                  <a:pt x="552990" y="1197786"/>
                </a:cubicBezTo>
                <a:close/>
                <a:moveTo>
                  <a:pt x="1767862" y="1197786"/>
                </a:moveTo>
                <a:cubicBezTo>
                  <a:pt x="1696315" y="1197786"/>
                  <a:pt x="1634927" y="1241288"/>
                  <a:pt x="1608704" y="1303283"/>
                </a:cubicBezTo>
                <a:lnTo>
                  <a:pt x="1595497" y="1368694"/>
                </a:lnTo>
                <a:lnTo>
                  <a:pt x="1595129" y="1368694"/>
                </a:lnTo>
                <a:lnTo>
                  <a:pt x="1595129" y="1370519"/>
                </a:lnTo>
                <a:lnTo>
                  <a:pt x="1595129" y="1441270"/>
                </a:lnTo>
                <a:lnTo>
                  <a:pt x="1595129" y="1485818"/>
                </a:lnTo>
                <a:lnTo>
                  <a:pt x="1940595" y="1485818"/>
                </a:lnTo>
                <a:lnTo>
                  <a:pt x="1940595" y="1441270"/>
                </a:lnTo>
                <a:lnTo>
                  <a:pt x="1940595" y="1370519"/>
                </a:lnTo>
                <a:lnTo>
                  <a:pt x="1940595" y="1368694"/>
                </a:lnTo>
                <a:lnTo>
                  <a:pt x="1940227" y="1368694"/>
                </a:lnTo>
                <a:lnTo>
                  <a:pt x="1927022" y="1303283"/>
                </a:lnTo>
                <a:cubicBezTo>
                  <a:pt x="1900799" y="1241288"/>
                  <a:pt x="1839411" y="1197786"/>
                  <a:pt x="1767862" y="1197786"/>
                </a:cubicBezTo>
                <a:close/>
                <a:moveTo>
                  <a:pt x="552990" y="735584"/>
                </a:moveTo>
                <a:cubicBezTo>
                  <a:pt x="514721" y="735584"/>
                  <a:pt x="481886" y="758852"/>
                  <a:pt x="467860" y="792012"/>
                </a:cubicBezTo>
                <a:lnTo>
                  <a:pt x="460796" y="826999"/>
                </a:lnTo>
                <a:lnTo>
                  <a:pt x="460599" y="826999"/>
                </a:lnTo>
                <a:lnTo>
                  <a:pt x="460599" y="827975"/>
                </a:lnTo>
                <a:lnTo>
                  <a:pt x="460599" y="865818"/>
                </a:lnTo>
                <a:lnTo>
                  <a:pt x="460599" y="1023616"/>
                </a:lnTo>
                <a:lnTo>
                  <a:pt x="645381" y="1023616"/>
                </a:lnTo>
                <a:lnTo>
                  <a:pt x="645381" y="865818"/>
                </a:lnTo>
                <a:lnTo>
                  <a:pt x="645381" y="827975"/>
                </a:lnTo>
                <a:lnTo>
                  <a:pt x="645381" y="826999"/>
                </a:lnTo>
                <a:lnTo>
                  <a:pt x="645184" y="826999"/>
                </a:lnTo>
                <a:lnTo>
                  <a:pt x="638121" y="792012"/>
                </a:lnTo>
                <a:cubicBezTo>
                  <a:pt x="624095" y="758852"/>
                  <a:pt x="591260" y="735584"/>
                  <a:pt x="552990" y="735584"/>
                </a:cubicBezTo>
                <a:close/>
                <a:moveTo>
                  <a:pt x="2978690" y="735584"/>
                </a:moveTo>
                <a:cubicBezTo>
                  <a:pt x="2940421" y="735584"/>
                  <a:pt x="2907586" y="758852"/>
                  <a:pt x="2893560" y="792012"/>
                </a:cubicBezTo>
                <a:lnTo>
                  <a:pt x="2886496" y="826999"/>
                </a:lnTo>
                <a:lnTo>
                  <a:pt x="2886299" y="826999"/>
                </a:lnTo>
                <a:lnTo>
                  <a:pt x="2886299" y="827975"/>
                </a:lnTo>
                <a:lnTo>
                  <a:pt x="2886299" y="865818"/>
                </a:lnTo>
                <a:lnTo>
                  <a:pt x="2886299" y="1023616"/>
                </a:lnTo>
                <a:lnTo>
                  <a:pt x="3071081" y="1023616"/>
                </a:lnTo>
                <a:lnTo>
                  <a:pt x="3071081" y="865818"/>
                </a:lnTo>
                <a:lnTo>
                  <a:pt x="3071081" y="827975"/>
                </a:lnTo>
                <a:lnTo>
                  <a:pt x="3071081" y="826999"/>
                </a:lnTo>
                <a:lnTo>
                  <a:pt x="3070884" y="826999"/>
                </a:lnTo>
                <a:lnTo>
                  <a:pt x="3063821" y="792012"/>
                </a:lnTo>
                <a:cubicBezTo>
                  <a:pt x="3049795" y="758852"/>
                  <a:pt x="3016960" y="735584"/>
                  <a:pt x="2978690" y="735584"/>
                </a:cubicBezTo>
                <a:close/>
                <a:moveTo>
                  <a:pt x="0" y="0"/>
                </a:moveTo>
                <a:lnTo>
                  <a:pt x="194211" y="0"/>
                </a:lnTo>
                <a:lnTo>
                  <a:pt x="194211" y="166345"/>
                </a:lnTo>
                <a:lnTo>
                  <a:pt x="306299" y="166345"/>
                </a:lnTo>
                <a:lnTo>
                  <a:pt x="306299" y="0"/>
                </a:lnTo>
                <a:lnTo>
                  <a:pt x="500510" y="0"/>
                </a:lnTo>
                <a:lnTo>
                  <a:pt x="500510" y="166345"/>
                </a:lnTo>
                <a:lnTo>
                  <a:pt x="612598" y="166345"/>
                </a:lnTo>
                <a:lnTo>
                  <a:pt x="612598" y="0"/>
                </a:lnTo>
                <a:lnTo>
                  <a:pt x="806809" y="0"/>
                </a:lnTo>
                <a:lnTo>
                  <a:pt x="806809" y="166345"/>
                </a:lnTo>
                <a:lnTo>
                  <a:pt x="918896" y="166345"/>
                </a:lnTo>
                <a:lnTo>
                  <a:pt x="918896" y="0"/>
                </a:lnTo>
                <a:lnTo>
                  <a:pt x="1113107" y="0"/>
                </a:lnTo>
                <a:lnTo>
                  <a:pt x="1113107" y="166345"/>
                </a:lnTo>
                <a:lnTo>
                  <a:pt x="1113107" y="168412"/>
                </a:lnTo>
                <a:lnTo>
                  <a:pt x="1112591" y="168412"/>
                </a:lnTo>
                <a:lnTo>
                  <a:pt x="978149" y="706182"/>
                </a:lnTo>
                <a:lnTo>
                  <a:pt x="1105052" y="706182"/>
                </a:lnTo>
                <a:lnTo>
                  <a:pt x="1105052" y="1052195"/>
                </a:lnTo>
                <a:lnTo>
                  <a:pt x="1225256" y="1052195"/>
                </a:lnTo>
                <a:lnTo>
                  <a:pt x="1225256" y="919309"/>
                </a:lnTo>
                <a:lnTo>
                  <a:pt x="1405256" y="919309"/>
                </a:lnTo>
                <a:lnTo>
                  <a:pt x="1405256" y="1052195"/>
                </a:lnTo>
                <a:lnTo>
                  <a:pt x="1526994" y="1052195"/>
                </a:lnTo>
                <a:lnTo>
                  <a:pt x="1526994" y="919309"/>
                </a:lnTo>
                <a:lnTo>
                  <a:pt x="1706994" y="919309"/>
                </a:lnTo>
                <a:lnTo>
                  <a:pt x="1706994" y="1052195"/>
                </a:lnTo>
                <a:lnTo>
                  <a:pt x="1828732" y="1052195"/>
                </a:lnTo>
                <a:lnTo>
                  <a:pt x="1828732" y="919309"/>
                </a:lnTo>
                <a:lnTo>
                  <a:pt x="2008732" y="919309"/>
                </a:lnTo>
                <a:lnTo>
                  <a:pt x="2008732" y="1052195"/>
                </a:lnTo>
                <a:lnTo>
                  <a:pt x="2130469" y="1052195"/>
                </a:lnTo>
                <a:lnTo>
                  <a:pt x="2130469" y="919309"/>
                </a:lnTo>
                <a:lnTo>
                  <a:pt x="2310469" y="919309"/>
                </a:lnTo>
                <a:lnTo>
                  <a:pt x="2310469" y="1052195"/>
                </a:lnTo>
                <a:lnTo>
                  <a:pt x="2430672" y="1052195"/>
                </a:lnTo>
                <a:lnTo>
                  <a:pt x="2430672" y="706182"/>
                </a:lnTo>
                <a:lnTo>
                  <a:pt x="2552333" y="706182"/>
                </a:lnTo>
                <a:lnTo>
                  <a:pt x="2417890" y="168412"/>
                </a:lnTo>
                <a:lnTo>
                  <a:pt x="2417373" y="168412"/>
                </a:lnTo>
                <a:lnTo>
                  <a:pt x="2417373" y="166345"/>
                </a:lnTo>
                <a:lnTo>
                  <a:pt x="2417373" y="0"/>
                </a:lnTo>
                <a:lnTo>
                  <a:pt x="2611584" y="0"/>
                </a:lnTo>
                <a:lnTo>
                  <a:pt x="2611584" y="166345"/>
                </a:lnTo>
                <a:lnTo>
                  <a:pt x="2723672" y="166345"/>
                </a:lnTo>
                <a:lnTo>
                  <a:pt x="2723672" y="0"/>
                </a:lnTo>
                <a:lnTo>
                  <a:pt x="2917883" y="0"/>
                </a:lnTo>
                <a:lnTo>
                  <a:pt x="2917883" y="166345"/>
                </a:lnTo>
                <a:lnTo>
                  <a:pt x="3029971" y="166345"/>
                </a:lnTo>
                <a:lnTo>
                  <a:pt x="3029971" y="0"/>
                </a:lnTo>
                <a:lnTo>
                  <a:pt x="3224182" y="0"/>
                </a:lnTo>
                <a:lnTo>
                  <a:pt x="3224182" y="166345"/>
                </a:lnTo>
                <a:lnTo>
                  <a:pt x="3336269" y="166345"/>
                </a:lnTo>
                <a:lnTo>
                  <a:pt x="3336269" y="0"/>
                </a:lnTo>
                <a:lnTo>
                  <a:pt x="3530480" y="0"/>
                </a:lnTo>
                <a:lnTo>
                  <a:pt x="3530480" y="166345"/>
                </a:lnTo>
                <a:lnTo>
                  <a:pt x="3530480" y="168412"/>
                </a:lnTo>
                <a:lnTo>
                  <a:pt x="3529963" y="168412"/>
                </a:lnTo>
                <a:lnTo>
                  <a:pt x="3395521" y="706182"/>
                </a:lnTo>
                <a:lnTo>
                  <a:pt x="3535724" y="706182"/>
                </a:lnTo>
                <a:lnTo>
                  <a:pt x="3535724" y="1052195"/>
                </a:lnTo>
                <a:lnTo>
                  <a:pt x="3535724" y="2230916"/>
                </a:lnTo>
                <a:lnTo>
                  <a:pt x="3535724" y="2576929"/>
                </a:lnTo>
                <a:lnTo>
                  <a:pt x="0" y="2576929"/>
                </a:lnTo>
                <a:lnTo>
                  <a:pt x="0" y="2230916"/>
                </a:lnTo>
                <a:lnTo>
                  <a:pt x="0" y="1052195"/>
                </a:lnTo>
                <a:lnTo>
                  <a:pt x="0" y="706182"/>
                </a:lnTo>
                <a:lnTo>
                  <a:pt x="134960" y="706182"/>
                </a:lnTo>
                <a:lnTo>
                  <a:pt x="517" y="168412"/>
                </a:lnTo>
                <a:lnTo>
                  <a:pt x="0" y="168412"/>
                </a:lnTo>
                <a:lnTo>
                  <a:pt x="0" y="166345"/>
                </a:lnTo>
                <a:close/>
              </a:path>
            </a:pathLst>
          </a:custGeom>
          <a:solidFill>
            <a:srgbClr val="98A2AE"/>
          </a:solidFill>
        </p:spPr>
        <p:txBody>
          <a:bodyPr wrap="none" tIns="672000" rtlCol="0" anchor="t">
            <a:noAutofit/>
          </a:bodyPr>
          <a:lstStyle/>
          <a:p>
            <a:pPr marL="0" marR="0" lvl="0" indent="0" algn="ctr" defTabSz="6133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4D5766"/>
                </a:solidFill>
                <a:effectLst/>
                <a:uLnTx/>
                <a:uFillTx/>
                <a:ea typeface="Nokia Pure Text Light" panose="020B0403020202020204" pitchFamily="34" charset="0"/>
              </a:rPr>
              <a:t>Управление</a:t>
            </a:r>
            <a:endParaRPr kumimoji="0" lang="en-GB" sz="1100" b="0" i="0" u="none" strike="noStrike" kern="0" cap="none" spc="0" normalizeH="0" baseline="0" noProof="0" dirty="0" smtClean="0">
              <a:ln>
                <a:noFill/>
              </a:ln>
              <a:solidFill>
                <a:srgbClr val="4D5766"/>
              </a:solidFill>
              <a:effectLst/>
              <a:uLnTx/>
              <a:uFillTx/>
            </a:endParaRPr>
          </a:p>
        </p:txBody>
      </p:sp>
      <p:sp>
        <p:nvSpPr>
          <p:cNvPr id="107" name="Rechteck 5">
            <a:extLst>
              <a:ext uri="{FF2B5EF4-FFF2-40B4-BE49-F238E27FC236}">
                <a16:creationId xmlns:a16="http://schemas.microsoft.com/office/drawing/2014/main" xmlns="" id="{4B11BC6C-692B-4554-8AF6-5EAE318094B0}"/>
              </a:ext>
            </a:extLst>
          </p:cNvPr>
          <p:cNvSpPr/>
          <p:nvPr/>
        </p:nvSpPr>
        <p:spPr>
          <a:xfrm>
            <a:off x="1504833" y="378787"/>
            <a:ext cx="5814287" cy="4764712"/>
          </a:xfrm>
          <a:prstGeom prst="rect">
            <a:avLst/>
          </a:prstGeom>
          <a:solidFill>
            <a:srgbClr val="FFFFFF">
              <a:alpha val="80000"/>
            </a:srgbClr>
          </a:solidFill>
          <a:ln w="31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133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 panose="020B0403020202020204" pitchFamily="34" charset="0"/>
              <a:ea typeface="Nokia Pure Text Light" panose="020B0403020202020204" pitchFamily="34" charset="0"/>
              <a:cs typeface="+mn-cs"/>
            </a:endParaRPr>
          </a:p>
        </p:txBody>
      </p:sp>
      <p:sp>
        <p:nvSpPr>
          <p:cNvPr id="106" name="Rechteck 5">
            <a:extLst>
              <a:ext uri="{FF2B5EF4-FFF2-40B4-BE49-F238E27FC236}">
                <a16:creationId xmlns:a16="http://schemas.microsoft.com/office/drawing/2014/main" xmlns="" id="{4B11BC6C-692B-4554-8AF6-5EAE318094B0}"/>
              </a:ext>
            </a:extLst>
          </p:cNvPr>
          <p:cNvSpPr/>
          <p:nvPr/>
        </p:nvSpPr>
        <p:spPr>
          <a:xfrm>
            <a:off x="1510585" y="572322"/>
            <a:ext cx="5814287" cy="3593271"/>
          </a:xfrm>
          <a:prstGeom prst="rect">
            <a:avLst/>
          </a:prstGeom>
          <a:solidFill>
            <a:srgbClr val="FFFFFF">
              <a:alpha val="80000"/>
            </a:srgbClr>
          </a:solidFill>
          <a:ln w="31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133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 panose="020B0403020202020204" pitchFamily="34" charset="0"/>
              <a:ea typeface="Nokia Pure Text Light" panose="020B0403020202020204" pitchFamily="34" charset="0"/>
              <a:cs typeface="+mn-cs"/>
            </a:endParaRPr>
          </a:p>
        </p:txBody>
      </p:sp>
      <p:graphicFrame>
        <p:nvGraphicFramePr>
          <p:cNvPr id="24" name="Objekt 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76" name="think-cell Folie" r:id="rId6" imgW="359" imgH="355" progId="TCLayout.ActiveDocument.1">
                  <p:embed/>
                </p:oleObj>
              </mc:Choice>
              <mc:Fallback>
                <p:oleObj name="think-cell Folie" r:id="rId6" imgW="359" imgH="355" progId="TCLayout.ActiveDocument.1">
                  <p:embed/>
                  <p:pic>
                    <p:nvPicPr>
                      <p:cNvPr id="24" name="Objekt 2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hteck 3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AT" sz="2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6" name="Titel 1"/>
          <p:cNvSpPr>
            <a:spLocks noGrp="1"/>
          </p:cNvSpPr>
          <p:nvPr>
            <p:ph type="title"/>
          </p:nvPr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dirty="0">
                <a:solidFill>
                  <a:srgbClr val="DA291C"/>
                </a:solidFill>
              </a:rPr>
              <a:t>Логически профили на 5G </a:t>
            </a:r>
            <a:r>
              <a:rPr lang="ru-RU" dirty="0" smtClean="0">
                <a:solidFill>
                  <a:srgbClr val="DA291C"/>
                </a:solidFill>
              </a:rPr>
              <a:t>мрежата</a:t>
            </a:r>
            <a:endParaRPr lang="de-AT" dirty="0">
              <a:solidFill>
                <a:srgbClr val="DA291C"/>
              </a:solidFill>
            </a:endParaRPr>
          </a:p>
        </p:txBody>
      </p:sp>
      <p:grpSp>
        <p:nvGrpSpPr>
          <p:cNvPr id="33" name="Gruppieren 9">
            <a:extLst>
              <a:ext uri="{FF2B5EF4-FFF2-40B4-BE49-F238E27FC236}">
                <a16:creationId xmlns:a16="http://schemas.microsoft.com/office/drawing/2014/main" xmlns="" id="{387BFEC8-8FFD-4512-B9D9-F11DF2F51EF1}"/>
              </a:ext>
            </a:extLst>
          </p:cNvPr>
          <p:cNvGrpSpPr/>
          <p:nvPr/>
        </p:nvGrpSpPr>
        <p:grpSpPr>
          <a:xfrm>
            <a:off x="2001912" y="1302526"/>
            <a:ext cx="4415163" cy="3681191"/>
            <a:chOff x="1904400" y="1494000"/>
            <a:chExt cx="3311372" cy="3029601"/>
          </a:xfrm>
        </p:grpSpPr>
        <p:sp>
          <p:nvSpPr>
            <p:cNvPr id="34" name="Freihandform: Form 85">
              <a:extLst>
                <a:ext uri="{FF2B5EF4-FFF2-40B4-BE49-F238E27FC236}">
                  <a16:creationId xmlns:a16="http://schemas.microsoft.com/office/drawing/2014/main" xmlns="" id="{3C9631B3-61B6-4CFA-9443-E2228483C808}"/>
                </a:ext>
              </a:extLst>
            </p:cNvPr>
            <p:cNvSpPr/>
            <p:nvPr/>
          </p:nvSpPr>
          <p:spPr>
            <a:xfrm flipV="1">
              <a:off x="1904400" y="1494000"/>
              <a:ext cx="684000" cy="3029601"/>
            </a:xfrm>
            <a:custGeom>
              <a:avLst/>
              <a:gdLst>
                <a:gd name="connsiteX0" fmla="*/ 0 w 576000"/>
                <a:gd name="connsiteY0" fmla="*/ 0 h 2246376"/>
                <a:gd name="connsiteX1" fmla="*/ 576000 w 576000"/>
                <a:gd name="connsiteY1" fmla="*/ 0 h 2246376"/>
                <a:gd name="connsiteX2" fmla="*/ 576000 w 576000"/>
                <a:gd name="connsiteY2" fmla="*/ 1920714 h 2246376"/>
                <a:gd name="connsiteX3" fmla="*/ 576000 w 576000"/>
                <a:gd name="connsiteY3" fmla="*/ 2067223 h 2246376"/>
                <a:gd name="connsiteX4" fmla="*/ 576000 w 576000"/>
                <a:gd name="connsiteY4" fmla="*/ 2083545 h 2246376"/>
                <a:gd name="connsiteX5" fmla="*/ 288000 w 576000"/>
                <a:gd name="connsiteY5" fmla="*/ 2246376 h 2246376"/>
                <a:gd name="connsiteX6" fmla="*/ 0 w 576000"/>
                <a:gd name="connsiteY6" fmla="*/ 2083545 h 2246376"/>
                <a:gd name="connsiteX7" fmla="*/ 0 w 576000"/>
                <a:gd name="connsiteY7" fmla="*/ 2067223 h 2246376"/>
                <a:gd name="connsiteX8" fmla="*/ 0 w 576000"/>
                <a:gd name="connsiteY8" fmla="*/ 1920714 h 2246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6000" h="2246376">
                  <a:moveTo>
                    <a:pt x="0" y="0"/>
                  </a:moveTo>
                  <a:lnTo>
                    <a:pt x="576000" y="0"/>
                  </a:lnTo>
                  <a:lnTo>
                    <a:pt x="576000" y="1920714"/>
                  </a:lnTo>
                  <a:lnTo>
                    <a:pt x="576000" y="2067223"/>
                  </a:lnTo>
                  <a:lnTo>
                    <a:pt x="576000" y="2083545"/>
                  </a:lnTo>
                  <a:lnTo>
                    <a:pt x="288000" y="2246376"/>
                  </a:lnTo>
                  <a:lnTo>
                    <a:pt x="0" y="2083545"/>
                  </a:lnTo>
                  <a:lnTo>
                    <a:pt x="0" y="2067223"/>
                  </a:lnTo>
                  <a:lnTo>
                    <a:pt x="0" y="192071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none" lIns="96000" tIns="48000" rIns="96000" bIns="9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133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7" b="0" i="0" u="none" strike="noStrike" kern="0" cap="none" spc="0" normalizeH="0" baseline="0" noProof="0" dirty="0" smtClean="0">
                <a:ln>
                  <a:noFill/>
                </a:ln>
                <a:solidFill>
                  <a:srgbClr val="4D5766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  <p:sp>
          <p:nvSpPr>
            <p:cNvPr id="38" name="Freihandform: Form 94">
              <a:extLst>
                <a:ext uri="{FF2B5EF4-FFF2-40B4-BE49-F238E27FC236}">
                  <a16:creationId xmlns:a16="http://schemas.microsoft.com/office/drawing/2014/main" xmlns="" id="{9E6D8B52-3E7F-4132-B756-606F161C9E31}"/>
                </a:ext>
              </a:extLst>
            </p:cNvPr>
            <p:cNvSpPr/>
            <p:nvPr/>
          </p:nvSpPr>
          <p:spPr>
            <a:xfrm flipV="1">
              <a:off x="2780191" y="1494000"/>
              <a:ext cx="684000" cy="3029600"/>
            </a:xfrm>
            <a:custGeom>
              <a:avLst/>
              <a:gdLst>
                <a:gd name="connsiteX0" fmla="*/ 0 w 576000"/>
                <a:gd name="connsiteY0" fmla="*/ 0 h 2246377"/>
                <a:gd name="connsiteX1" fmla="*/ 576000 w 576000"/>
                <a:gd name="connsiteY1" fmla="*/ 0 h 2246377"/>
                <a:gd name="connsiteX2" fmla="*/ 576000 w 576000"/>
                <a:gd name="connsiteY2" fmla="*/ 1920715 h 2246377"/>
                <a:gd name="connsiteX3" fmla="*/ 576000 w 576000"/>
                <a:gd name="connsiteY3" fmla="*/ 2067223 h 2246377"/>
                <a:gd name="connsiteX4" fmla="*/ 576000 w 576000"/>
                <a:gd name="connsiteY4" fmla="*/ 2083546 h 2246377"/>
                <a:gd name="connsiteX5" fmla="*/ 288000 w 576000"/>
                <a:gd name="connsiteY5" fmla="*/ 2246377 h 2246377"/>
                <a:gd name="connsiteX6" fmla="*/ 0 w 576000"/>
                <a:gd name="connsiteY6" fmla="*/ 2083546 h 2246377"/>
                <a:gd name="connsiteX7" fmla="*/ 0 w 576000"/>
                <a:gd name="connsiteY7" fmla="*/ 2067223 h 2246377"/>
                <a:gd name="connsiteX8" fmla="*/ 0 w 576000"/>
                <a:gd name="connsiteY8" fmla="*/ 1920715 h 2246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6000" h="2246377">
                  <a:moveTo>
                    <a:pt x="0" y="0"/>
                  </a:moveTo>
                  <a:lnTo>
                    <a:pt x="576000" y="0"/>
                  </a:lnTo>
                  <a:lnTo>
                    <a:pt x="576000" y="1920715"/>
                  </a:lnTo>
                  <a:lnTo>
                    <a:pt x="576000" y="2067223"/>
                  </a:lnTo>
                  <a:lnTo>
                    <a:pt x="576000" y="2083546"/>
                  </a:lnTo>
                  <a:lnTo>
                    <a:pt x="288000" y="2246377"/>
                  </a:lnTo>
                  <a:lnTo>
                    <a:pt x="0" y="2083546"/>
                  </a:lnTo>
                  <a:lnTo>
                    <a:pt x="0" y="2067223"/>
                  </a:lnTo>
                  <a:lnTo>
                    <a:pt x="0" y="192071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none" lIns="96000" tIns="48000" rIns="96000" bIns="9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133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7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  <p:sp>
          <p:nvSpPr>
            <p:cNvPr id="39" name="Freihandform: Form 97">
              <a:extLst>
                <a:ext uri="{FF2B5EF4-FFF2-40B4-BE49-F238E27FC236}">
                  <a16:creationId xmlns:a16="http://schemas.microsoft.com/office/drawing/2014/main" xmlns="" id="{C4A9248F-F6EA-42F6-930E-583B4B6E55AB}"/>
                </a:ext>
              </a:extLst>
            </p:cNvPr>
            <p:cNvSpPr/>
            <p:nvPr/>
          </p:nvSpPr>
          <p:spPr>
            <a:xfrm flipV="1">
              <a:off x="3655982" y="1494000"/>
              <a:ext cx="684000" cy="3029599"/>
            </a:xfrm>
            <a:custGeom>
              <a:avLst/>
              <a:gdLst>
                <a:gd name="connsiteX0" fmla="*/ 0 w 576000"/>
                <a:gd name="connsiteY0" fmla="*/ 0 h 2246378"/>
                <a:gd name="connsiteX1" fmla="*/ 576000 w 576000"/>
                <a:gd name="connsiteY1" fmla="*/ 0 h 2246378"/>
                <a:gd name="connsiteX2" fmla="*/ 576000 w 576000"/>
                <a:gd name="connsiteY2" fmla="*/ 1920716 h 2246378"/>
                <a:gd name="connsiteX3" fmla="*/ 576000 w 576000"/>
                <a:gd name="connsiteY3" fmla="*/ 2067223 h 2246378"/>
                <a:gd name="connsiteX4" fmla="*/ 576000 w 576000"/>
                <a:gd name="connsiteY4" fmla="*/ 2083547 h 2246378"/>
                <a:gd name="connsiteX5" fmla="*/ 288000 w 576000"/>
                <a:gd name="connsiteY5" fmla="*/ 2246378 h 2246378"/>
                <a:gd name="connsiteX6" fmla="*/ 0 w 576000"/>
                <a:gd name="connsiteY6" fmla="*/ 2083547 h 2246378"/>
                <a:gd name="connsiteX7" fmla="*/ 0 w 576000"/>
                <a:gd name="connsiteY7" fmla="*/ 2067223 h 2246378"/>
                <a:gd name="connsiteX8" fmla="*/ 0 w 576000"/>
                <a:gd name="connsiteY8" fmla="*/ 1920716 h 2246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6000" h="2246378">
                  <a:moveTo>
                    <a:pt x="0" y="0"/>
                  </a:moveTo>
                  <a:lnTo>
                    <a:pt x="576000" y="0"/>
                  </a:lnTo>
                  <a:lnTo>
                    <a:pt x="576000" y="1920716"/>
                  </a:lnTo>
                  <a:lnTo>
                    <a:pt x="576000" y="2067223"/>
                  </a:lnTo>
                  <a:lnTo>
                    <a:pt x="576000" y="2083547"/>
                  </a:lnTo>
                  <a:lnTo>
                    <a:pt x="288000" y="2246378"/>
                  </a:lnTo>
                  <a:lnTo>
                    <a:pt x="0" y="2083547"/>
                  </a:lnTo>
                  <a:lnTo>
                    <a:pt x="0" y="2067223"/>
                  </a:lnTo>
                  <a:lnTo>
                    <a:pt x="0" y="192071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none" lIns="96000" tIns="48000" rIns="96000" bIns="9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133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7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  <p:sp>
          <p:nvSpPr>
            <p:cNvPr id="40" name="Freihandform: Form 100">
              <a:extLst>
                <a:ext uri="{FF2B5EF4-FFF2-40B4-BE49-F238E27FC236}">
                  <a16:creationId xmlns:a16="http://schemas.microsoft.com/office/drawing/2014/main" xmlns="" id="{944B9DF8-EA11-4F10-878F-74EEB2B74BC4}"/>
                </a:ext>
              </a:extLst>
            </p:cNvPr>
            <p:cNvSpPr/>
            <p:nvPr/>
          </p:nvSpPr>
          <p:spPr>
            <a:xfrm flipV="1">
              <a:off x="4531772" y="1494000"/>
              <a:ext cx="684000" cy="3029597"/>
            </a:xfrm>
            <a:custGeom>
              <a:avLst/>
              <a:gdLst>
                <a:gd name="connsiteX0" fmla="*/ 0 w 576000"/>
                <a:gd name="connsiteY0" fmla="*/ 0 h 2246379"/>
                <a:gd name="connsiteX1" fmla="*/ 576000 w 576000"/>
                <a:gd name="connsiteY1" fmla="*/ 0 h 2246379"/>
                <a:gd name="connsiteX2" fmla="*/ 576000 w 576000"/>
                <a:gd name="connsiteY2" fmla="*/ 1920717 h 2246379"/>
                <a:gd name="connsiteX3" fmla="*/ 576000 w 576000"/>
                <a:gd name="connsiteY3" fmla="*/ 2067223 h 2246379"/>
                <a:gd name="connsiteX4" fmla="*/ 576000 w 576000"/>
                <a:gd name="connsiteY4" fmla="*/ 2083548 h 2246379"/>
                <a:gd name="connsiteX5" fmla="*/ 288000 w 576000"/>
                <a:gd name="connsiteY5" fmla="*/ 2246379 h 2246379"/>
                <a:gd name="connsiteX6" fmla="*/ 0 w 576000"/>
                <a:gd name="connsiteY6" fmla="*/ 2083548 h 2246379"/>
                <a:gd name="connsiteX7" fmla="*/ 0 w 576000"/>
                <a:gd name="connsiteY7" fmla="*/ 2067223 h 2246379"/>
                <a:gd name="connsiteX8" fmla="*/ 0 w 576000"/>
                <a:gd name="connsiteY8" fmla="*/ 1920717 h 2246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6000" h="2246379">
                  <a:moveTo>
                    <a:pt x="0" y="0"/>
                  </a:moveTo>
                  <a:lnTo>
                    <a:pt x="576000" y="0"/>
                  </a:lnTo>
                  <a:lnTo>
                    <a:pt x="576000" y="1920717"/>
                  </a:lnTo>
                  <a:lnTo>
                    <a:pt x="576000" y="2067223"/>
                  </a:lnTo>
                  <a:lnTo>
                    <a:pt x="576000" y="2083548"/>
                  </a:lnTo>
                  <a:lnTo>
                    <a:pt x="288000" y="2246379"/>
                  </a:lnTo>
                  <a:lnTo>
                    <a:pt x="0" y="2083548"/>
                  </a:lnTo>
                  <a:lnTo>
                    <a:pt x="0" y="2067223"/>
                  </a:lnTo>
                  <a:lnTo>
                    <a:pt x="0" y="192071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none" lIns="96000" tIns="48000" rIns="96000" bIns="9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133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7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</p:grpSp>
      <p:sp>
        <p:nvSpPr>
          <p:cNvPr id="51" name="Rechteck 68">
            <a:extLst>
              <a:ext uri="{FF2B5EF4-FFF2-40B4-BE49-F238E27FC236}">
                <a16:creationId xmlns:a16="http://schemas.microsoft.com/office/drawing/2014/main" xmlns="" id="{044AB0C6-8BA3-4AC0-B6A0-942DA3CD23F5}"/>
              </a:ext>
            </a:extLst>
          </p:cNvPr>
          <p:cNvSpPr/>
          <p:nvPr/>
        </p:nvSpPr>
        <p:spPr>
          <a:xfrm>
            <a:off x="1239654" y="1223586"/>
            <a:ext cx="5703033" cy="3919913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133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 panose="020B0403020202020204" pitchFamily="34" charset="0"/>
              <a:ea typeface="Nokia Pure Text Light" panose="020B0403020202020204" pitchFamily="34" charset="0"/>
              <a:cs typeface="+mn-cs"/>
            </a:endParaRPr>
          </a:p>
        </p:txBody>
      </p:sp>
      <p:grpSp>
        <p:nvGrpSpPr>
          <p:cNvPr id="52" name="Gruppieren 69">
            <a:extLst>
              <a:ext uri="{FF2B5EF4-FFF2-40B4-BE49-F238E27FC236}">
                <a16:creationId xmlns:a16="http://schemas.microsoft.com/office/drawing/2014/main" xmlns="" id="{B04BBD33-57A9-4556-951A-89198965B992}"/>
              </a:ext>
            </a:extLst>
          </p:cNvPr>
          <p:cNvGrpSpPr/>
          <p:nvPr/>
        </p:nvGrpSpPr>
        <p:grpSpPr>
          <a:xfrm flipV="1">
            <a:off x="1999684" y="1302526"/>
            <a:ext cx="912000" cy="3683044"/>
            <a:chOff x="2277182" y="1495393"/>
            <a:chExt cx="684000" cy="3029601"/>
          </a:xfrm>
        </p:grpSpPr>
        <p:sp>
          <p:nvSpPr>
            <p:cNvPr id="54" name="Freihandform: Form 71">
              <a:extLst>
                <a:ext uri="{FF2B5EF4-FFF2-40B4-BE49-F238E27FC236}">
                  <a16:creationId xmlns:a16="http://schemas.microsoft.com/office/drawing/2014/main" xmlns="" id="{9A99B6F1-0209-4382-A8AA-19790B90EFCC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2347514" y="1772364"/>
              <a:ext cx="543336" cy="396000"/>
            </a:xfrm>
            <a:custGeom>
              <a:avLst/>
              <a:gdLst>
                <a:gd name="connsiteX0" fmla="*/ 1767862 w 3535724"/>
                <a:gd name="connsiteY0" fmla="*/ 1995276 h 2576929"/>
                <a:gd name="connsiteX1" fmla="*/ 1608704 w 3535724"/>
                <a:gd name="connsiteY1" fmla="*/ 2100773 h 2576929"/>
                <a:gd name="connsiteX2" fmla="*/ 1595497 w 3535724"/>
                <a:gd name="connsiteY2" fmla="*/ 2166184 h 2576929"/>
                <a:gd name="connsiteX3" fmla="*/ 1595129 w 3535724"/>
                <a:gd name="connsiteY3" fmla="*/ 2166184 h 2576929"/>
                <a:gd name="connsiteX4" fmla="*/ 1595129 w 3535724"/>
                <a:gd name="connsiteY4" fmla="*/ 2168009 h 2576929"/>
                <a:gd name="connsiteX5" fmla="*/ 1595129 w 3535724"/>
                <a:gd name="connsiteY5" fmla="*/ 2238759 h 2576929"/>
                <a:gd name="connsiteX6" fmla="*/ 1595129 w 3535724"/>
                <a:gd name="connsiteY6" fmla="*/ 2533776 h 2576929"/>
                <a:gd name="connsiteX7" fmla="*/ 1940595 w 3535724"/>
                <a:gd name="connsiteY7" fmla="*/ 2533776 h 2576929"/>
                <a:gd name="connsiteX8" fmla="*/ 1940595 w 3535724"/>
                <a:gd name="connsiteY8" fmla="*/ 2238759 h 2576929"/>
                <a:gd name="connsiteX9" fmla="*/ 1940595 w 3535724"/>
                <a:gd name="connsiteY9" fmla="*/ 2168009 h 2576929"/>
                <a:gd name="connsiteX10" fmla="*/ 1940595 w 3535724"/>
                <a:gd name="connsiteY10" fmla="*/ 2166184 h 2576929"/>
                <a:gd name="connsiteX11" fmla="*/ 1940227 w 3535724"/>
                <a:gd name="connsiteY11" fmla="*/ 2166184 h 2576929"/>
                <a:gd name="connsiteX12" fmla="*/ 1927022 w 3535724"/>
                <a:gd name="connsiteY12" fmla="*/ 2100773 h 2576929"/>
                <a:gd name="connsiteX13" fmla="*/ 1767862 w 3535724"/>
                <a:gd name="connsiteY13" fmla="*/ 1995276 h 2576929"/>
                <a:gd name="connsiteX14" fmla="*/ 2978690 w 3535724"/>
                <a:gd name="connsiteY14" fmla="*/ 1659989 h 2576929"/>
                <a:gd name="connsiteX15" fmla="*/ 2893560 w 3535724"/>
                <a:gd name="connsiteY15" fmla="*/ 1716417 h 2576929"/>
                <a:gd name="connsiteX16" fmla="*/ 2886496 w 3535724"/>
                <a:gd name="connsiteY16" fmla="*/ 1751404 h 2576929"/>
                <a:gd name="connsiteX17" fmla="*/ 2886299 w 3535724"/>
                <a:gd name="connsiteY17" fmla="*/ 1751404 h 2576929"/>
                <a:gd name="connsiteX18" fmla="*/ 2886299 w 3535724"/>
                <a:gd name="connsiteY18" fmla="*/ 1752380 h 2576929"/>
                <a:gd name="connsiteX19" fmla="*/ 2886299 w 3535724"/>
                <a:gd name="connsiteY19" fmla="*/ 1790223 h 2576929"/>
                <a:gd name="connsiteX20" fmla="*/ 2886299 w 3535724"/>
                <a:gd name="connsiteY20" fmla="*/ 1948021 h 2576929"/>
                <a:gd name="connsiteX21" fmla="*/ 3071081 w 3535724"/>
                <a:gd name="connsiteY21" fmla="*/ 1948021 h 2576929"/>
                <a:gd name="connsiteX22" fmla="*/ 3071081 w 3535724"/>
                <a:gd name="connsiteY22" fmla="*/ 1790223 h 2576929"/>
                <a:gd name="connsiteX23" fmla="*/ 3071081 w 3535724"/>
                <a:gd name="connsiteY23" fmla="*/ 1752380 h 2576929"/>
                <a:gd name="connsiteX24" fmla="*/ 3071081 w 3535724"/>
                <a:gd name="connsiteY24" fmla="*/ 1751404 h 2576929"/>
                <a:gd name="connsiteX25" fmla="*/ 3070884 w 3535724"/>
                <a:gd name="connsiteY25" fmla="*/ 1751404 h 2576929"/>
                <a:gd name="connsiteX26" fmla="*/ 3063821 w 3535724"/>
                <a:gd name="connsiteY26" fmla="*/ 1716417 h 2576929"/>
                <a:gd name="connsiteX27" fmla="*/ 2978690 w 3535724"/>
                <a:gd name="connsiteY27" fmla="*/ 1659989 h 2576929"/>
                <a:gd name="connsiteX28" fmla="*/ 552990 w 3535724"/>
                <a:gd name="connsiteY28" fmla="*/ 1659989 h 2576929"/>
                <a:gd name="connsiteX29" fmla="*/ 467860 w 3535724"/>
                <a:gd name="connsiteY29" fmla="*/ 1716417 h 2576929"/>
                <a:gd name="connsiteX30" fmla="*/ 460796 w 3535724"/>
                <a:gd name="connsiteY30" fmla="*/ 1751404 h 2576929"/>
                <a:gd name="connsiteX31" fmla="*/ 460599 w 3535724"/>
                <a:gd name="connsiteY31" fmla="*/ 1751404 h 2576929"/>
                <a:gd name="connsiteX32" fmla="*/ 460599 w 3535724"/>
                <a:gd name="connsiteY32" fmla="*/ 1752380 h 2576929"/>
                <a:gd name="connsiteX33" fmla="*/ 460599 w 3535724"/>
                <a:gd name="connsiteY33" fmla="*/ 1790223 h 2576929"/>
                <a:gd name="connsiteX34" fmla="*/ 460599 w 3535724"/>
                <a:gd name="connsiteY34" fmla="*/ 1948021 h 2576929"/>
                <a:gd name="connsiteX35" fmla="*/ 645381 w 3535724"/>
                <a:gd name="connsiteY35" fmla="*/ 1948021 h 2576929"/>
                <a:gd name="connsiteX36" fmla="*/ 645381 w 3535724"/>
                <a:gd name="connsiteY36" fmla="*/ 1790223 h 2576929"/>
                <a:gd name="connsiteX37" fmla="*/ 645381 w 3535724"/>
                <a:gd name="connsiteY37" fmla="*/ 1752380 h 2576929"/>
                <a:gd name="connsiteX38" fmla="*/ 645381 w 3535724"/>
                <a:gd name="connsiteY38" fmla="*/ 1751404 h 2576929"/>
                <a:gd name="connsiteX39" fmla="*/ 645184 w 3535724"/>
                <a:gd name="connsiteY39" fmla="*/ 1751404 h 2576929"/>
                <a:gd name="connsiteX40" fmla="*/ 638121 w 3535724"/>
                <a:gd name="connsiteY40" fmla="*/ 1716417 h 2576929"/>
                <a:gd name="connsiteX41" fmla="*/ 552990 w 3535724"/>
                <a:gd name="connsiteY41" fmla="*/ 1659989 h 2576929"/>
                <a:gd name="connsiteX42" fmla="*/ 2978690 w 3535724"/>
                <a:gd name="connsiteY42" fmla="*/ 1197786 h 2576929"/>
                <a:gd name="connsiteX43" fmla="*/ 2893560 w 3535724"/>
                <a:gd name="connsiteY43" fmla="*/ 1254214 h 2576929"/>
                <a:gd name="connsiteX44" fmla="*/ 2886496 w 3535724"/>
                <a:gd name="connsiteY44" fmla="*/ 1289201 h 2576929"/>
                <a:gd name="connsiteX45" fmla="*/ 2886299 w 3535724"/>
                <a:gd name="connsiteY45" fmla="*/ 1289201 h 2576929"/>
                <a:gd name="connsiteX46" fmla="*/ 2886299 w 3535724"/>
                <a:gd name="connsiteY46" fmla="*/ 1290177 h 2576929"/>
                <a:gd name="connsiteX47" fmla="*/ 2886299 w 3535724"/>
                <a:gd name="connsiteY47" fmla="*/ 1328020 h 2576929"/>
                <a:gd name="connsiteX48" fmla="*/ 2886299 w 3535724"/>
                <a:gd name="connsiteY48" fmla="*/ 1485818 h 2576929"/>
                <a:gd name="connsiteX49" fmla="*/ 3071081 w 3535724"/>
                <a:gd name="connsiteY49" fmla="*/ 1485818 h 2576929"/>
                <a:gd name="connsiteX50" fmla="*/ 3071081 w 3535724"/>
                <a:gd name="connsiteY50" fmla="*/ 1328020 h 2576929"/>
                <a:gd name="connsiteX51" fmla="*/ 3071081 w 3535724"/>
                <a:gd name="connsiteY51" fmla="*/ 1290177 h 2576929"/>
                <a:gd name="connsiteX52" fmla="*/ 3071081 w 3535724"/>
                <a:gd name="connsiteY52" fmla="*/ 1289201 h 2576929"/>
                <a:gd name="connsiteX53" fmla="*/ 3070884 w 3535724"/>
                <a:gd name="connsiteY53" fmla="*/ 1289201 h 2576929"/>
                <a:gd name="connsiteX54" fmla="*/ 3063821 w 3535724"/>
                <a:gd name="connsiteY54" fmla="*/ 1254214 h 2576929"/>
                <a:gd name="connsiteX55" fmla="*/ 2978690 w 3535724"/>
                <a:gd name="connsiteY55" fmla="*/ 1197786 h 2576929"/>
                <a:gd name="connsiteX56" fmla="*/ 552990 w 3535724"/>
                <a:gd name="connsiteY56" fmla="*/ 1197786 h 2576929"/>
                <a:gd name="connsiteX57" fmla="*/ 467860 w 3535724"/>
                <a:gd name="connsiteY57" fmla="*/ 1254214 h 2576929"/>
                <a:gd name="connsiteX58" fmla="*/ 460796 w 3535724"/>
                <a:gd name="connsiteY58" fmla="*/ 1289201 h 2576929"/>
                <a:gd name="connsiteX59" fmla="*/ 460599 w 3535724"/>
                <a:gd name="connsiteY59" fmla="*/ 1289201 h 2576929"/>
                <a:gd name="connsiteX60" fmla="*/ 460599 w 3535724"/>
                <a:gd name="connsiteY60" fmla="*/ 1290177 h 2576929"/>
                <a:gd name="connsiteX61" fmla="*/ 460599 w 3535724"/>
                <a:gd name="connsiteY61" fmla="*/ 1328020 h 2576929"/>
                <a:gd name="connsiteX62" fmla="*/ 460599 w 3535724"/>
                <a:gd name="connsiteY62" fmla="*/ 1485818 h 2576929"/>
                <a:gd name="connsiteX63" fmla="*/ 645381 w 3535724"/>
                <a:gd name="connsiteY63" fmla="*/ 1485818 h 2576929"/>
                <a:gd name="connsiteX64" fmla="*/ 645381 w 3535724"/>
                <a:gd name="connsiteY64" fmla="*/ 1328020 h 2576929"/>
                <a:gd name="connsiteX65" fmla="*/ 645381 w 3535724"/>
                <a:gd name="connsiteY65" fmla="*/ 1290177 h 2576929"/>
                <a:gd name="connsiteX66" fmla="*/ 645381 w 3535724"/>
                <a:gd name="connsiteY66" fmla="*/ 1289201 h 2576929"/>
                <a:gd name="connsiteX67" fmla="*/ 645184 w 3535724"/>
                <a:gd name="connsiteY67" fmla="*/ 1289201 h 2576929"/>
                <a:gd name="connsiteX68" fmla="*/ 638121 w 3535724"/>
                <a:gd name="connsiteY68" fmla="*/ 1254214 h 2576929"/>
                <a:gd name="connsiteX69" fmla="*/ 552990 w 3535724"/>
                <a:gd name="connsiteY69" fmla="*/ 1197786 h 2576929"/>
                <a:gd name="connsiteX70" fmla="*/ 1767862 w 3535724"/>
                <a:gd name="connsiteY70" fmla="*/ 1197786 h 2576929"/>
                <a:gd name="connsiteX71" fmla="*/ 1608704 w 3535724"/>
                <a:gd name="connsiteY71" fmla="*/ 1303283 h 2576929"/>
                <a:gd name="connsiteX72" fmla="*/ 1595497 w 3535724"/>
                <a:gd name="connsiteY72" fmla="*/ 1368694 h 2576929"/>
                <a:gd name="connsiteX73" fmla="*/ 1595129 w 3535724"/>
                <a:gd name="connsiteY73" fmla="*/ 1368694 h 2576929"/>
                <a:gd name="connsiteX74" fmla="*/ 1595129 w 3535724"/>
                <a:gd name="connsiteY74" fmla="*/ 1370519 h 2576929"/>
                <a:gd name="connsiteX75" fmla="*/ 1595129 w 3535724"/>
                <a:gd name="connsiteY75" fmla="*/ 1441270 h 2576929"/>
                <a:gd name="connsiteX76" fmla="*/ 1595129 w 3535724"/>
                <a:gd name="connsiteY76" fmla="*/ 1485818 h 2576929"/>
                <a:gd name="connsiteX77" fmla="*/ 1940595 w 3535724"/>
                <a:gd name="connsiteY77" fmla="*/ 1485818 h 2576929"/>
                <a:gd name="connsiteX78" fmla="*/ 1940595 w 3535724"/>
                <a:gd name="connsiteY78" fmla="*/ 1441270 h 2576929"/>
                <a:gd name="connsiteX79" fmla="*/ 1940595 w 3535724"/>
                <a:gd name="connsiteY79" fmla="*/ 1370519 h 2576929"/>
                <a:gd name="connsiteX80" fmla="*/ 1940595 w 3535724"/>
                <a:gd name="connsiteY80" fmla="*/ 1368694 h 2576929"/>
                <a:gd name="connsiteX81" fmla="*/ 1940227 w 3535724"/>
                <a:gd name="connsiteY81" fmla="*/ 1368694 h 2576929"/>
                <a:gd name="connsiteX82" fmla="*/ 1927022 w 3535724"/>
                <a:gd name="connsiteY82" fmla="*/ 1303283 h 2576929"/>
                <a:gd name="connsiteX83" fmla="*/ 1767862 w 3535724"/>
                <a:gd name="connsiteY83" fmla="*/ 1197786 h 2576929"/>
                <a:gd name="connsiteX84" fmla="*/ 552990 w 3535724"/>
                <a:gd name="connsiteY84" fmla="*/ 735584 h 2576929"/>
                <a:gd name="connsiteX85" fmla="*/ 467860 w 3535724"/>
                <a:gd name="connsiteY85" fmla="*/ 792012 h 2576929"/>
                <a:gd name="connsiteX86" fmla="*/ 460796 w 3535724"/>
                <a:gd name="connsiteY86" fmla="*/ 826999 h 2576929"/>
                <a:gd name="connsiteX87" fmla="*/ 460599 w 3535724"/>
                <a:gd name="connsiteY87" fmla="*/ 826999 h 2576929"/>
                <a:gd name="connsiteX88" fmla="*/ 460599 w 3535724"/>
                <a:gd name="connsiteY88" fmla="*/ 827975 h 2576929"/>
                <a:gd name="connsiteX89" fmla="*/ 460599 w 3535724"/>
                <a:gd name="connsiteY89" fmla="*/ 865818 h 2576929"/>
                <a:gd name="connsiteX90" fmla="*/ 460599 w 3535724"/>
                <a:gd name="connsiteY90" fmla="*/ 1023616 h 2576929"/>
                <a:gd name="connsiteX91" fmla="*/ 645381 w 3535724"/>
                <a:gd name="connsiteY91" fmla="*/ 1023616 h 2576929"/>
                <a:gd name="connsiteX92" fmla="*/ 645381 w 3535724"/>
                <a:gd name="connsiteY92" fmla="*/ 865818 h 2576929"/>
                <a:gd name="connsiteX93" fmla="*/ 645381 w 3535724"/>
                <a:gd name="connsiteY93" fmla="*/ 827975 h 2576929"/>
                <a:gd name="connsiteX94" fmla="*/ 645381 w 3535724"/>
                <a:gd name="connsiteY94" fmla="*/ 826999 h 2576929"/>
                <a:gd name="connsiteX95" fmla="*/ 645184 w 3535724"/>
                <a:gd name="connsiteY95" fmla="*/ 826999 h 2576929"/>
                <a:gd name="connsiteX96" fmla="*/ 638121 w 3535724"/>
                <a:gd name="connsiteY96" fmla="*/ 792012 h 2576929"/>
                <a:gd name="connsiteX97" fmla="*/ 552990 w 3535724"/>
                <a:gd name="connsiteY97" fmla="*/ 735584 h 2576929"/>
                <a:gd name="connsiteX98" fmla="*/ 2978690 w 3535724"/>
                <a:gd name="connsiteY98" fmla="*/ 735584 h 2576929"/>
                <a:gd name="connsiteX99" fmla="*/ 2893560 w 3535724"/>
                <a:gd name="connsiteY99" fmla="*/ 792012 h 2576929"/>
                <a:gd name="connsiteX100" fmla="*/ 2886496 w 3535724"/>
                <a:gd name="connsiteY100" fmla="*/ 826999 h 2576929"/>
                <a:gd name="connsiteX101" fmla="*/ 2886299 w 3535724"/>
                <a:gd name="connsiteY101" fmla="*/ 826999 h 2576929"/>
                <a:gd name="connsiteX102" fmla="*/ 2886299 w 3535724"/>
                <a:gd name="connsiteY102" fmla="*/ 827975 h 2576929"/>
                <a:gd name="connsiteX103" fmla="*/ 2886299 w 3535724"/>
                <a:gd name="connsiteY103" fmla="*/ 865818 h 2576929"/>
                <a:gd name="connsiteX104" fmla="*/ 2886299 w 3535724"/>
                <a:gd name="connsiteY104" fmla="*/ 1023616 h 2576929"/>
                <a:gd name="connsiteX105" fmla="*/ 3071081 w 3535724"/>
                <a:gd name="connsiteY105" fmla="*/ 1023616 h 2576929"/>
                <a:gd name="connsiteX106" fmla="*/ 3071081 w 3535724"/>
                <a:gd name="connsiteY106" fmla="*/ 865818 h 2576929"/>
                <a:gd name="connsiteX107" fmla="*/ 3071081 w 3535724"/>
                <a:gd name="connsiteY107" fmla="*/ 827975 h 2576929"/>
                <a:gd name="connsiteX108" fmla="*/ 3071081 w 3535724"/>
                <a:gd name="connsiteY108" fmla="*/ 826999 h 2576929"/>
                <a:gd name="connsiteX109" fmla="*/ 3070884 w 3535724"/>
                <a:gd name="connsiteY109" fmla="*/ 826999 h 2576929"/>
                <a:gd name="connsiteX110" fmla="*/ 3063821 w 3535724"/>
                <a:gd name="connsiteY110" fmla="*/ 792012 h 2576929"/>
                <a:gd name="connsiteX111" fmla="*/ 2978690 w 3535724"/>
                <a:gd name="connsiteY111" fmla="*/ 735584 h 2576929"/>
                <a:gd name="connsiteX112" fmla="*/ 0 w 3535724"/>
                <a:gd name="connsiteY112" fmla="*/ 0 h 2576929"/>
                <a:gd name="connsiteX113" fmla="*/ 194211 w 3535724"/>
                <a:gd name="connsiteY113" fmla="*/ 0 h 2576929"/>
                <a:gd name="connsiteX114" fmla="*/ 194211 w 3535724"/>
                <a:gd name="connsiteY114" fmla="*/ 166345 h 2576929"/>
                <a:gd name="connsiteX115" fmla="*/ 306299 w 3535724"/>
                <a:gd name="connsiteY115" fmla="*/ 166345 h 2576929"/>
                <a:gd name="connsiteX116" fmla="*/ 306299 w 3535724"/>
                <a:gd name="connsiteY116" fmla="*/ 0 h 2576929"/>
                <a:gd name="connsiteX117" fmla="*/ 500510 w 3535724"/>
                <a:gd name="connsiteY117" fmla="*/ 0 h 2576929"/>
                <a:gd name="connsiteX118" fmla="*/ 500510 w 3535724"/>
                <a:gd name="connsiteY118" fmla="*/ 166345 h 2576929"/>
                <a:gd name="connsiteX119" fmla="*/ 612598 w 3535724"/>
                <a:gd name="connsiteY119" fmla="*/ 166345 h 2576929"/>
                <a:gd name="connsiteX120" fmla="*/ 612598 w 3535724"/>
                <a:gd name="connsiteY120" fmla="*/ 0 h 2576929"/>
                <a:gd name="connsiteX121" fmla="*/ 806809 w 3535724"/>
                <a:gd name="connsiteY121" fmla="*/ 0 h 2576929"/>
                <a:gd name="connsiteX122" fmla="*/ 806809 w 3535724"/>
                <a:gd name="connsiteY122" fmla="*/ 166345 h 2576929"/>
                <a:gd name="connsiteX123" fmla="*/ 918896 w 3535724"/>
                <a:gd name="connsiteY123" fmla="*/ 166345 h 2576929"/>
                <a:gd name="connsiteX124" fmla="*/ 918896 w 3535724"/>
                <a:gd name="connsiteY124" fmla="*/ 0 h 2576929"/>
                <a:gd name="connsiteX125" fmla="*/ 1113107 w 3535724"/>
                <a:gd name="connsiteY125" fmla="*/ 0 h 2576929"/>
                <a:gd name="connsiteX126" fmla="*/ 1113107 w 3535724"/>
                <a:gd name="connsiteY126" fmla="*/ 166345 h 2576929"/>
                <a:gd name="connsiteX127" fmla="*/ 1113107 w 3535724"/>
                <a:gd name="connsiteY127" fmla="*/ 168412 h 2576929"/>
                <a:gd name="connsiteX128" fmla="*/ 1112591 w 3535724"/>
                <a:gd name="connsiteY128" fmla="*/ 168412 h 2576929"/>
                <a:gd name="connsiteX129" fmla="*/ 978149 w 3535724"/>
                <a:gd name="connsiteY129" fmla="*/ 706182 h 2576929"/>
                <a:gd name="connsiteX130" fmla="*/ 1105052 w 3535724"/>
                <a:gd name="connsiteY130" fmla="*/ 706182 h 2576929"/>
                <a:gd name="connsiteX131" fmla="*/ 1105052 w 3535724"/>
                <a:gd name="connsiteY131" fmla="*/ 1052195 h 2576929"/>
                <a:gd name="connsiteX132" fmla="*/ 1225256 w 3535724"/>
                <a:gd name="connsiteY132" fmla="*/ 1052195 h 2576929"/>
                <a:gd name="connsiteX133" fmla="*/ 1225256 w 3535724"/>
                <a:gd name="connsiteY133" fmla="*/ 919309 h 2576929"/>
                <a:gd name="connsiteX134" fmla="*/ 1405256 w 3535724"/>
                <a:gd name="connsiteY134" fmla="*/ 919309 h 2576929"/>
                <a:gd name="connsiteX135" fmla="*/ 1405256 w 3535724"/>
                <a:gd name="connsiteY135" fmla="*/ 1052195 h 2576929"/>
                <a:gd name="connsiteX136" fmla="*/ 1526994 w 3535724"/>
                <a:gd name="connsiteY136" fmla="*/ 1052195 h 2576929"/>
                <a:gd name="connsiteX137" fmla="*/ 1526994 w 3535724"/>
                <a:gd name="connsiteY137" fmla="*/ 919309 h 2576929"/>
                <a:gd name="connsiteX138" fmla="*/ 1706994 w 3535724"/>
                <a:gd name="connsiteY138" fmla="*/ 919309 h 2576929"/>
                <a:gd name="connsiteX139" fmla="*/ 1706994 w 3535724"/>
                <a:gd name="connsiteY139" fmla="*/ 1052195 h 2576929"/>
                <a:gd name="connsiteX140" fmla="*/ 1828732 w 3535724"/>
                <a:gd name="connsiteY140" fmla="*/ 1052195 h 2576929"/>
                <a:gd name="connsiteX141" fmla="*/ 1828732 w 3535724"/>
                <a:gd name="connsiteY141" fmla="*/ 919309 h 2576929"/>
                <a:gd name="connsiteX142" fmla="*/ 2008732 w 3535724"/>
                <a:gd name="connsiteY142" fmla="*/ 919309 h 2576929"/>
                <a:gd name="connsiteX143" fmla="*/ 2008732 w 3535724"/>
                <a:gd name="connsiteY143" fmla="*/ 1052195 h 2576929"/>
                <a:gd name="connsiteX144" fmla="*/ 2130469 w 3535724"/>
                <a:gd name="connsiteY144" fmla="*/ 1052195 h 2576929"/>
                <a:gd name="connsiteX145" fmla="*/ 2130469 w 3535724"/>
                <a:gd name="connsiteY145" fmla="*/ 919309 h 2576929"/>
                <a:gd name="connsiteX146" fmla="*/ 2310469 w 3535724"/>
                <a:gd name="connsiteY146" fmla="*/ 919309 h 2576929"/>
                <a:gd name="connsiteX147" fmla="*/ 2310469 w 3535724"/>
                <a:gd name="connsiteY147" fmla="*/ 1052195 h 2576929"/>
                <a:gd name="connsiteX148" fmla="*/ 2430672 w 3535724"/>
                <a:gd name="connsiteY148" fmla="*/ 1052195 h 2576929"/>
                <a:gd name="connsiteX149" fmla="*/ 2430672 w 3535724"/>
                <a:gd name="connsiteY149" fmla="*/ 706182 h 2576929"/>
                <a:gd name="connsiteX150" fmla="*/ 2552333 w 3535724"/>
                <a:gd name="connsiteY150" fmla="*/ 706182 h 2576929"/>
                <a:gd name="connsiteX151" fmla="*/ 2417890 w 3535724"/>
                <a:gd name="connsiteY151" fmla="*/ 168412 h 2576929"/>
                <a:gd name="connsiteX152" fmla="*/ 2417373 w 3535724"/>
                <a:gd name="connsiteY152" fmla="*/ 168412 h 2576929"/>
                <a:gd name="connsiteX153" fmla="*/ 2417373 w 3535724"/>
                <a:gd name="connsiteY153" fmla="*/ 166345 h 2576929"/>
                <a:gd name="connsiteX154" fmla="*/ 2417373 w 3535724"/>
                <a:gd name="connsiteY154" fmla="*/ 0 h 2576929"/>
                <a:gd name="connsiteX155" fmla="*/ 2611584 w 3535724"/>
                <a:gd name="connsiteY155" fmla="*/ 0 h 2576929"/>
                <a:gd name="connsiteX156" fmla="*/ 2611584 w 3535724"/>
                <a:gd name="connsiteY156" fmla="*/ 166345 h 2576929"/>
                <a:gd name="connsiteX157" fmla="*/ 2723672 w 3535724"/>
                <a:gd name="connsiteY157" fmla="*/ 166345 h 2576929"/>
                <a:gd name="connsiteX158" fmla="*/ 2723672 w 3535724"/>
                <a:gd name="connsiteY158" fmla="*/ 0 h 2576929"/>
                <a:gd name="connsiteX159" fmla="*/ 2917883 w 3535724"/>
                <a:gd name="connsiteY159" fmla="*/ 0 h 2576929"/>
                <a:gd name="connsiteX160" fmla="*/ 2917883 w 3535724"/>
                <a:gd name="connsiteY160" fmla="*/ 166345 h 2576929"/>
                <a:gd name="connsiteX161" fmla="*/ 3029971 w 3535724"/>
                <a:gd name="connsiteY161" fmla="*/ 166345 h 2576929"/>
                <a:gd name="connsiteX162" fmla="*/ 3029971 w 3535724"/>
                <a:gd name="connsiteY162" fmla="*/ 0 h 2576929"/>
                <a:gd name="connsiteX163" fmla="*/ 3224182 w 3535724"/>
                <a:gd name="connsiteY163" fmla="*/ 0 h 2576929"/>
                <a:gd name="connsiteX164" fmla="*/ 3224182 w 3535724"/>
                <a:gd name="connsiteY164" fmla="*/ 166345 h 2576929"/>
                <a:gd name="connsiteX165" fmla="*/ 3336269 w 3535724"/>
                <a:gd name="connsiteY165" fmla="*/ 166345 h 2576929"/>
                <a:gd name="connsiteX166" fmla="*/ 3336269 w 3535724"/>
                <a:gd name="connsiteY166" fmla="*/ 0 h 2576929"/>
                <a:gd name="connsiteX167" fmla="*/ 3530480 w 3535724"/>
                <a:gd name="connsiteY167" fmla="*/ 0 h 2576929"/>
                <a:gd name="connsiteX168" fmla="*/ 3530480 w 3535724"/>
                <a:gd name="connsiteY168" fmla="*/ 166345 h 2576929"/>
                <a:gd name="connsiteX169" fmla="*/ 3530480 w 3535724"/>
                <a:gd name="connsiteY169" fmla="*/ 168412 h 2576929"/>
                <a:gd name="connsiteX170" fmla="*/ 3529963 w 3535724"/>
                <a:gd name="connsiteY170" fmla="*/ 168412 h 2576929"/>
                <a:gd name="connsiteX171" fmla="*/ 3395521 w 3535724"/>
                <a:gd name="connsiteY171" fmla="*/ 706182 h 2576929"/>
                <a:gd name="connsiteX172" fmla="*/ 3535724 w 3535724"/>
                <a:gd name="connsiteY172" fmla="*/ 706182 h 2576929"/>
                <a:gd name="connsiteX173" fmla="*/ 3535724 w 3535724"/>
                <a:gd name="connsiteY173" fmla="*/ 1052195 h 2576929"/>
                <a:gd name="connsiteX174" fmla="*/ 3535724 w 3535724"/>
                <a:gd name="connsiteY174" fmla="*/ 2230916 h 2576929"/>
                <a:gd name="connsiteX175" fmla="*/ 3535724 w 3535724"/>
                <a:gd name="connsiteY175" fmla="*/ 2576929 h 2576929"/>
                <a:gd name="connsiteX176" fmla="*/ 0 w 3535724"/>
                <a:gd name="connsiteY176" fmla="*/ 2576929 h 2576929"/>
                <a:gd name="connsiteX177" fmla="*/ 0 w 3535724"/>
                <a:gd name="connsiteY177" fmla="*/ 2230916 h 2576929"/>
                <a:gd name="connsiteX178" fmla="*/ 0 w 3535724"/>
                <a:gd name="connsiteY178" fmla="*/ 1052195 h 2576929"/>
                <a:gd name="connsiteX179" fmla="*/ 0 w 3535724"/>
                <a:gd name="connsiteY179" fmla="*/ 706182 h 2576929"/>
                <a:gd name="connsiteX180" fmla="*/ 134960 w 3535724"/>
                <a:gd name="connsiteY180" fmla="*/ 706182 h 2576929"/>
                <a:gd name="connsiteX181" fmla="*/ 517 w 3535724"/>
                <a:gd name="connsiteY181" fmla="*/ 168412 h 2576929"/>
                <a:gd name="connsiteX182" fmla="*/ 0 w 3535724"/>
                <a:gd name="connsiteY182" fmla="*/ 168412 h 2576929"/>
                <a:gd name="connsiteX183" fmla="*/ 0 w 3535724"/>
                <a:gd name="connsiteY183" fmla="*/ 166345 h 2576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3535724" h="2576929">
                  <a:moveTo>
                    <a:pt x="1767862" y="1995276"/>
                  </a:moveTo>
                  <a:cubicBezTo>
                    <a:pt x="1696315" y="1995276"/>
                    <a:pt x="1634927" y="2038778"/>
                    <a:pt x="1608704" y="2100773"/>
                  </a:cubicBezTo>
                  <a:lnTo>
                    <a:pt x="1595497" y="2166184"/>
                  </a:lnTo>
                  <a:lnTo>
                    <a:pt x="1595129" y="2166184"/>
                  </a:lnTo>
                  <a:lnTo>
                    <a:pt x="1595129" y="2168009"/>
                  </a:lnTo>
                  <a:lnTo>
                    <a:pt x="1595129" y="2238759"/>
                  </a:lnTo>
                  <a:lnTo>
                    <a:pt x="1595129" y="2533776"/>
                  </a:lnTo>
                  <a:lnTo>
                    <a:pt x="1940595" y="2533776"/>
                  </a:lnTo>
                  <a:lnTo>
                    <a:pt x="1940595" y="2238759"/>
                  </a:lnTo>
                  <a:lnTo>
                    <a:pt x="1940595" y="2168009"/>
                  </a:lnTo>
                  <a:lnTo>
                    <a:pt x="1940595" y="2166184"/>
                  </a:lnTo>
                  <a:lnTo>
                    <a:pt x="1940227" y="2166184"/>
                  </a:lnTo>
                  <a:lnTo>
                    <a:pt x="1927022" y="2100773"/>
                  </a:lnTo>
                  <a:cubicBezTo>
                    <a:pt x="1900799" y="2038778"/>
                    <a:pt x="1839411" y="1995276"/>
                    <a:pt x="1767862" y="1995276"/>
                  </a:cubicBezTo>
                  <a:close/>
                  <a:moveTo>
                    <a:pt x="2978690" y="1659989"/>
                  </a:moveTo>
                  <a:cubicBezTo>
                    <a:pt x="2940421" y="1659989"/>
                    <a:pt x="2907586" y="1683257"/>
                    <a:pt x="2893560" y="1716417"/>
                  </a:cubicBezTo>
                  <a:lnTo>
                    <a:pt x="2886496" y="1751404"/>
                  </a:lnTo>
                  <a:lnTo>
                    <a:pt x="2886299" y="1751404"/>
                  </a:lnTo>
                  <a:lnTo>
                    <a:pt x="2886299" y="1752380"/>
                  </a:lnTo>
                  <a:lnTo>
                    <a:pt x="2886299" y="1790223"/>
                  </a:lnTo>
                  <a:lnTo>
                    <a:pt x="2886299" y="1948021"/>
                  </a:lnTo>
                  <a:lnTo>
                    <a:pt x="3071081" y="1948021"/>
                  </a:lnTo>
                  <a:lnTo>
                    <a:pt x="3071081" y="1790223"/>
                  </a:lnTo>
                  <a:lnTo>
                    <a:pt x="3071081" y="1752380"/>
                  </a:lnTo>
                  <a:lnTo>
                    <a:pt x="3071081" y="1751404"/>
                  </a:lnTo>
                  <a:lnTo>
                    <a:pt x="3070884" y="1751404"/>
                  </a:lnTo>
                  <a:lnTo>
                    <a:pt x="3063821" y="1716417"/>
                  </a:lnTo>
                  <a:cubicBezTo>
                    <a:pt x="3049795" y="1683257"/>
                    <a:pt x="3016960" y="1659989"/>
                    <a:pt x="2978690" y="1659989"/>
                  </a:cubicBezTo>
                  <a:close/>
                  <a:moveTo>
                    <a:pt x="552990" y="1659989"/>
                  </a:moveTo>
                  <a:cubicBezTo>
                    <a:pt x="514721" y="1659989"/>
                    <a:pt x="481886" y="1683257"/>
                    <a:pt x="467860" y="1716417"/>
                  </a:cubicBezTo>
                  <a:lnTo>
                    <a:pt x="460796" y="1751404"/>
                  </a:lnTo>
                  <a:lnTo>
                    <a:pt x="460599" y="1751404"/>
                  </a:lnTo>
                  <a:lnTo>
                    <a:pt x="460599" y="1752380"/>
                  </a:lnTo>
                  <a:lnTo>
                    <a:pt x="460599" y="1790223"/>
                  </a:lnTo>
                  <a:lnTo>
                    <a:pt x="460599" y="1948021"/>
                  </a:lnTo>
                  <a:lnTo>
                    <a:pt x="645381" y="1948021"/>
                  </a:lnTo>
                  <a:lnTo>
                    <a:pt x="645381" y="1790223"/>
                  </a:lnTo>
                  <a:lnTo>
                    <a:pt x="645381" y="1752380"/>
                  </a:lnTo>
                  <a:lnTo>
                    <a:pt x="645381" y="1751404"/>
                  </a:lnTo>
                  <a:lnTo>
                    <a:pt x="645184" y="1751404"/>
                  </a:lnTo>
                  <a:lnTo>
                    <a:pt x="638121" y="1716417"/>
                  </a:lnTo>
                  <a:cubicBezTo>
                    <a:pt x="624095" y="1683257"/>
                    <a:pt x="591260" y="1659989"/>
                    <a:pt x="552990" y="1659989"/>
                  </a:cubicBezTo>
                  <a:close/>
                  <a:moveTo>
                    <a:pt x="2978690" y="1197786"/>
                  </a:moveTo>
                  <a:cubicBezTo>
                    <a:pt x="2940421" y="1197786"/>
                    <a:pt x="2907586" y="1221054"/>
                    <a:pt x="2893560" y="1254214"/>
                  </a:cubicBezTo>
                  <a:lnTo>
                    <a:pt x="2886496" y="1289201"/>
                  </a:lnTo>
                  <a:lnTo>
                    <a:pt x="2886299" y="1289201"/>
                  </a:lnTo>
                  <a:lnTo>
                    <a:pt x="2886299" y="1290177"/>
                  </a:lnTo>
                  <a:lnTo>
                    <a:pt x="2886299" y="1328020"/>
                  </a:lnTo>
                  <a:lnTo>
                    <a:pt x="2886299" y="1485818"/>
                  </a:lnTo>
                  <a:lnTo>
                    <a:pt x="3071081" y="1485818"/>
                  </a:lnTo>
                  <a:lnTo>
                    <a:pt x="3071081" y="1328020"/>
                  </a:lnTo>
                  <a:lnTo>
                    <a:pt x="3071081" y="1290177"/>
                  </a:lnTo>
                  <a:lnTo>
                    <a:pt x="3071081" y="1289201"/>
                  </a:lnTo>
                  <a:lnTo>
                    <a:pt x="3070884" y="1289201"/>
                  </a:lnTo>
                  <a:lnTo>
                    <a:pt x="3063821" y="1254214"/>
                  </a:lnTo>
                  <a:cubicBezTo>
                    <a:pt x="3049795" y="1221054"/>
                    <a:pt x="3016960" y="1197786"/>
                    <a:pt x="2978690" y="1197786"/>
                  </a:cubicBezTo>
                  <a:close/>
                  <a:moveTo>
                    <a:pt x="552990" y="1197786"/>
                  </a:moveTo>
                  <a:cubicBezTo>
                    <a:pt x="514721" y="1197786"/>
                    <a:pt x="481886" y="1221054"/>
                    <a:pt x="467860" y="1254214"/>
                  </a:cubicBezTo>
                  <a:lnTo>
                    <a:pt x="460796" y="1289201"/>
                  </a:lnTo>
                  <a:lnTo>
                    <a:pt x="460599" y="1289201"/>
                  </a:lnTo>
                  <a:lnTo>
                    <a:pt x="460599" y="1290177"/>
                  </a:lnTo>
                  <a:lnTo>
                    <a:pt x="460599" y="1328020"/>
                  </a:lnTo>
                  <a:lnTo>
                    <a:pt x="460599" y="1485818"/>
                  </a:lnTo>
                  <a:lnTo>
                    <a:pt x="645381" y="1485818"/>
                  </a:lnTo>
                  <a:lnTo>
                    <a:pt x="645381" y="1328020"/>
                  </a:lnTo>
                  <a:lnTo>
                    <a:pt x="645381" y="1290177"/>
                  </a:lnTo>
                  <a:lnTo>
                    <a:pt x="645381" y="1289201"/>
                  </a:lnTo>
                  <a:lnTo>
                    <a:pt x="645184" y="1289201"/>
                  </a:lnTo>
                  <a:lnTo>
                    <a:pt x="638121" y="1254214"/>
                  </a:lnTo>
                  <a:cubicBezTo>
                    <a:pt x="624095" y="1221054"/>
                    <a:pt x="591260" y="1197786"/>
                    <a:pt x="552990" y="1197786"/>
                  </a:cubicBezTo>
                  <a:close/>
                  <a:moveTo>
                    <a:pt x="1767862" y="1197786"/>
                  </a:moveTo>
                  <a:cubicBezTo>
                    <a:pt x="1696315" y="1197786"/>
                    <a:pt x="1634927" y="1241288"/>
                    <a:pt x="1608704" y="1303283"/>
                  </a:cubicBezTo>
                  <a:lnTo>
                    <a:pt x="1595497" y="1368694"/>
                  </a:lnTo>
                  <a:lnTo>
                    <a:pt x="1595129" y="1368694"/>
                  </a:lnTo>
                  <a:lnTo>
                    <a:pt x="1595129" y="1370519"/>
                  </a:lnTo>
                  <a:lnTo>
                    <a:pt x="1595129" y="1441270"/>
                  </a:lnTo>
                  <a:lnTo>
                    <a:pt x="1595129" y="1485818"/>
                  </a:lnTo>
                  <a:lnTo>
                    <a:pt x="1940595" y="1485818"/>
                  </a:lnTo>
                  <a:lnTo>
                    <a:pt x="1940595" y="1441270"/>
                  </a:lnTo>
                  <a:lnTo>
                    <a:pt x="1940595" y="1370519"/>
                  </a:lnTo>
                  <a:lnTo>
                    <a:pt x="1940595" y="1368694"/>
                  </a:lnTo>
                  <a:lnTo>
                    <a:pt x="1940227" y="1368694"/>
                  </a:lnTo>
                  <a:lnTo>
                    <a:pt x="1927022" y="1303283"/>
                  </a:lnTo>
                  <a:cubicBezTo>
                    <a:pt x="1900799" y="1241288"/>
                    <a:pt x="1839411" y="1197786"/>
                    <a:pt x="1767862" y="1197786"/>
                  </a:cubicBezTo>
                  <a:close/>
                  <a:moveTo>
                    <a:pt x="552990" y="735584"/>
                  </a:moveTo>
                  <a:cubicBezTo>
                    <a:pt x="514721" y="735584"/>
                    <a:pt x="481886" y="758852"/>
                    <a:pt x="467860" y="792012"/>
                  </a:cubicBezTo>
                  <a:lnTo>
                    <a:pt x="460796" y="826999"/>
                  </a:lnTo>
                  <a:lnTo>
                    <a:pt x="460599" y="826999"/>
                  </a:lnTo>
                  <a:lnTo>
                    <a:pt x="460599" y="827975"/>
                  </a:lnTo>
                  <a:lnTo>
                    <a:pt x="460599" y="865818"/>
                  </a:lnTo>
                  <a:lnTo>
                    <a:pt x="460599" y="1023616"/>
                  </a:lnTo>
                  <a:lnTo>
                    <a:pt x="645381" y="1023616"/>
                  </a:lnTo>
                  <a:lnTo>
                    <a:pt x="645381" y="865818"/>
                  </a:lnTo>
                  <a:lnTo>
                    <a:pt x="645381" y="827975"/>
                  </a:lnTo>
                  <a:lnTo>
                    <a:pt x="645381" y="826999"/>
                  </a:lnTo>
                  <a:lnTo>
                    <a:pt x="645184" y="826999"/>
                  </a:lnTo>
                  <a:lnTo>
                    <a:pt x="638121" y="792012"/>
                  </a:lnTo>
                  <a:cubicBezTo>
                    <a:pt x="624095" y="758852"/>
                    <a:pt x="591260" y="735584"/>
                    <a:pt x="552990" y="735584"/>
                  </a:cubicBezTo>
                  <a:close/>
                  <a:moveTo>
                    <a:pt x="2978690" y="735584"/>
                  </a:moveTo>
                  <a:cubicBezTo>
                    <a:pt x="2940421" y="735584"/>
                    <a:pt x="2907586" y="758852"/>
                    <a:pt x="2893560" y="792012"/>
                  </a:cubicBezTo>
                  <a:lnTo>
                    <a:pt x="2886496" y="826999"/>
                  </a:lnTo>
                  <a:lnTo>
                    <a:pt x="2886299" y="826999"/>
                  </a:lnTo>
                  <a:lnTo>
                    <a:pt x="2886299" y="827975"/>
                  </a:lnTo>
                  <a:lnTo>
                    <a:pt x="2886299" y="865818"/>
                  </a:lnTo>
                  <a:lnTo>
                    <a:pt x="2886299" y="1023616"/>
                  </a:lnTo>
                  <a:lnTo>
                    <a:pt x="3071081" y="1023616"/>
                  </a:lnTo>
                  <a:lnTo>
                    <a:pt x="3071081" y="865818"/>
                  </a:lnTo>
                  <a:lnTo>
                    <a:pt x="3071081" y="827975"/>
                  </a:lnTo>
                  <a:lnTo>
                    <a:pt x="3071081" y="826999"/>
                  </a:lnTo>
                  <a:lnTo>
                    <a:pt x="3070884" y="826999"/>
                  </a:lnTo>
                  <a:lnTo>
                    <a:pt x="3063821" y="792012"/>
                  </a:lnTo>
                  <a:cubicBezTo>
                    <a:pt x="3049795" y="758852"/>
                    <a:pt x="3016960" y="735584"/>
                    <a:pt x="2978690" y="735584"/>
                  </a:cubicBezTo>
                  <a:close/>
                  <a:moveTo>
                    <a:pt x="0" y="0"/>
                  </a:moveTo>
                  <a:lnTo>
                    <a:pt x="194211" y="0"/>
                  </a:lnTo>
                  <a:lnTo>
                    <a:pt x="194211" y="166345"/>
                  </a:lnTo>
                  <a:lnTo>
                    <a:pt x="306299" y="166345"/>
                  </a:lnTo>
                  <a:lnTo>
                    <a:pt x="306299" y="0"/>
                  </a:lnTo>
                  <a:lnTo>
                    <a:pt x="500510" y="0"/>
                  </a:lnTo>
                  <a:lnTo>
                    <a:pt x="500510" y="166345"/>
                  </a:lnTo>
                  <a:lnTo>
                    <a:pt x="612598" y="166345"/>
                  </a:lnTo>
                  <a:lnTo>
                    <a:pt x="612598" y="0"/>
                  </a:lnTo>
                  <a:lnTo>
                    <a:pt x="806809" y="0"/>
                  </a:lnTo>
                  <a:lnTo>
                    <a:pt x="806809" y="166345"/>
                  </a:lnTo>
                  <a:lnTo>
                    <a:pt x="918896" y="166345"/>
                  </a:lnTo>
                  <a:lnTo>
                    <a:pt x="918896" y="0"/>
                  </a:lnTo>
                  <a:lnTo>
                    <a:pt x="1113107" y="0"/>
                  </a:lnTo>
                  <a:lnTo>
                    <a:pt x="1113107" y="166345"/>
                  </a:lnTo>
                  <a:lnTo>
                    <a:pt x="1113107" y="168412"/>
                  </a:lnTo>
                  <a:lnTo>
                    <a:pt x="1112591" y="168412"/>
                  </a:lnTo>
                  <a:lnTo>
                    <a:pt x="978149" y="706182"/>
                  </a:lnTo>
                  <a:lnTo>
                    <a:pt x="1105052" y="706182"/>
                  </a:lnTo>
                  <a:lnTo>
                    <a:pt x="1105052" y="1052195"/>
                  </a:lnTo>
                  <a:lnTo>
                    <a:pt x="1225256" y="1052195"/>
                  </a:lnTo>
                  <a:lnTo>
                    <a:pt x="1225256" y="919309"/>
                  </a:lnTo>
                  <a:lnTo>
                    <a:pt x="1405256" y="919309"/>
                  </a:lnTo>
                  <a:lnTo>
                    <a:pt x="1405256" y="1052195"/>
                  </a:lnTo>
                  <a:lnTo>
                    <a:pt x="1526994" y="1052195"/>
                  </a:lnTo>
                  <a:lnTo>
                    <a:pt x="1526994" y="919309"/>
                  </a:lnTo>
                  <a:lnTo>
                    <a:pt x="1706994" y="919309"/>
                  </a:lnTo>
                  <a:lnTo>
                    <a:pt x="1706994" y="1052195"/>
                  </a:lnTo>
                  <a:lnTo>
                    <a:pt x="1828732" y="1052195"/>
                  </a:lnTo>
                  <a:lnTo>
                    <a:pt x="1828732" y="919309"/>
                  </a:lnTo>
                  <a:lnTo>
                    <a:pt x="2008732" y="919309"/>
                  </a:lnTo>
                  <a:lnTo>
                    <a:pt x="2008732" y="1052195"/>
                  </a:lnTo>
                  <a:lnTo>
                    <a:pt x="2130469" y="1052195"/>
                  </a:lnTo>
                  <a:lnTo>
                    <a:pt x="2130469" y="919309"/>
                  </a:lnTo>
                  <a:lnTo>
                    <a:pt x="2310469" y="919309"/>
                  </a:lnTo>
                  <a:lnTo>
                    <a:pt x="2310469" y="1052195"/>
                  </a:lnTo>
                  <a:lnTo>
                    <a:pt x="2430672" y="1052195"/>
                  </a:lnTo>
                  <a:lnTo>
                    <a:pt x="2430672" y="706182"/>
                  </a:lnTo>
                  <a:lnTo>
                    <a:pt x="2552333" y="706182"/>
                  </a:lnTo>
                  <a:lnTo>
                    <a:pt x="2417890" y="168412"/>
                  </a:lnTo>
                  <a:lnTo>
                    <a:pt x="2417373" y="168412"/>
                  </a:lnTo>
                  <a:lnTo>
                    <a:pt x="2417373" y="166345"/>
                  </a:lnTo>
                  <a:lnTo>
                    <a:pt x="2417373" y="0"/>
                  </a:lnTo>
                  <a:lnTo>
                    <a:pt x="2611584" y="0"/>
                  </a:lnTo>
                  <a:lnTo>
                    <a:pt x="2611584" y="166345"/>
                  </a:lnTo>
                  <a:lnTo>
                    <a:pt x="2723672" y="166345"/>
                  </a:lnTo>
                  <a:lnTo>
                    <a:pt x="2723672" y="0"/>
                  </a:lnTo>
                  <a:lnTo>
                    <a:pt x="2917883" y="0"/>
                  </a:lnTo>
                  <a:lnTo>
                    <a:pt x="2917883" y="166345"/>
                  </a:lnTo>
                  <a:lnTo>
                    <a:pt x="3029971" y="166345"/>
                  </a:lnTo>
                  <a:lnTo>
                    <a:pt x="3029971" y="0"/>
                  </a:lnTo>
                  <a:lnTo>
                    <a:pt x="3224182" y="0"/>
                  </a:lnTo>
                  <a:lnTo>
                    <a:pt x="3224182" y="166345"/>
                  </a:lnTo>
                  <a:lnTo>
                    <a:pt x="3336269" y="166345"/>
                  </a:lnTo>
                  <a:lnTo>
                    <a:pt x="3336269" y="0"/>
                  </a:lnTo>
                  <a:lnTo>
                    <a:pt x="3530480" y="0"/>
                  </a:lnTo>
                  <a:lnTo>
                    <a:pt x="3530480" y="166345"/>
                  </a:lnTo>
                  <a:lnTo>
                    <a:pt x="3530480" y="168412"/>
                  </a:lnTo>
                  <a:lnTo>
                    <a:pt x="3529963" y="168412"/>
                  </a:lnTo>
                  <a:lnTo>
                    <a:pt x="3395521" y="706182"/>
                  </a:lnTo>
                  <a:lnTo>
                    <a:pt x="3535724" y="706182"/>
                  </a:lnTo>
                  <a:lnTo>
                    <a:pt x="3535724" y="1052195"/>
                  </a:lnTo>
                  <a:lnTo>
                    <a:pt x="3535724" y="2230916"/>
                  </a:lnTo>
                  <a:lnTo>
                    <a:pt x="3535724" y="2576929"/>
                  </a:lnTo>
                  <a:lnTo>
                    <a:pt x="0" y="2576929"/>
                  </a:lnTo>
                  <a:lnTo>
                    <a:pt x="0" y="2230916"/>
                  </a:lnTo>
                  <a:lnTo>
                    <a:pt x="0" y="1052195"/>
                  </a:lnTo>
                  <a:lnTo>
                    <a:pt x="0" y="706182"/>
                  </a:lnTo>
                  <a:lnTo>
                    <a:pt x="134960" y="706182"/>
                  </a:lnTo>
                  <a:lnTo>
                    <a:pt x="517" y="168412"/>
                  </a:lnTo>
                  <a:lnTo>
                    <a:pt x="0" y="168412"/>
                  </a:lnTo>
                  <a:lnTo>
                    <a:pt x="0" y="166345"/>
                  </a:lnTo>
                  <a:close/>
                </a:path>
              </a:pathLst>
            </a:custGeom>
            <a:solidFill>
              <a:srgbClr val="98A2AE">
                <a:lumMod val="75000"/>
                <a:alpha val="25000"/>
              </a:srgb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none" tIns="672000" rtlCol="0" anchor="t">
              <a:noAutofit/>
            </a:bodyPr>
            <a:lstStyle/>
            <a:p>
              <a:pPr marL="0" marR="0" lvl="0" indent="0" algn="ctr" defTabSz="6133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bg-BG" sz="1200" kern="0" dirty="0" smtClean="0">
                  <a:solidFill>
                    <a:schemeClr val="bg1">
                      <a:lumMod val="75000"/>
                    </a:schemeClr>
                  </a:solidFill>
                  <a:ea typeface="Nokia Pure Text Light" panose="020B0403020202020204" pitchFamily="34" charset="0"/>
                </a:rPr>
                <a:t>Радио</a:t>
              </a:r>
              <a:endPara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ea typeface="Nokia Pure Text Light" panose="020B0403020202020204" pitchFamily="34" charset="0"/>
              </a:endParaRPr>
            </a:p>
          </p:txBody>
        </p:sp>
        <p:sp>
          <p:nvSpPr>
            <p:cNvPr id="53" name="Freihandform: Form 70">
              <a:extLst>
                <a:ext uri="{FF2B5EF4-FFF2-40B4-BE49-F238E27FC236}">
                  <a16:creationId xmlns:a16="http://schemas.microsoft.com/office/drawing/2014/main" xmlns="" id="{5BEAC50E-FBF3-43B9-AA3B-5E06FCC85613}"/>
                </a:ext>
              </a:extLst>
            </p:cNvPr>
            <p:cNvSpPr/>
            <p:nvPr/>
          </p:nvSpPr>
          <p:spPr>
            <a:xfrm>
              <a:off x="2277182" y="1495393"/>
              <a:ext cx="684000" cy="3029601"/>
            </a:xfrm>
            <a:custGeom>
              <a:avLst/>
              <a:gdLst>
                <a:gd name="connsiteX0" fmla="*/ 0 w 576000"/>
                <a:gd name="connsiteY0" fmla="*/ 0 h 2246376"/>
                <a:gd name="connsiteX1" fmla="*/ 576000 w 576000"/>
                <a:gd name="connsiteY1" fmla="*/ 0 h 2246376"/>
                <a:gd name="connsiteX2" fmla="*/ 576000 w 576000"/>
                <a:gd name="connsiteY2" fmla="*/ 1920714 h 2246376"/>
                <a:gd name="connsiteX3" fmla="*/ 576000 w 576000"/>
                <a:gd name="connsiteY3" fmla="*/ 2067223 h 2246376"/>
                <a:gd name="connsiteX4" fmla="*/ 576000 w 576000"/>
                <a:gd name="connsiteY4" fmla="*/ 2083545 h 2246376"/>
                <a:gd name="connsiteX5" fmla="*/ 288000 w 576000"/>
                <a:gd name="connsiteY5" fmla="*/ 2246376 h 2246376"/>
                <a:gd name="connsiteX6" fmla="*/ 0 w 576000"/>
                <a:gd name="connsiteY6" fmla="*/ 2083545 h 2246376"/>
                <a:gd name="connsiteX7" fmla="*/ 0 w 576000"/>
                <a:gd name="connsiteY7" fmla="*/ 2067223 h 2246376"/>
                <a:gd name="connsiteX8" fmla="*/ 0 w 576000"/>
                <a:gd name="connsiteY8" fmla="*/ 1920714 h 2246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6000" h="2246376">
                  <a:moveTo>
                    <a:pt x="0" y="0"/>
                  </a:moveTo>
                  <a:lnTo>
                    <a:pt x="576000" y="0"/>
                  </a:lnTo>
                  <a:lnTo>
                    <a:pt x="576000" y="1920714"/>
                  </a:lnTo>
                  <a:lnTo>
                    <a:pt x="576000" y="2067223"/>
                  </a:lnTo>
                  <a:lnTo>
                    <a:pt x="576000" y="2083545"/>
                  </a:lnTo>
                  <a:lnTo>
                    <a:pt x="288000" y="2246376"/>
                  </a:lnTo>
                  <a:lnTo>
                    <a:pt x="0" y="2083545"/>
                  </a:lnTo>
                  <a:lnTo>
                    <a:pt x="0" y="2067223"/>
                  </a:lnTo>
                  <a:lnTo>
                    <a:pt x="0" y="1920714"/>
                  </a:lnTo>
                  <a:close/>
                </a:path>
              </a:pathLst>
            </a:cu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rot="0" spcFirstLastPara="0" vertOverflow="overflow" horzOverflow="overflow" vert="horz" wrap="none" lIns="96000" tIns="48000" rIns="96000" bIns="9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133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7" b="0" i="0" u="none" strike="noStrike" kern="0" cap="none" spc="0" normalizeH="0" baseline="0" noProof="0" dirty="0" smtClean="0">
                <a:ln>
                  <a:noFill/>
                </a:ln>
                <a:solidFill>
                  <a:srgbClr val="4D5766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</p:grpSp>
      <p:grpSp>
        <p:nvGrpSpPr>
          <p:cNvPr id="55" name="Gruppieren 72">
            <a:extLst>
              <a:ext uri="{FF2B5EF4-FFF2-40B4-BE49-F238E27FC236}">
                <a16:creationId xmlns:a16="http://schemas.microsoft.com/office/drawing/2014/main" xmlns="" id="{9058265B-9F6B-48A0-86E2-39665EC12234}"/>
              </a:ext>
            </a:extLst>
          </p:cNvPr>
          <p:cNvGrpSpPr/>
          <p:nvPr/>
        </p:nvGrpSpPr>
        <p:grpSpPr>
          <a:xfrm flipV="1">
            <a:off x="3167405" y="1302523"/>
            <a:ext cx="912000" cy="3683043"/>
            <a:chOff x="3152973" y="1495394"/>
            <a:chExt cx="684000" cy="3029600"/>
          </a:xfrm>
        </p:grpSpPr>
        <p:sp>
          <p:nvSpPr>
            <p:cNvPr id="56" name="Freihandform: Form 73">
              <a:extLst>
                <a:ext uri="{FF2B5EF4-FFF2-40B4-BE49-F238E27FC236}">
                  <a16:creationId xmlns:a16="http://schemas.microsoft.com/office/drawing/2014/main" xmlns="" id="{299AA3A6-9095-468C-941D-CA1C9114E679}"/>
                </a:ext>
              </a:extLst>
            </p:cNvPr>
            <p:cNvSpPr/>
            <p:nvPr/>
          </p:nvSpPr>
          <p:spPr>
            <a:xfrm>
              <a:off x="3152973" y="1495394"/>
              <a:ext cx="684000" cy="3029600"/>
            </a:xfrm>
            <a:custGeom>
              <a:avLst/>
              <a:gdLst>
                <a:gd name="connsiteX0" fmla="*/ 0 w 576000"/>
                <a:gd name="connsiteY0" fmla="*/ 0 h 2246377"/>
                <a:gd name="connsiteX1" fmla="*/ 576000 w 576000"/>
                <a:gd name="connsiteY1" fmla="*/ 0 h 2246377"/>
                <a:gd name="connsiteX2" fmla="*/ 576000 w 576000"/>
                <a:gd name="connsiteY2" fmla="*/ 1920715 h 2246377"/>
                <a:gd name="connsiteX3" fmla="*/ 576000 w 576000"/>
                <a:gd name="connsiteY3" fmla="*/ 2067223 h 2246377"/>
                <a:gd name="connsiteX4" fmla="*/ 576000 w 576000"/>
                <a:gd name="connsiteY4" fmla="*/ 2083546 h 2246377"/>
                <a:gd name="connsiteX5" fmla="*/ 288000 w 576000"/>
                <a:gd name="connsiteY5" fmla="*/ 2246377 h 2246377"/>
                <a:gd name="connsiteX6" fmla="*/ 0 w 576000"/>
                <a:gd name="connsiteY6" fmla="*/ 2083546 h 2246377"/>
                <a:gd name="connsiteX7" fmla="*/ 0 w 576000"/>
                <a:gd name="connsiteY7" fmla="*/ 2067223 h 2246377"/>
                <a:gd name="connsiteX8" fmla="*/ 0 w 576000"/>
                <a:gd name="connsiteY8" fmla="*/ 1920715 h 2246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6000" h="2246377">
                  <a:moveTo>
                    <a:pt x="0" y="0"/>
                  </a:moveTo>
                  <a:lnTo>
                    <a:pt x="576000" y="0"/>
                  </a:lnTo>
                  <a:lnTo>
                    <a:pt x="576000" y="1920715"/>
                  </a:lnTo>
                  <a:lnTo>
                    <a:pt x="576000" y="2067223"/>
                  </a:lnTo>
                  <a:lnTo>
                    <a:pt x="576000" y="2083546"/>
                  </a:lnTo>
                  <a:lnTo>
                    <a:pt x="288000" y="2246377"/>
                  </a:lnTo>
                  <a:lnTo>
                    <a:pt x="0" y="2083546"/>
                  </a:lnTo>
                  <a:lnTo>
                    <a:pt x="0" y="2067223"/>
                  </a:lnTo>
                  <a:lnTo>
                    <a:pt x="0" y="1920715"/>
                  </a:lnTo>
                  <a:close/>
                </a:path>
              </a:pathLst>
            </a:cu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rot="0" spcFirstLastPara="0" vertOverflow="overflow" horzOverflow="overflow" vert="horz" wrap="none" lIns="96000" tIns="48000" rIns="96000" bIns="9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133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7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  <p:sp>
          <p:nvSpPr>
            <p:cNvPr id="57" name="Freihandform: Form 74">
              <a:extLst>
                <a:ext uri="{FF2B5EF4-FFF2-40B4-BE49-F238E27FC236}">
                  <a16:creationId xmlns:a16="http://schemas.microsoft.com/office/drawing/2014/main" xmlns="" id="{C0803884-9825-48CA-A636-F99265170BAF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3223304" y="1772364"/>
              <a:ext cx="543338" cy="396000"/>
            </a:xfrm>
            <a:custGeom>
              <a:avLst/>
              <a:gdLst>
                <a:gd name="connsiteX0" fmla="*/ 1767862 w 3535724"/>
                <a:gd name="connsiteY0" fmla="*/ 1995276 h 2576929"/>
                <a:gd name="connsiteX1" fmla="*/ 1608704 w 3535724"/>
                <a:gd name="connsiteY1" fmla="*/ 2100773 h 2576929"/>
                <a:gd name="connsiteX2" fmla="*/ 1595497 w 3535724"/>
                <a:gd name="connsiteY2" fmla="*/ 2166184 h 2576929"/>
                <a:gd name="connsiteX3" fmla="*/ 1595129 w 3535724"/>
                <a:gd name="connsiteY3" fmla="*/ 2166184 h 2576929"/>
                <a:gd name="connsiteX4" fmla="*/ 1595129 w 3535724"/>
                <a:gd name="connsiteY4" fmla="*/ 2168009 h 2576929"/>
                <a:gd name="connsiteX5" fmla="*/ 1595129 w 3535724"/>
                <a:gd name="connsiteY5" fmla="*/ 2238759 h 2576929"/>
                <a:gd name="connsiteX6" fmla="*/ 1595129 w 3535724"/>
                <a:gd name="connsiteY6" fmla="*/ 2533776 h 2576929"/>
                <a:gd name="connsiteX7" fmla="*/ 1940595 w 3535724"/>
                <a:gd name="connsiteY7" fmla="*/ 2533776 h 2576929"/>
                <a:gd name="connsiteX8" fmla="*/ 1940595 w 3535724"/>
                <a:gd name="connsiteY8" fmla="*/ 2238759 h 2576929"/>
                <a:gd name="connsiteX9" fmla="*/ 1940595 w 3535724"/>
                <a:gd name="connsiteY9" fmla="*/ 2168009 h 2576929"/>
                <a:gd name="connsiteX10" fmla="*/ 1940595 w 3535724"/>
                <a:gd name="connsiteY10" fmla="*/ 2166184 h 2576929"/>
                <a:gd name="connsiteX11" fmla="*/ 1940227 w 3535724"/>
                <a:gd name="connsiteY11" fmla="*/ 2166184 h 2576929"/>
                <a:gd name="connsiteX12" fmla="*/ 1927022 w 3535724"/>
                <a:gd name="connsiteY12" fmla="*/ 2100773 h 2576929"/>
                <a:gd name="connsiteX13" fmla="*/ 1767862 w 3535724"/>
                <a:gd name="connsiteY13" fmla="*/ 1995276 h 2576929"/>
                <a:gd name="connsiteX14" fmla="*/ 2978690 w 3535724"/>
                <a:gd name="connsiteY14" fmla="*/ 1659989 h 2576929"/>
                <a:gd name="connsiteX15" fmla="*/ 2893560 w 3535724"/>
                <a:gd name="connsiteY15" fmla="*/ 1716417 h 2576929"/>
                <a:gd name="connsiteX16" fmla="*/ 2886496 w 3535724"/>
                <a:gd name="connsiteY16" fmla="*/ 1751404 h 2576929"/>
                <a:gd name="connsiteX17" fmla="*/ 2886299 w 3535724"/>
                <a:gd name="connsiteY17" fmla="*/ 1751404 h 2576929"/>
                <a:gd name="connsiteX18" fmla="*/ 2886299 w 3535724"/>
                <a:gd name="connsiteY18" fmla="*/ 1752380 h 2576929"/>
                <a:gd name="connsiteX19" fmla="*/ 2886299 w 3535724"/>
                <a:gd name="connsiteY19" fmla="*/ 1790223 h 2576929"/>
                <a:gd name="connsiteX20" fmla="*/ 2886299 w 3535724"/>
                <a:gd name="connsiteY20" fmla="*/ 1948021 h 2576929"/>
                <a:gd name="connsiteX21" fmla="*/ 3071081 w 3535724"/>
                <a:gd name="connsiteY21" fmla="*/ 1948021 h 2576929"/>
                <a:gd name="connsiteX22" fmla="*/ 3071081 w 3535724"/>
                <a:gd name="connsiteY22" fmla="*/ 1790223 h 2576929"/>
                <a:gd name="connsiteX23" fmla="*/ 3071081 w 3535724"/>
                <a:gd name="connsiteY23" fmla="*/ 1752380 h 2576929"/>
                <a:gd name="connsiteX24" fmla="*/ 3071081 w 3535724"/>
                <a:gd name="connsiteY24" fmla="*/ 1751404 h 2576929"/>
                <a:gd name="connsiteX25" fmla="*/ 3070884 w 3535724"/>
                <a:gd name="connsiteY25" fmla="*/ 1751404 h 2576929"/>
                <a:gd name="connsiteX26" fmla="*/ 3063821 w 3535724"/>
                <a:gd name="connsiteY26" fmla="*/ 1716417 h 2576929"/>
                <a:gd name="connsiteX27" fmla="*/ 2978690 w 3535724"/>
                <a:gd name="connsiteY27" fmla="*/ 1659989 h 2576929"/>
                <a:gd name="connsiteX28" fmla="*/ 552990 w 3535724"/>
                <a:gd name="connsiteY28" fmla="*/ 1659989 h 2576929"/>
                <a:gd name="connsiteX29" fmla="*/ 467860 w 3535724"/>
                <a:gd name="connsiteY29" fmla="*/ 1716417 h 2576929"/>
                <a:gd name="connsiteX30" fmla="*/ 460796 w 3535724"/>
                <a:gd name="connsiteY30" fmla="*/ 1751404 h 2576929"/>
                <a:gd name="connsiteX31" fmla="*/ 460599 w 3535724"/>
                <a:gd name="connsiteY31" fmla="*/ 1751404 h 2576929"/>
                <a:gd name="connsiteX32" fmla="*/ 460599 w 3535724"/>
                <a:gd name="connsiteY32" fmla="*/ 1752380 h 2576929"/>
                <a:gd name="connsiteX33" fmla="*/ 460599 w 3535724"/>
                <a:gd name="connsiteY33" fmla="*/ 1790223 h 2576929"/>
                <a:gd name="connsiteX34" fmla="*/ 460599 w 3535724"/>
                <a:gd name="connsiteY34" fmla="*/ 1948021 h 2576929"/>
                <a:gd name="connsiteX35" fmla="*/ 645381 w 3535724"/>
                <a:gd name="connsiteY35" fmla="*/ 1948021 h 2576929"/>
                <a:gd name="connsiteX36" fmla="*/ 645381 w 3535724"/>
                <a:gd name="connsiteY36" fmla="*/ 1790223 h 2576929"/>
                <a:gd name="connsiteX37" fmla="*/ 645381 w 3535724"/>
                <a:gd name="connsiteY37" fmla="*/ 1752380 h 2576929"/>
                <a:gd name="connsiteX38" fmla="*/ 645381 w 3535724"/>
                <a:gd name="connsiteY38" fmla="*/ 1751404 h 2576929"/>
                <a:gd name="connsiteX39" fmla="*/ 645184 w 3535724"/>
                <a:gd name="connsiteY39" fmla="*/ 1751404 h 2576929"/>
                <a:gd name="connsiteX40" fmla="*/ 638121 w 3535724"/>
                <a:gd name="connsiteY40" fmla="*/ 1716417 h 2576929"/>
                <a:gd name="connsiteX41" fmla="*/ 552990 w 3535724"/>
                <a:gd name="connsiteY41" fmla="*/ 1659989 h 2576929"/>
                <a:gd name="connsiteX42" fmla="*/ 2978690 w 3535724"/>
                <a:gd name="connsiteY42" fmla="*/ 1197786 h 2576929"/>
                <a:gd name="connsiteX43" fmla="*/ 2893560 w 3535724"/>
                <a:gd name="connsiteY43" fmla="*/ 1254214 h 2576929"/>
                <a:gd name="connsiteX44" fmla="*/ 2886496 w 3535724"/>
                <a:gd name="connsiteY44" fmla="*/ 1289201 h 2576929"/>
                <a:gd name="connsiteX45" fmla="*/ 2886299 w 3535724"/>
                <a:gd name="connsiteY45" fmla="*/ 1289201 h 2576929"/>
                <a:gd name="connsiteX46" fmla="*/ 2886299 w 3535724"/>
                <a:gd name="connsiteY46" fmla="*/ 1290177 h 2576929"/>
                <a:gd name="connsiteX47" fmla="*/ 2886299 w 3535724"/>
                <a:gd name="connsiteY47" fmla="*/ 1328020 h 2576929"/>
                <a:gd name="connsiteX48" fmla="*/ 2886299 w 3535724"/>
                <a:gd name="connsiteY48" fmla="*/ 1485818 h 2576929"/>
                <a:gd name="connsiteX49" fmla="*/ 3071081 w 3535724"/>
                <a:gd name="connsiteY49" fmla="*/ 1485818 h 2576929"/>
                <a:gd name="connsiteX50" fmla="*/ 3071081 w 3535724"/>
                <a:gd name="connsiteY50" fmla="*/ 1328020 h 2576929"/>
                <a:gd name="connsiteX51" fmla="*/ 3071081 w 3535724"/>
                <a:gd name="connsiteY51" fmla="*/ 1290177 h 2576929"/>
                <a:gd name="connsiteX52" fmla="*/ 3071081 w 3535724"/>
                <a:gd name="connsiteY52" fmla="*/ 1289201 h 2576929"/>
                <a:gd name="connsiteX53" fmla="*/ 3070884 w 3535724"/>
                <a:gd name="connsiteY53" fmla="*/ 1289201 h 2576929"/>
                <a:gd name="connsiteX54" fmla="*/ 3063821 w 3535724"/>
                <a:gd name="connsiteY54" fmla="*/ 1254214 h 2576929"/>
                <a:gd name="connsiteX55" fmla="*/ 2978690 w 3535724"/>
                <a:gd name="connsiteY55" fmla="*/ 1197786 h 2576929"/>
                <a:gd name="connsiteX56" fmla="*/ 552990 w 3535724"/>
                <a:gd name="connsiteY56" fmla="*/ 1197786 h 2576929"/>
                <a:gd name="connsiteX57" fmla="*/ 467860 w 3535724"/>
                <a:gd name="connsiteY57" fmla="*/ 1254214 h 2576929"/>
                <a:gd name="connsiteX58" fmla="*/ 460796 w 3535724"/>
                <a:gd name="connsiteY58" fmla="*/ 1289201 h 2576929"/>
                <a:gd name="connsiteX59" fmla="*/ 460599 w 3535724"/>
                <a:gd name="connsiteY59" fmla="*/ 1289201 h 2576929"/>
                <a:gd name="connsiteX60" fmla="*/ 460599 w 3535724"/>
                <a:gd name="connsiteY60" fmla="*/ 1290177 h 2576929"/>
                <a:gd name="connsiteX61" fmla="*/ 460599 w 3535724"/>
                <a:gd name="connsiteY61" fmla="*/ 1328020 h 2576929"/>
                <a:gd name="connsiteX62" fmla="*/ 460599 w 3535724"/>
                <a:gd name="connsiteY62" fmla="*/ 1485818 h 2576929"/>
                <a:gd name="connsiteX63" fmla="*/ 645381 w 3535724"/>
                <a:gd name="connsiteY63" fmla="*/ 1485818 h 2576929"/>
                <a:gd name="connsiteX64" fmla="*/ 645381 w 3535724"/>
                <a:gd name="connsiteY64" fmla="*/ 1328020 h 2576929"/>
                <a:gd name="connsiteX65" fmla="*/ 645381 w 3535724"/>
                <a:gd name="connsiteY65" fmla="*/ 1290177 h 2576929"/>
                <a:gd name="connsiteX66" fmla="*/ 645381 w 3535724"/>
                <a:gd name="connsiteY66" fmla="*/ 1289201 h 2576929"/>
                <a:gd name="connsiteX67" fmla="*/ 645184 w 3535724"/>
                <a:gd name="connsiteY67" fmla="*/ 1289201 h 2576929"/>
                <a:gd name="connsiteX68" fmla="*/ 638121 w 3535724"/>
                <a:gd name="connsiteY68" fmla="*/ 1254214 h 2576929"/>
                <a:gd name="connsiteX69" fmla="*/ 552990 w 3535724"/>
                <a:gd name="connsiteY69" fmla="*/ 1197786 h 2576929"/>
                <a:gd name="connsiteX70" fmla="*/ 1767862 w 3535724"/>
                <a:gd name="connsiteY70" fmla="*/ 1197786 h 2576929"/>
                <a:gd name="connsiteX71" fmla="*/ 1608704 w 3535724"/>
                <a:gd name="connsiteY71" fmla="*/ 1303283 h 2576929"/>
                <a:gd name="connsiteX72" fmla="*/ 1595497 w 3535724"/>
                <a:gd name="connsiteY72" fmla="*/ 1368694 h 2576929"/>
                <a:gd name="connsiteX73" fmla="*/ 1595129 w 3535724"/>
                <a:gd name="connsiteY73" fmla="*/ 1368694 h 2576929"/>
                <a:gd name="connsiteX74" fmla="*/ 1595129 w 3535724"/>
                <a:gd name="connsiteY74" fmla="*/ 1370519 h 2576929"/>
                <a:gd name="connsiteX75" fmla="*/ 1595129 w 3535724"/>
                <a:gd name="connsiteY75" fmla="*/ 1441270 h 2576929"/>
                <a:gd name="connsiteX76" fmla="*/ 1595129 w 3535724"/>
                <a:gd name="connsiteY76" fmla="*/ 1485818 h 2576929"/>
                <a:gd name="connsiteX77" fmla="*/ 1940595 w 3535724"/>
                <a:gd name="connsiteY77" fmla="*/ 1485818 h 2576929"/>
                <a:gd name="connsiteX78" fmla="*/ 1940595 w 3535724"/>
                <a:gd name="connsiteY78" fmla="*/ 1441270 h 2576929"/>
                <a:gd name="connsiteX79" fmla="*/ 1940595 w 3535724"/>
                <a:gd name="connsiteY79" fmla="*/ 1370519 h 2576929"/>
                <a:gd name="connsiteX80" fmla="*/ 1940595 w 3535724"/>
                <a:gd name="connsiteY80" fmla="*/ 1368694 h 2576929"/>
                <a:gd name="connsiteX81" fmla="*/ 1940227 w 3535724"/>
                <a:gd name="connsiteY81" fmla="*/ 1368694 h 2576929"/>
                <a:gd name="connsiteX82" fmla="*/ 1927022 w 3535724"/>
                <a:gd name="connsiteY82" fmla="*/ 1303283 h 2576929"/>
                <a:gd name="connsiteX83" fmla="*/ 1767862 w 3535724"/>
                <a:gd name="connsiteY83" fmla="*/ 1197786 h 2576929"/>
                <a:gd name="connsiteX84" fmla="*/ 552990 w 3535724"/>
                <a:gd name="connsiteY84" fmla="*/ 735584 h 2576929"/>
                <a:gd name="connsiteX85" fmla="*/ 467860 w 3535724"/>
                <a:gd name="connsiteY85" fmla="*/ 792012 h 2576929"/>
                <a:gd name="connsiteX86" fmla="*/ 460796 w 3535724"/>
                <a:gd name="connsiteY86" fmla="*/ 826999 h 2576929"/>
                <a:gd name="connsiteX87" fmla="*/ 460599 w 3535724"/>
                <a:gd name="connsiteY87" fmla="*/ 826999 h 2576929"/>
                <a:gd name="connsiteX88" fmla="*/ 460599 w 3535724"/>
                <a:gd name="connsiteY88" fmla="*/ 827975 h 2576929"/>
                <a:gd name="connsiteX89" fmla="*/ 460599 w 3535724"/>
                <a:gd name="connsiteY89" fmla="*/ 865818 h 2576929"/>
                <a:gd name="connsiteX90" fmla="*/ 460599 w 3535724"/>
                <a:gd name="connsiteY90" fmla="*/ 1023616 h 2576929"/>
                <a:gd name="connsiteX91" fmla="*/ 645381 w 3535724"/>
                <a:gd name="connsiteY91" fmla="*/ 1023616 h 2576929"/>
                <a:gd name="connsiteX92" fmla="*/ 645381 w 3535724"/>
                <a:gd name="connsiteY92" fmla="*/ 865818 h 2576929"/>
                <a:gd name="connsiteX93" fmla="*/ 645381 w 3535724"/>
                <a:gd name="connsiteY93" fmla="*/ 827975 h 2576929"/>
                <a:gd name="connsiteX94" fmla="*/ 645381 w 3535724"/>
                <a:gd name="connsiteY94" fmla="*/ 826999 h 2576929"/>
                <a:gd name="connsiteX95" fmla="*/ 645184 w 3535724"/>
                <a:gd name="connsiteY95" fmla="*/ 826999 h 2576929"/>
                <a:gd name="connsiteX96" fmla="*/ 638121 w 3535724"/>
                <a:gd name="connsiteY96" fmla="*/ 792012 h 2576929"/>
                <a:gd name="connsiteX97" fmla="*/ 552990 w 3535724"/>
                <a:gd name="connsiteY97" fmla="*/ 735584 h 2576929"/>
                <a:gd name="connsiteX98" fmla="*/ 2978690 w 3535724"/>
                <a:gd name="connsiteY98" fmla="*/ 735584 h 2576929"/>
                <a:gd name="connsiteX99" fmla="*/ 2893560 w 3535724"/>
                <a:gd name="connsiteY99" fmla="*/ 792012 h 2576929"/>
                <a:gd name="connsiteX100" fmla="*/ 2886496 w 3535724"/>
                <a:gd name="connsiteY100" fmla="*/ 826999 h 2576929"/>
                <a:gd name="connsiteX101" fmla="*/ 2886299 w 3535724"/>
                <a:gd name="connsiteY101" fmla="*/ 826999 h 2576929"/>
                <a:gd name="connsiteX102" fmla="*/ 2886299 w 3535724"/>
                <a:gd name="connsiteY102" fmla="*/ 827975 h 2576929"/>
                <a:gd name="connsiteX103" fmla="*/ 2886299 w 3535724"/>
                <a:gd name="connsiteY103" fmla="*/ 865818 h 2576929"/>
                <a:gd name="connsiteX104" fmla="*/ 2886299 w 3535724"/>
                <a:gd name="connsiteY104" fmla="*/ 1023616 h 2576929"/>
                <a:gd name="connsiteX105" fmla="*/ 3071081 w 3535724"/>
                <a:gd name="connsiteY105" fmla="*/ 1023616 h 2576929"/>
                <a:gd name="connsiteX106" fmla="*/ 3071081 w 3535724"/>
                <a:gd name="connsiteY106" fmla="*/ 865818 h 2576929"/>
                <a:gd name="connsiteX107" fmla="*/ 3071081 w 3535724"/>
                <a:gd name="connsiteY107" fmla="*/ 827975 h 2576929"/>
                <a:gd name="connsiteX108" fmla="*/ 3071081 w 3535724"/>
                <a:gd name="connsiteY108" fmla="*/ 826999 h 2576929"/>
                <a:gd name="connsiteX109" fmla="*/ 3070884 w 3535724"/>
                <a:gd name="connsiteY109" fmla="*/ 826999 h 2576929"/>
                <a:gd name="connsiteX110" fmla="*/ 3063821 w 3535724"/>
                <a:gd name="connsiteY110" fmla="*/ 792012 h 2576929"/>
                <a:gd name="connsiteX111" fmla="*/ 2978690 w 3535724"/>
                <a:gd name="connsiteY111" fmla="*/ 735584 h 2576929"/>
                <a:gd name="connsiteX112" fmla="*/ 0 w 3535724"/>
                <a:gd name="connsiteY112" fmla="*/ 0 h 2576929"/>
                <a:gd name="connsiteX113" fmla="*/ 194211 w 3535724"/>
                <a:gd name="connsiteY113" fmla="*/ 0 h 2576929"/>
                <a:gd name="connsiteX114" fmla="*/ 194211 w 3535724"/>
                <a:gd name="connsiteY114" fmla="*/ 166345 h 2576929"/>
                <a:gd name="connsiteX115" fmla="*/ 306299 w 3535724"/>
                <a:gd name="connsiteY115" fmla="*/ 166345 h 2576929"/>
                <a:gd name="connsiteX116" fmla="*/ 306299 w 3535724"/>
                <a:gd name="connsiteY116" fmla="*/ 0 h 2576929"/>
                <a:gd name="connsiteX117" fmla="*/ 500510 w 3535724"/>
                <a:gd name="connsiteY117" fmla="*/ 0 h 2576929"/>
                <a:gd name="connsiteX118" fmla="*/ 500510 w 3535724"/>
                <a:gd name="connsiteY118" fmla="*/ 166345 h 2576929"/>
                <a:gd name="connsiteX119" fmla="*/ 612598 w 3535724"/>
                <a:gd name="connsiteY119" fmla="*/ 166345 h 2576929"/>
                <a:gd name="connsiteX120" fmla="*/ 612598 w 3535724"/>
                <a:gd name="connsiteY120" fmla="*/ 0 h 2576929"/>
                <a:gd name="connsiteX121" fmla="*/ 806809 w 3535724"/>
                <a:gd name="connsiteY121" fmla="*/ 0 h 2576929"/>
                <a:gd name="connsiteX122" fmla="*/ 806809 w 3535724"/>
                <a:gd name="connsiteY122" fmla="*/ 166345 h 2576929"/>
                <a:gd name="connsiteX123" fmla="*/ 918896 w 3535724"/>
                <a:gd name="connsiteY123" fmla="*/ 166345 h 2576929"/>
                <a:gd name="connsiteX124" fmla="*/ 918896 w 3535724"/>
                <a:gd name="connsiteY124" fmla="*/ 0 h 2576929"/>
                <a:gd name="connsiteX125" fmla="*/ 1113107 w 3535724"/>
                <a:gd name="connsiteY125" fmla="*/ 0 h 2576929"/>
                <a:gd name="connsiteX126" fmla="*/ 1113107 w 3535724"/>
                <a:gd name="connsiteY126" fmla="*/ 166345 h 2576929"/>
                <a:gd name="connsiteX127" fmla="*/ 1113107 w 3535724"/>
                <a:gd name="connsiteY127" fmla="*/ 168412 h 2576929"/>
                <a:gd name="connsiteX128" fmla="*/ 1112591 w 3535724"/>
                <a:gd name="connsiteY128" fmla="*/ 168412 h 2576929"/>
                <a:gd name="connsiteX129" fmla="*/ 978149 w 3535724"/>
                <a:gd name="connsiteY129" fmla="*/ 706182 h 2576929"/>
                <a:gd name="connsiteX130" fmla="*/ 1105052 w 3535724"/>
                <a:gd name="connsiteY130" fmla="*/ 706182 h 2576929"/>
                <a:gd name="connsiteX131" fmla="*/ 1105052 w 3535724"/>
                <a:gd name="connsiteY131" fmla="*/ 1052195 h 2576929"/>
                <a:gd name="connsiteX132" fmla="*/ 1225256 w 3535724"/>
                <a:gd name="connsiteY132" fmla="*/ 1052195 h 2576929"/>
                <a:gd name="connsiteX133" fmla="*/ 1225256 w 3535724"/>
                <a:gd name="connsiteY133" fmla="*/ 919309 h 2576929"/>
                <a:gd name="connsiteX134" fmla="*/ 1405256 w 3535724"/>
                <a:gd name="connsiteY134" fmla="*/ 919309 h 2576929"/>
                <a:gd name="connsiteX135" fmla="*/ 1405256 w 3535724"/>
                <a:gd name="connsiteY135" fmla="*/ 1052195 h 2576929"/>
                <a:gd name="connsiteX136" fmla="*/ 1526994 w 3535724"/>
                <a:gd name="connsiteY136" fmla="*/ 1052195 h 2576929"/>
                <a:gd name="connsiteX137" fmla="*/ 1526994 w 3535724"/>
                <a:gd name="connsiteY137" fmla="*/ 919309 h 2576929"/>
                <a:gd name="connsiteX138" fmla="*/ 1706994 w 3535724"/>
                <a:gd name="connsiteY138" fmla="*/ 919309 h 2576929"/>
                <a:gd name="connsiteX139" fmla="*/ 1706994 w 3535724"/>
                <a:gd name="connsiteY139" fmla="*/ 1052195 h 2576929"/>
                <a:gd name="connsiteX140" fmla="*/ 1828732 w 3535724"/>
                <a:gd name="connsiteY140" fmla="*/ 1052195 h 2576929"/>
                <a:gd name="connsiteX141" fmla="*/ 1828732 w 3535724"/>
                <a:gd name="connsiteY141" fmla="*/ 919309 h 2576929"/>
                <a:gd name="connsiteX142" fmla="*/ 2008732 w 3535724"/>
                <a:gd name="connsiteY142" fmla="*/ 919309 h 2576929"/>
                <a:gd name="connsiteX143" fmla="*/ 2008732 w 3535724"/>
                <a:gd name="connsiteY143" fmla="*/ 1052195 h 2576929"/>
                <a:gd name="connsiteX144" fmla="*/ 2130469 w 3535724"/>
                <a:gd name="connsiteY144" fmla="*/ 1052195 h 2576929"/>
                <a:gd name="connsiteX145" fmla="*/ 2130469 w 3535724"/>
                <a:gd name="connsiteY145" fmla="*/ 919309 h 2576929"/>
                <a:gd name="connsiteX146" fmla="*/ 2310469 w 3535724"/>
                <a:gd name="connsiteY146" fmla="*/ 919309 h 2576929"/>
                <a:gd name="connsiteX147" fmla="*/ 2310469 w 3535724"/>
                <a:gd name="connsiteY147" fmla="*/ 1052195 h 2576929"/>
                <a:gd name="connsiteX148" fmla="*/ 2430672 w 3535724"/>
                <a:gd name="connsiteY148" fmla="*/ 1052195 h 2576929"/>
                <a:gd name="connsiteX149" fmla="*/ 2430672 w 3535724"/>
                <a:gd name="connsiteY149" fmla="*/ 706182 h 2576929"/>
                <a:gd name="connsiteX150" fmla="*/ 2552333 w 3535724"/>
                <a:gd name="connsiteY150" fmla="*/ 706182 h 2576929"/>
                <a:gd name="connsiteX151" fmla="*/ 2417890 w 3535724"/>
                <a:gd name="connsiteY151" fmla="*/ 168412 h 2576929"/>
                <a:gd name="connsiteX152" fmla="*/ 2417373 w 3535724"/>
                <a:gd name="connsiteY152" fmla="*/ 168412 h 2576929"/>
                <a:gd name="connsiteX153" fmla="*/ 2417373 w 3535724"/>
                <a:gd name="connsiteY153" fmla="*/ 166345 h 2576929"/>
                <a:gd name="connsiteX154" fmla="*/ 2417373 w 3535724"/>
                <a:gd name="connsiteY154" fmla="*/ 0 h 2576929"/>
                <a:gd name="connsiteX155" fmla="*/ 2611584 w 3535724"/>
                <a:gd name="connsiteY155" fmla="*/ 0 h 2576929"/>
                <a:gd name="connsiteX156" fmla="*/ 2611584 w 3535724"/>
                <a:gd name="connsiteY156" fmla="*/ 166345 h 2576929"/>
                <a:gd name="connsiteX157" fmla="*/ 2723672 w 3535724"/>
                <a:gd name="connsiteY157" fmla="*/ 166345 h 2576929"/>
                <a:gd name="connsiteX158" fmla="*/ 2723672 w 3535724"/>
                <a:gd name="connsiteY158" fmla="*/ 0 h 2576929"/>
                <a:gd name="connsiteX159" fmla="*/ 2917883 w 3535724"/>
                <a:gd name="connsiteY159" fmla="*/ 0 h 2576929"/>
                <a:gd name="connsiteX160" fmla="*/ 2917883 w 3535724"/>
                <a:gd name="connsiteY160" fmla="*/ 166345 h 2576929"/>
                <a:gd name="connsiteX161" fmla="*/ 3029971 w 3535724"/>
                <a:gd name="connsiteY161" fmla="*/ 166345 h 2576929"/>
                <a:gd name="connsiteX162" fmla="*/ 3029971 w 3535724"/>
                <a:gd name="connsiteY162" fmla="*/ 0 h 2576929"/>
                <a:gd name="connsiteX163" fmla="*/ 3224182 w 3535724"/>
                <a:gd name="connsiteY163" fmla="*/ 0 h 2576929"/>
                <a:gd name="connsiteX164" fmla="*/ 3224182 w 3535724"/>
                <a:gd name="connsiteY164" fmla="*/ 166345 h 2576929"/>
                <a:gd name="connsiteX165" fmla="*/ 3336269 w 3535724"/>
                <a:gd name="connsiteY165" fmla="*/ 166345 h 2576929"/>
                <a:gd name="connsiteX166" fmla="*/ 3336269 w 3535724"/>
                <a:gd name="connsiteY166" fmla="*/ 0 h 2576929"/>
                <a:gd name="connsiteX167" fmla="*/ 3530480 w 3535724"/>
                <a:gd name="connsiteY167" fmla="*/ 0 h 2576929"/>
                <a:gd name="connsiteX168" fmla="*/ 3530480 w 3535724"/>
                <a:gd name="connsiteY168" fmla="*/ 166345 h 2576929"/>
                <a:gd name="connsiteX169" fmla="*/ 3530480 w 3535724"/>
                <a:gd name="connsiteY169" fmla="*/ 168412 h 2576929"/>
                <a:gd name="connsiteX170" fmla="*/ 3529963 w 3535724"/>
                <a:gd name="connsiteY170" fmla="*/ 168412 h 2576929"/>
                <a:gd name="connsiteX171" fmla="*/ 3395521 w 3535724"/>
                <a:gd name="connsiteY171" fmla="*/ 706182 h 2576929"/>
                <a:gd name="connsiteX172" fmla="*/ 3535724 w 3535724"/>
                <a:gd name="connsiteY172" fmla="*/ 706182 h 2576929"/>
                <a:gd name="connsiteX173" fmla="*/ 3535724 w 3535724"/>
                <a:gd name="connsiteY173" fmla="*/ 1052195 h 2576929"/>
                <a:gd name="connsiteX174" fmla="*/ 3535724 w 3535724"/>
                <a:gd name="connsiteY174" fmla="*/ 2230916 h 2576929"/>
                <a:gd name="connsiteX175" fmla="*/ 3535724 w 3535724"/>
                <a:gd name="connsiteY175" fmla="*/ 2576929 h 2576929"/>
                <a:gd name="connsiteX176" fmla="*/ 0 w 3535724"/>
                <a:gd name="connsiteY176" fmla="*/ 2576929 h 2576929"/>
                <a:gd name="connsiteX177" fmla="*/ 0 w 3535724"/>
                <a:gd name="connsiteY177" fmla="*/ 2230916 h 2576929"/>
                <a:gd name="connsiteX178" fmla="*/ 0 w 3535724"/>
                <a:gd name="connsiteY178" fmla="*/ 1052195 h 2576929"/>
                <a:gd name="connsiteX179" fmla="*/ 0 w 3535724"/>
                <a:gd name="connsiteY179" fmla="*/ 706182 h 2576929"/>
                <a:gd name="connsiteX180" fmla="*/ 134960 w 3535724"/>
                <a:gd name="connsiteY180" fmla="*/ 706182 h 2576929"/>
                <a:gd name="connsiteX181" fmla="*/ 517 w 3535724"/>
                <a:gd name="connsiteY181" fmla="*/ 168412 h 2576929"/>
                <a:gd name="connsiteX182" fmla="*/ 0 w 3535724"/>
                <a:gd name="connsiteY182" fmla="*/ 168412 h 2576929"/>
                <a:gd name="connsiteX183" fmla="*/ 0 w 3535724"/>
                <a:gd name="connsiteY183" fmla="*/ 166345 h 2576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3535724" h="2576929">
                  <a:moveTo>
                    <a:pt x="1767862" y="1995276"/>
                  </a:moveTo>
                  <a:cubicBezTo>
                    <a:pt x="1696315" y="1995276"/>
                    <a:pt x="1634927" y="2038778"/>
                    <a:pt x="1608704" y="2100773"/>
                  </a:cubicBezTo>
                  <a:lnTo>
                    <a:pt x="1595497" y="2166184"/>
                  </a:lnTo>
                  <a:lnTo>
                    <a:pt x="1595129" y="2166184"/>
                  </a:lnTo>
                  <a:lnTo>
                    <a:pt x="1595129" y="2168009"/>
                  </a:lnTo>
                  <a:lnTo>
                    <a:pt x="1595129" y="2238759"/>
                  </a:lnTo>
                  <a:lnTo>
                    <a:pt x="1595129" y="2533776"/>
                  </a:lnTo>
                  <a:lnTo>
                    <a:pt x="1940595" y="2533776"/>
                  </a:lnTo>
                  <a:lnTo>
                    <a:pt x="1940595" y="2238759"/>
                  </a:lnTo>
                  <a:lnTo>
                    <a:pt x="1940595" y="2168009"/>
                  </a:lnTo>
                  <a:lnTo>
                    <a:pt x="1940595" y="2166184"/>
                  </a:lnTo>
                  <a:lnTo>
                    <a:pt x="1940227" y="2166184"/>
                  </a:lnTo>
                  <a:lnTo>
                    <a:pt x="1927022" y="2100773"/>
                  </a:lnTo>
                  <a:cubicBezTo>
                    <a:pt x="1900799" y="2038778"/>
                    <a:pt x="1839411" y="1995276"/>
                    <a:pt x="1767862" y="1995276"/>
                  </a:cubicBezTo>
                  <a:close/>
                  <a:moveTo>
                    <a:pt x="2978690" y="1659989"/>
                  </a:moveTo>
                  <a:cubicBezTo>
                    <a:pt x="2940421" y="1659989"/>
                    <a:pt x="2907586" y="1683257"/>
                    <a:pt x="2893560" y="1716417"/>
                  </a:cubicBezTo>
                  <a:lnTo>
                    <a:pt x="2886496" y="1751404"/>
                  </a:lnTo>
                  <a:lnTo>
                    <a:pt x="2886299" y="1751404"/>
                  </a:lnTo>
                  <a:lnTo>
                    <a:pt x="2886299" y="1752380"/>
                  </a:lnTo>
                  <a:lnTo>
                    <a:pt x="2886299" y="1790223"/>
                  </a:lnTo>
                  <a:lnTo>
                    <a:pt x="2886299" y="1948021"/>
                  </a:lnTo>
                  <a:lnTo>
                    <a:pt x="3071081" y="1948021"/>
                  </a:lnTo>
                  <a:lnTo>
                    <a:pt x="3071081" y="1790223"/>
                  </a:lnTo>
                  <a:lnTo>
                    <a:pt x="3071081" y="1752380"/>
                  </a:lnTo>
                  <a:lnTo>
                    <a:pt x="3071081" y="1751404"/>
                  </a:lnTo>
                  <a:lnTo>
                    <a:pt x="3070884" y="1751404"/>
                  </a:lnTo>
                  <a:lnTo>
                    <a:pt x="3063821" y="1716417"/>
                  </a:lnTo>
                  <a:cubicBezTo>
                    <a:pt x="3049795" y="1683257"/>
                    <a:pt x="3016960" y="1659989"/>
                    <a:pt x="2978690" y="1659989"/>
                  </a:cubicBezTo>
                  <a:close/>
                  <a:moveTo>
                    <a:pt x="552990" y="1659989"/>
                  </a:moveTo>
                  <a:cubicBezTo>
                    <a:pt x="514721" y="1659989"/>
                    <a:pt x="481886" y="1683257"/>
                    <a:pt x="467860" y="1716417"/>
                  </a:cubicBezTo>
                  <a:lnTo>
                    <a:pt x="460796" y="1751404"/>
                  </a:lnTo>
                  <a:lnTo>
                    <a:pt x="460599" y="1751404"/>
                  </a:lnTo>
                  <a:lnTo>
                    <a:pt x="460599" y="1752380"/>
                  </a:lnTo>
                  <a:lnTo>
                    <a:pt x="460599" y="1790223"/>
                  </a:lnTo>
                  <a:lnTo>
                    <a:pt x="460599" y="1948021"/>
                  </a:lnTo>
                  <a:lnTo>
                    <a:pt x="645381" y="1948021"/>
                  </a:lnTo>
                  <a:lnTo>
                    <a:pt x="645381" y="1790223"/>
                  </a:lnTo>
                  <a:lnTo>
                    <a:pt x="645381" y="1752380"/>
                  </a:lnTo>
                  <a:lnTo>
                    <a:pt x="645381" y="1751404"/>
                  </a:lnTo>
                  <a:lnTo>
                    <a:pt x="645184" y="1751404"/>
                  </a:lnTo>
                  <a:lnTo>
                    <a:pt x="638121" y="1716417"/>
                  </a:lnTo>
                  <a:cubicBezTo>
                    <a:pt x="624095" y="1683257"/>
                    <a:pt x="591260" y="1659989"/>
                    <a:pt x="552990" y="1659989"/>
                  </a:cubicBezTo>
                  <a:close/>
                  <a:moveTo>
                    <a:pt x="2978690" y="1197786"/>
                  </a:moveTo>
                  <a:cubicBezTo>
                    <a:pt x="2940421" y="1197786"/>
                    <a:pt x="2907586" y="1221054"/>
                    <a:pt x="2893560" y="1254214"/>
                  </a:cubicBezTo>
                  <a:lnTo>
                    <a:pt x="2886496" y="1289201"/>
                  </a:lnTo>
                  <a:lnTo>
                    <a:pt x="2886299" y="1289201"/>
                  </a:lnTo>
                  <a:lnTo>
                    <a:pt x="2886299" y="1290177"/>
                  </a:lnTo>
                  <a:lnTo>
                    <a:pt x="2886299" y="1328020"/>
                  </a:lnTo>
                  <a:lnTo>
                    <a:pt x="2886299" y="1485818"/>
                  </a:lnTo>
                  <a:lnTo>
                    <a:pt x="3071081" y="1485818"/>
                  </a:lnTo>
                  <a:lnTo>
                    <a:pt x="3071081" y="1328020"/>
                  </a:lnTo>
                  <a:lnTo>
                    <a:pt x="3071081" y="1290177"/>
                  </a:lnTo>
                  <a:lnTo>
                    <a:pt x="3071081" y="1289201"/>
                  </a:lnTo>
                  <a:lnTo>
                    <a:pt x="3070884" y="1289201"/>
                  </a:lnTo>
                  <a:lnTo>
                    <a:pt x="3063821" y="1254214"/>
                  </a:lnTo>
                  <a:cubicBezTo>
                    <a:pt x="3049795" y="1221054"/>
                    <a:pt x="3016960" y="1197786"/>
                    <a:pt x="2978690" y="1197786"/>
                  </a:cubicBezTo>
                  <a:close/>
                  <a:moveTo>
                    <a:pt x="552990" y="1197786"/>
                  </a:moveTo>
                  <a:cubicBezTo>
                    <a:pt x="514721" y="1197786"/>
                    <a:pt x="481886" y="1221054"/>
                    <a:pt x="467860" y="1254214"/>
                  </a:cubicBezTo>
                  <a:lnTo>
                    <a:pt x="460796" y="1289201"/>
                  </a:lnTo>
                  <a:lnTo>
                    <a:pt x="460599" y="1289201"/>
                  </a:lnTo>
                  <a:lnTo>
                    <a:pt x="460599" y="1290177"/>
                  </a:lnTo>
                  <a:lnTo>
                    <a:pt x="460599" y="1328020"/>
                  </a:lnTo>
                  <a:lnTo>
                    <a:pt x="460599" y="1485818"/>
                  </a:lnTo>
                  <a:lnTo>
                    <a:pt x="645381" y="1485818"/>
                  </a:lnTo>
                  <a:lnTo>
                    <a:pt x="645381" y="1328020"/>
                  </a:lnTo>
                  <a:lnTo>
                    <a:pt x="645381" y="1290177"/>
                  </a:lnTo>
                  <a:lnTo>
                    <a:pt x="645381" y="1289201"/>
                  </a:lnTo>
                  <a:lnTo>
                    <a:pt x="645184" y="1289201"/>
                  </a:lnTo>
                  <a:lnTo>
                    <a:pt x="638121" y="1254214"/>
                  </a:lnTo>
                  <a:cubicBezTo>
                    <a:pt x="624095" y="1221054"/>
                    <a:pt x="591260" y="1197786"/>
                    <a:pt x="552990" y="1197786"/>
                  </a:cubicBezTo>
                  <a:close/>
                  <a:moveTo>
                    <a:pt x="1767862" y="1197786"/>
                  </a:moveTo>
                  <a:cubicBezTo>
                    <a:pt x="1696315" y="1197786"/>
                    <a:pt x="1634927" y="1241288"/>
                    <a:pt x="1608704" y="1303283"/>
                  </a:cubicBezTo>
                  <a:lnTo>
                    <a:pt x="1595497" y="1368694"/>
                  </a:lnTo>
                  <a:lnTo>
                    <a:pt x="1595129" y="1368694"/>
                  </a:lnTo>
                  <a:lnTo>
                    <a:pt x="1595129" y="1370519"/>
                  </a:lnTo>
                  <a:lnTo>
                    <a:pt x="1595129" y="1441270"/>
                  </a:lnTo>
                  <a:lnTo>
                    <a:pt x="1595129" y="1485818"/>
                  </a:lnTo>
                  <a:lnTo>
                    <a:pt x="1940595" y="1485818"/>
                  </a:lnTo>
                  <a:lnTo>
                    <a:pt x="1940595" y="1441270"/>
                  </a:lnTo>
                  <a:lnTo>
                    <a:pt x="1940595" y="1370519"/>
                  </a:lnTo>
                  <a:lnTo>
                    <a:pt x="1940595" y="1368694"/>
                  </a:lnTo>
                  <a:lnTo>
                    <a:pt x="1940227" y="1368694"/>
                  </a:lnTo>
                  <a:lnTo>
                    <a:pt x="1927022" y="1303283"/>
                  </a:lnTo>
                  <a:cubicBezTo>
                    <a:pt x="1900799" y="1241288"/>
                    <a:pt x="1839411" y="1197786"/>
                    <a:pt x="1767862" y="1197786"/>
                  </a:cubicBezTo>
                  <a:close/>
                  <a:moveTo>
                    <a:pt x="552990" y="735584"/>
                  </a:moveTo>
                  <a:cubicBezTo>
                    <a:pt x="514721" y="735584"/>
                    <a:pt x="481886" y="758852"/>
                    <a:pt x="467860" y="792012"/>
                  </a:cubicBezTo>
                  <a:lnTo>
                    <a:pt x="460796" y="826999"/>
                  </a:lnTo>
                  <a:lnTo>
                    <a:pt x="460599" y="826999"/>
                  </a:lnTo>
                  <a:lnTo>
                    <a:pt x="460599" y="827975"/>
                  </a:lnTo>
                  <a:lnTo>
                    <a:pt x="460599" y="865818"/>
                  </a:lnTo>
                  <a:lnTo>
                    <a:pt x="460599" y="1023616"/>
                  </a:lnTo>
                  <a:lnTo>
                    <a:pt x="645381" y="1023616"/>
                  </a:lnTo>
                  <a:lnTo>
                    <a:pt x="645381" y="865818"/>
                  </a:lnTo>
                  <a:lnTo>
                    <a:pt x="645381" y="827975"/>
                  </a:lnTo>
                  <a:lnTo>
                    <a:pt x="645381" y="826999"/>
                  </a:lnTo>
                  <a:lnTo>
                    <a:pt x="645184" y="826999"/>
                  </a:lnTo>
                  <a:lnTo>
                    <a:pt x="638121" y="792012"/>
                  </a:lnTo>
                  <a:cubicBezTo>
                    <a:pt x="624095" y="758852"/>
                    <a:pt x="591260" y="735584"/>
                    <a:pt x="552990" y="735584"/>
                  </a:cubicBezTo>
                  <a:close/>
                  <a:moveTo>
                    <a:pt x="2978690" y="735584"/>
                  </a:moveTo>
                  <a:cubicBezTo>
                    <a:pt x="2940421" y="735584"/>
                    <a:pt x="2907586" y="758852"/>
                    <a:pt x="2893560" y="792012"/>
                  </a:cubicBezTo>
                  <a:lnTo>
                    <a:pt x="2886496" y="826999"/>
                  </a:lnTo>
                  <a:lnTo>
                    <a:pt x="2886299" y="826999"/>
                  </a:lnTo>
                  <a:lnTo>
                    <a:pt x="2886299" y="827975"/>
                  </a:lnTo>
                  <a:lnTo>
                    <a:pt x="2886299" y="865818"/>
                  </a:lnTo>
                  <a:lnTo>
                    <a:pt x="2886299" y="1023616"/>
                  </a:lnTo>
                  <a:lnTo>
                    <a:pt x="3071081" y="1023616"/>
                  </a:lnTo>
                  <a:lnTo>
                    <a:pt x="3071081" y="865818"/>
                  </a:lnTo>
                  <a:lnTo>
                    <a:pt x="3071081" y="827975"/>
                  </a:lnTo>
                  <a:lnTo>
                    <a:pt x="3071081" y="826999"/>
                  </a:lnTo>
                  <a:lnTo>
                    <a:pt x="3070884" y="826999"/>
                  </a:lnTo>
                  <a:lnTo>
                    <a:pt x="3063821" y="792012"/>
                  </a:lnTo>
                  <a:cubicBezTo>
                    <a:pt x="3049795" y="758852"/>
                    <a:pt x="3016960" y="735584"/>
                    <a:pt x="2978690" y="735584"/>
                  </a:cubicBezTo>
                  <a:close/>
                  <a:moveTo>
                    <a:pt x="0" y="0"/>
                  </a:moveTo>
                  <a:lnTo>
                    <a:pt x="194211" y="0"/>
                  </a:lnTo>
                  <a:lnTo>
                    <a:pt x="194211" y="166345"/>
                  </a:lnTo>
                  <a:lnTo>
                    <a:pt x="306299" y="166345"/>
                  </a:lnTo>
                  <a:lnTo>
                    <a:pt x="306299" y="0"/>
                  </a:lnTo>
                  <a:lnTo>
                    <a:pt x="500510" y="0"/>
                  </a:lnTo>
                  <a:lnTo>
                    <a:pt x="500510" y="166345"/>
                  </a:lnTo>
                  <a:lnTo>
                    <a:pt x="612598" y="166345"/>
                  </a:lnTo>
                  <a:lnTo>
                    <a:pt x="612598" y="0"/>
                  </a:lnTo>
                  <a:lnTo>
                    <a:pt x="806809" y="0"/>
                  </a:lnTo>
                  <a:lnTo>
                    <a:pt x="806809" y="166345"/>
                  </a:lnTo>
                  <a:lnTo>
                    <a:pt x="918896" y="166345"/>
                  </a:lnTo>
                  <a:lnTo>
                    <a:pt x="918896" y="0"/>
                  </a:lnTo>
                  <a:lnTo>
                    <a:pt x="1113107" y="0"/>
                  </a:lnTo>
                  <a:lnTo>
                    <a:pt x="1113107" y="166345"/>
                  </a:lnTo>
                  <a:lnTo>
                    <a:pt x="1113107" y="168412"/>
                  </a:lnTo>
                  <a:lnTo>
                    <a:pt x="1112591" y="168412"/>
                  </a:lnTo>
                  <a:lnTo>
                    <a:pt x="978149" y="706182"/>
                  </a:lnTo>
                  <a:lnTo>
                    <a:pt x="1105052" y="706182"/>
                  </a:lnTo>
                  <a:lnTo>
                    <a:pt x="1105052" y="1052195"/>
                  </a:lnTo>
                  <a:lnTo>
                    <a:pt x="1225256" y="1052195"/>
                  </a:lnTo>
                  <a:lnTo>
                    <a:pt x="1225256" y="919309"/>
                  </a:lnTo>
                  <a:lnTo>
                    <a:pt x="1405256" y="919309"/>
                  </a:lnTo>
                  <a:lnTo>
                    <a:pt x="1405256" y="1052195"/>
                  </a:lnTo>
                  <a:lnTo>
                    <a:pt x="1526994" y="1052195"/>
                  </a:lnTo>
                  <a:lnTo>
                    <a:pt x="1526994" y="919309"/>
                  </a:lnTo>
                  <a:lnTo>
                    <a:pt x="1706994" y="919309"/>
                  </a:lnTo>
                  <a:lnTo>
                    <a:pt x="1706994" y="1052195"/>
                  </a:lnTo>
                  <a:lnTo>
                    <a:pt x="1828732" y="1052195"/>
                  </a:lnTo>
                  <a:lnTo>
                    <a:pt x="1828732" y="919309"/>
                  </a:lnTo>
                  <a:lnTo>
                    <a:pt x="2008732" y="919309"/>
                  </a:lnTo>
                  <a:lnTo>
                    <a:pt x="2008732" y="1052195"/>
                  </a:lnTo>
                  <a:lnTo>
                    <a:pt x="2130469" y="1052195"/>
                  </a:lnTo>
                  <a:lnTo>
                    <a:pt x="2130469" y="919309"/>
                  </a:lnTo>
                  <a:lnTo>
                    <a:pt x="2310469" y="919309"/>
                  </a:lnTo>
                  <a:lnTo>
                    <a:pt x="2310469" y="1052195"/>
                  </a:lnTo>
                  <a:lnTo>
                    <a:pt x="2430672" y="1052195"/>
                  </a:lnTo>
                  <a:lnTo>
                    <a:pt x="2430672" y="706182"/>
                  </a:lnTo>
                  <a:lnTo>
                    <a:pt x="2552333" y="706182"/>
                  </a:lnTo>
                  <a:lnTo>
                    <a:pt x="2417890" y="168412"/>
                  </a:lnTo>
                  <a:lnTo>
                    <a:pt x="2417373" y="168412"/>
                  </a:lnTo>
                  <a:lnTo>
                    <a:pt x="2417373" y="166345"/>
                  </a:lnTo>
                  <a:lnTo>
                    <a:pt x="2417373" y="0"/>
                  </a:lnTo>
                  <a:lnTo>
                    <a:pt x="2611584" y="0"/>
                  </a:lnTo>
                  <a:lnTo>
                    <a:pt x="2611584" y="166345"/>
                  </a:lnTo>
                  <a:lnTo>
                    <a:pt x="2723672" y="166345"/>
                  </a:lnTo>
                  <a:lnTo>
                    <a:pt x="2723672" y="0"/>
                  </a:lnTo>
                  <a:lnTo>
                    <a:pt x="2917883" y="0"/>
                  </a:lnTo>
                  <a:lnTo>
                    <a:pt x="2917883" y="166345"/>
                  </a:lnTo>
                  <a:lnTo>
                    <a:pt x="3029971" y="166345"/>
                  </a:lnTo>
                  <a:lnTo>
                    <a:pt x="3029971" y="0"/>
                  </a:lnTo>
                  <a:lnTo>
                    <a:pt x="3224182" y="0"/>
                  </a:lnTo>
                  <a:lnTo>
                    <a:pt x="3224182" y="166345"/>
                  </a:lnTo>
                  <a:lnTo>
                    <a:pt x="3336269" y="166345"/>
                  </a:lnTo>
                  <a:lnTo>
                    <a:pt x="3336269" y="0"/>
                  </a:lnTo>
                  <a:lnTo>
                    <a:pt x="3530480" y="0"/>
                  </a:lnTo>
                  <a:lnTo>
                    <a:pt x="3530480" y="166345"/>
                  </a:lnTo>
                  <a:lnTo>
                    <a:pt x="3530480" y="168412"/>
                  </a:lnTo>
                  <a:lnTo>
                    <a:pt x="3529963" y="168412"/>
                  </a:lnTo>
                  <a:lnTo>
                    <a:pt x="3395521" y="706182"/>
                  </a:lnTo>
                  <a:lnTo>
                    <a:pt x="3535724" y="706182"/>
                  </a:lnTo>
                  <a:lnTo>
                    <a:pt x="3535724" y="1052195"/>
                  </a:lnTo>
                  <a:lnTo>
                    <a:pt x="3535724" y="2230916"/>
                  </a:lnTo>
                  <a:lnTo>
                    <a:pt x="3535724" y="2576929"/>
                  </a:lnTo>
                  <a:lnTo>
                    <a:pt x="0" y="2576929"/>
                  </a:lnTo>
                  <a:lnTo>
                    <a:pt x="0" y="2230916"/>
                  </a:lnTo>
                  <a:lnTo>
                    <a:pt x="0" y="1052195"/>
                  </a:lnTo>
                  <a:lnTo>
                    <a:pt x="0" y="706182"/>
                  </a:lnTo>
                  <a:lnTo>
                    <a:pt x="134960" y="706182"/>
                  </a:lnTo>
                  <a:lnTo>
                    <a:pt x="517" y="168412"/>
                  </a:lnTo>
                  <a:lnTo>
                    <a:pt x="0" y="168412"/>
                  </a:lnTo>
                  <a:lnTo>
                    <a:pt x="0" y="166345"/>
                  </a:lnTo>
                  <a:close/>
                </a:path>
              </a:pathLst>
            </a:custGeom>
            <a:solidFill>
              <a:srgbClr val="4D5766">
                <a:alpha val="20000"/>
              </a:srgb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none" tIns="672000" rtlCol="0" anchor="t">
              <a:noAutofit/>
            </a:bodyPr>
            <a:lstStyle/>
            <a:p>
              <a:pPr marL="0" marR="0" lvl="0" indent="0" algn="ctr" defTabSz="6133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bg-BG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75000"/>
                    </a:schemeClr>
                  </a:solidFill>
                  <a:effectLst/>
                  <a:uLnTx/>
                  <a:uFillTx/>
                  <a:ea typeface="Nokia Pure Text Light" panose="020B0403020202020204" pitchFamily="34" charset="0"/>
                </a:rPr>
                <a:t>Транспорт</a:t>
              </a:r>
              <a:endPara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ea typeface="Nokia Pure Text Light" panose="020B0403020202020204" pitchFamily="34" charset="0"/>
              </a:endParaRPr>
            </a:p>
            <a:p>
              <a:pPr marL="0" marR="0" lvl="0" indent="0" algn="ctr" defTabSz="6133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7" b="0" i="0" u="none" strike="noStrike" kern="0" cap="none" spc="0" normalizeH="0" baseline="0" noProof="0" dirty="0" smtClean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  <p:grpSp>
        <p:nvGrpSpPr>
          <p:cNvPr id="58" name="Gruppieren 75">
            <a:extLst>
              <a:ext uri="{FF2B5EF4-FFF2-40B4-BE49-F238E27FC236}">
                <a16:creationId xmlns:a16="http://schemas.microsoft.com/office/drawing/2014/main" xmlns="" id="{757213DF-2A2A-4646-AA3E-84DAB4FEA57A}"/>
              </a:ext>
            </a:extLst>
          </p:cNvPr>
          <p:cNvGrpSpPr/>
          <p:nvPr/>
        </p:nvGrpSpPr>
        <p:grpSpPr>
          <a:xfrm flipV="1">
            <a:off x="4335127" y="1302525"/>
            <a:ext cx="912000" cy="3683041"/>
            <a:chOff x="4028764" y="1495393"/>
            <a:chExt cx="684000" cy="3029599"/>
          </a:xfrm>
        </p:grpSpPr>
        <p:sp>
          <p:nvSpPr>
            <p:cNvPr id="59" name="Freihandform: Form 76">
              <a:extLst>
                <a:ext uri="{FF2B5EF4-FFF2-40B4-BE49-F238E27FC236}">
                  <a16:creationId xmlns:a16="http://schemas.microsoft.com/office/drawing/2014/main" xmlns="" id="{7CCADFD9-CD27-46EC-8539-68DA3458F184}"/>
                </a:ext>
              </a:extLst>
            </p:cNvPr>
            <p:cNvSpPr/>
            <p:nvPr/>
          </p:nvSpPr>
          <p:spPr>
            <a:xfrm>
              <a:off x="4028764" y="1495393"/>
              <a:ext cx="684000" cy="3029599"/>
            </a:xfrm>
            <a:custGeom>
              <a:avLst/>
              <a:gdLst>
                <a:gd name="connsiteX0" fmla="*/ 0 w 576000"/>
                <a:gd name="connsiteY0" fmla="*/ 0 h 2246378"/>
                <a:gd name="connsiteX1" fmla="*/ 576000 w 576000"/>
                <a:gd name="connsiteY1" fmla="*/ 0 h 2246378"/>
                <a:gd name="connsiteX2" fmla="*/ 576000 w 576000"/>
                <a:gd name="connsiteY2" fmla="*/ 1920716 h 2246378"/>
                <a:gd name="connsiteX3" fmla="*/ 576000 w 576000"/>
                <a:gd name="connsiteY3" fmla="*/ 2067223 h 2246378"/>
                <a:gd name="connsiteX4" fmla="*/ 576000 w 576000"/>
                <a:gd name="connsiteY4" fmla="*/ 2083547 h 2246378"/>
                <a:gd name="connsiteX5" fmla="*/ 288000 w 576000"/>
                <a:gd name="connsiteY5" fmla="*/ 2246378 h 2246378"/>
                <a:gd name="connsiteX6" fmla="*/ 0 w 576000"/>
                <a:gd name="connsiteY6" fmla="*/ 2083547 h 2246378"/>
                <a:gd name="connsiteX7" fmla="*/ 0 w 576000"/>
                <a:gd name="connsiteY7" fmla="*/ 2067223 h 2246378"/>
                <a:gd name="connsiteX8" fmla="*/ 0 w 576000"/>
                <a:gd name="connsiteY8" fmla="*/ 1920716 h 2246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6000" h="2246378">
                  <a:moveTo>
                    <a:pt x="0" y="0"/>
                  </a:moveTo>
                  <a:lnTo>
                    <a:pt x="576000" y="0"/>
                  </a:lnTo>
                  <a:lnTo>
                    <a:pt x="576000" y="1920716"/>
                  </a:lnTo>
                  <a:lnTo>
                    <a:pt x="576000" y="2067223"/>
                  </a:lnTo>
                  <a:lnTo>
                    <a:pt x="576000" y="2083547"/>
                  </a:lnTo>
                  <a:lnTo>
                    <a:pt x="288000" y="2246378"/>
                  </a:lnTo>
                  <a:lnTo>
                    <a:pt x="0" y="2083547"/>
                  </a:lnTo>
                  <a:lnTo>
                    <a:pt x="0" y="2067223"/>
                  </a:lnTo>
                  <a:lnTo>
                    <a:pt x="0" y="1920716"/>
                  </a:lnTo>
                  <a:close/>
                </a:path>
              </a:pathLst>
            </a:cu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rot="0" spcFirstLastPara="0" vertOverflow="overflow" horzOverflow="overflow" vert="horz" wrap="none" lIns="96000" tIns="48000" rIns="96000" bIns="9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133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7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  <p:sp>
          <p:nvSpPr>
            <p:cNvPr id="60" name="Freihandform: Form 77">
              <a:extLst>
                <a:ext uri="{FF2B5EF4-FFF2-40B4-BE49-F238E27FC236}">
                  <a16:creationId xmlns:a16="http://schemas.microsoft.com/office/drawing/2014/main" xmlns="" id="{47020D03-DCF6-498A-8BDA-42071ECC5A93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4099095" y="1772362"/>
              <a:ext cx="543338" cy="396000"/>
            </a:xfrm>
            <a:custGeom>
              <a:avLst/>
              <a:gdLst>
                <a:gd name="connsiteX0" fmla="*/ 1767862 w 3535724"/>
                <a:gd name="connsiteY0" fmla="*/ 1995276 h 2576929"/>
                <a:gd name="connsiteX1" fmla="*/ 1608704 w 3535724"/>
                <a:gd name="connsiteY1" fmla="*/ 2100773 h 2576929"/>
                <a:gd name="connsiteX2" fmla="*/ 1595497 w 3535724"/>
                <a:gd name="connsiteY2" fmla="*/ 2166184 h 2576929"/>
                <a:gd name="connsiteX3" fmla="*/ 1595129 w 3535724"/>
                <a:gd name="connsiteY3" fmla="*/ 2166184 h 2576929"/>
                <a:gd name="connsiteX4" fmla="*/ 1595129 w 3535724"/>
                <a:gd name="connsiteY4" fmla="*/ 2168009 h 2576929"/>
                <a:gd name="connsiteX5" fmla="*/ 1595129 w 3535724"/>
                <a:gd name="connsiteY5" fmla="*/ 2238759 h 2576929"/>
                <a:gd name="connsiteX6" fmla="*/ 1595129 w 3535724"/>
                <a:gd name="connsiteY6" fmla="*/ 2533776 h 2576929"/>
                <a:gd name="connsiteX7" fmla="*/ 1940595 w 3535724"/>
                <a:gd name="connsiteY7" fmla="*/ 2533776 h 2576929"/>
                <a:gd name="connsiteX8" fmla="*/ 1940595 w 3535724"/>
                <a:gd name="connsiteY8" fmla="*/ 2238759 h 2576929"/>
                <a:gd name="connsiteX9" fmla="*/ 1940595 w 3535724"/>
                <a:gd name="connsiteY9" fmla="*/ 2168009 h 2576929"/>
                <a:gd name="connsiteX10" fmla="*/ 1940595 w 3535724"/>
                <a:gd name="connsiteY10" fmla="*/ 2166184 h 2576929"/>
                <a:gd name="connsiteX11" fmla="*/ 1940227 w 3535724"/>
                <a:gd name="connsiteY11" fmla="*/ 2166184 h 2576929"/>
                <a:gd name="connsiteX12" fmla="*/ 1927022 w 3535724"/>
                <a:gd name="connsiteY12" fmla="*/ 2100773 h 2576929"/>
                <a:gd name="connsiteX13" fmla="*/ 1767862 w 3535724"/>
                <a:gd name="connsiteY13" fmla="*/ 1995276 h 2576929"/>
                <a:gd name="connsiteX14" fmla="*/ 2978690 w 3535724"/>
                <a:gd name="connsiteY14" fmla="*/ 1659989 h 2576929"/>
                <a:gd name="connsiteX15" fmla="*/ 2893560 w 3535724"/>
                <a:gd name="connsiteY15" fmla="*/ 1716417 h 2576929"/>
                <a:gd name="connsiteX16" fmla="*/ 2886496 w 3535724"/>
                <a:gd name="connsiteY16" fmla="*/ 1751404 h 2576929"/>
                <a:gd name="connsiteX17" fmla="*/ 2886299 w 3535724"/>
                <a:gd name="connsiteY17" fmla="*/ 1751404 h 2576929"/>
                <a:gd name="connsiteX18" fmla="*/ 2886299 w 3535724"/>
                <a:gd name="connsiteY18" fmla="*/ 1752380 h 2576929"/>
                <a:gd name="connsiteX19" fmla="*/ 2886299 w 3535724"/>
                <a:gd name="connsiteY19" fmla="*/ 1790223 h 2576929"/>
                <a:gd name="connsiteX20" fmla="*/ 2886299 w 3535724"/>
                <a:gd name="connsiteY20" fmla="*/ 1948021 h 2576929"/>
                <a:gd name="connsiteX21" fmla="*/ 3071081 w 3535724"/>
                <a:gd name="connsiteY21" fmla="*/ 1948021 h 2576929"/>
                <a:gd name="connsiteX22" fmla="*/ 3071081 w 3535724"/>
                <a:gd name="connsiteY22" fmla="*/ 1790223 h 2576929"/>
                <a:gd name="connsiteX23" fmla="*/ 3071081 w 3535724"/>
                <a:gd name="connsiteY23" fmla="*/ 1752380 h 2576929"/>
                <a:gd name="connsiteX24" fmla="*/ 3071081 w 3535724"/>
                <a:gd name="connsiteY24" fmla="*/ 1751404 h 2576929"/>
                <a:gd name="connsiteX25" fmla="*/ 3070884 w 3535724"/>
                <a:gd name="connsiteY25" fmla="*/ 1751404 h 2576929"/>
                <a:gd name="connsiteX26" fmla="*/ 3063821 w 3535724"/>
                <a:gd name="connsiteY26" fmla="*/ 1716417 h 2576929"/>
                <a:gd name="connsiteX27" fmla="*/ 2978690 w 3535724"/>
                <a:gd name="connsiteY27" fmla="*/ 1659989 h 2576929"/>
                <a:gd name="connsiteX28" fmla="*/ 552990 w 3535724"/>
                <a:gd name="connsiteY28" fmla="*/ 1659989 h 2576929"/>
                <a:gd name="connsiteX29" fmla="*/ 467860 w 3535724"/>
                <a:gd name="connsiteY29" fmla="*/ 1716417 h 2576929"/>
                <a:gd name="connsiteX30" fmla="*/ 460796 w 3535724"/>
                <a:gd name="connsiteY30" fmla="*/ 1751404 h 2576929"/>
                <a:gd name="connsiteX31" fmla="*/ 460599 w 3535724"/>
                <a:gd name="connsiteY31" fmla="*/ 1751404 h 2576929"/>
                <a:gd name="connsiteX32" fmla="*/ 460599 w 3535724"/>
                <a:gd name="connsiteY32" fmla="*/ 1752380 h 2576929"/>
                <a:gd name="connsiteX33" fmla="*/ 460599 w 3535724"/>
                <a:gd name="connsiteY33" fmla="*/ 1790223 h 2576929"/>
                <a:gd name="connsiteX34" fmla="*/ 460599 w 3535724"/>
                <a:gd name="connsiteY34" fmla="*/ 1948021 h 2576929"/>
                <a:gd name="connsiteX35" fmla="*/ 645381 w 3535724"/>
                <a:gd name="connsiteY35" fmla="*/ 1948021 h 2576929"/>
                <a:gd name="connsiteX36" fmla="*/ 645381 w 3535724"/>
                <a:gd name="connsiteY36" fmla="*/ 1790223 h 2576929"/>
                <a:gd name="connsiteX37" fmla="*/ 645381 w 3535724"/>
                <a:gd name="connsiteY37" fmla="*/ 1752380 h 2576929"/>
                <a:gd name="connsiteX38" fmla="*/ 645381 w 3535724"/>
                <a:gd name="connsiteY38" fmla="*/ 1751404 h 2576929"/>
                <a:gd name="connsiteX39" fmla="*/ 645184 w 3535724"/>
                <a:gd name="connsiteY39" fmla="*/ 1751404 h 2576929"/>
                <a:gd name="connsiteX40" fmla="*/ 638121 w 3535724"/>
                <a:gd name="connsiteY40" fmla="*/ 1716417 h 2576929"/>
                <a:gd name="connsiteX41" fmla="*/ 552990 w 3535724"/>
                <a:gd name="connsiteY41" fmla="*/ 1659989 h 2576929"/>
                <a:gd name="connsiteX42" fmla="*/ 2978690 w 3535724"/>
                <a:gd name="connsiteY42" fmla="*/ 1197786 h 2576929"/>
                <a:gd name="connsiteX43" fmla="*/ 2893560 w 3535724"/>
                <a:gd name="connsiteY43" fmla="*/ 1254214 h 2576929"/>
                <a:gd name="connsiteX44" fmla="*/ 2886496 w 3535724"/>
                <a:gd name="connsiteY44" fmla="*/ 1289201 h 2576929"/>
                <a:gd name="connsiteX45" fmla="*/ 2886299 w 3535724"/>
                <a:gd name="connsiteY45" fmla="*/ 1289201 h 2576929"/>
                <a:gd name="connsiteX46" fmla="*/ 2886299 w 3535724"/>
                <a:gd name="connsiteY46" fmla="*/ 1290177 h 2576929"/>
                <a:gd name="connsiteX47" fmla="*/ 2886299 w 3535724"/>
                <a:gd name="connsiteY47" fmla="*/ 1328020 h 2576929"/>
                <a:gd name="connsiteX48" fmla="*/ 2886299 w 3535724"/>
                <a:gd name="connsiteY48" fmla="*/ 1485818 h 2576929"/>
                <a:gd name="connsiteX49" fmla="*/ 3071081 w 3535724"/>
                <a:gd name="connsiteY49" fmla="*/ 1485818 h 2576929"/>
                <a:gd name="connsiteX50" fmla="*/ 3071081 w 3535724"/>
                <a:gd name="connsiteY50" fmla="*/ 1328020 h 2576929"/>
                <a:gd name="connsiteX51" fmla="*/ 3071081 w 3535724"/>
                <a:gd name="connsiteY51" fmla="*/ 1290177 h 2576929"/>
                <a:gd name="connsiteX52" fmla="*/ 3071081 w 3535724"/>
                <a:gd name="connsiteY52" fmla="*/ 1289201 h 2576929"/>
                <a:gd name="connsiteX53" fmla="*/ 3070884 w 3535724"/>
                <a:gd name="connsiteY53" fmla="*/ 1289201 h 2576929"/>
                <a:gd name="connsiteX54" fmla="*/ 3063821 w 3535724"/>
                <a:gd name="connsiteY54" fmla="*/ 1254214 h 2576929"/>
                <a:gd name="connsiteX55" fmla="*/ 2978690 w 3535724"/>
                <a:gd name="connsiteY55" fmla="*/ 1197786 h 2576929"/>
                <a:gd name="connsiteX56" fmla="*/ 552990 w 3535724"/>
                <a:gd name="connsiteY56" fmla="*/ 1197786 h 2576929"/>
                <a:gd name="connsiteX57" fmla="*/ 467860 w 3535724"/>
                <a:gd name="connsiteY57" fmla="*/ 1254214 h 2576929"/>
                <a:gd name="connsiteX58" fmla="*/ 460796 w 3535724"/>
                <a:gd name="connsiteY58" fmla="*/ 1289201 h 2576929"/>
                <a:gd name="connsiteX59" fmla="*/ 460599 w 3535724"/>
                <a:gd name="connsiteY59" fmla="*/ 1289201 h 2576929"/>
                <a:gd name="connsiteX60" fmla="*/ 460599 w 3535724"/>
                <a:gd name="connsiteY60" fmla="*/ 1290177 h 2576929"/>
                <a:gd name="connsiteX61" fmla="*/ 460599 w 3535724"/>
                <a:gd name="connsiteY61" fmla="*/ 1328020 h 2576929"/>
                <a:gd name="connsiteX62" fmla="*/ 460599 w 3535724"/>
                <a:gd name="connsiteY62" fmla="*/ 1485818 h 2576929"/>
                <a:gd name="connsiteX63" fmla="*/ 645381 w 3535724"/>
                <a:gd name="connsiteY63" fmla="*/ 1485818 h 2576929"/>
                <a:gd name="connsiteX64" fmla="*/ 645381 w 3535724"/>
                <a:gd name="connsiteY64" fmla="*/ 1328020 h 2576929"/>
                <a:gd name="connsiteX65" fmla="*/ 645381 w 3535724"/>
                <a:gd name="connsiteY65" fmla="*/ 1290177 h 2576929"/>
                <a:gd name="connsiteX66" fmla="*/ 645381 w 3535724"/>
                <a:gd name="connsiteY66" fmla="*/ 1289201 h 2576929"/>
                <a:gd name="connsiteX67" fmla="*/ 645184 w 3535724"/>
                <a:gd name="connsiteY67" fmla="*/ 1289201 h 2576929"/>
                <a:gd name="connsiteX68" fmla="*/ 638121 w 3535724"/>
                <a:gd name="connsiteY68" fmla="*/ 1254214 h 2576929"/>
                <a:gd name="connsiteX69" fmla="*/ 552990 w 3535724"/>
                <a:gd name="connsiteY69" fmla="*/ 1197786 h 2576929"/>
                <a:gd name="connsiteX70" fmla="*/ 1767862 w 3535724"/>
                <a:gd name="connsiteY70" fmla="*/ 1197786 h 2576929"/>
                <a:gd name="connsiteX71" fmla="*/ 1608704 w 3535724"/>
                <a:gd name="connsiteY71" fmla="*/ 1303283 h 2576929"/>
                <a:gd name="connsiteX72" fmla="*/ 1595497 w 3535724"/>
                <a:gd name="connsiteY72" fmla="*/ 1368694 h 2576929"/>
                <a:gd name="connsiteX73" fmla="*/ 1595129 w 3535724"/>
                <a:gd name="connsiteY73" fmla="*/ 1368694 h 2576929"/>
                <a:gd name="connsiteX74" fmla="*/ 1595129 w 3535724"/>
                <a:gd name="connsiteY74" fmla="*/ 1370519 h 2576929"/>
                <a:gd name="connsiteX75" fmla="*/ 1595129 w 3535724"/>
                <a:gd name="connsiteY75" fmla="*/ 1441270 h 2576929"/>
                <a:gd name="connsiteX76" fmla="*/ 1595129 w 3535724"/>
                <a:gd name="connsiteY76" fmla="*/ 1485818 h 2576929"/>
                <a:gd name="connsiteX77" fmla="*/ 1940595 w 3535724"/>
                <a:gd name="connsiteY77" fmla="*/ 1485818 h 2576929"/>
                <a:gd name="connsiteX78" fmla="*/ 1940595 w 3535724"/>
                <a:gd name="connsiteY78" fmla="*/ 1441270 h 2576929"/>
                <a:gd name="connsiteX79" fmla="*/ 1940595 w 3535724"/>
                <a:gd name="connsiteY79" fmla="*/ 1370519 h 2576929"/>
                <a:gd name="connsiteX80" fmla="*/ 1940595 w 3535724"/>
                <a:gd name="connsiteY80" fmla="*/ 1368694 h 2576929"/>
                <a:gd name="connsiteX81" fmla="*/ 1940227 w 3535724"/>
                <a:gd name="connsiteY81" fmla="*/ 1368694 h 2576929"/>
                <a:gd name="connsiteX82" fmla="*/ 1927022 w 3535724"/>
                <a:gd name="connsiteY82" fmla="*/ 1303283 h 2576929"/>
                <a:gd name="connsiteX83" fmla="*/ 1767862 w 3535724"/>
                <a:gd name="connsiteY83" fmla="*/ 1197786 h 2576929"/>
                <a:gd name="connsiteX84" fmla="*/ 552990 w 3535724"/>
                <a:gd name="connsiteY84" fmla="*/ 735584 h 2576929"/>
                <a:gd name="connsiteX85" fmla="*/ 467860 w 3535724"/>
                <a:gd name="connsiteY85" fmla="*/ 792012 h 2576929"/>
                <a:gd name="connsiteX86" fmla="*/ 460796 w 3535724"/>
                <a:gd name="connsiteY86" fmla="*/ 826999 h 2576929"/>
                <a:gd name="connsiteX87" fmla="*/ 460599 w 3535724"/>
                <a:gd name="connsiteY87" fmla="*/ 826999 h 2576929"/>
                <a:gd name="connsiteX88" fmla="*/ 460599 w 3535724"/>
                <a:gd name="connsiteY88" fmla="*/ 827975 h 2576929"/>
                <a:gd name="connsiteX89" fmla="*/ 460599 w 3535724"/>
                <a:gd name="connsiteY89" fmla="*/ 865818 h 2576929"/>
                <a:gd name="connsiteX90" fmla="*/ 460599 w 3535724"/>
                <a:gd name="connsiteY90" fmla="*/ 1023616 h 2576929"/>
                <a:gd name="connsiteX91" fmla="*/ 645381 w 3535724"/>
                <a:gd name="connsiteY91" fmla="*/ 1023616 h 2576929"/>
                <a:gd name="connsiteX92" fmla="*/ 645381 w 3535724"/>
                <a:gd name="connsiteY92" fmla="*/ 865818 h 2576929"/>
                <a:gd name="connsiteX93" fmla="*/ 645381 w 3535724"/>
                <a:gd name="connsiteY93" fmla="*/ 827975 h 2576929"/>
                <a:gd name="connsiteX94" fmla="*/ 645381 w 3535724"/>
                <a:gd name="connsiteY94" fmla="*/ 826999 h 2576929"/>
                <a:gd name="connsiteX95" fmla="*/ 645184 w 3535724"/>
                <a:gd name="connsiteY95" fmla="*/ 826999 h 2576929"/>
                <a:gd name="connsiteX96" fmla="*/ 638121 w 3535724"/>
                <a:gd name="connsiteY96" fmla="*/ 792012 h 2576929"/>
                <a:gd name="connsiteX97" fmla="*/ 552990 w 3535724"/>
                <a:gd name="connsiteY97" fmla="*/ 735584 h 2576929"/>
                <a:gd name="connsiteX98" fmla="*/ 2978690 w 3535724"/>
                <a:gd name="connsiteY98" fmla="*/ 735584 h 2576929"/>
                <a:gd name="connsiteX99" fmla="*/ 2893560 w 3535724"/>
                <a:gd name="connsiteY99" fmla="*/ 792012 h 2576929"/>
                <a:gd name="connsiteX100" fmla="*/ 2886496 w 3535724"/>
                <a:gd name="connsiteY100" fmla="*/ 826999 h 2576929"/>
                <a:gd name="connsiteX101" fmla="*/ 2886299 w 3535724"/>
                <a:gd name="connsiteY101" fmla="*/ 826999 h 2576929"/>
                <a:gd name="connsiteX102" fmla="*/ 2886299 w 3535724"/>
                <a:gd name="connsiteY102" fmla="*/ 827975 h 2576929"/>
                <a:gd name="connsiteX103" fmla="*/ 2886299 w 3535724"/>
                <a:gd name="connsiteY103" fmla="*/ 865818 h 2576929"/>
                <a:gd name="connsiteX104" fmla="*/ 2886299 w 3535724"/>
                <a:gd name="connsiteY104" fmla="*/ 1023616 h 2576929"/>
                <a:gd name="connsiteX105" fmla="*/ 3071081 w 3535724"/>
                <a:gd name="connsiteY105" fmla="*/ 1023616 h 2576929"/>
                <a:gd name="connsiteX106" fmla="*/ 3071081 w 3535724"/>
                <a:gd name="connsiteY106" fmla="*/ 865818 h 2576929"/>
                <a:gd name="connsiteX107" fmla="*/ 3071081 w 3535724"/>
                <a:gd name="connsiteY107" fmla="*/ 827975 h 2576929"/>
                <a:gd name="connsiteX108" fmla="*/ 3071081 w 3535724"/>
                <a:gd name="connsiteY108" fmla="*/ 826999 h 2576929"/>
                <a:gd name="connsiteX109" fmla="*/ 3070884 w 3535724"/>
                <a:gd name="connsiteY109" fmla="*/ 826999 h 2576929"/>
                <a:gd name="connsiteX110" fmla="*/ 3063821 w 3535724"/>
                <a:gd name="connsiteY110" fmla="*/ 792012 h 2576929"/>
                <a:gd name="connsiteX111" fmla="*/ 2978690 w 3535724"/>
                <a:gd name="connsiteY111" fmla="*/ 735584 h 2576929"/>
                <a:gd name="connsiteX112" fmla="*/ 0 w 3535724"/>
                <a:gd name="connsiteY112" fmla="*/ 0 h 2576929"/>
                <a:gd name="connsiteX113" fmla="*/ 194211 w 3535724"/>
                <a:gd name="connsiteY113" fmla="*/ 0 h 2576929"/>
                <a:gd name="connsiteX114" fmla="*/ 194211 w 3535724"/>
                <a:gd name="connsiteY114" fmla="*/ 166345 h 2576929"/>
                <a:gd name="connsiteX115" fmla="*/ 306299 w 3535724"/>
                <a:gd name="connsiteY115" fmla="*/ 166345 h 2576929"/>
                <a:gd name="connsiteX116" fmla="*/ 306299 w 3535724"/>
                <a:gd name="connsiteY116" fmla="*/ 0 h 2576929"/>
                <a:gd name="connsiteX117" fmla="*/ 500510 w 3535724"/>
                <a:gd name="connsiteY117" fmla="*/ 0 h 2576929"/>
                <a:gd name="connsiteX118" fmla="*/ 500510 w 3535724"/>
                <a:gd name="connsiteY118" fmla="*/ 166345 h 2576929"/>
                <a:gd name="connsiteX119" fmla="*/ 612598 w 3535724"/>
                <a:gd name="connsiteY119" fmla="*/ 166345 h 2576929"/>
                <a:gd name="connsiteX120" fmla="*/ 612598 w 3535724"/>
                <a:gd name="connsiteY120" fmla="*/ 0 h 2576929"/>
                <a:gd name="connsiteX121" fmla="*/ 806809 w 3535724"/>
                <a:gd name="connsiteY121" fmla="*/ 0 h 2576929"/>
                <a:gd name="connsiteX122" fmla="*/ 806809 w 3535724"/>
                <a:gd name="connsiteY122" fmla="*/ 166345 h 2576929"/>
                <a:gd name="connsiteX123" fmla="*/ 918896 w 3535724"/>
                <a:gd name="connsiteY123" fmla="*/ 166345 h 2576929"/>
                <a:gd name="connsiteX124" fmla="*/ 918896 w 3535724"/>
                <a:gd name="connsiteY124" fmla="*/ 0 h 2576929"/>
                <a:gd name="connsiteX125" fmla="*/ 1113107 w 3535724"/>
                <a:gd name="connsiteY125" fmla="*/ 0 h 2576929"/>
                <a:gd name="connsiteX126" fmla="*/ 1113107 w 3535724"/>
                <a:gd name="connsiteY126" fmla="*/ 166345 h 2576929"/>
                <a:gd name="connsiteX127" fmla="*/ 1113107 w 3535724"/>
                <a:gd name="connsiteY127" fmla="*/ 168412 h 2576929"/>
                <a:gd name="connsiteX128" fmla="*/ 1112591 w 3535724"/>
                <a:gd name="connsiteY128" fmla="*/ 168412 h 2576929"/>
                <a:gd name="connsiteX129" fmla="*/ 978149 w 3535724"/>
                <a:gd name="connsiteY129" fmla="*/ 706182 h 2576929"/>
                <a:gd name="connsiteX130" fmla="*/ 1105052 w 3535724"/>
                <a:gd name="connsiteY130" fmla="*/ 706182 h 2576929"/>
                <a:gd name="connsiteX131" fmla="*/ 1105052 w 3535724"/>
                <a:gd name="connsiteY131" fmla="*/ 1052195 h 2576929"/>
                <a:gd name="connsiteX132" fmla="*/ 1225256 w 3535724"/>
                <a:gd name="connsiteY132" fmla="*/ 1052195 h 2576929"/>
                <a:gd name="connsiteX133" fmla="*/ 1225256 w 3535724"/>
                <a:gd name="connsiteY133" fmla="*/ 919309 h 2576929"/>
                <a:gd name="connsiteX134" fmla="*/ 1405256 w 3535724"/>
                <a:gd name="connsiteY134" fmla="*/ 919309 h 2576929"/>
                <a:gd name="connsiteX135" fmla="*/ 1405256 w 3535724"/>
                <a:gd name="connsiteY135" fmla="*/ 1052195 h 2576929"/>
                <a:gd name="connsiteX136" fmla="*/ 1526994 w 3535724"/>
                <a:gd name="connsiteY136" fmla="*/ 1052195 h 2576929"/>
                <a:gd name="connsiteX137" fmla="*/ 1526994 w 3535724"/>
                <a:gd name="connsiteY137" fmla="*/ 919309 h 2576929"/>
                <a:gd name="connsiteX138" fmla="*/ 1706994 w 3535724"/>
                <a:gd name="connsiteY138" fmla="*/ 919309 h 2576929"/>
                <a:gd name="connsiteX139" fmla="*/ 1706994 w 3535724"/>
                <a:gd name="connsiteY139" fmla="*/ 1052195 h 2576929"/>
                <a:gd name="connsiteX140" fmla="*/ 1828732 w 3535724"/>
                <a:gd name="connsiteY140" fmla="*/ 1052195 h 2576929"/>
                <a:gd name="connsiteX141" fmla="*/ 1828732 w 3535724"/>
                <a:gd name="connsiteY141" fmla="*/ 919309 h 2576929"/>
                <a:gd name="connsiteX142" fmla="*/ 2008732 w 3535724"/>
                <a:gd name="connsiteY142" fmla="*/ 919309 h 2576929"/>
                <a:gd name="connsiteX143" fmla="*/ 2008732 w 3535724"/>
                <a:gd name="connsiteY143" fmla="*/ 1052195 h 2576929"/>
                <a:gd name="connsiteX144" fmla="*/ 2130469 w 3535724"/>
                <a:gd name="connsiteY144" fmla="*/ 1052195 h 2576929"/>
                <a:gd name="connsiteX145" fmla="*/ 2130469 w 3535724"/>
                <a:gd name="connsiteY145" fmla="*/ 919309 h 2576929"/>
                <a:gd name="connsiteX146" fmla="*/ 2310469 w 3535724"/>
                <a:gd name="connsiteY146" fmla="*/ 919309 h 2576929"/>
                <a:gd name="connsiteX147" fmla="*/ 2310469 w 3535724"/>
                <a:gd name="connsiteY147" fmla="*/ 1052195 h 2576929"/>
                <a:gd name="connsiteX148" fmla="*/ 2430672 w 3535724"/>
                <a:gd name="connsiteY148" fmla="*/ 1052195 h 2576929"/>
                <a:gd name="connsiteX149" fmla="*/ 2430672 w 3535724"/>
                <a:gd name="connsiteY149" fmla="*/ 706182 h 2576929"/>
                <a:gd name="connsiteX150" fmla="*/ 2552333 w 3535724"/>
                <a:gd name="connsiteY150" fmla="*/ 706182 h 2576929"/>
                <a:gd name="connsiteX151" fmla="*/ 2417890 w 3535724"/>
                <a:gd name="connsiteY151" fmla="*/ 168412 h 2576929"/>
                <a:gd name="connsiteX152" fmla="*/ 2417373 w 3535724"/>
                <a:gd name="connsiteY152" fmla="*/ 168412 h 2576929"/>
                <a:gd name="connsiteX153" fmla="*/ 2417373 w 3535724"/>
                <a:gd name="connsiteY153" fmla="*/ 166345 h 2576929"/>
                <a:gd name="connsiteX154" fmla="*/ 2417373 w 3535724"/>
                <a:gd name="connsiteY154" fmla="*/ 0 h 2576929"/>
                <a:gd name="connsiteX155" fmla="*/ 2611584 w 3535724"/>
                <a:gd name="connsiteY155" fmla="*/ 0 h 2576929"/>
                <a:gd name="connsiteX156" fmla="*/ 2611584 w 3535724"/>
                <a:gd name="connsiteY156" fmla="*/ 166345 h 2576929"/>
                <a:gd name="connsiteX157" fmla="*/ 2723672 w 3535724"/>
                <a:gd name="connsiteY157" fmla="*/ 166345 h 2576929"/>
                <a:gd name="connsiteX158" fmla="*/ 2723672 w 3535724"/>
                <a:gd name="connsiteY158" fmla="*/ 0 h 2576929"/>
                <a:gd name="connsiteX159" fmla="*/ 2917883 w 3535724"/>
                <a:gd name="connsiteY159" fmla="*/ 0 h 2576929"/>
                <a:gd name="connsiteX160" fmla="*/ 2917883 w 3535724"/>
                <a:gd name="connsiteY160" fmla="*/ 166345 h 2576929"/>
                <a:gd name="connsiteX161" fmla="*/ 3029971 w 3535724"/>
                <a:gd name="connsiteY161" fmla="*/ 166345 h 2576929"/>
                <a:gd name="connsiteX162" fmla="*/ 3029971 w 3535724"/>
                <a:gd name="connsiteY162" fmla="*/ 0 h 2576929"/>
                <a:gd name="connsiteX163" fmla="*/ 3224182 w 3535724"/>
                <a:gd name="connsiteY163" fmla="*/ 0 h 2576929"/>
                <a:gd name="connsiteX164" fmla="*/ 3224182 w 3535724"/>
                <a:gd name="connsiteY164" fmla="*/ 166345 h 2576929"/>
                <a:gd name="connsiteX165" fmla="*/ 3336269 w 3535724"/>
                <a:gd name="connsiteY165" fmla="*/ 166345 h 2576929"/>
                <a:gd name="connsiteX166" fmla="*/ 3336269 w 3535724"/>
                <a:gd name="connsiteY166" fmla="*/ 0 h 2576929"/>
                <a:gd name="connsiteX167" fmla="*/ 3530480 w 3535724"/>
                <a:gd name="connsiteY167" fmla="*/ 0 h 2576929"/>
                <a:gd name="connsiteX168" fmla="*/ 3530480 w 3535724"/>
                <a:gd name="connsiteY168" fmla="*/ 166345 h 2576929"/>
                <a:gd name="connsiteX169" fmla="*/ 3530480 w 3535724"/>
                <a:gd name="connsiteY169" fmla="*/ 168412 h 2576929"/>
                <a:gd name="connsiteX170" fmla="*/ 3529963 w 3535724"/>
                <a:gd name="connsiteY170" fmla="*/ 168412 h 2576929"/>
                <a:gd name="connsiteX171" fmla="*/ 3395521 w 3535724"/>
                <a:gd name="connsiteY171" fmla="*/ 706182 h 2576929"/>
                <a:gd name="connsiteX172" fmla="*/ 3535724 w 3535724"/>
                <a:gd name="connsiteY172" fmla="*/ 706182 h 2576929"/>
                <a:gd name="connsiteX173" fmla="*/ 3535724 w 3535724"/>
                <a:gd name="connsiteY173" fmla="*/ 1052195 h 2576929"/>
                <a:gd name="connsiteX174" fmla="*/ 3535724 w 3535724"/>
                <a:gd name="connsiteY174" fmla="*/ 2230916 h 2576929"/>
                <a:gd name="connsiteX175" fmla="*/ 3535724 w 3535724"/>
                <a:gd name="connsiteY175" fmla="*/ 2576929 h 2576929"/>
                <a:gd name="connsiteX176" fmla="*/ 0 w 3535724"/>
                <a:gd name="connsiteY176" fmla="*/ 2576929 h 2576929"/>
                <a:gd name="connsiteX177" fmla="*/ 0 w 3535724"/>
                <a:gd name="connsiteY177" fmla="*/ 2230916 h 2576929"/>
                <a:gd name="connsiteX178" fmla="*/ 0 w 3535724"/>
                <a:gd name="connsiteY178" fmla="*/ 1052195 h 2576929"/>
                <a:gd name="connsiteX179" fmla="*/ 0 w 3535724"/>
                <a:gd name="connsiteY179" fmla="*/ 706182 h 2576929"/>
                <a:gd name="connsiteX180" fmla="*/ 134960 w 3535724"/>
                <a:gd name="connsiteY180" fmla="*/ 706182 h 2576929"/>
                <a:gd name="connsiteX181" fmla="*/ 517 w 3535724"/>
                <a:gd name="connsiteY181" fmla="*/ 168412 h 2576929"/>
                <a:gd name="connsiteX182" fmla="*/ 0 w 3535724"/>
                <a:gd name="connsiteY182" fmla="*/ 168412 h 2576929"/>
                <a:gd name="connsiteX183" fmla="*/ 0 w 3535724"/>
                <a:gd name="connsiteY183" fmla="*/ 166345 h 2576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3535724" h="2576929">
                  <a:moveTo>
                    <a:pt x="1767862" y="1995276"/>
                  </a:moveTo>
                  <a:cubicBezTo>
                    <a:pt x="1696315" y="1995276"/>
                    <a:pt x="1634927" y="2038778"/>
                    <a:pt x="1608704" y="2100773"/>
                  </a:cubicBezTo>
                  <a:lnTo>
                    <a:pt x="1595497" y="2166184"/>
                  </a:lnTo>
                  <a:lnTo>
                    <a:pt x="1595129" y="2166184"/>
                  </a:lnTo>
                  <a:lnTo>
                    <a:pt x="1595129" y="2168009"/>
                  </a:lnTo>
                  <a:lnTo>
                    <a:pt x="1595129" y="2238759"/>
                  </a:lnTo>
                  <a:lnTo>
                    <a:pt x="1595129" y="2533776"/>
                  </a:lnTo>
                  <a:lnTo>
                    <a:pt x="1940595" y="2533776"/>
                  </a:lnTo>
                  <a:lnTo>
                    <a:pt x="1940595" y="2238759"/>
                  </a:lnTo>
                  <a:lnTo>
                    <a:pt x="1940595" y="2168009"/>
                  </a:lnTo>
                  <a:lnTo>
                    <a:pt x="1940595" y="2166184"/>
                  </a:lnTo>
                  <a:lnTo>
                    <a:pt x="1940227" y="2166184"/>
                  </a:lnTo>
                  <a:lnTo>
                    <a:pt x="1927022" y="2100773"/>
                  </a:lnTo>
                  <a:cubicBezTo>
                    <a:pt x="1900799" y="2038778"/>
                    <a:pt x="1839411" y="1995276"/>
                    <a:pt x="1767862" y="1995276"/>
                  </a:cubicBezTo>
                  <a:close/>
                  <a:moveTo>
                    <a:pt x="2978690" y="1659989"/>
                  </a:moveTo>
                  <a:cubicBezTo>
                    <a:pt x="2940421" y="1659989"/>
                    <a:pt x="2907586" y="1683257"/>
                    <a:pt x="2893560" y="1716417"/>
                  </a:cubicBezTo>
                  <a:lnTo>
                    <a:pt x="2886496" y="1751404"/>
                  </a:lnTo>
                  <a:lnTo>
                    <a:pt x="2886299" y="1751404"/>
                  </a:lnTo>
                  <a:lnTo>
                    <a:pt x="2886299" y="1752380"/>
                  </a:lnTo>
                  <a:lnTo>
                    <a:pt x="2886299" y="1790223"/>
                  </a:lnTo>
                  <a:lnTo>
                    <a:pt x="2886299" y="1948021"/>
                  </a:lnTo>
                  <a:lnTo>
                    <a:pt x="3071081" y="1948021"/>
                  </a:lnTo>
                  <a:lnTo>
                    <a:pt x="3071081" y="1790223"/>
                  </a:lnTo>
                  <a:lnTo>
                    <a:pt x="3071081" y="1752380"/>
                  </a:lnTo>
                  <a:lnTo>
                    <a:pt x="3071081" y="1751404"/>
                  </a:lnTo>
                  <a:lnTo>
                    <a:pt x="3070884" y="1751404"/>
                  </a:lnTo>
                  <a:lnTo>
                    <a:pt x="3063821" y="1716417"/>
                  </a:lnTo>
                  <a:cubicBezTo>
                    <a:pt x="3049795" y="1683257"/>
                    <a:pt x="3016960" y="1659989"/>
                    <a:pt x="2978690" y="1659989"/>
                  </a:cubicBezTo>
                  <a:close/>
                  <a:moveTo>
                    <a:pt x="552990" y="1659989"/>
                  </a:moveTo>
                  <a:cubicBezTo>
                    <a:pt x="514721" y="1659989"/>
                    <a:pt x="481886" y="1683257"/>
                    <a:pt x="467860" y="1716417"/>
                  </a:cubicBezTo>
                  <a:lnTo>
                    <a:pt x="460796" y="1751404"/>
                  </a:lnTo>
                  <a:lnTo>
                    <a:pt x="460599" y="1751404"/>
                  </a:lnTo>
                  <a:lnTo>
                    <a:pt x="460599" y="1752380"/>
                  </a:lnTo>
                  <a:lnTo>
                    <a:pt x="460599" y="1790223"/>
                  </a:lnTo>
                  <a:lnTo>
                    <a:pt x="460599" y="1948021"/>
                  </a:lnTo>
                  <a:lnTo>
                    <a:pt x="645381" y="1948021"/>
                  </a:lnTo>
                  <a:lnTo>
                    <a:pt x="645381" y="1790223"/>
                  </a:lnTo>
                  <a:lnTo>
                    <a:pt x="645381" y="1752380"/>
                  </a:lnTo>
                  <a:lnTo>
                    <a:pt x="645381" y="1751404"/>
                  </a:lnTo>
                  <a:lnTo>
                    <a:pt x="645184" y="1751404"/>
                  </a:lnTo>
                  <a:lnTo>
                    <a:pt x="638121" y="1716417"/>
                  </a:lnTo>
                  <a:cubicBezTo>
                    <a:pt x="624095" y="1683257"/>
                    <a:pt x="591260" y="1659989"/>
                    <a:pt x="552990" y="1659989"/>
                  </a:cubicBezTo>
                  <a:close/>
                  <a:moveTo>
                    <a:pt x="2978690" y="1197786"/>
                  </a:moveTo>
                  <a:cubicBezTo>
                    <a:pt x="2940421" y="1197786"/>
                    <a:pt x="2907586" y="1221054"/>
                    <a:pt x="2893560" y="1254214"/>
                  </a:cubicBezTo>
                  <a:lnTo>
                    <a:pt x="2886496" y="1289201"/>
                  </a:lnTo>
                  <a:lnTo>
                    <a:pt x="2886299" y="1289201"/>
                  </a:lnTo>
                  <a:lnTo>
                    <a:pt x="2886299" y="1290177"/>
                  </a:lnTo>
                  <a:lnTo>
                    <a:pt x="2886299" y="1328020"/>
                  </a:lnTo>
                  <a:lnTo>
                    <a:pt x="2886299" y="1485818"/>
                  </a:lnTo>
                  <a:lnTo>
                    <a:pt x="3071081" y="1485818"/>
                  </a:lnTo>
                  <a:lnTo>
                    <a:pt x="3071081" y="1328020"/>
                  </a:lnTo>
                  <a:lnTo>
                    <a:pt x="3071081" y="1290177"/>
                  </a:lnTo>
                  <a:lnTo>
                    <a:pt x="3071081" y="1289201"/>
                  </a:lnTo>
                  <a:lnTo>
                    <a:pt x="3070884" y="1289201"/>
                  </a:lnTo>
                  <a:lnTo>
                    <a:pt x="3063821" y="1254214"/>
                  </a:lnTo>
                  <a:cubicBezTo>
                    <a:pt x="3049795" y="1221054"/>
                    <a:pt x="3016960" y="1197786"/>
                    <a:pt x="2978690" y="1197786"/>
                  </a:cubicBezTo>
                  <a:close/>
                  <a:moveTo>
                    <a:pt x="552990" y="1197786"/>
                  </a:moveTo>
                  <a:cubicBezTo>
                    <a:pt x="514721" y="1197786"/>
                    <a:pt x="481886" y="1221054"/>
                    <a:pt x="467860" y="1254214"/>
                  </a:cubicBezTo>
                  <a:lnTo>
                    <a:pt x="460796" y="1289201"/>
                  </a:lnTo>
                  <a:lnTo>
                    <a:pt x="460599" y="1289201"/>
                  </a:lnTo>
                  <a:lnTo>
                    <a:pt x="460599" y="1290177"/>
                  </a:lnTo>
                  <a:lnTo>
                    <a:pt x="460599" y="1328020"/>
                  </a:lnTo>
                  <a:lnTo>
                    <a:pt x="460599" y="1485818"/>
                  </a:lnTo>
                  <a:lnTo>
                    <a:pt x="645381" y="1485818"/>
                  </a:lnTo>
                  <a:lnTo>
                    <a:pt x="645381" y="1328020"/>
                  </a:lnTo>
                  <a:lnTo>
                    <a:pt x="645381" y="1290177"/>
                  </a:lnTo>
                  <a:lnTo>
                    <a:pt x="645381" y="1289201"/>
                  </a:lnTo>
                  <a:lnTo>
                    <a:pt x="645184" y="1289201"/>
                  </a:lnTo>
                  <a:lnTo>
                    <a:pt x="638121" y="1254214"/>
                  </a:lnTo>
                  <a:cubicBezTo>
                    <a:pt x="624095" y="1221054"/>
                    <a:pt x="591260" y="1197786"/>
                    <a:pt x="552990" y="1197786"/>
                  </a:cubicBezTo>
                  <a:close/>
                  <a:moveTo>
                    <a:pt x="1767862" y="1197786"/>
                  </a:moveTo>
                  <a:cubicBezTo>
                    <a:pt x="1696315" y="1197786"/>
                    <a:pt x="1634927" y="1241288"/>
                    <a:pt x="1608704" y="1303283"/>
                  </a:cubicBezTo>
                  <a:lnTo>
                    <a:pt x="1595497" y="1368694"/>
                  </a:lnTo>
                  <a:lnTo>
                    <a:pt x="1595129" y="1368694"/>
                  </a:lnTo>
                  <a:lnTo>
                    <a:pt x="1595129" y="1370519"/>
                  </a:lnTo>
                  <a:lnTo>
                    <a:pt x="1595129" y="1441270"/>
                  </a:lnTo>
                  <a:lnTo>
                    <a:pt x="1595129" y="1485818"/>
                  </a:lnTo>
                  <a:lnTo>
                    <a:pt x="1940595" y="1485818"/>
                  </a:lnTo>
                  <a:lnTo>
                    <a:pt x="1940595" y="1441270"/>
                  </a:lnTo>
                  <a:lnTo>
                    <a:pt x="1940595" y="1370519"/>
                  </a:lnTo>
                  <a:lnTo>
                    <a:pt x="1940595" y="1368694"/>
                  </a:lnTo>
                  <a:lnTo>
                    <a:pt x="1940227" y="1368694"/>
                  </a:lnTo>
                  <a:lnTo>
                    <a:pt x="1927022" y="1303283"/>
                  </a:lnTo>
                  <a:cubicBezTo>
                    <a:pt x="1900799" y="1241288"/>
                    <a:pt x="1839411" y="1197786"/>
                    <a:pt x="1767862" y="1197786"/>
                  </a:cubicBezTo>
                  <a:close/>
                  <a:moveTo>
                    <a:pt x="552990" y="735584"/>
                  </a:moveTo>
                  <a:cubicBezTo>
                    <a:pt x="514721" y="735584"/>
                    <a:pt x="481886" y="758852"/>
                    <a:pt x="467860" y="792012"/>
                  </a:cubicBezTo>
                  <a:lnTo>
                    <a:pt x="460796" y="826999"/>
                  </a:lnTo>
                  <a:lnTo>
                    <a:pt x="460599" y="826999"/>
                  </a:lnTo>
                  <a:lnTo>
                    <a:pt x="460599" y="827975"/>
                  </a:lnTo>
                  <a:lnTo>
                    <a:pt x="460599" y="865818"/>
                  </a:lnTo>
                  <a:lnTo>
                    <a:pt x="460599" y="1023616"/>
                  </a:lnTo>
                  <a:lnTo>
                    <a:pt x="645381" y="1023616"/>
                  </a:lnTo>
                  <a:lnTo>
                    <a:pt x="645381" y="865818"/>
                  </a:lnTo>
                  <a:lnTo>
                    <a:pt x="645381" y="827975"/>
                  </a:lnTo>
                  <a:lnTo>
                    <a:pt x="645381" y="826999"/>
                  </a:lnTo>
                  <a:lnTo>
                    <a:pt x="645184" y="826999"/>
                  </a:lnTo>
                  <a:lnTo>
                    <a:pt x="638121" y="792012"/>
                  </a:lnTo>
                  <a:cubicBezTo>
                    <a:pt x="624095" y="758852"/>
                    <a:pt x="591260" y="735584"/>
                    <a:pt x="552990" y="735584"/>
                  </a:cubicBezTo>
                  <a:close/>
                  <a:moveTo>
                    <a:pt x="2978690" y="735584"/>
                  </a:moveTo>
                  <a:cubicBezTo>
                    <a:pt x="2940421" y="735584"/>
                    <a:pt x="2907586" y="758852"/>
                    <a:pt x="2893560" y="792012"/>
                  </a:cubicBezTo>
                  <a:lnTo>
                    <a:pt x="2886496" y="826999"/>
                  </a:lnTo>
                  <a:lnTo>
                    <a:pt x="2886299" y="826999"/>
                  </a:lnTo>
                  <a:lnTo>
                    <a:pt x="2886299" y="827975"/>
                  </a:lnTo>
                  <a:lnTo>
                    <a:pt x="2886299" y="865818"/>
                  </a:lnTo>
                  <a:lnTo>
                    <a:pt x="2886299" y="1023616"/>
                  </a:lnTo>
                  <a:lnTo>
                    <a:pt x="3071081" y="1023616"/>
                  </a:lnTo>
                  <a:lnTo>
                    <a:pt x="3071081" y="865818"/>
                  </a:lnTo>
                  <a:lnTo>
                    <a:pt x="3071081" y="827975"/>
                  </a:lnTo>
                  <a:lnTo>
                    <a:pt x="3071081" y="826999"/>
                  </a:lnTo>
                  <a:lnTo>
                    <a:pt x="3070884" y="826999"/>
                  </a:lnTo>
                  <a:lnTo>
                    <a:pt x="3063821" y="792012"/>
                  </a:lnTo>
                  <a:cubicBezTo>
                    <a:pt x="3049795" y="758852"/>
                    <a:pt x="3016960" y="735584"/>
                    <a:pt x="2978690" y="735584"/>
                  </a:cubicBezTo>
                  <a:close/>
                  <a:moveTo>
                    <a:pt x="0" y="0"/>
                  </a:moveTo>
                  <a:lnTo>
                    <a:pt x="194211" y="0"/>
                  </a:lnTo>
                  <a:lnTo>
                    <a:pt x="194211" y="166345"/>
                  </a:lnTo>
                  <a:lnTo>
                    <a:pt x="306299" y="166345"/>
                  </a:lnTo>
                  <a:lnTo>
                    <a:pt x="306299" y="0"/>
                  </a:lnTo>
                  <a:lnTo>
                    <a:pt x="500510" y="0"/>
                  </a:lnTo>
                  <a:lnTo>
                    <a:pt x="500510" y="166345"/>
                  </a:lnTo>
                  <a:lnTo>
                    <a:pt x="612598" y="166345"/>
                  </a:lnTo>
                  <a:lnTo>
                    <a:pt x="612598" y="0"/>
                  </a:lnTo>
                  <a:lnTo>
                    <a:pt x="806809" y="0"/>
                  </a:lnTo>
                  <a:lnTo>
                    <a:pt x="806809" y="166345"/>
                  </a:lnTo>
                  <a:lnTo>
                    <a:pt x="918896" y="166345"/>
                  </a:lnTo>
                  <a:lnTo>
                    <a:pt x="918896" y="0"/>
                  </a:lnTo>
                  <a:lnTo>
                    <a:pt x="1113107" y="0"/>
                  </a:lnTo>
                  <a:lnTo>
                    <a:pt x="1113107" y="166345"/>
                  </a:lnTo>
                  <a:lnTo>
                    <a:pt x="1113107" y="168412"/>
                  </a:lnTo>
                  <a:lnTo>
                    <a:pt x="1112591" y="168412"/>
                  </a:lnTo>
                  <a:lnTo>
                    <a:pt x="978149" y="706182"/>
                  </a:lnTo>
                  <a:lnTo>
                    <a:pt x="1105052" y="706182"/>
                  </a:lnTo>
                  <a:lnTo>
                    <a:pt x="1105052" y="1052195"/>
                  </a:lnTo>
                  <a:lnTo>
                    <a:pt x="1225256" y="1052195"/>
                  </a:lnTo>
                  <a:lnTo>
                    <a:pt x="1225256" y="919309"/>
                  </a:lnTo>
                  <a:lnTo>
                    <a:pt x="1405256" y="919309"/>
                  </a:lnTo>
                  <a:lnTo>
                    <a:pt x="1405256" y="1052195"/>
                  </a:lnTo>
                  <a:lnTo>
                    <a:pt x="1526994" y="1052195"/>
                  </a:lnTo>
                  <a:lnTo>
                    <a:pt x="1526994" y="919309"/>
                  </a:lnTo>
                  <a:lnTo>
                    <a:pt x="1706994" y="919309"/>
                  </a:lnTo>
                  <a:lnTo>
                    <a:pt x="1706994" y="1052195"/>
                  </a:lnTo>
                  <a:lnTo>
                    <a:pt x="1828732" y="1052195"/>
                  </a:lnTo>
                  <a:lnTo>
                    <a:pt x="1828732" y="919309"/>
                  </a:lnTo>
                  <a:lnTo>
                    <a:pt x="2008732" y="919309"/>
                  </a:lnTo>
                  <a:lnTo>
                    <a:pt x="2008732" y="1052195"/>
                  </a:lnTo>
                  <a:lnTo>
                    <a:pt x="2130469" y="1052195"/>
                  </a:lnTo>
                  <a:lnTo>
                    <a:pt x="2130469" y="919309"/>
                  </a:lnTo>
                  <a:lnTo>
                    <a:pt x="2310469" y="919309"/>
                  </a:lnTo>
                  <a:lnTo>
                    <a:pt x="2310469" y="1052195"/>
                  </a:lnTo>
                  <a:lnTo>
                    <a:pt x="2430672" y="1052195"/>
                  </a:lnTo>
                  <a:lnTo>
                    <a:pt x="2430672" y="706182"/>
                  </a:lnTo>
                  <a:lnTo>
                    <a:pt x="2552333" y="706182"/>
                  </a:lnTo>
                  <a:lnTo>
                    <a:pt x="2417890" y="168412"/>
                  </a:lnTo>
                  <a:lnTo>
                    <a:pt x="2417373" y="168412"/>
                  </a:lnTo>
                  <a:lnTo>
                    <a:pt x="2417373" y="166345"/>
                  </a:lnTo>
                  <a:lnTo>
                    <a:pt x="2417373" y="0"/>
                  </a:lnTo>
                  <a:lnTo>
                    <a:pt x="2611584" y="0"/>
                  </a:lnTo>
                  <a:lnTo>
                    <a:pt x="2611584" y="166345"/>
                  </a:lnTo>
                  <a:lnTo>
                    <a:pt x="2723672" y="166345"/>
                  </a:lnTo>
                  <a:lnTo>
                    <a:pt x="2723672" y="0"/>
                  </a:lnTo>
                  <a:lnTo>
                    <a:pt x="2917883" y="0"/>
                  </a:lnTo>
                  <a:lnTo>
                    <a:pt x="2917883" y="166345"/>
                  </a:lnTo>
                  <a:lnTo>
                    <a:pt x="3029971" y="166345"/>
                  </a:lnTo>
                  <a:lnTo>
                    <a:pt x="3029971" y="0"/>
                  </a:lnTo>
                  <a:lnTo>
                    <a:pt x="3224182" y="0"/>
                  </a:lnTo>
                  <a:lnTo>
                    <a:pt x="3224182" y="166345"/>
                  </a:lnTo>
                  <a:lnTo>
                    <a:pt x="3336269" y="166345"/>
                  </a:lnTo>
                  <a:lnTo>
                    <a:pt x="3336269" y="0"/>
                  </a:lnTo>
                  <a:lnTo>
                    <a:pt x="3530480" y="0"/>
                  </a:lnTo>
                  <a:lnTo>
                    <a:pt x="3530480" y="166345"/>
                  </a:lnTo>
                  <a:lnTo>
                    <a:pt x="3530480" y="168412"/>
                  </a:lnTo>
                  <a:lnTo>
                    <a:pt x="3529963" y="168412"/>
                  </a:lnTo>
                  <a:lnTo>
                    <a:pt x="3395521" y="706182"/>
                  </a:lnTo>
                  <a:lnTo>
                    <a:pt x="3535724" y="706182"/>
                  </a:lnTo>
                  <a:lnTo>
                    <a:pt x="3535724" y="1052195"/>
                  </a:lnTo>
                  <a:lnTo>
                    <a:pt x="3535724" y="2230916"/>
                  </a:lnTo>
                  <a:lnTo>
                    <a:pt x="3535724" y="2576929"/>
                  </a:lnTo>
                  <a:lnTo>
                    <a:pt x="0" y="2576929"/>
                  </a:lnTo>
                  <a:lnTo>
                    <a:pt x="0" y="2230916"/>
                  </a:lnTo>
                  <a:lnTo>
                    <a:pt x="0" y="1052195"/>
                  </a:lnTo>
                  <a:lnTo>
                    <a:pt x="0" y="706182"/>
                  </a:lnTo>
                  <a:lnTo>
                    <a:pt x="134960" y="706182"/>
                  </a:lnTo>
                  <a:lnTo>
                    <a:pt x="517" y="168412"/>
                  </a:lnTo>
                  <a:lnTo>
                    <a:pt x="0" y="168412"/>
                  </a:lnTo>
                  <a:lnTo>
                    <a:pt x="0" y="166345"/>
                  </a:lnTo>
                  <a:close/>
                </a:path>
              </a:pathLst>
            </a:custGeom>
            <a:solidFill>
              <a:srgbClr val="4D5766">
                <a:alpha val="15000"/>
              </a:srgb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square" tIns="672000" rtlCol="0" anchor="t">
              <a:noAutofit/>
            </a:bodyPr>
            <a:lstStyle/>
            <a:p>
              <a:pPr marL="0" marR="0" lvl="0" indent="0" algn="ctr" defTabSz="6133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4D5766"/>
                </a:solidFill>
                <a:effectLst/>
                <a:uLnTx/>
                <a:uFillTx/>
                <a:ea typeface="Nokia Pure Text Light" panose="020B0403020202020204" pitchFamily="34" charset="0"/>
              </a:endParaRPr>
            </a:p>
          </p:txBody>
        </p:sp>
      </p:grpSp>
      <p:grpSp>
        <p:nvGrpSpPr>
          <p:cNvPr id="61" name="Gruppieren 78">
            <a:extLst>
              <a:ext uri="{FF2B5EF4-FFF2-40B4-BE49-F238E27FC236}">
                <a16:creationId xmlns:a16="http://schemas.microsoft.com/office/drawing/2014/main" xmlns="" id="{E0CB2AB7-28FA-4123-8731-DA7711D7DEF9}"/>
              </a:ext>
            </a:extLst>
          </p:cNvPr>
          <p:cNvGrpSpPr/>
          <p:nvPr/>
        </p:nvGrpSpPr>
        <p:grpSpPr>
          <a:xfrm flipV="1">
            <a:off x="5502847" y="1302524"/>
            <a:ext cx="912000" cy="3683040"/>
            <a:chOff x="4904554" y="1495395"/>
            <a:chExt cx="684000" cy="3029597"/>
          </a:xfrm>
        </p:grpSpPr>
        <p:sp>
          <p:nvSpPr>
            <p:cNvPr id="62" name="Freihandform: Form 79">
              <a:extLst>
                <a:ext uri="{FF2B5EF4-FFF2-40B4-BE49-F238E27FC236}">
                  <a16:creationId xmlns:a16="http://schemas.microsoft.com/office/drawing/2014/main" xmlns="" id="{19A71B05-5BC3-475F-BBBB-D2F49559B533}"/>
                </a:ext>
              </a:extLst>
            </p:cNvPr>
            <p:cNvSpPr/>
            <p:nvPr/>
          </p:nvSpPr>
          <p:spPr>
            <a:xfrm>
              <a:off x="4904554" y="1495395"/>
              <a:ext cx="684000" cy="3029597"/>
            </a:xfrm>
            <a:custGeom>
              <a:avLst/>
              <a:gdLst>
                <a:gd name="connsiteX0" fmla="*/ 0 w 576000"/>
                <a:gd name="connsiteY0" fmla="*/ 0 h 2246379"/>
                <a:gd name="connsiteX1" fmla="*/ 576000 w 576000"/>
                <a:gd name="connsiteY1" fmla="*/ 0 h 2246379"/>
                <a:gd name="connsiteX2" fmla="*/ 576000 w 576000"/>
                <a:gd name="connsiteY2" fmla="*/ 1920717 h 2246379"/>
                <a:gd name="connsiteX3" fmla="*/ 576000 w 576000"/>
                <a:gd name="connsiteY3" fmla="*/ 2067223 h 2246379"/>
                <a:gd name="connsiteX4" fmla="*/ 576000 w 576000"/>
                <a:gd name="connsiteY4" fmla="*/ 2083548 h 2246379"/>
                <a:gd name="connsiteX5" fmla="*/ 288000 w 576000"/>
                <a:gd name="connsiteY5" fmla="*/ 2246379 h 2246379"/>
                <a:gd name="connsiteX6" fmla="*/ 0 w 576000"/>
                <a:gd name="connsiteY6" fmla="*/ 2083548 h 2246379"/>
                <a:gd name="connsiteX7" fmla="*/ 0 w 576000"/>
                <a:gd name="connsiteY7" fmla="*/ 2067223 h 2246379"/>
                <a:gd name="connsiteX8" fmla="*/ 0 w 576000"/>
                <a:gd name="connsiteY8" fmla="*/ 1920717 h 2246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6000" h="2246379">
                  <a:moveTo>
                    <a:pt x="0" y="0"/>
                  </a:moveTo>
                  <a:lnTo>
                    <a:pt x="576000" y="0"/>
                  </a:lnTo>
                  <a:lnTo>
                    <a:pt x="576000" y="1920717"/>
                  </a:lnTo>
                  <a:lnTo>
                    <a:pt x="576000" y="2067223"/>
                  </a:lnTo>
                  <a:lnTo>
                    <a:pt x="576000" y="2083548"/>
                  </a:lnTo>
                  <a:lnTo>
                    <a:pt x="288000" y="2246379"/>
                  </a:lnTo>
                  <a:lnTo>
                    <a:pt x="0" y="2083548"/>
                  </a:lnTo>
                  <a:lnTo>
                    <a:pt x="0" y="2067223"/>
                  </a:lnTo>
                  <a:lnTo>
                    <a:pt x="0" y="1920717"/>
                  </a:lnTo>
                  <a:close/>
                </a:path>
              </a:pathLst>
            </a:cu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txBody>
            <a:bodyPr rot="0" spcFirstLastPara="0" vertOverflow="overflow" horzOverflow="overflow" vert="horz" wrap="none" lIns="96000" tIns="48000" rIns="96000" bIns="9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133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67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  <p:sp>
          <p:nvSpPr>
            <p:cNvPr id="63" name="Freihandform: Form 80">
              <a:extLst>
                <a:ext uri="{FF2B5EF4-FFF2-40B4-BE49-F238E27FC236}">
                  <a16:creationId xmlns:a16="http://schemas.microsoft.com/office/drawing/2014/main" xmlns="" id="{C0E92808-8D66-423B-9430-D833C8BAF698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4974885" y="1772362"/>
              <a:ext cx="543338" cy="396000"/>
            </a:xfrm>
            <a:custGeom>
              <a:avLst/>
              <a:gdLst>
                <a:gd name="connsiteX0" fmla="*/ 1767862 w 3535724"/>
                <a:gd name="connsiteY0" fmla="*/ 1995276 h 2576929"/>
                <a:gd name="connsiteX1" fmla="*/ 1608704 w 3535724"/>
                <a:gd name="connsiteY1" fmla="*/ 2100773 h 2576929"/>
                <a:gd name="connsiteX2" fmla="*/ 1595497 w 3535724"/>
                <a:gd name="connsiteY2" fmla="*/ 2166184 h 2576929"/>
                <a:gd name="connsiteX3" fmla="*/ 1595129 w 3535724"/>
                <a:gd name="connsiteY3" fmla="*/ 2166184 h 2576929"/>
                <a:gd name="connsiteX4" fmla="*/ 1595129 w 3535724"/>
                <a:gd name="connsiteY4" fmla="*/ 2168009 h 2576929"/>
                <a:gd name="connsiteX5" fmla="*/ 1595129 w 3535724"/>
                <a:gd name="connsiteY5" fmla="*/ 2238759 h 2576929"/>
                <a:gd name="connsiteX6" fmla="*/ 1595129 w 3535724"/>
                <a:gd name="connsiteY6" fmla="*/ 2533776 h 2576929"/>
                <a:gd name="connsiteX7" fmla="*/ 1940595 w 3535724"/>
                <a:gd name="connsiteY7" fmla="*/ 2533776 h 2576929"/>
                <a:gd name="connsiteX8" fmla="*/ 1940595 w 3535724"/>
                <a:gd name="connsiteY8" fmla="*/ 2238759 h 2576929"/>
                <a:gd name="connsiteX9" fmla="*/ 1940595 w 3535724"/>
                <a:gd name="connsiteY9" fmla="*/ 2168009 h 2576929"/>
                <a:gd name="connsiteX10" fmla="*/ 1940595 w 3535724"/>
                <a:gd name="connsiteY10" fmla="*/ 2166184 h 2576929"/>
                <a:gd name="connsiteX11" fmla="*/ 1940227 w 3535724"/>
                <a:gd name="connsiteY11" fmla="*/ 2166184 h 2576929"/>
                <a:gd name="connsiteX12" fmla="*/ 1927022 w 3535724"/>
                <a:gd name="connsiteY12" fmla="*/ 2100773 h 2576929"/>
                <a:gd name="connsiteX13" fmla="*/ 1767862 w 3535724"/>
                <a:gd name="connsiteY13" fmla="*/ 1995276 h 2576929"/>
                <a:gd name="connsiteX14" fmla="*/ 2978690 w 3535724"/>
                <a:gd name="connsiteY14" fmla="*/ 1659989 h 2576929"/>
                <a:gd name="connsiteX15" fmla="*/ 2893560 w 3535724"/>
                <a:gd name="connsiteY15" fmla="*/ 1716417 h 2576929"/>
                <a:gd name="connsiteX16" fmla="*/ 2886496 w 3535724"/>
                <a:gd name="connsiteY16" fmla="*/ 1751404 h 2576929"/>
                <a:gd name="connsiteX17" fmla="*/ 2886299 w 3535724"/>
                <a:gd name="connsiteY17" fmla="*/ 1751404 h 2576929"/>
                <a:gd name="connsiteX18" fmla="*/ 2886299 w 3535724"/>
                <a:gd name="connsiteY18" fmla="*/ 1752380 h 2576929"/>
                <a:gd name="connsiteX19" fmla="*/ 2886299 w 3535724"/>
                <a:gd name="connsiteY19" fmla="*/ 1790223 h 2576929"/>
                <a:gd name="connsiteX20" fmla="*/ 2886299 w 3535724"/>
                <a:gd name="connsiteY20" fmla="*/ 1948021 h 2576929"/>
                <a:gd name="connsiteX21" fmla="*/ 3071081 w 3535724"/>
                <a:gd name="connsiteY21" fmla="*/ 1948021 h 2576929"/>
                <a:gd name="connsiteX22" fmla="*/ 3071081 w 3535724"/>
                <a:gd name="connsiteY22" fmla="*/ 1790223 h 2576929"/>
                <a:gd name="connsiteX23" fmla="*/ 3071081 w 3535724"/>
                <a:gd name="connsiteY23" fmla="*/ 1752380 h 2576929"/>
                <a:gd name="connsiteX24" fmla="*/ 3071081 w 3535724"/>
                <a:gd name="connsiteY24" fmla="*/ 1751404 h 2576929"/>
                <a:gd name="connsiteX25" fmla="*/ 3070884 w 3535724"/>
                <a:gd name="connsiteY25" fmla="*/ 1751404 h 2576929"/>
                <a:gd name="connsiteX26" fmla="*/ 3063821 w 3535724"/>
                <a:gd name="connsiteY26" fmla="*/ 1716417 h 2576929"/>
                <a:gd name="connsiteX27" fmla="*/ 2978690 w 3535724"/>
                <a:gd name="connsiteY27" fmla="*/ 1659989 h 2576929"/>
                <a:gd name="connsiteX28" fmla="*/ 552990 w 3535724"/>
                <a:gd name="connsiteY28" fmla="*/ 1659989 h 2576929"/>
                <a:gd name="connsiteX29" fmla="*/ 467860 w 3535724"/>
                <a:gd name="connsiteY29" fmla="*/ 1716417 h 2576929"/>
                <a:gd name="connsiteX30" fmla="*/ 460796 w 3535724"/>
                <a:gd name="connsiteY30" fmla="*/ 1751404 h 2576929"/>
                <a:gd name="connsiteX31" fmla="*/ 460599 w 3535724"/>
                <a:gd name="connsiteY31" fmla="*/ 1751404 h 2576929"/>
                <a:gd name="connsiteX32" fmla="*/ 460599 w 3535724"/>
                <a:gd name="connsiteY32" fmla="*/ 1752380 h 2576929"/>
                <a:gd name="connsiteX33" fmla="*/ 460599 w 3535724"/>
                <a:gd name="connsiteY33" fmla="*/ 1790223 h 2576929"/>
                <a:gd name="connsiteX34" fmla="*/ 460599 w 3535724"/>
                <a:gd name="connsiteY34" fmla="*/ 1948021 h 2576929"/>
                <a:gd name="connsiteX35" fmla="*/ 645381 w 3535724"/>
                <a:gd name="connsiteY35" fmla="*/ 1948021 h 2576929"/>
                <a:gd name="connsiteX36" fmla="*/ 645381 w 3535724"/>
                <a:gd name="connsiteY36" fmla="*/ 1790223 h 2576929"/>
                <a:gd name="connsiteX37" fmla="*/ 645381 w 3535724"/>
                <a:gd name="connsiteY37" fmla="*/ 1752380 h 2576929"/>
                <a:gd name="connsiteX38" fmla="*/ 645381 w 3535724"/>
                <a:gd name="connsiteY38" fmla="*/ 1751404 h 2576929"/>
                <a:gd name="connsiteX39" fmla="*/ 645184 w 3535724"/>
                <a:gd name="connsiteY39" fmla="*/ 1751404 h 2576929"/>
                <a:gd name="connsiteX40" fmla="*/ 638121 w 3535724"/>
                <a:gd name="connsiteY40" fmla="*/ 1716417 h 2576929"/>
                <a:gd name="connsiteX41" fmla="*/ 552990 w 3535724"/>
                <a:gd name="connsiteY41" fmla="*/ 1659989 h 2576929"/>
                <a:gd name="connsiteX42" fmla="*/ 2978690 w 3535724"/>
                <a:gd name="connsiteY42" fmla="*/ 1197786 h 2576929"/>
                <a:gd name="connsiteX43" fmla="*/ 2893560 w 3535724"/>
                <a:gd name="connsiteY43" fmla="*/ 1254214 h 2576929"/>
                <a:gd name="connsiteX44" fmla="*/ 2886496 w 3535724"/>
                <a:gd name="connsiteY44" fmla="*/ 1289201 h 2576929"/>
                <a:gd name="connsiteX45" fmla="*/ 2886299 w 3535724"/>
                <a:gd name="connsiteY45" fmla="*/ 1289201 h 2576929"/>
                <a:gd name="connsiteX46" fmla="*/ 2886299 w 3535724"/>
                <a:gd name="connsiteY46" fmla="*/ 1290177 h 2576929"/>
                <a:gd name="connsiteX47" fmla="*/ 2886299 w 3535724"/>
                <a:gd name="connsiteY47" fmla="*/ 1328020 h 2576929"/>
                <a:gd name="connsiteX48" fmla="*/ 2886299 w 3535724"/>
                <a:gd name="connsiteY48" fmla="*/ 1485818 h 2576929"/>
                <a:gd name="connsiteX49" fmla="*/ 3071081 w 3535724"/>
                <a:gd name="connsiteY49" fmla="*/ 1485818 h 2576929"/>
                <a:gd name="connsiteX50" fmla="*/ 3071081 w 3535724"/>
                <a:gd name="connsiteY50" fmla="*/ 1328020 h 2576929"/>
                <a:gd name="connsiteX51" fmla="*/ 3071081 w 3535724"/>
                <a:gd name="connsiteY51" fmla="*/ 1290177 h 2576929"/>
                <a:gd name="connsiteX52" fmla="*/ 3071081 w 3535724"/>
                <a:gd name="connsiteY52" fmla="*/ 1289201 h 2576929"/>
                <a:gd name="connsiteX53" fmla="*/ 3070884 w 3535724"/>
                <a:gd name="connsiteY53" fmla="*/ 1289201 h 2576929"/>
                <a:gd name="connsiteX54" fmla="*/ 3063821 w 3535724"/>
                <a:gd name="connsiteY54" fmla="*/ 1254214 h 2576929"/>
                <a:gd name="connsiteX55" fmla="*/ 2978690 w 3535724"/>
                <a:gd name="connsiteY55" fmla="*/ 1197786 h 2576929"/>
                <a:gd name="connsiteX56" fmla="*/ 552990 w 3535724"/>
                <a:gd name="connsiteY56" fmla="*/ 1197786 h 2576929"/>
                <a:gd name="connsiteX57" fmla="*/ 467860 w 3535724"/>
                <a:gd name="connsiteY57" fmla="*/ 1254214 h 2576929"/>
                <a:gd name="connsiteX58" fmla="*/ 460796 w 3535724"/>
                <a:gd name="connsiteY58" fmla="*/ 1289201 h 2576929"/>
                <a:gd name="connsiteX59" fmla="*/ 460599 w 3535724"/>
                <a:gd name="connsiteY59" fmla="*/ 1289201 h 2576929"/>
                <a:gd name="connsiteX60" fmla="*/ 460599 w 3535724"/>
                <a:gd name="connsiteY60" fmla="*/ 1290177 h 2576929"/>
                <a:gd name="connsiteX61" fmla="*/ 460599 w 3535724"/>
                <a:gd name="connsiteY61" fmla="*/ 1328020 h 2576929"/>
                <a:gd name="connsiteX62" fmla="*/ 460599 w 3535724"/>
                <a:gd name="connsiteY62" fmla="*/ 1485818 h 2576929"/>
                <a:gd name="connsiteX63" fmla="*/ 645381 w 3535724"/>
                <a:gd name="connsiteY63" fmla="*/ 1485818 h 2576929"/>
                <a:gd name="connsiteX64" fmla="*/ 645381 w 3535724"/>
                <a:gd name="connsiteY64" fmla="*/ 1328020 h 2576929"/>
                <a:gd name="connsiteX65" fmla="*/ 645381 w 3535724"/>
                <a:gd name="connsiteY65" fmla="*/ 1290177 h 2576929"/>
                <a:gd name="connsiteX66" fmla="*/ 645381 w 3535724"/>
                <a:gd name="connsiteY66" fmla="*/ 1289201 h 2576929"/>
                <a:gd name="connsiteX67" fmla="*/ 645184 w 3535724"/>
                <a:gd name="connsiteY67" fmla="*/ 1289201 h 2576929"/>
                <a:gd name="connsiteX68" fmla="*/ 638121 w 3535724"/>
                <a:gd name="connsiteY68" fmla="*/ 1254214 h 2576929"/>
                <a:gd name="connsiteX69" fmla="*/ 552990 w 3535724"/>
                <a:gd name="connsiteY69" fmla="*/ 1197786 h 2576929"/>
                <a:gd name="connsiteX70" fmla="*/ 1767862 w 3535724"/>
                <a:gd name="connsiteY70" fmla="*/ 1197786 h 2576929"/>
                <a:gd name="connsiteX71" fmla="*/ 1608704 w 3535724"/>
                <a:gd name="connsiteY71" fmla="*/ 1303283 h 2576929"/>
                <a:gd name="connsiteX72" fmla="*/ 1595497 w 3535724"/>
                <a:gd name="connsiteY72" fmla="*/ 1368694 h 2576929"/>
                <a:gd name="connsiteX73" fmla="*/ 1595129 w 3535724"/>
                <a:gd name="connsiteY73" fmla="*/ 1368694 h 2576929"/>
                <a:gd name="connsiteX74" fmla="*/ 1595129 w 3535724"/>
                <a:gd name="connsiteY74" fmla="*/ 1370519 h 2576929"/>
                <a:gd name="connsiteX75" fmla="*/ 1595129 w 3535724"/>
                <a:gd name="connsiteY75" fmla="*/ 1441270 h 2576929"/>
                <a:gd name="connsiteX76" fmla="*/ 1595129 w 3535724"/>
                <a:gd name="connsiteY76" fmla="*/ 1485818 h 2576929"/>
                <a:gd name="connsiteX77" fmla="*/ 1940595 w 3535724"/>
                <a:gd name="connsiteY77" fmla="*/ 1485818 h 2576929"/>
                <a:gd name="connsiteX78" fmla="*/ 1940595 w 3535724"/>
                <a:gd name="connsiteY78" fmla="*/ 1441270 h 2576929"/>
                <a:gd name="connsiteX79" fmla="*/ 1940595 w 3535724"/>
                <a:gd name="connsiteY79" fmla="*/ 1370519 h 2576929"/>
                <a:gd name="connsiteX80" fmla="*/ 1940595 w 3535724"/>
                <a:gd name="connsiteY80" fmla="*/ 1368694 h 2576929"/>
                <a:gd name="connsiteX81" fmla="*/ 1940227 w 3535724"/>
                <a:gd name="connsiteY81" fmla="*/ 1368694 h 2576929"/>
                <a:gd name="connsiteX82" fmla="*/ 1927022 w 3535724"/>
                <a:gd name="connsiteY82" fmla="*/ 1303283 h 2576929"/>
                <a:gd name="connsiteX83" fmla="*/ 1767862 w 3535724"/>
                <a:gd name="connsiteY83" fmla="*/ 1197786 h 2576929"/>
                <a:gd name="connsiteX84" fmla="*/ 552990 w 3535724"/>
                <a:gd name="connsiteY84" fmla="*/ 735584 h 2576929"/>
                <a:gd name="connsiteX85" fmla="*/ 467860 w 3535724"/>
                <a:gd name="connsiteY85" fmla="*/ 792012 h 2576929"/>
                <a:gd name="connsiteX86" fmla="*/ 460796 w 3535724"/>
                <a:gd name="connsiteY86" fmla="*/ 826999 h 2576929"/>
                <a:gd name="connsiteX87" fmla="*/ 460599 w 3535724"/>
                <a:gd name="connsiteY87" fmla="*/ 826999 h 2576929"/>
                <a:gd name="connsiteX88" fmla="*/ 460599 w 3535724"/>
                <a:gd name="connsiteY88" fmla="*/ 827975 h 2576929"/>
                <a:gd name="connsiteX89" fmla="*/ 460599 w 3535724"/>
                <a:gd name="connsiteY89" fmla="*/ 865818 h 2576929"/>
                <a:gd name="connsiteX90" fmla="*/ 460599 w 3535724"/>
                <a:gd name="connsiteY90" fmla="*/ 1023616 h 2576929"/>
                <a:gd name="connsiteX91" fmla="*/ 645381 w 3535724"/>
                <a:gd name="connsiteY91" fmla="*/ 1023616 h 2576929"/>
                <a:gd name="connsiteX92" fmla="*/ 645381 w 3535724"/>
                <a:gd name="connsiteY92" fmla="*/ 865818 h 2576929"/>
                <a:gd name="connsiteX93" fmla="*/ 645381 w 3535724"/>
                <a:gd name="connsiteY93" fmla="*/ 827975 h 2576929"/>
                <a:gd name="connsiteX94" fmla="*/ 645381 w 3535724"/>
                <a:gd name="connsiteY94" fmla="*/ 826999 h 2576929"/>
                <a:gd name="connsiteX95" fmla="*/ 645184 w 3535724"/>
                <a:gd name="connsiteY95" fmla="*/ 826999 h 2576929"/>
                <a:gd name="connsiteX96" fmla="*/ 638121 w 3535724"/>
                <a:gd name="connsiteY96" fmla="*/ 792012 h 2576929"/>
                <a:gd name="connsiteX97" fmla="*/ 552990 w 3535724"/>
                <a:gd name="connsiteY97" fmla="*/ 735584 h 2576929"/>
                <a:gd name="connsiteX98" fmla="*/ 2978690 w 3535724"/>
                <a:gd name="connsiteY98" fmla="*/ 735584 h 2576929"/>
                <a:gd name="connsiteX99" fmla="*/ 2893560 w 3535724"/>
                <a:gd name="connsiteY99" fmla="*/ 792012 h 2576929"/>
                <a:gd name="connsiteX100" fmla="*/ 2886496 w 3535724"/>
                <a:gd name="connsiteY100" fmla="*/ 826999 h 2576929"/>
                <a:gd name="connsiteX101" fmla="*/ 2886299 w 3535724"/>
                <a:gd name="connsiteY101" fmla="*/ 826999 h 2576929"/>
                <a:gd name="connsiteX102" fmla="*/ 2886299 w 3535724"/>
                <a:gd name="connsiteY102" fmla="*/ 827975 h 2576929"/>
                <a:gd name="connsiteX103" fmla="*/ 2886299 w 3535724"/>
                <a:gd name="connsiteY103" fmla="*/ 865818 h 2576929"/>
                <a:gd name="connsiteX104" fmla="*/ 2886299 w 3535724"/>
                <a:gd name="connsiteY104" fmla="*/ 1023616 h 2576929"/>
                <a:gd name="connsiteX105" fmla="*/ 3071081 w 3535724"/>
                <a:gd name="connsiteY105" fmla="*/ 1023616 h 2576929"/>
                <a:gd name="connsiteX106" fmla="*/ 3071081 w 3535724"/>
                <a:gd name="connsiteY106" fmla="*/ 865818 h 2576929"/>
                <a:gd name="connsiteX107" fmla="*/ 3071081 w 3535724"/>
                <a:gd name="connsiteY107" fmla="*/ 827975 h 2576929"/>
                <a:gd name="connsiteX108" fmla="*/ 3071081 w 3535724"/>
                <a:gd name="connsiteY108" fmla="*/ 826999 h 2576929"/>
                <a:gd name="connsiteX109" fmla="*/ 3070884 w 3535724"/>
                <a:gd name="connsiteY109" fmla="*/ 826999 h 2576929"/>
                <a:gd name="connsiteX110" fmla="*/ 3063821 w 3535724"/>
                <a:gd name="connsiteY110" fmla="*/ 792012 h 2576929"/>
                <a:gd name="connsiteX111" fmla="*/ 2978690 w 3535724"/>
                <a:gd name="connsiteY111" fmla="*/ 735584 h 2576929"/>
                <a:gd name="connsiteX112" fmla="*/ 0 w 3535724"/>
                <a:gd name="connsiteY112" fmla="*/ 0 h 2576929"/>
                <a:gd name="connsiteX113" fmla="*/ 194211 w 3535724"/>
                <a:gd name="connsiteY113" fmla="*/ 0 h 2576929"/>
                <a:gd name="connsiteX114" fmla="*/ 194211 w 3535724"/>
                <a:gd name="connsiteY114" fmla="*/ 166345 h 2576929"/>
                <a:gd name="connsiteX115" fmla="*/ 306299 w 3535724"/>
                <a:gd name="connsiteY115" fmla="*/ 166345 h 2576929"/>
                <a:gd name="connsiteX116" fmla="*/ 306299 w 3535724"/>
                <a:gd name="connsiteY116" fmla="*/ 0 h 2576929"/>
                <a:gd name="connsiteX117" fmla="*/ 500510 w 3535724"/>
                <a:gd name="connsiteY117" fmla="*/ 0 h 2576929"/>
                <a:gd name="connsiteX118" fmla="*/ 500510 w 3535724"/>
                <a:gd name="connsiteY118" fmla="*/ 166345 h 2576929"/>
                <a:gd name="connsiteX119" fmla="*/ 612598 w 3535724"/>
                <a:gd name="connsiteY119" fmla="*/ 166345 h 2576929"/>
                <a:gd name="connsiteX120" fmla="*/ 612598 w 3535724"/>
                <a:gd name="connsiteY120" fmla="*/ 0 h 2576929"/>
                <a:gd name="connsiteX121" fmla="*/ 806809 w 3535724"/>
                <a:gd name="connsiteY121" fmla="*/ 0 h 2576929"/>
                <a:gd name="connsiteX122" fmla="*/ 806809 w 3535724"/>
                <a:gd name="connsiteY122" fmla="*/ 166345 h 2576929"/>
                <a:gd name="connsiteX123" fmla="*/ 918896 w 3535724"/>
                <a:gd name="connsiteY123" fmla="*/ 166345 h 2576929"/>
                <a:gd name="connsiteX124" fmla="*/ 918896 w 3535724"/>
                <a:gd name="connsiteY124" fmla="*/ 0 h 2576929"/>
                <a:gd name="connsiteX125" fmla="*/ 1113107 w 3535724"/>
                <a:gd name="connsiteY125" fmla="*/ 0 h 2576929"/>
                <a:gd name="connsiteX126" fmla="*/ 1113107 w 3535724"/>
                <a:gd name="connsiteY126" fmla="*/ 166345 h 2576929"/>
                <a:gd name="connsiteX127" fmla="*/ 1113107 w 3535724"/>
                <a:gd name="connsiteY127" fmla="*/ 168412 h 2576929"/>
                <a:gd name="connsiteX128" fmla="*/ 1112591 w 3535724"/>
                <a:gd name="connsiteY128" fmla="*/ 168412 h 2576929"/>
                <a:gd name="connsiteX129" fmla="*/ 978149 w 3535724"/>
                <a:gd name="connsiteY129" fmla="*/ 706182 h 2576929"/>
                <a:gd name="connsiteX130" fmla="*/ 1105052 w 3535724"/>
                <a:gd name="connsiteY130" fmla="*/ 706182 h 2576929"/>
                <a:gd name="connsiteX131" fmla="*/ 1105052 w 3535724"/>
                <a:gd name="connsiteY131" fmla="*/ 1052195 h 2576929"/>
                <a:gd name="connsiteX132" fmla="*/ 1225256 w 3535724"/>
                <a:gd name="connsiteY132" fmla="*/ 1052195 h 2576929"/>
                <a:gd name="connsiteX133" fmla="*/ 1225256 w 3535724"/>
                <a:gd name="connsiteY133" fmla="*/ 919309 h 2576929"/>
                <a:gd name="connsiteX134" fmla="*/ 1405256 w 3535724"/>
                <a:gd name="connsiteY134" fmla="*/ 919309 h 2576929"/>
                <a:gd name="connsiteX135" fmla="*/ 1405256 w 3535724"/>
                <a:gd name="connsiteY135" fmla="*/ 1052195 h 2576929"/>
                <a:gd name="connsiteX136" fmla="*/ 1526994 w 3535724"/>
                <a:gd name="connsiteY136" fmla="*/ 1052195 h 2576929"/>
                <a:gd name="connsiteX137" fmla="*/ 1526994 w 3535724"/>
                <a:gd name="connsiteY137" fmla="*/ 919309 h 2576929"/>
                <a:gd name="connsiteX138" fmla="*/ 1706994 w 3535724"/>
                <a:gd name="connsiteY138" fmla="*/ 919309 h 2576929"/>
                <a:gd name="connsiteX139" fmla="*/ 1706994 w 3535724"/>
                <a:gd name="connsiteY139" fmla="*/ 1052195 h 2576929"/>
                <a:gd name="connsiteX140" fmla="*/ 1828732 w 3535724"/>
                <a:gd name="connsiteY140" fmla="*/ 1052195 h 2576929"/>
                <a:gd name="connsiteX141" fmla="*/ 1828732 w 3535724"/>
                <a:gd name="connsiteY141" fmla="*/ 919309 h 2576929"/>
                <a:gd name="connsiteX142" fmla="*/ 2008732 w 3535724"/>
                <a:gd name="connsiteY142" fmla="*/ 919309 h 2576929"/>
                <a:gd name="connsiteX143" fmla="*/ 2008732 w 3535724"/>
                <a:gd name="connsiteY143" fmla="*/ 1052195 h 2576929"/>
                <a:gd name="connsiteX144" fmla="*/ 2130469 w 3535724"/>
                <a:gd name="connsiteY144" fmla="*/ 1052195 h 2576929"/>
                <a:gd name="connsiteX145" fmla="*/ 2130469 w 3535724"/>
                <a:gd name="connsiteY145" fmla="*/ 919309 h 2576929"/>
                <a:gd name="connsiteX146" fmla="*/ 2310469 w 3535724"/>
                <a:gd name="connsiteY146" fmla="*/ 919309 h 2576929"/>
                <a:gd name="connsiteX147" fmla="*/ 2310469 w 3535724"/>
                <a:gd name="connsiteY147" fmla="*/ 1052195 h 2576929"/>
                <a:gd name="connsiteX148" fmla="*/ 2430672 w 3535724"/>
                <a:gd name="connsiteY148" fmla="*/ 1052195 h 2576929"/>
                <a:gd name="connsiteX149" fmla="*/ 2430672 w 3535724"/>
                <a:gd name="connsiteY149" fmla="*/ 706182 h 2576929"/>
                <a:gd name="connsiteX150" fmla="*/ 2552333 w 3535724"/>
                <a:gd name="connsiteY150" fmla="*/ 706182 h 2576929"/>
                <a:gd name="connsiteX151" fmla="*/ 2417890 w 3535724"/>
                <a:gd name="connsiteY151" fmla="*/ 168412 h 2576929"/>
                <a:gd name="connsiteX152" fmla="*/ 2417373 w 3535724"/>
                <a:gd name="connsiteY152" fmla="*/ 168412 h 2576929"/>
                <a:gd name="connsiteX153" fmla="*/ 2417373 w 3535724"/>
                <a:gd name="connsiteY153" fmla="*/ 166345 h 2576929"/>
                <a:gd name="connsiteX154" fmla="*/ 2417373 w 3535724"/>
                <a:gd name="connsiteY154" fmla="*/ 0 h 2576929"/>
                <a:gd name="connsiteX155" fmla="*/ 2611584 w 3535724"/>
                <a:gd name="connsiteY155" fmla="*/ 0 h 2576929"/>
                <a:gd name="connsiteX156" fmla="*/ 2611584 w 3535724"/>
                <a:gd name="connsiteY156" fmla="*/ 166345 h 2576929"/>
                <a:gd name="connsiteX157" fmla="*/ 2723672 w 3535724"/>
                <a:gd name="connsiteY157" fmla="*/ 166345 h 2576929"/>
                <a:gd name="connsiteX158" fmla="*/ 2723672 w 3535724"/>
                <a:gd name="connsiteY158" fmla="*/ 0 h 2576929"/>
                <a:gd name="connsiteX159" fmla="*/ 2917883 w 3535724"/>
                <a:gd name="connsiteY159" fmla="*/ 0 h 2576929"/>
                <a:gd name="connsiteX160" fmla="*/ 2917883 w 3535724"/>
                <a:gd name="connsiteY160" fmla="*/ 166345 h 2576929"/>
                <a:gd name="connsiteX161" fmla="*/ 3029971 w 3535724"/>
                <a:gd name="connsiteY161" fmla="*/ 166345 h 2576929"/>
                <a:gd name="connsiteX162" fmla="*/ 3029971 w 3535724"/>
                <a:gd name="connsiteY162" fmla="*/ 0 h 2576929"/>
                <a:gd name="connsiteX163" fmla="*/ 3224182 w 3535724"/>
                <a:gd name="connsiteY163" fmla="*/ 0 h 2576929"/>
                <a:gd name="connsiteX164" fmla="*/ 3224182 w 3535724"/>
                <a:gd name="connsiteY164" fmla="*/ 166345 h 2576929"/>
                <a:gd name="connsiteX165" fmla="*/ 3336269 w 3535724"/>
                <a:gd name="connsiteY165" fmla="*/ 166345 h 2576929"/>
                <a:gd name="connsiteX166" fmla="*/ 3336269 w 3535724"/>
                <a:gd name="connsiteY166" fmla="*/ 0 h 2576929"/>
                <a:gd name="connsiteX167" fmla="*/ 3530480 w 3535724"/>
                <a:gd name="connsiteY167" fmla="*/ 0 h 2576929"/>
                <a:gd name="connsiteX168" fmla="*/ 3530480 w 3535724"/>
                <a:gd name="connsiteY168" fmla="*/ 166345 h 2576929"/>
                <a:gd name="connsiteX169" fmla="*/ 3530480 w 3535724"/>
                <a:gd name="connsiteY169" fmla="*/ 168412 h 2576929"/>
                <a:gd name="connsiteX170" fmla="*/ 3529963 w 3535724"/>
                <a:gd name="connsiteY170" fmla="*/ 168412 h 2576929"/>
                <a:gd name="connsiteX171" fmla="*/ 3395521 w 3535724"/>
                <a:gd name="connsiteY171" fmla="*/ 706182 h 2576929"/>
                <a:gd name="connsiteX172" fmla="*/ 3535724 w 3535724"/>
                <a:gd name="connsiteY172" fmla="*/ 706182 h 2576929"/>
                <a:gd name="connsiteX173" fmla="*/ 3535724 w 3535724"/>
                <a:gd name="connsiteY173" fmla="*/ 1052195 h 2576929"/>
                <a:gd name="connsiteX174" fmla="*/ 3535724 w 3535724"/>
                <a:gd name="connsiteY174" fmla="*/ 2230916 h 2576929"/>
                <a:gd name="connsiteX175" fmla="*/ 3535724 w 3535724"/>
                <a:gd name="connsiteY175" fmla="*/ 2576929 h 2576929"/>
                <a:gd name="connsiteX176" fmla="*/ 0 w 3535724"/>
                <a:gd name="connsiteY176" fmla="*/ 2576929 h 2576929"/>
                <a:gd name="connsiteX177" fmla="*/ 0 w 3535724"/>
                <a:gd name="connsiteY177" fmla="*/ 2230916 h 2576929"/>
                <a:gd name="connsiteX178" fmla="*/ 0 w 3535724"/>
                <a:gd name="connsiteY178" fmla="*/ 1052195 h 2576929"/>
                <a:gd name="connsiteX179" fmla="*/ 0 w 3535724"/>
                <a:gd name="connsiteY179" fmla="*/ 706182 h 2576929"/>
                <a:gd name="connsiteX180" fmla="*/ 134960 w 3535724"/>
                <a:gd name="connsiteY180" fmla="*/ 706182 h 2576929"/>
                <a:gd name="connsiteX181" fmla="*/ 517 w 3535724"/>
                <a:gd name="connsiteY181" fmla="*/ 168412 h 2576929"/>
                <a:gd name="connsiteX182" fmla="*/ 0 w 3535724"/>
                <a:gd name="connsiteY182" fmla="*/ 168412 h 2576929"/>
                <a:gd name="connsiteX183" fmla="*/ 0 w 3535724"/>
                <a:gd name="connsiteY183" fmla="*/ 166345 h 2576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3535724" h="2576929">
                  <a:moveTo>
                    <a:pt x="1767862" y="1995276"/>
                  </a:moveTo>
                  <a:cubicBezTo>
                    <a:pt x="1696315" y="1995276"/>
                    <a:pt x="1634927" y="2038778"/>
                    <a:pt x="1608704" y="2100773"/>
                  </a:cubicBezTo>
                  <a:lnTo>
                    <a:pt x="1595497" y="2166184"/>
                  </a:lnTo>
                  <a:lnTo>
                    <a:pt x="1595129" y="2166184"/>
                  </a:lnTo>
                  <a:lnTo>
                    <a:pt x="1595129" y="2168009"/>
                  </a:lnTo>
                  <a:lnTo>
                    <a:pt x="1595129" y="2238759"/>
                  </a:lnTo>
                  <a:lnTo>
                    <a:pt x="1595129" y="2533776"/>
                  </a:lnTo>
                  <a:lnTo>
                    <a:pt x="1940595" y="2533776"/>
                  </a:lnTo>
                  <a:lnTo>
                    <a:pt x="1940595" y="2238759"/>
                  </a:lnTo>
                  <a:lnTo>
                    <a:pt x="1940595" y="2168009"/>
                  </a:lnTo>
                  <a:lnTo>
                    <a:pt x="1940595" y="2166184"/>
                  </a:lnTo>
                  <a:lnTo>
                    <a:pt x="1940227" y="2166184"/>
                  </a:lnTo>
                  <a:lnTo>
                    <a:pt x="1927022" y="2100773"/>
                  </a:lnTo>
                  <a:cubicBezTo>
                    <a:pt x="1900799" y="2038778"/>
                    <a:pt x="1839411" y="1995276"/>
                    <a:pt x="1767862" y="1995276"/>
                  </a:cubicBezTo>
                  <a:close/>
                  <a:moveTo>
                    <a:pt x="2978690" y="1659989"/>
                  </a:moveTo>
                  <a:cubicBezTo>
                    <a:pt x="2940421" y="1659989"/>
                    <a:pt x="2907586" y="1683257"/>
                    <a:pt x="2893560" y="1716417"/>
                  </a:cubicBezTo>
                  <a:lnTo>
                    <a:pt x="2886496" y="1751404"/>
                  </a:lnTo>
                  <a:lnTo>
                    <a:pt x="2886299" y="1751404"/>
                  </a:lnTo>
                  <a:lnTo>
                    <a:pt x="2886299" y="1752380"/>
                  </a:lnTo>
                  <a:lnTo>
                    <a:pt x="2886299" y="1790223"/>
                  </a:lnTo>
                  <a:lnTo>
                    <a:pt x="2886299" y="1948021"/>
                  </a:lnTo>
                  <a:lnTo>
                    <a:pt x="3071081" y="1948021"/>
                  </a:lnTo>
                  <a:lnTo>
                    <a:pt x="3071081" y="1790223"/>
                  </a:lnTo>
                  <a:lnTo>
                    <a:pt x="3071081" y="1752380"/>
                  </a:lnTo>
                  <a:lnTo>
                    <a:pt x="3071081" y="1751404"/>
                  </a:lnTo>
                  <a:lnTo>
                    <a:pt x="3070884" y="1751404"/>
                  </a:lnTo>
                  <a:lnTo>
                    <a:pt x="3063821" y="1716417"/>
                  </a:lnTo>
                  <a:cubicBezTo>
                    <a:pt x="3049795" y="1683257"/>
                    <a:pt x="3016960" y="1659989"/>
                    <a:pt x="2978690" y="1659989"/>
                  </a:cubicBezTo>
                  <a:close/>
                  <a:moveTo>
                    <a:pt x="552990" y="1659989"/>
                  </a:moveTo>
                  <a:cubicBezTo>
                    <a:pt x="514721" y="1659989"/>
                    <a:pt x="481886" y="1683257"/>
                    <a:pt x="467860" y="1716417"/>
                  </a:cubicBezTo>
                  <a:lnTo>
                    <a:pt x="460796" y="1751404"/>
                  </a:lnTo>
                  <a:lnTo>
                    <a:pt x="460599" y="1751404"/>
                  </a:lnTo>
                  <a:lnTo>
                    <a:pt x="460599" y="1752380"/>
                  </a:lnTo>
                  <a:lnTo>
                    <a:pt x="460599" y="1790223"/>
                  </a:lnTo>
                  <a:lnTo>
                    <a:pt x="460599" y="1948021"/>
                  </a:lnTo>
                  <a:lnTo>
                    <a:pt x="645381" y="1948021"/>
                  </a:lnTo>
                  <a:lnTo>
                    <a:pt x="645381" y="1790223"/>
                  </a:lnTo>
                  <a:lnTo>
                    <a:pt x="645381" y="1752380"/>
                  </a:lnTo>
                  <a:lnTo>
                    <a:pt x="645381" y="1751404"/>
                  </a:lnTo>
                  <a:lnTo>
                    <a:pt x="645184" y="1751404"/>
                  </a:lnTo>
                  <a:lnTo>
                    <a:pt x="638121" y="1716417"/>
                  </a:lnTo>
                  <a:cubicBezTo>
                    <a:pt x="624095" y="1683257"/>
                    <a:pt x="591260" y="1659989"/>
                    <a:pt x="552990" y="1659989"/>
                  </a:cubicBezTo>
                  <a:close/>
                  <a:moveTo>
                    <a:pt x="2978690" y="1197786"/>
                  </a:moveTo>
                  <a:cubicBezTo>
                    <a:pt x="2940421" y="1197786"/>
                    <a:pt x="2907586" y="1221054"/>
                    <a:pt x="2893560" y="1254214"/>
                  </a:cubicBezTo>
                  <a:lnTo>
                    <a:pt x="2886496" y="1289201"/>
                  </a:lnTo>
                  <a:lnTo>
                    <a:pt x="2886299" y="1289201"/>
                  </a:lnTo>
                  <a:lnTo>
                    <a:pt x="2886299" y="1290177"/>
                  </a:lnTo>
                  <a:lnTo>
                    <a:pt x="2886299" y="1328020"/>
                  </a:lnTo>
                  <a:lnTo>
                    <a:pt x="2886299" y="1485818"/>
                  </a:lnTo>
                  <a:lnTo>
                    <a:pt x="3071081" y="1485818"/>
                  </a:lnTo>
                  <a:lnTo>
                    <a:pt x="3071081" y="1328020"/>
                  </a:lnTo>
                  <a:lnTo>
                    <a:pt x="3071081" y="1290177"/>
                  </a:lnTo>
                  <a:lnTo>
                    <a:pt x="3071081" y="1289201"/>
                  </a:lnTo>
                  <a:lnTo>
                    <a:pt x="3070884" y="1289201"/>
                  </a:lnTo>
                  <a:lnTo>
                    <a:pt x="3063821" y="1254214"/>
                  </a:lnTo>
                  <a:cubicBezTo>
                    <a:pt x="3049795" y="1221054"/>
                    <a:pt x="3016960" y="1197786"/>
                    <a:pt x="2978690" y="1197786"/>
                  </a:cubicBezTo>
                  <a:close/>
                  <a:moveTo>
                    <a:pt x="552990" y="1197786"/>
                  </a:moveTo>
                  <a:cubicBezTo>
                    <a:pt x="514721" y="1197786"/>
                    <a:pt x="481886" y="1221054"/>
                    <a:pt x="467860" y="1254214"/>
                  </a:cubicBezTo>
                  <a:lnTo>
                    <a:pt x="460796" y="1289201"/>
                  </a:lnTo>
                  <a:lnTo>
                    <a:pt x="460599" y="1289201"/>
                  </a:lnTo>
                  <a:lnTo>
                    <a:pt x="460599" y="1290177"/>
                  </a:lnTo>
                  <a:lnTo>
                    <a:pt x="460599" y="1328020"/>
                  </a:lnTo>
                  <a:lnTo>
                    <a:pt x="460599" y="1485818"/>
                  </a:lnTo>
                  <a:lnTo>
                    <a:pt x="645381" y="1485818"/>
                  </a:lnTo>
                  <a:lnTo>
                    <a:pt x="645381" y="1328020"/>
                  </a:lnTo>
                  <a:lnTo>
                    <a:pt x="645381" y="1290177"/>
                  </a:lnTo>
                  <a:lnTo>
                    <a:pt x="645381" y="1289201"/>
                  </a:lnTo>
                  <a:lnTo>
                    <a:pt x="645184" y="1289201"/>
                  </a:lnTo>
                  <a:lnTo>
                    <a:pt x="638121" y="1254214"/>
                  </a:lnTo>
                  <a:cubicBezTo>
                    <a:pt x="624095" y="1221054"/>
                    <a:pt x="591260" y="1197786"/>
                    <a:pt x="552990" y="1197786"/>
                  </a:cubicBezTo>
                  <a:close/>
                  <a:moveTo>
                    <a:pt x="1767862" y="1197786"/>
                  </a:moveTo>
                  <a:cubicBezTo>
                    <a:pt x="1696315" y="1197786"/>
                    <a:pt x="1634927" y="1241288"/>
                    <a:pt x="1608704" y="1303283"/>
                  </a:cubicBezTo>
                  <a:lnTo>
                    <a:pt x="1595497" y="1368694"/>
                  </a:lnTo>
                  <a:lnTo>
                    <a:pt x="1595129" y="1368694"/>
                  </a:lnTo>
                  <a:lnTo>
                    <a:pt x="1595129" y="1370519"/>
                  </a:lnTo>
                  <a:lnTo>
                    <a:pt x="1595129" y="1441270"/>
                  </a:lnTo>
                  <a:lnTo>
                    <a:pt x="1595129" y="1485818"/>
                  </a:lnTo>
                  <a:lnTo>
                    <a:pt x="1940595" y="1485818"/>
                  </a:lnTo>
                  <a:lnTo>
                    <a:pt x="1940595" y="1441270"/>
                  </a:lnTo>
                  <a:lnTo>
                    <a:pt x="1940595" y="1370519"/>
                  </a:lnTo>
                  <a:lnTo>
                    <a:pt x="1940595" y="1368694"/>
                  </a:lnTo>
                  <a:lnTo>
                    <a:pt x="1940227" y="1368694"/>
                  </a:lnTo>
                  <a:lnTo>
                    <a:pt x="1927022" y="1303283"/>
                  </a:lnTo>
                  <a:cubicBezTo>
                    <a:pt x="1900799" y="1241288"/>
                    <a:pt x="1839411" y="1197786"/>
                    <a:pt x="1767862" y="1197786"/>
                  </a:cubicBezTo>
                  <a:close/>
                  <a:moveTo>
                    <a:pt x="552990" y="735584"/>
                  </a:moveTo>
                  <a:cubicBezTo>
                    <a:pt x="514721" y="735584"/>
                    <a:pt x="481886" y="758852"/>
                    <a:pt x="467860" y="792012"/>
                  </a:cubicBezTo>
                  <a:lnTo>
                    <a:pt x="460796" y="826999"/>
                  </a:lnTo>
                  <a:lnTo>
                    <a:pt x="460599" y="826999"/>
                  </a:lnTo>
                  <a:lnTo>
                    <a:pt x="460599" y="827975"/>
                  </a:lnTo>
                  <a:lnTo>
                    <a:pt x="460599" y="865818"/>
                  </a:lnTo>
                  <a:lnTo>
                    <a:pt x="460599" y="1023616"/>
                  </a:lnTo>
                  <a:lnTo>
                    <a:pt x="645381" y="1023616"/>
                  </a:lnTo>
                  <a:lnTo>
                    <a:pt x="645381" y="865818"/>
                  </a:lnTo>
                  <a:lnTo>
                    <a:pt x="645381" y="827975"/>
                  </a:lnTo>
                  <a:lnTo>
                    <a:pt x="645381" y="826999"/>
                  </a:lnTo>
                  <a:lnTo>
                    <a:pt x="645184" y="826999"/>
                  </a:lnTo>
                  <a:lnTo>
                    <a:pt x="638121" y="792012"/>
                  </a:lnTo>
                  <a:cubicBezTo>
                    <a:pt x="624095" y="758852"/>
                    <a:pt x="591260" y="735584"/>
                    <a:pt x="552990" y="735584"/>
                  </a:cubicBezTo>
                  <a:close/>
                  <a:moveTo>
                    <a:pt x="2978690" y="735584"/>
                  </a:moveTo>
                  <a:cubicBezTo>
                    <a:pt x="2940421" y="735584"/>
                    <a:pt x="2907586" y="758852"/>
                    <a:pt x="2893560" y="792012"/>
                  </a:cubicBezTo>
                  <a:lnTo>
                    <a:pt x="2886496" y="826999"/>
                  </a:lnTo>
                  <a:lnTo>
                    <a:pt x="2886299" y="826999"/>
                  </a:lnTo>
                  <a:lnTo>
                    <a:pt x="2886299" y="827975"/>
                  </a:lnTo>
                  <a:lnTo>
                    <a:pt x="2886299" y="865818"/>
                  </a:lnTo>
                  <a:lnTo>
                    <a:pt x="2886299" y="1023616"/>
                  </a:lnTo>
                  <a:lnTo>
                    <a:pt x="3071081" y="1023616"/>
                  </a:lnTo>
                  <a:lnTo>
                    <a:pt x="3071081" y="865818"/>
                  </a:lnTo>
                  <a:lnTo>
                    <a:pt x="3071081" y="827975"/>
                  </a:lnTo>
                  <a:lnTo>
                    <a:pt x="3071081" y="826999"/>
                  </a:lnTo>
                  <a:lnTo>
                    <a:pt x="3070884" y="826999"/>
                  </a:lnTo>
                  <a:lnTo>
                    <a:pt x="3063821" y="792012"/>
                  </a:lnTo>
                  <a:cubicBezTo>
                    <a:pt x="3049795" y="758852"/>
                    <a:pt x="3016960" y="735584"/>
                    <a:pt x="2978690" y="735584"/>
                  </a:cubicBezTo>
                  <a:close/>
                  <a:moveTo>
                    <a:pt x="0" y="0"/>
                  </a:moveTo>
                  <a:lnTo>
                    <a:pt x="194211" y="0"/>
                  </a:lnTo>
                  <a:lnTo>
                    <a:pt x="194211" y="166345"/>
                  </a:lnTo>
                  <a:lnTo>
                    <a:pt x="306299" y="166345"/>
                  </a:lnTo>
                  <a:lnTo>
                    <a:pt x="306299" y="0"/>
                  </a:lnTo>
                  <a:lnTo>
                    <a:pt x="500510" y="0"/>
                  </a:lnTo>
                  <a:lnTo>
                    <a:pt x="500510" y="166345"/>
                  </a:lnTo>
                  <a:lnTo>
                    <a:pt x="612598" y="166345"/>
                  </a:lnTo>
                  <a:lnTo>
                    <a:pt x="612598" y="0"/>
                  </a:lnTo>
                  <a:lnTo>
                    <a:pt x="806809" y="0"/>
                  </a:lnTo>
                  <a:lnTo>
                    <a:pt x="806809" y="166345"/>
                  </a:lnTo>
                  <a:lnTo>
                    <a:pt x="918896" y="166345"/>
                  </a:lnTo>
                  <a:lnTo>
                    <a:pt x="918896" y="0"/>
                  </a:lnTo>
                  <a:lnTo>
                    <a:pt x="1113107" y="0"/>
                  </a:lnTo>
                  <a:lnTo>
                    <a:pt x="1113107" y="166345"/>
                  </a:lnTo>
                  <a:lnTo>
                    <a:pt x="1113107" y="168412"/>
                  </a:lnTo>
                  <a:lnTo>
                    <a:pt x="1112591" y="168412"/>
                  </a:lnTo>
                  <a:lnTo>
                    <a:pt x="978149" y="706182"/>
                  </a:lnTo>
                  <a:lnTo>
                    <a:pt x="1105052" y="706182"/>
                  </a:lnTo>
                  <a:lnTo>
                    <a:pt x="1105052" y="1052195"/>
                  </a:lnTo>
                  <a:lnTo>
                    <a:pt x="1225256" y="1052195"/>
                  </a:lnTo>
                  <a:lnTo>
                    <a:pt x="1225256" y="919309"/>
                  </a:lnTo>
                  <a:lnTo>
                    <a:pt x="1405256" y="919309"/>
                  </a:lnTo>
                  <a:lnTo>
                    <a:pt x="1405256" y="1052195"/>
                  </a:lnTo>
                  <a:lnTo>
                    <a:pt x="1526994" y="1052195"/>
                  </a:lnTo>
                  <a:lnTo>
                    <a:pt x="1526994" y="919309"/>
                  </a:lnTo>
                  <a:lnTo>
                    <a:pt x="1706994" y="919309"/>
                  </a:lnTo>
                  <a:lnTo>
                    <a:pt x="1706994" y="1052195"/>
                  </a:lnTo>
                  <a:lnTo>
                    <a:pt x="1828732" y="1052195"/>
                  </a:lnTo>
                  <a:lnTo>
                    <a:pt x="1828732" y="919309"/>
                  </a:lnTo>
                  <a:lnTo>
                    <a:pt x="2008732" y="919309"/>
                  </a:lnTo>
                  <a:lnTo>
                    <a:pt x="2008732" y="1052195"/>
                  </a:lnTo>
                  <a:lnTo>
                    <a:pt x="2130469" y="1052195"/>
                  </a:lnTo>
                  <a:lnTo>
                    <a:pt x="2130469" y="919309"/>
                  </a:lnTo>
                  <a:lnTo>
                    <a:pt x="2310469" y="919309"/>
                  </a:lnTo>
                  <a:lnTo>
                    <a:pt x="2310469" y="1052195"/>
                  </a:lnTo>
                  <a:lnTo>
                    <a:pt x="2430672" y="1052195"/>
                  </a:lnTo>
                  <a:lnTo>
                    <a:pt x="2430672" y="706182"/>
                  </a:lnTo>
                  <a:lnTo>
                    <a:pt x="2552333" y="706182"/>
                  </a:lnTo>
                  <a:lnTo>
                    <a:pt x="2417890" y="168412"/>
                  </a:lnTo>
                  <a:lnTo>
                    <a:pt x="2417373" y="168412"/>
                  </a:lnTo>
                  <a:lnTo>
                    <a:pt x="2417373" y="166345"/>
                  </a:lnTo>
                  <a:lnTo>
                    <a:pt x="2417373" y="0"/>
                  </a:lnTo>
                  <a:lnTo>
                    <a:pt x="2611584" y="0"/>
                  </a:lnTo>
                  <a:lnTo>
                    <a:pt x="2611584" y="166345"/>
                  </a:lnTo>
                  <a:lnTo>
                    <a:pt x="2723672" y="166345"/>
                  </a:lnTo>
                  <a:lnTo>
                    <a:pt x="2723672" y="0"/>
                  </a:lnTo>
                  <a:lnTo>
                    <a:pt x="2917883" y="0"/>
                  </a:lnTo>
                  <a:lnTo>
                    <a:pt x="2917883" y="166345"/>
                  </a:lnTo>
                  <a:lnTo>
                    <a:pt x="3029971" y="166345"/>
                  </a:lnTo>
                  <a:lnTo>
                    <a:pt x="3029971" y="0"/>
                  </a:lnTo>
                  <a:lnTo>
                    <a:pt x="3224182" y="0"/>
                  </a:lnTo>
                  <a:lnTo>
                    <a:pt x="3224182" y="166345"/>
                  </a:lnTo>
                  <a:lnTo>
                    <a:pt x="3336269" y="166345"/>
                  </a:lnTo>
                  <a:lnTo>
                    <a:pt x="3336269" y="0"/>
                  </a:lnTo>
                  <a:lnTo>
                    <a:pt x="3530480" y="0"/>
                  </a:lnTo>
                  <a:lnTo>
                    <a:pt x="3530480" y="166345"/>
                  </a:lnTo>
                  <a:lnTo>
                    <a:pt x="3530480" y="168412"/>
                  </a:lnTo>
                  <a:lnTo>
                    <a:pt x="3529963" y="168412"/>
                  </a:lnTo>
                  <a:lnTo>
                    <a:pt x="3395521" y="706182"/>
                  </a:lnTo>
                  <a:lnTo>
                    <a:pt x="3535724" y="706182"/>
                  </a:lnTo>
                  <a:lnTo>
                    <a:pt x="3535724" y="1052195"/>
                  </a:lnTo>
                  <a:lnTo>
                    <a:pt x="3535724" y="2230916"/>
                  </a:lnTo>
                  <a:lnTo>
                    <a:pt x="3535724" y="2576929"/>
                  </a:lnTo>
                  <a:lnTo>
                    <a:pt x="0" y="2576929"/>
                  </a:lnTo>
                  <a:lnTo>
                    <a:pt x="0" y="2230916"/>
                  </a:lnTo>
                  <a:lnTo>
                    <a:pt x="0" y="1052195"/>
                  </a:lnTo>
                  <a:lnTo>
                    <a:pt x="0" y="706182"/>
                  </a:lnTo>
                  <a:lnTo>
                    <a:pt x="134960" y="706182"/>
                  </a:lnTo>
                  <a:lnTo>
                    <a:pt x="517" y="168412"/>
                  </a:lnTo>
                  <a:lnTo>
                    <a:pt x="0" y="168412"/>
                  </a:lnTo>
                  <a:lnTo>
                    <a:pt x="0" y="166345"/>
                  </a:lnTo>
                  <a:close/>
                </a:path>
              </a:pathLst>
            </a:custGeom>
            <a:solidFill>
              <a:srgbClr val="98A2AE">
                <a:alpha val="35000"/>
              </a:srgb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none" tIns="672000" rtlCol="0" anchor="t">
              <a:noAutofit/>
            </a:bodyPr>
            <a:lstStyle/>
            <a:p>
              <a:pPr marL="0" marR="0" lvl="0" indent="0" algn="ctr" defTabSz="6133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bg-BG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>
                      <a:lumMod val="75000"/>
                    </a:schemeClr>
                  </a:solidFill>
                  <a:effectLst/>
                  <a:uLnTx/>
                  <a:uFillTx/>
                  <a:ea typeface="Nokia Pure Text Light" panose="020B0403020202020204" pitchFamily="34" charset="0"/>
                </a:rPr>
                <a:t>Управление</a:t>
              </a:r>
              <a:endParaRPr kumimoji="0" lang="en-GB" sz="11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4" name="Freihandform: Form 90">
            <a:extLst>
              <a:ext uri="{FF2B5EF4-FFF2-40B4-BE49-F238E27FC236}">
                <a16:creationId xmlns:a16="http://schemas.microsoft.com/office/drawing/2014/main" xmlns="" id="{738AA270-94CE-4112-98AB-65FC628FE351}"/>
              </a:ext>
            </a:extLst>
          </p:cNvPr>
          <p:cNvSpPr/>
          <p:nvPr/>
        </p:nvSpPr>
        <p:spPr>
          <a:xfrm rot="16200000">
            <a:off x="5083041" y="2634079"/>
            <a:ext cx="3644932" cy="862729"/>
          </a:xfrm>
          <a:custGeom>
            <a:avLst/>
            <a:gdLst>
              <a:gd name="connsiteX0" fmla="*/ 2528912 w 2528912"/>
              <a:gd name="connsiteY0" fmla="*/ 642284 h 642284"/>
              <a:gd name="connsiteX1" fmla="*/ 0 w 2528912"/>
              <a:gd name="connsiteY1" fmla="*/ 642284 h 642284"/>
              <a:gd name="connsiteX2" fmla="*/ 358293 w 2528912"/>
              <a:gd name="connsiteY2" fmla="*/ 0 h 642284"/>
              <a:gd name="connsiteX3" fmla="*/ 1264457 w 2528912"/>
              <a:gd name="connsiteY3" fmla="*/ 402518 h 642284"/>
              <a:gd name="connsiteX4" fmla="*/ 2170621 w 2528912"/>
              <a:gd name="connsiteY4" fmla="*/ 0 h 642284"/>
              <a:gd name="connsiteX0" fmla="*/ 2624162 w 2624162"/>
              <a:gd name="connsiteY0" fmla="*/ 642284 h 642284"/>
              <a:gd name="connsiteX1" fmla="*/ 0 w 2624162"/>
              <a:gd name="connsiteY1" fmla="*/ 642284 h 642284"/>
              <a:gd name="connsiteX2" fmla="*/ 358293 w 2624162"/>
              <a:gd name="connsiteY2" fmla="*/ 0 h 642284"/>
              <a:gd name="connsiteX3" fmla="*/ 1264457 w 2624162"/>
              <a:gd name="connsiteY3" fmla="*/ 402518 h 642284"/>
              <a:gd name="connsiteX4" fmla="*/ 2170621 w 2624162"/>
              <a:gd name="connsiteY4" fmla="*/ 0 h 642284"/>
              <a:gd name="connsiteX5" fmla="*/ 2624162 w 2624162"/>
              <a:gd name="connsiteY5" fmla="*/ 642284 h 642284"/>
              <a:gd name="connsiteX0" fmla="*/ 2624162 w 2624162"/>
              <a:gd name="connsiteY0" fmla="*/ 642284 h 642284"/>
              <a:gd name="connsiteX1" fmla="*/ 0 w 2624162"/>
              <a:gd name="connsiteY1" fmla="*/ 642284 h 642284"/>
              <a:gd name="connsiteX2" fmla="*/ 358293 w 2624162"/>
              <a:gd name="connsiteY2" fmla="*/ 0 h 642284"/>
              <a:gd name="connsiteX3" fmla="*/ 1264457 w 2624162"/>
              <a:gd name="connsiteY3" fmla="*/ 402518 h 642284"/>
              <a:gd name="connsiteX4" fmla="*/ 2170621 w 2624162"/>
              <a:gd name="connsiteY4" fmla="*/ 0 h 642284"/>
              <a:gd name="connsiteX5" fmla="*/ 2624162 w 2624162"/>
              <a:gd name="connsiteY5" fmla="*/ 642284 h 642284"/>
              <a:gd name="connsiteX0" fmla="*/ 2733699 w 2733699"/>
              <a:gd name="connsiteY0" fmla="*/ 642284 h 647047"/>
              <a:gd name="connsiteX1" fmla="*/ 0 w 2733699"/>
              <a:gd name="connsiteY1" fmla="*/ 647047 h 647047"/>
              <a:gd name="connsiteX2" fmla="*/ 467830 w 2733699"/>
              <a:gd name="connsiteY2" fmla="*/ 0 h 647047"/>
              <a:gd name="connsiteX3" fmla="*/ 1373994 w 2733699"/>
              <a:gd name="connsiteY3" fmla="*/ 402518 h 647047"/>
              <a:gd name="connsiteX4" fmla="*/ 2280158 w 2733699"/>
              <a:gd name="connsiteY4" fmla="*/ 0 h 647047"/>
              <a:gd name="connsiteX5" fmla="*/ 2733699 w 2733699"/>
              <a:gd name="connsiteY5" fmla="*/ 642284 h 647047"/>
              <a:gd name="connsiteX0" fmla="*/ 2733699 w 2733699"/>
              <a:gd name="connsiteY0" fmla="*/ 642284 h 647047"/>
              <a:gd name="connsiteX1" fmla="*/ 0 w 2733699"/>
              <a:gd name="connsiteY1" fmla="*/ 647047 h 647047"/>
              <a:gd name="connsiteX2" fmla="*/ 467830 w 2733699"/>
              <a:gd name="connsiteY2" fmla="*/ 0 h 647047"/>
              <a:gd name="connsiteX3" fmla="*/ 1373994 w 2733699"/>
              <a:gd name="connsiteY3" fmla="*/ 402518 h 647047"/>
              <a:gd name="connsiteX4" fmla="*/ 2280158 w 2733699"/>
              <a:gd name="connsiteY4" fmla="*/ 0 h 647047"/>
              <a:gd name="connsiteX5" fmla="*/ 2733699 w 2733699"/>
              <a:gd name="connsiteY5" fmla="*/ 642284 h 647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3699" h="647047">
                <a:moveTo>
                  <a:pt x="2733699" y="642284"/>
                </a:moveTo>
                <a:lnTo>
                  <a:pt x="0" y="647047"/>
                </a:lnTo>
                <a:lnTo>
                  <a:pt x="467830" y="0"/>
                </a:lnTo>
                <a:lnTo>
                  <a:pt x="1373994" y="402518"/>
                </a:lnTo>
                <a:lnTo>
                  <a:pt x="2280158" y="0"/>
                </a:lnTo>
                <a:lnTo>
                  <a:pt x="2733699" y="642284"/>
                </a:lnTo>
                <a:close/>
              </a:path>
            </a:pathLst>
          </a:custGeom>
          <a:solidFill>
            <a:srgbClr val="EBEEF1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133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 panose="020B0403020202020204" pitchFamily="34" charset="0"/>
              <a:ea typeface="Nokia Pure Text Light" panose="020B0403020202020204" pitchFamily="34" charset="0"/>
              <a:cs typeface="+mn-cs"/>
            </a:endParaRPr>
          </a:p>
        </p:txBody>
      </p:sp>
      <p:sp>
        <p:nvSpPr>
          <p:cNvPr id="70" name="Rechteck 127">
            <a:extLst>
              <a:ext uri="{FF2B5EF4-FFF2-40B4-BE49-F238E27FC236}">
                <a16:creationId xmlns:a16="http://schemas.microsoft.com/office/drawing/2014/main" xmlns="" id="{1DD7E612-BFC5-43F6-8642-948F2EF6951A}"/>
              </a:ext>
            </a:extLst>
          </p:cNvPr>
          <p:cNvSpPr/>
          <p:nvPr/>
        </p:nvSpPr>
        <p:spPr>
          <a:xfrm>
            <a:off x="1203299" y="1986839"/>
            <a:ext cx="85866" cy="2151177"/>
          </a:xfrm>
          <a:prstGeom prst="rect">
            <a:avLst/>
          </a:prstGeom>
          <a:solidFill>
            <a:srgbClr val="FFFFFF"/>
          </a:solidFill>
          <a:ln w="31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133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 panose="020B0403020202020204" pitchFamily="34" charset="0"/>
              <a:ea typeface="Nokia Pure Text Light" panose="020B0403020202020204" pitchFamily="34" charset="0"/>
              <a:cs typeface="+mn-cs"/>
            </a:endParaRPr>
          </a:p>
        </p:txBody>
      </p:sp>
      <p:sp>
        <p:nvSpPr>
          <p:cNvPr id="72" name="Textfeld 22"/>
          <p:cNvSpPr txBox="1"/>
          <p:nvPr/>
        </p:nvSpPr>
        <p:spPr>
          <a:xfrm>
            <a:off x="4378782" y="4686698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bg-BG" sz="1200" kern="0" dirty="0">
                <a:solidFill>
                  <a:schemeClr val="bg1">
                    <a:lumMod val="75000"/>
                  </a:schemeClr>
                </a:solidFill>
                <a:ea typeface="Nokia Pure Text Light" panose="020B0403020202020204" pitchFamily="34" charset="0"/>
              </a:rPr>
              <a:t>Основен</a:t>
            </a:r>
            <a:endParaRPr lang="de-AT" sz="1200" kern="0" dirty="0">
              <a:solidFill>
                <a:schemeClr val="bg1">
                  <a:lumMod val="75000"/>
                </a:schemeClr>
              </a:solidFill>
              <a:ea typeface="Nokia Pure Text Light" panose="020B0403020202020204" pitchFamily="34" charset="0"/>
            </a:endParaRPr>
          </a:p>
        </p:txBody>
      </p:sp>
      <p:sp>
        <p:nvSpPr>
          <p:cNvPr id="73" name="Rectangle 3">
            <a:extLst>
              <a:ext uri="{FF2B5EF4-FFF2-40B4-BE49-F238E27FC236}">
                <a16:creationId xmlns:a16="http://schemas.microsoft.com/office/drawing/2014/main" xmlns="" id="{99F608E8-E6DD-43C6-B392-73A85917CA43}"/>
              </a:ext>
            </a:extLst>
          </p:cNvPr>
          <p:cNvSpPr/>
          <p:nvPr/>
        </p:nvSpPr>
        <p:spPr>
          <a:xfrm>
            <a:off x="7428616" y="1505871"/>
            <a:ext cx="1715384" cy="808001"/>
          </a:xfrm>
          <a:prstGeom prst="rect">
            <a:avLst/>
          </a:prstGeom>
          <a:noFill/>
        </p:spPr>
        <p:txBody>
          <a:bodyPr wrap="square" lIns="36000" tIns="0" rIns="36000" bIns="0" anchor="ctr">
            <a:noAutofit/>
          </a:bodyPr>
          <a:lstStyle/>
          <a:p>
            <a:pPr defTabSz="460024">
              <a:lnSpc>
                <a:spcPct val="90000"/>
              </a:lnSpc>
              <a:defRPr/>
            </a:pPr>
            <a:r>
              <a:rPr lang="bg-BG" sz="1200" b="1" dirty="0" err="1" smtClean="0">
                <a:solidFill>
                  <a:srgbClr val="DA291C"/>
                </a:solidFill>
              </a:rPr>
              <a:t>Супербърз</a:t>
            </a:r>
            <a:r>
              <a:rPr lang="bg-BG" sz="1200" b="1" dirty="0" smtClean="0">
                <a:solidFill>
                  <a:srgbClr val="DA291C"/>
                </a:solidFill>
              </a:rPr>
              <a:t> </a:t>
            </a:r>
            <a:r>
              <a:rPr lang="bg-BG" sz="1200" b="1" dirty="0">
                <a:solidFill>
                  <a:srgbClr val="DA291C"/>
                </a:solidFill>
              </a:rPr>
              <a:t>широколентов мобилен </a:t>
            </a:r>
            <a:r>
              <a:rPr lang="bg-BG" sz="1200" b="1" dirty="0" smtClean="0">
                <a:solidFill>
                  <a:srgbClr val="DA291C"/>
                </a:solidFill>
              </a:rPr>
              <a:t>достъп</a:t>
            </a:r>
            <a:r>
              <a:rPr lang="en-US" sz="1200" b="1" dirty="0">
                <a:solidFill>
                  <a:srgbClr val="DA291C"/>
                </a:solidFill>
              </a:rPr>
              <a:t> (</a:t>
            </a:r>
            <a:r>
              <a:rPr lang="en-US" sz="1200" b="1" dirty="0" err="1" smtClean="0">
                <a:solidFill>
                  <a:srgbClr val="DA291C"/>
                </a:solidFill>
              </a:rPr>
              <a:t>eMBB</a:t>
            </a:r>
            <a:r>
              <a:rPr lang="en-US" sz="1200" b="1" dirty="0" smtClean="0">
                <a:solidFill>
                  <a:srgbClr val="DA291C"/>
                </a:solidFill>
              </a:rPr>
              <a:t>)</a:t>
            </a:r>
            <a:endParaRPr lang="en-GB" sz="1200" b="1" dirty="0">
              <a:solidFill>
                <a:srgbClr val="DA291C"/>
              </a:solidFill>
            </a:endParaRPr>
          </a:p>
        </p:txBody>
      </p:sp>
      <p:sp>
        <p:nvSpPr>
          <p:cNvPr id="74" name="Rectangle 3">
            <a:extLst>
              <a:ext uri="{FF2B5EF4-FFF2-40B4-BE49-F238E27FC236}">
                <a16:creationId xmlns:a16="http://schemas.microsoft.com/office/drawing/2014/main" xmlns="" id="{723E2983-84A7-4D8E-ACE4-D855EF458839}"/>
              </a:ext>
            </a:extLst>
          </p:cNvPr>
          <p:cNvSpPr/>
          <p:nvPr/>
        </p:nvSpPr>
        <p:spPr>
          <a:xfrm>
            <a:off x="7495042" y="2428883"/>
            <a:ext cx="1618639" cy="1042813"/>
          </a:xfrm>
          <a:prstGeom prst="rect">
            <a:avLst/>
          </a:prstGeom>
          <a:noFill/>
        </p:spPr>
        <p:txBody>
          <a:bodyPr wrap="square" lIns="36000" tIns="0" rIns="36000" bIns="0" anchor="ctr">
            <a:noAutofit/>
          </a:bodyPr>
          <a:lstStyle/>
          <a:p>
            <a:pPr defTabSz="460024">
              <a:lnSpc>
                <a:spcPct val="90000"/>
              </a:lnSpc>
              <a:defRPr/>
            </a:pPr>
            <a:r>
              <a:rPr lang="bg-BG" sz="1200" b="1" dirty="0">
                <a:solidFill>
                  <a:srgbClr val="6295AC"/>
                </a:solidFill>
              </a:rPr>
              <a:t>Ултра надеждна комуникация</a:t>
            </a:r>
          </a:p>
          <a:p>
            <a:pPr defTabSz="460024">
              <a:lnSpc>
                <a:spcPct val="90000"/>
              </a:lnSpc>
              <a:defRPr/>
            </a:pPr>
            <a:r>
              <a:rPr lang="bg-BG" sz="1200" b="1" dirty="0">
                <a:solidFill>
                  <a:srgbClr val="6295AC"/>
                </a:solidFill>
              </a:rPr>
              <a:t>с малко закъснение</a:t>
            </a:r>
            <a:r>
              <a:rPr lang="en-US" sz="1200" b="1" dirty="0">
                <a:solidFill>
                  <a:srgbClr val="6295AC"/>
                </a:solidFill>
              </a:rPr>
              <a:t> (URLLC)</a:t>
            </a:r>
            <a:endParaRPr lang="en-GB" sz="1200" b="1" dirty="0">
              <a:solidFill>
                <a:srgbClr val="6295AC"/>
              </a:solidFill>
            </a:endParaRPr>
          </a:p>
        </p:txBody>
      </p:sp>
      <p:sp>
        <p:nvSpPr>
          <p:cNvPr id="75" name="Rectangle 3">
            <a:extLst>
              <a:ext uri="{FF2B5EF4-FFF2-40B4-BE49-F238E27FC236}">
                <a16:creationId xmlns:a16="http://schemas.microsoft.com/office/drawing/2014/main" xmlns="" id="{B1B99BDE-8418-42B5-888B-D347B7955522}"/>
              </a:ext>
            </a:extLst>
          </p:cNvPr>
          <p:cNvSpPr/>
          <p:nvPr/>
        </p:nvSpPr>
        <p:spPr>
          <a:xfrm>
            <a:off x="7466627" y="3706613"/>
            <a:ext cx="1618167" cy="668804"/>
          </a:xfrm>
          <a:prstGeom prst="rect">
            <a:avLst/>
          </a:prstGeom>
          <a:noFill/>
        </p:spPr>
        <p:txBody>
          <a:bodyPr wrap="square" lIns="36000" tIns="0" rIns="36000" bIns="0" anchor="ctr">
            <a:noAutofit/>
          </a:bodyPr>
          <a:lstStyle/>
          <a:p>
            <a:pPr defTabSz="460024">
              <a:lnSpc>
                <a:spcPct val="90000"/>
              </a:lnSpc>
              <a:defRPr/>
            </a:pPr>
            <a:r>
              <a:rPr lang="bg-BG" sz="1200" b="1" dirty="0"/>
              <a:t>Масирана комуникация между машини</a:t>
            </a:r>
            <a:r>
              <a:rPr lang="en-US" sz="1200" b="1" dirty="0"/>
              <a:t> (</a:t>
            </a:r>
            <a:r>
              <a:rPr lang="en-US" sz="1200" b="1" dirty="0" err="1"/>
              <a:t>mMTC</a:t>
            </a:r>
            <a:r>
              <a:rPr lang="en-GB" sz="1200" b="1" dirty="0"/>
              <a:t>)</a:t>
            </a:r>
            <a:endParaRPr lang="en-US" sz="1200" b="1" dirty="0"/>
          </a:p>
        </p:txBody>
      </p:sp>
      <p:sp>
        <p:nvSpPr>
          <p:cNvPr id="76" name="Textfeld 67">
            <a:extLst>
              <a:ext uri="{FF2B5EF4-FFF2-40B4-BE49-F238E27FC236}">
                <a16:creationId xmlns:a16="http://schemas.microsoft.com/office/drawing/2014/main" xmlns="" id="{3EBC7562-9C16-4E7F-88D0-7CA291281CB8}"/>
              </a:ext>
            </a:extLst>
          </p:cNvPr>
          <p:cNvSpPr txBox="1"/>
          <p:nvPr/>
        </p:nvSpPr>
        <p:spPr>
          <a:xfrm>
            <a:off x="2455684" y="707255"/>
            <a:ext cx="3552393" cy="440096"/>
          </a:xfrm>
          <a:prstGeom prst="rect">
            <a:avLst/>
          </a:prstGeom>
          <a:noFill/>
        </p:spPr>
        <p:txBody>
          <a:bodyPr wrap="none" lIns="96000" tIns="96000" rIns="96000" bIns="96000" rtlCol="0">
            <a:noAutofit/>
          </a:bodyPr>
          <a:lstStyle/>
          <a:p>
            <a:pPr algn="ctr" defTabSz="479988" fontAlgn="base">
              <a:spcBef>
                <a:spcPct val="0"/>
              </a:spcBef>
              <a:spcAft>
                <a:spcPts val="800"/>
              </a:spcAft>
              <a:tabLst>
                <a:tab pos="479988" algn="l"/>
              </a:tabLst>
            </a:pPr>
            <a:r>
              <a:rPr lang="bg-BG" dirty="0" smtClean="0">
                <a:solidFill>
                  <a:schemeClr val="bg1">
                    <a:lumMod val="75000"/>
                  </a:schemeClr>
                </a:solidFill>
                <a:ea typeface="Nokia Pure Text Light" panose="020B0403020202020204" pitchFamily="34" charset="0"/>
              </a:rPr>
              <a:t>Мрежови домейни</a:t>
            </a:r>
            <a:endParaRPr lang="en-GB" dirty="0">
              <a:solidFill>
                <a:schemeClr val="bg1">
                  <a:lumMod val="75000"/>
                </a:schemeClr>
              </a:solidFill>
              <a:ea typeface="Nokia Pure Text Light" panose="020B0403020202020204" pitchFamily="34" charset="0"/>
            </a:endParaRPr>
          </a:p>
        </p:txBody>
      </p:sp>
      <p:sp>
        <p:nvSpPr>
          <p:cNvPr id="102" name="Textfeld 164">
            <a:extLst>
              <a:ext uri="{FF2B5EF4-FFF2-40B4-BE49-F238E27FC236}">
                <a16:creationId xmlns:a16="http://schemas.microsoft.com/office/drawing/2014/main" xmlns="" id="{E963314A-30C9-4091-8935-2BFF96E1D565}"/>
              </a:ext>
            </a:extLst>
          </p:cNvPr>
          <p:cNvSpPr txBox="1"/>
          <p:nvPr/>
        </p:nvSpPr>
        <p:spPr>
          <a:xfrm>
            <a:off x="2463468" y="3765789"/>
            <a:ext cx="3964920" cy="599721"/>
          </a:xfrm>
          <a:prstGeom prst="rect">
            <a:avLst/>
          </a:prstGeom>
          <a:noFill/>
        </p:spPr>
        <p:txBody>
          <a:bodyPr wrap="none" lIns="96000" tIns="96000" rIns="96000" bIns="96000" rtlCol="0">
            <a:noAutofit/>
          </a:bodyPr>
          <a:lstStyle/>
          <a:p>
            <a:pPr defTabSz="479988" fontAlgn="base">
              <a:lnSpc>
                <a:spcPct val="90000"/>
              </a:lnSpc>
              <a:spcBef>
                <a:spcPct val="0"/>
              </a:spcBef>
              <a:spcAft>
                <a:spcPts val="800"/>
              </a:spcAft>
              <a:tabLst>
                <a:tab pos="479988" algn="l"/>
              </a:tabLst>
            </a:pPr>
            <a:r>
              <a:rPr lang="bg-BG" sz="2000" dirty="0" smtClean="0">
                <a:ea typeface="Nokia Pure Text Light" panose="020B0403020202020204" pitchFamily="34" charset="0"/>
              </a:rPr>
              <a:t>Взаимодействие</a:t>
            </a:r>
            <a:endParaRPr lang="en-US" sz="2000" dirty="0">
              <a:ea typeface="Nokia Pure Text Light" panose="020B0403020202020204" pitchFamily="34" charset="0"/>
            </a:endParaRPr>
          </a:p>
        </p:txBody>
      </p:sp>
      <p:sp>
        <p:nvSpPr>
          <p:cNvPr id="128" name="Pfeil: Fünfeck 128">
            <a:extLst>
              <a:ext uri="{FF2B5EF4-FFF2-40B4-BE49-F238E27FC236}">
                <a16:creationId xmlns:a16="http://schemas.microsoft.com/office/drawing/2014/main" xmlns="" id="{7FD07116-20E6-44D7-BD44-9D97D1A50EB4}"/>
              </a:ext>
            </a:extLst>
          </p:cNvPr>
          <p:cNvSpPr/>
          <p:nvPr/>
        </p:nvSpPr>
        <p:spPr>
          <a:xfrm>
            <a:off x="0" y="1986839"/>
            <a:ext cx="7008780" cy="2151177"/>
          </a:xfrm>
          <a:prstGeom prst="homePlate">
            <a:avLst>
              <a:gd name="adj" fmla="val 22210"/>
            </a:avLst>
          </a:prstGeom>
          <a:solidFill>
            <a:srgbClr val="FFFFFF">
              <a:alpha val="31000"/>
            </a:srgbClr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13365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 smtClean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Headline Light"/>
              <a:ea typeface="Nokia Pure Text Light" panose="020B0403020202020204" pitchFamily="34" charset="0"/>
              <a:cs typeface="+mn-cs"/>
            </a:endParaRPr>
          </a:p>
        </p:txBody>
      </p:sp>
      <p:sp>
        <p:nvSpPr>
          <p:cNvPr id="151" name="Freihandform: Form 163">
            <a:extLst>
              <a:ext uri="{FF2B5EF4-FFF2-40B4-BE49-F238E27FC236}">
                <a16:creationId xmlns:a16="http://schemas.microsoft.com/office/drawing/2014/main" xmlns="" id="{DB776D9E-4369-457F-AF1F-0BCAD2AF02C4}"/>
              </a:ext>
            </a:extLst>
          </p:cNvPr>
          <p:cNvSpPr/>
          <p:nvPr/>
        </p:nvSpPr>
        <p:spPr>
          <a:xfrm>
            <a:off x="1348460" y="2588324"/>
            <a:ext cx="5267553" cy="1152000"/>
          </a:xfrm>
          <a:custGeom>
            <a:avLst/>
            <a:gdLst>
              <a:gd name="connsiteX0" fmla="*/ 507781 w 3950665"/>
              <a:gd name="connsiteY0" fmla="*/ 812621 h 864000"/>
              <a:gd name="connsiteX1" fmla="*/ 1320097 w 3950665"/>
              <a:gd name="connsiteY1" fmla="*/ 812621 h 864000"/>
              <a:gd name="connsiteX2" fmla="*/ 1466097 w 3950665"/>
              <a:gd name="connsiteY2" fmla="*/ 812621 h 864000"/>
              <a:gd name="connsiteX3" fmla="*/ 2420719 w 3950665"/>
              <a:gd name="connsiteY3" fmla="*/ 812621 h 864000"/>
              <a:gd name="connsiteX4" fmla="*/ 2484643 w 3950665"/>
              <a:gd name="connsiteY4" fmla="*/ 812621 h 864000"/>
              <a:gd name="connsiteX5" fmla="*/ 2747750 w 3950665"/>
              <a:gd name="connsiteY5" fmla="*/ 812621 h 864000"/>
              <a:gd name="connsiteX6" fmla="*/ 3585265 w 3950665"/>
              <a:gd name="connsiteY6" fmla="*/ 812621 h 864000"/>
              <a:gd name="connsiteX7" fmla="*/ 3912295 w 3950665"/>
              <a:gd name="connsiteY7" fmla="*/ 812621 h 864000"/>
              <a:gd name="connsiteX8" fmla="*/ 3950665 w 3950665"/>
              <a:gd name="connsiteY8" fmla="*/ 838312 h 864000"/>
              <a:gd name="connsiteX9" fmla="*/ 3912295 w 3950665"/>
              <a:gd name="connsiteY9" fmla="*/ 864000 h 864000"/>
              <a:gd name="connsiteX10" fmla="*/ 3585265 w 3950665"/>
              <a:gd name="connsiteY10" fmla="*/ 864000 h 864000"/>
              <a:gd name="connsiteX11" fmla="*/ 2631404 w 3950665"/>
              <a:gd name="connsiteY11" fmla="*/ 864000 h 864000"/>
              <a:gd name="connsiteX12" fmla="*/ 2484643 w 3950665"/>
              <a:gd name="connsiteY12" fmla="*/ 864000 h 864000"/>
              <a:gd name="connsiteX13" fmla="*/ 2304374 w 3950665"/>
              <a:gd name="connsiteY13" fmla="*/ 864000 h 864000"/>
              <a:gd name="connsiteX14" fmla="*/ 1466097 w 3950665"/>
              <a:gd name="connsiteY14" fmla="*/ 864000 h 864000"/>
              <a:gd name="connsiteX15" fmla="*/ 1203751 w 3950665"/>
              <a:gd name="connsiteY15" fmla="*/ 864000 h 864000"/>
              <a:gd name="connsiteX16" fmla="*/ 539887 w 3950665"/>
              <a:gd name="connsiteY16" fmla="*/ 864000 h 864000"/>
              <a:gd name="connsiteX17" fmla="*/ 451361 w 3950665"/>
              <a:gd name="connsiteY17" fmla="*/ 722330 h 864000"/>
              <a:gd name="connsiteX18" fmla="*/ 1324184 w 3950665"/>
              <a:gd name="connsiteY18" fmla="*/ 722330 h 864000"/>
              <a:gd name="connsiteX19" fmla="*/ 1466097 w 3950665"/>
              <a:gd name="connsiteY19" fmla="*/ 722330 h 864000"/>
              <a:gd name="connsiteX20" fmla="*/ 2424806 w 3950665"/>
              <a:gd name="connsiteY20" fmla="*/ 722330 h 864000"/>
              <a:gd name="connsiteX21" fmla="*/ 2484643 w 3950665"/>
              <a:gd name="connsiteY21" fmla="*/ 722330 h 864000"/>
              <a:gd name="connsiteX22" fmla="*/ 2751837 w 3950665"/>
              <a:gd name="connsiteY22" fmla="*/ 722330 h 864000"/>
              <a:gd name="connsiteX23" fmla="*/ 3585265 w 3950665"/>
              <a:gd name="connsiteY23" fmla="*/ 722330 h 864000"/>
              <a:gd name="connsiteX24" fmla="*/ 3912295 w 3950665"/>
              <a:gd name="connsiteY24" fmla="*/ 722330 h 864000"/>
              <a:gd name="connsiteX25" fmla="*/ 3950665 w 3950665"/>
              <a:gd name="connsiteY25" fmla="*/ 748020 h 864000"/>
              <a:gd name="connsiteX26" fmla="*/ 3912295 w 3950665"/>
              <a:gd name="connsiteY26" fmla="*/ 773708 h 864000"/>
              <a:gd name="connsiteX27" fmla="*/ 3585265 w 3950665"/>
              <a:gd name="connsiteY27" fmla="*/ 773708 h 864000"/>
              <a:gd name="connsiteX28" fmla="*/ 2422478 w 3950665"/>
              <a:gd name="connsiteY28" fmla="*/ 773708 h 864000"/>
              <a:gd name="connsiteX29" fmla="*/ 1466097 w 3950665"/>
              <a:gd name="connsiteY29" fmla="*/ 773708 h 864000"/>
              <a:gd name="connsiteX30" fmla="*/ 1321856 w 3950665"/>
              <a:gd name="connsiteY30" fmla="*/ 773708 h 864000"/>
              <a:gd name="connsiteX31" fmla="*/ 483466 w 3950665"/>
              <a:gd name="connsiteY31" fmla="*/ 773708 h 864000"/>
              <a:gd name="connsiteX32" fmla="*/ 394941 w 3950665"/>
              <a:gd name="connsiteY32" fmla="*/ 632038 h 864000"/>
              <a:gd name="connsiteX33" fmla="*/ 1328271 w 3950665"/>
              <a:gd name="connsiteY33" fmla="*/ 632038 h 864000"/>
              <a:gd name="connsiteX34" fmla="*/ 1466097 w 3950665"/>
              <a:gd name="connsiteY34" fmla="*/ 632038 h 864000"/>
              <a:gd name="connsiteX35" fmla="*/ 2484643 w 3950665"/>
              <a:gd name="connsiteY35" fmla="*/ 632038 h 864000"/>
              <a:gd name="connsiteX36" fmla="*/ 2755924 w 3950665"/>
              <a:gd name="connsiteY36" fmla="*/ 632038 h 864000"/>
              <a:gd name="connsiteX37" fmla="*/ 3912295 w 3950665"/>
              <a:gd name="connsiteY37" fmla="*/ 632038 h 864000"/>
              <a:gd name="connsiteX38" fmla="*/ 3950665 w 3950665"/>
              <a:gd name="connsiteY38" fmla="*/ 657728 h 864000"/>
              <a:gd name="connsiteX39" fmla="*/ 3912295 w 3950665"/>
              <a:gd name="connsiteY39" fmla="*/ 683419 h 864000"/>
              <a:gd name="connsiteX40" fmla="*/ 2753600 w 3950665"/>
              <a:gd name="connsiteY40" fmla="*/ 683419 h 864000"/>
              <a:gd name="connsiteX41" fmla="*/ 2484645 w 3950665"/>
              <a:gd name="connsiteY41" fmla="*/ 683419 h 864000"/>
              <a:gd name="connsiteX42" fmla="*/ 2484643 w 3950665"/>
              <a:gd name="connsiteY42" fmla="*/ 683419 h 864000"/>
              <a:gd name="connsiteX43" fmla="*/ 1466097 w 3950665"/>
              <a:gd name="connsiteY43" fmla="*/ 683419 h 864000"/>
              <a:gd name="connsiteX44" fmla="*/ 1325947 w 3950665"/>
              <a:gd name="connsiteY44" fmla="*/ 683419 h 864000"/>
              <a:gd name="connsiteX45" fmla="*/ 427047 w 3950665"/>
              <a:gd name="connsiteY45" fmla="*/ 683419 h 864000"/>
              <a:gd name="connsiteX46" fmla="*/ 338522 w 3950665"/>
              <a:gd name="connsiteY46" fmla="*/ 541748 h 864000"/>
              <a:gd name="connsiteX47" fmla="*/ 1286011 w 3950665"/>
              <a:gd name="connsiteY47" fmla="*/ 541748 h 864000"/>
              <a:gd name="connsiteX48" fmla="*/ 1466097 w 3950665"/>
              <a:gd name="connsiteY48" fmla="*/ 541748 h 864000"/>
              <a:gd name="connsiteX49" fmla="*/ 2386633 w 3950665"/>
              <a:gd name="connsiteY49" fmla="*/ 541748 h 864000"/>
              <a:gd name="connsiteX50" fmla="*/ 3585265 w 3950665"/>
              <a:gd name="connsiteY50" fmla="*/ 541748 h 864000"/>
              <a:gd name="connsiteX51" fmla="*/ 3912295 w 3950665"/>
              <a:gd name="connsiteY51" fmla="*/ 541748 h 864000"/>
              <a:gd name="connsiteX52" fmla="*/ 3950665 w 3950665"/>
              <a:gd name="connsiteY52" fmla="*/ 567437 h 864000"/>
              <a:gd name="connsiteX53" fmla="*/ 3912295 w 3950665"/>
              <a:gd name="connsiteY53" fmla="*/ 593127 h 864000"/>
              <a:gd name="connsiteX54" fmla="*/ 2740171 w 3950665"/>
              <a:gd name="connsiteY54" fmla="*/ 593127 h 864000"/>
              <a:gd name="connsiteX55" fmla="*/ 2484645 w 3950665"/>
              <a:gd name="connsiteY55" fmla="*/ 593127 h 864000"/>
              <a:gd name="connsiteX56" fmla="*/ 2484643 w 3950665"/>
              <a:gd name="connsiteY56" fmla="*/ 593127 h 864000"/>
              <a:gd name="connsiteX57" fmla="*/ 1466097 w 3950665"/>
              <a:gd name="connsiteY57" fmla="*/ 593127 h 864000"/>
              <a:gd name="connsiteX58" fmla="*/ 1312519 w 3950665"/>
              <a:gd name="connsiteY58" fmla="*/ 593127 h 864000"/>
              <a:gd name="connsiteX59" fmla="*/ 370626 w 3950665"/>
              <a:gd name="connsiteY59" fmla="*/ 593127 h 864000"/>
              <a:gd name="connsiteX60" fmla="*/ 282101 w 3950665"/>
              <a:gd name="connsiteY60" fmla="*/ 451456 h 864000"/>
              <a:gd name="connsiteX61" fmla="*/ 1239430 w 3950665"/>
              <a:gd name="connsiteY61" fmla="*/ 451456 h 864000"/>
              <a:gd name="connsiteX62" fmla="*/ 1466097 w 3950665"/>
              <a:gd name="connsiteY62" fmla="*/ 451456 h 864000"/>
              <a:gd name="connsiteX63" fmla="*/ 2340052 w 3950665"/>
              <a:gd name="connsiteY63" fmla="*/ 451456 h 864000"/>
              <a:gd name="connsiteX64" fmla="*/ 3585265 w 3950665"/>
              <a:gd name="connsiteY64" fmla="*/ 451456 h 864000"/>
              <a:gd name="connsiteX65" fmla="*/ 3912295 w 3950665"/>
              <a:gd name="connsiteY65" fmla="*/ 451456 h 864000"/>
              <a:gd name="connsiteX66" fmla="*/ 3950665 w 3950665"/>
              <a:gd name="connsiteY66" fmla="*/ 477145 h 864000"/>
              <a:gd name="connsiteX67" fmla="*/ 3912295 w 3950665"/>
              <a:gd name="connsiteY67" fmla="*/ 502835 h 864000"/>
              <a:gd name="connsiteX68" fmla="*/ 2693588 w 3950665"/>
              <a:gd name="connsiteY68" fmla="*/ 502835 h 864000"/>
              <a:gd name="connsiteX69" fmla="*/ 2484643 w 3950665"/>
              <a:gd name="connsiteY69" fmla="*/ 502835 h 864000"/>
              <a:gd name="connsiteX70" fmla="*/ 1466097 w 3950665"/>
              <a:gd name="connsiteY70" fmla="*/ 502835 h 864000"/>
              <a:gd name="connsiteX71" fmla="*/ 1265936 w 3950665"/>
              <a:gd name="connsiteY71" fmla="*/ 502835 h 864000"/>
              <a:gd name="connsiteX72" fmla="*/ 314206 w 3950665"/>
              <a:gd name="connsiteY72" fmla="*/ 502835 h 864000"/>
              <a:gd name="connsiteX73" fmla="*/ 225680 w 3950665"/>
              <a:gd name="connsiteY73" fmla="*/ 361165 h 864000"/>
              <a:gd name="connsiteX74" fmla="*/ 1192852 w 3950665"/>
              <a:gd name="connsiteY74" fmla="*/ 361165 h 864000"/>
              <a:gd name="connsiteX75" fmla="*/ 1466097 w 3950665"/>
              <a:gd name="connsiteY75" fmla="*/ 361165 h 864000"/>
              <a:gd name="connsiteX76" fmla="*/ 2293472 w 3950665"/>
              <a:gd name="connsiteY76" fmla="*/ 361165 h 864000"/>
              <a:gd name="connsiteX77" fmla="*/ 2484643 w 3950665"/>
              <a:gd name="connsiteY77" fmla="*/ 361165 h 864000"/>
              <a:gd name="connsiteX78" fmla="*/ 2620504 w 3950665"/>
              <a:gd name="connsiteY78" fmla="*/ 361165 h 864000"/>
              <a:gd name="connsiteX79" fmla="*/ 3585265 w 3950665"/>
              <a:gd name="connsiteY79" fmla="*/ 361165 h 864000"/>
              <a:gd name="connsiteX80" fmla="*/ 3912295 w 3950665"/>
              <a:gd name="connsiteY80" fmla="*/ 361165 h 864000"/>
              <a:gd name="connsiteX81" fmla="*/ 3950665 w 3950665"/>
              <a:gd name="connsiteY81" fmla="*/ 386856 h 864000"/>
              <a:gd name="connsiteX82" fmla="*/ 3912295 w 3950665"/>
              <a:gd name="connsiteY82" fmla="*/ 412544 h 864000"/>
              <a:gd name="connsiteX83" fmla="*/ 3585265 w 3950665"/>
              <a:gd name="connsiteY83" fmla="*/ 412544 h 864000"/>
              <a:gd name="connsiteX84" fmla="*/ 2647008 w 3950665"/>
              <a:gd name="connsiteY84" fmla="*/ 412544 h 864000"/>
              <a:gd name="connsiteX85" fmla="*/ 2484643 w 3950665"/>
              <a:gd name="connsiteY85" fmla="*/ 412544 h 864000"/>
              <a:gd name="connsiteX86" fmla="*/ 2319977 w 3950665"/>
              <a:gd name="connsiteY86" fmla="*/ 412544 h 864000"/>
              <a:gd name="connsiteX87" fmla="*/ 1466097 w 3950665"/>
              <a:gd name="connsiteY87" fmla="*/ 412544 h 864000"/>
              <a:gd name="connsiteX88" fmla="*/ 1219355 w 3950665"/>
              <a:gd name="connsiteY88" fmla="*/ 412544 h 864000"/>
              <a:gd name="connsiteX89" fmla="*/ 257786 w 3950665"/>
              <a:gd name="connsiteY89" fmla="*/ 412544 h 864000"/>
              <a:gd name="connsiteX90" fmla="*/ 169260 w 3950665"/>
              <a:gd name="connsiteY90" fmla="*/ 270874 h 864000"/>
              <a:gd name="connsiteX91" fmla="*/ 1146267 w 3950665"/>
              <a:gd name="connsiteY91" fmla="*/ 270874 h 864000"/>
              <a:gd name="connsiteX92" fmla="*/ 1466097 w 3950665"/>
              <a:gd name="connsiteY92" fmla="*/ 270874 h 864000"/>
              <a:gd name="connsiteX93" fmla="*/ 2246891 w 3950665"/>
              <a:gd name="connsiteY93" fmla="*/ 270874 h 864000"/>
              <a:gd name="connsiteX94" fmla="*/ 2484643 w 3950665"/>
              <a:gd name="connsiteY94" fmla="*/ 270874 h 864000"/>
              <a:gd name="connsiteX95" fmla="*/ 2573922 w 3950665"/>
              <a:gd name="connsiteY95" fmla="*/ 270874 h 864000"/>
              <a:gd name="connsiteX96" fmla="*/ 3585265 w 3950665"/>
              <a:gd name="connsiteY96" fmla="*/ 270874 h 864000"/>
              <a:gd name="connsiteX97" fmla="*/ 3912295 w 3950665"/>
              <a:gd name="connsiteY97" fmla="*/ 270874 h 864000"/>
              <a:gd name="connsiteX98" fmla="*/ 3950665 w 3950665"/>
              <a:gd name="connsiteY98" fmla="*/ 296563 h 864000"/>
              <a:gd name="connsiteX99" fmla="*/ 3912295 w 3950665"/>
              <a:gd name="connsiteY99" fmla="*/ 322252 h 864000"/>
              <a:gd name="connsiteX100" fmla="*/ 3585265 w 3950665"/>
              <a:gd name="connsiteY100" fmla="*/ 322252 h 864000"/>
              <a:gd name="connsiteX101" fmla="*/ 2273395 w 3950665"/>
              <a:gd name="connsiteY101" fmla="*/ 322252 h 864000"/>
              <a:gd name="connsiteX102" fmla="*/ 1466097 w 3950665"/>
              <a:gd name="connsiteY102" fmla="*/ 322252 h 864000"/>
              <a:gd name="connsiteX103" fmla="*/ 1172773 w 3950665"/>
              <a:gd name="connsiteY103" fmla="*/ 322252 h 864000"/>
              <a:gd name="connsiteX104" fmla="*/ 201365 w 3950665"/>
              <a:gd name="connsiteY104" fmla="*/ 322252 h 864000"/>
              <a:gd name="connsiteX105" fmla="*/ 112839 w 3950665"/>
              <a:gd name="connsiteY105" fmla="*/ 180581 h 864000"/>
              <a:gd name="connsiteX106" fmla="*/ 1099684 w 3950665"/>
              <a:gd name="connsiteY106" fmla="*/ 180581 h 864000"/>
              <a:gd name="connsiteX107" fmla="*/ 1466097 w 3950665"/>
              <a:gd name="connsiteY107" fmla="*/ 180581 h 864000"/>
              <a:gd name="connsiteX108" fmla="*/ 2484643 w 3950665"/>
              <a:gd name="connsiteY108" fmla="*/ 180581 h 864000"/>
              <a:gd name="connsiteX109" fmla="*/ 2527337 w 3950665"/>
              <a:gd name="connsiteY109" fmla="*/ 180581 h 864000"/>
              <a:gd name="connsiteX110" fmla="*/ 3912295 w 3950665"/>
              <a:gd name="connsiteY110" fmla="*/ 180581 h 864000"/>
              <a:gd name="connsiteX111" fmla="*/ 3950665 w 3950665"/>
              <a:gd name="connsiteY111" fmla="*/ 206272 h 864000"/>
              <a:gd name="connsiteX112" fmla="*/ 3912295 w 3950665"/>
              <a:gd name="connsiteY112" fmla="*/ 231961 h 864000"/>
              <a:gd name="connsiteX113" fmla="*/ 3585265 w 3950665"/>
              <a:gd name="connsiteY113" fmla="*/ 231961 h 864000"/>
              <a:gd name="connsiteX114" fmla="*/ 2226814 w 3950665"/>
              <a:gd name="connsiteY114" fmla="*/ 231961 h 864000"/>
              <a:gd name="connsiteX115" fmla="*/ 1466097 w 3950665"/>
              <a:gd name="connsiteY115" fmla="*/ 231961 h 864000"/>
              <a:gd name="connsiteX116" fmla="*/ 1126192 w 3950665"/>
              <a:gd name="connsiteY116" fmla="*/ 231961 h 864000"/>
              <a:gd name="connsiteX117" fmla="*/ 144945 w 3950665"/>
              <a:gd name="connsiteY117" fmla="*/ 231961 h 864000"/>
              <a:gd name="connsiteX118" fmla="*/ 56420 w 3950665"/>
              <a:gd name="connsiteY118" fmla="*/ 90292 h 864000"/>
              <a:gd name="connsiteX119" fmla="*/ 1053106 w 3950665"/>
              <a:gd name="connsiteY119" fmla="*/ 90292 h 864000"/>
              <a:gd name="connsiteX120" fmla="*/ 1466097 w 3950665"/>
              <a:gd name="connsiteY120" fmla="*/ 90292 h 864000"/>
              <a:gd name="connsiteX121" fmla="*/ 2153728 w 3950665"/>
              <a:gd name="connsiteY121" fmla="*/ 90292 h 864000"/>
              <a:gd name="connsiteX122" fmla="*/ 3585265 w 3950665"/>
              <a:gd name="connsiteY122" fmla="*/ 90292 h 864000"/>
              <a:gd name="connsiteX123" fmla="*/ 3912295 w 3950665"/>
              <a:gd name="connsiteY123" fmla="*/ 90292 h 864000"/>
              <a:gd name="connsiteX124" fmla="*/ 3950665 w 3950665"/>
              <a:gd name="connsiteY124" fmla="*/ 115980 h 864000"/>
              <a:gd name="connsiteX125" fmla="*/ 3912295 w 3950665"/>
              <a:gd name="connsiteY125" fmla="*/ 141671 h 864000"/>
              <a:gd name="connsiteX126" fmla="*/ 2507262 w 3950665"/>
              <a:gd name="connsiteY126" fmla="*/ 141671 h 864000"/>
              <a:gd name="connsiteX127" fmla="*/ 2484645 w 3950665"/>
              <a:gd name="connsiteY127" fmla="*/ 141671 h 864000"/>
              <a:gd name="connsiteX128" fmla="*/ 2484643 w 3950665"/>
              <a:gd name="connsiteY128" fmla="*/ 141671 h 864000"/>
              <a:gd name="connsiteX129" fmla="*/ 1466097 w 3950665"/>
              <a:gd name="connsiteY129" fmla="*/ 141671 h 864000"/>
              <a:gd name="connsiteX130" fmla="*/ 1079609 w 3950665"/>
              <a:gd name="connsiteY130" fmla="*/ 141671 h 864000"/>
              <a:gd name="connsiteX131" fmla="*/ 88525 w 3950665"/>
              <a:gd name="connsiteY131" fmla="*/ 141671 h 864000"/>
              <a:gd name="connsiteX132" fmla="*/ 0 w 3950665"/>
              <a:gd name="connsiteY132" fmla="*/ 0 h 864000"/>
              <a:gd name="connsiteX133" fmla="*/ 1006525 w 3950665"/>
              <a:gd name="connsiteY133" fmla="*/ 0 h 864000"/>
              <a:gd name="connsiteX134" fmla="*/ 1466097 w 3950665"/>
              <a:gd name="connsiteY134" fmla="*/ 0 h 864000"/>
              <a:gd name="connsiteX135" fmla="*/ 2107145 w 3950665"/>
              <a:gd name="connsiteY135" fmla="*/ 0 h 864000"/>
              <a:gd name="connsiteX136" fmla="*/ 3585265 w 3950665"/>
              <a:gd name="connsiteY136" fmla="*/ 0 h 864000"/>
              <a:gd name="connsiteX137" fmla="*/ 3912295 w 3950665"/>
              <a:gd name="connsiteY137" fmla="*/ 0 h 864000"/>
              <a:gd name="connsiteX138" fmla="*/ 3950665 w 3950665"/>
              <a:gd name="connsiteY138" fmla="*/ 25689 h 864000"/>
              <a:gd name="connsiteX139" fmla="*/ 3912295 w 3950665"/>
              <a:gd name="connsiteY139" fmla="*/ 51379 h 864000"/>
              <a:gd name="connsiteX140" fmla="*/ 2484643 w 3950665"/>
              <a:gd name="connsiteY140" fmla="*/ 51379 h 864000"/>
              <a:gd name="connsiteX141" fmla="*/ 2460684 w 3950665"/>
              <a:gd name="connsiteY141" fmla="*/ 51379 h 864000"/>
              <a:gd name="connsiteX142" fmla="*/ 1466097 w 3950665"/>
              <a:gd name="connsiteY142" fmla="*/ 51379 h 864000"/>
              <a:gd name="connsiteX143" fmla="*/ 1033031 w 3950665"/>
              <a:gd name="connsiteY143" fmla="*/ 51379 h 864000"/>
              <a:gd name="connsiteX144" fmla="*/ 32105 w 3950665"/>
              <a:gd name="connsiteY144" fmla="*/ 51379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3950665" h="864000">
                <a:moveTo>
                  <a:pt x="507781" y="812621"/>
                </a:moveTo>
                <a:lnTo>
                  <a:pt x="1320097" y="812621"/>
                </a:lnTo>
                <a:lnTo>
                  <a:pt x="1466097" y="812621"/>
                </a:lnTo>
                <a:lnTo>
                  <a:pt x="2420719" y="812621"/>
                </a:lnTo>
                <a:lnTo>
                  <a:pt x="2484643" y="812621"/>
                </a:lnTo>
                <a:lnTo>
                  <a:pt x="2747750" y="812621"/>
                </a:lnTo>
                <a:lnTo>
                  <a:pt x="3585265" y="812621"/>
                </a:lnTo>
                <a:lnTo>
                  <a:pt x="3912295" y="812621"/>
                </a:lnTo>
                <a:lnTo>
                  <a:pt x="3950665" y="838312"/>
                </a:lnTo>
                <a:lnTo>
                  <a:pt x="3912295" y="864000"/>
                </a:lnTo>
                <a:lnTo>
                  <a:pt x="3585265" y="864000"/>
                </a:lnTo>
                <a:lnTo>
                  <a:pt x="2631404" y="864000"/>
                </a:lnTo>
                <a:lnTo>
                  <a:pt x="2484643" y="864000"/>
                </a:lnTo>
                <a:lnTo>
                  <a:pt x="2304374" y="864000"/>
                </a:lnTo>
                <a:lnTo>
                  <a:pt x="1466097" y="864000"/>
                </a:lnTo>
                <a:lnTo>
                  <a:pt x="1203751" y="864000"/>
                </a:lnTo>
                <a:lnTo>
                  <a:pt x="539887" y="864000"/>
                </a:lnTo>
                <a:close/>
                <a:moveTo>
                  <a:pt x="451361" y="722330"/>
                </a:moveTo>
                <a:lnTo>
                  <a:pt x="1324184" y="722330"/>
                </a:lnTo>
                <a:lnTo>
                  <a:pt x="1466097" y="722330"/>
                </a:lnTo>
                <a:lnTo>
                  <a:pt x="2424806" y="722330"/>
                </a:lnTo>
                <a:lnTo>
                  <a:pt x="2484643" y="722330"/>
                </a:lnTo>
                <a:lnTo>
                  <a:pt x="2751837" y="722330"/>
                </a:lnTo>
                <a:lnTo>
                  <a:pt x="3585265" y="722330"/>
                </a:lnTo>
                <a:lnTo>
                  <a:pt x="3912295" y="722330"/>
                </a:lnTo>
                <a:lnTo>
                  <a:pt x="3950665" y="748020"/>
                </a:lnTo>
                <a:lnTo>
                  <a:pt x="3912295" y="773708"/>
                </a:lnTo>
                <a:lnTo>
                  <a:pt x="3585265" y="773708"/>
                </a:lnTo>
                <a:lnTo>
                  <a:pt x="2422478" y="773708"/>
                </a:lnTo>
                <a:lnTo>
                  <a:pt x="1466097" y="773708"/>
                </a:lnTo>
                <a:lnTo>
                  <a:pt x="1321856" y="773708"/>
                </a:lnTo>
                <a:lnTo>
                  <a:pt x="483466" y="773708"/>
                </a:lnTo>
                <a:close/>
                <a:moveTo>
                  <a:pt x="394941" y="632038"/>
                </a:moveTo>
                <a:lnTo>
                  <a:pt x="1328271" y="632038"/>
                </a:lnTo>
                <a:lnTo>
                  <a:pt x="1466097" y="632038"/>
                </a:lnTo>
                <a:lnTo>
                  <a:pt x="2484643" y="632038"/>
                </a:lnTo>
                <a:lnTo>
                  <a:pt x="2755924" y="632038"/>
                </a:lnTo>
                <a:lnTo>
                  <a:pt x="3912295" y="632038"/>
                </a:lnTo>
                <a:lnTo>
                  <a:pt x="3950665" y="657728"/>
                </a:lnTo>
                <a:lnTo>
                  <a:pt x="3912295" y="683419"/>
                </a:lnTo>
                <a:lnTo>
                  <a:pt x="2753600" y="683419"/>
                </a:lnTo>
                <a:lnTo>
                  <a:pt x="2484645" y="683419"/>
                </a:lnTo>
                <a:lnTo>
                  <a:pt x="2484643" y="683419"/>
                </a:lnTo>
                <a:lnTo>
                  <a:pt x="1466097" y="683419"/>
                </a:lnTo>
                <a:lnTo>
                  <a:pt x="1325947" y="683419"/>
                </a:lnTo>
                <a:lnTo>
                  <a:pt x="427047" y="683419"/>
                </a:lnTo>
                <a:close/>
                <a:moveTo>
                  <a:pt x="338522" y="541748"/>
                </a:moveTo>
                <a:lnTo>
                  <a:pt x="1286011" y="541748"/>
                </a:lnTo>
                <a:lnTo>
                  <a:pt x="1466097" y="541748"/>
                </a:lnTo>
                <a:lnTo>
                  <a:pt x="2386633" y="541748"/>
                </a:lnTo>
                <a:lnTo>
                  <a:pt x="3585265" y="541748"/>
                </a:lnTo>
                <a:lnTo>
                  <a:pt x="3912295" y="541748"/>
                </a:lnTo>
                <a:lnTo>
                  <a:pt x="3950665" y="567437"/>
                </a:lnTo>
                <a:lnTo>
                  <a:pt x="3912295" y="593127"/>
                </a:lnTo>
                <a:lnTo>
                  <a:pt x="2740171" y="593127"/>
                </a:lnTo>
                <a:lnTo>
                  <a:pt x="2484645" y="593127"/>
                </a:lnTo>
                <a:lnTo>
                  <a:pt x="2484643" y="593127"/>
                </a:lnTo>
                <a:lnTo>
                  <a:pt x="1466097" y="593127"/>
                </a:lnTo>
                <a:lnTo>
                  <a:pt x="1312519" y="593127"/>
                </a:lnTo>
                <a:lnTo>
                  <a:pt x="370626" y="593127"/>
                </a:lnTo>
                <a:close/>
                <a:moveTo>
                  <a:pt x="282101" y="451456"/>
                </a:moveTo>
                <a:lnTo>
                  <a:pt x="1239430" y="451456"/>
                </a:lnTo>
                <a:lnTo>
                  <a:pt x="1466097" y="451456"/>
                </a:lnTo>
                <a:lnTo>
                  <a:pt x="2340052" y="451456"/>
                </a:lnTo>
                <a:lnTo>
                  <a:pt x="3585265" y="451456"/>
                </a:lnTo>
                <a:lnTo>
                  <a:pt x="3912295" y="451456"/>
                </a:lnTo>
                <a:lnTo>
                  <a:pt x="3950665" y="477145"/>
                </a:lnTo>
                <a:lnTo>
                  <a:pt x="3912295" y="502835"/>
                </a:lnTo>
                <a:lnTo>
                  <a:pt x="2693588" y="502835"/>
                </a:lnTo>
                <a:lnTo>
                  <a:pt x="2484643" y="502835"/>
                </a:lnTo>
                <a:lnTo>
                  <a:pt x="1466097" y="502835"/>
                </a:lnTo>
                <a:lnTo>
                  <a:pt x="1265936" y="502835"/>
                </a:lnTo>
                <a:lnTo>
                  <a:pt x="314206" y="502835"/>
                </a:lnTo>
                <a:close/>
                <a:moveTo>
                  <a:pt x="225680" y="361165"/>
                </a:moveTo>
                <a:lnTo>
                  <a:pt x="1192852" y="361165"/>
                </a:lnTo>
                <a:lnTo>
                  <a:pt x="1466097" y="361165"/>
                </a:lnTo>
                <a:lnTo>
                  <a:pt x="2293472" y="361165"/>
                </a:lnTo>
                <a:lnTo>
                  <a:pt x="2484643" y="361165"/>
                </a:lnTo>
                <a:lnTo>
                  <a:pt x="2620504" y="361165"/>
                </a:lnTo>
                <a:lnTo>
                  <a:pt x="3585265" y="361165"/>
                </a:lnTo>
                <a:lnTo>
                  <a:pt x="3912295" y="361165"/>
                </a:lnTo>
                <a:lnTo>
                  <a:pt x="3950665" y="386856"/>
                </a:lnTo>
                <a:lnTo>
                  <a:pt x="3912295" y="412544"/>
                </a:lnTo>
                <a:lnTo>
                  <a:pt x="3585265" y="412544"/>
                </a:lnTo>
                <a:lnTo>
                  <a:pt x="2647008" y="412544"/>
                </a:lnTo>
                <a:lnTo>
                  <a:pt x="2484643" y="412544"/>
                </a:lnTo>
                <a:lnTo>
                  <a:pt x="2319977" y="412544"/>
                </a:lnTo>
                <a:lnTo>
                  <a:pt x="1466097" y="412544"/>
                </a:lnTo>
                <a:lnTo>
                  <a:pt x="1219355" y="412544"/>
                </a:lnTo>
                <a:lnTo>
                  <a:pt x="257786" y="412544"/>
                </a:lnTo>
                <a:close/>
                <a:moveTo>
                  <a:pt x="169260" y="270874"/>
                </a:moveTo>
                <a:lnTo>
                  <a:pt x="1146267" y="270874"/>
                </a:lnTo>
                <a:lnTo>
                  <a:pt x="1466097" y="270874"/>
                </a:lnTo>
                <a:lnTo>
                  <a:pt x="2246891" y="270874"/>
                </a:lnTo>
                <a:lnTo>
                  <a:pt x="2484643" y="270874"/>
                </a:lnTo>
                <a:lnTo>
                  <a:pt x="2573922" y="270874"/>
                </a:lnTo>
                <a:lnTo>
                  <a:pt x="3585265" y="270874"/>
                </a:lnTo>
                <a:lnTo>
                  <a:pt x="3912295" y="270874"/>
                </a:lnTo>
                <a:lnTo>
                  <a:pt x="3950665" y="296563"/>
                </a:lnTo>
                <a:lnTo>
                  <a:pt x="3912295" y="322252"/>
                </a:lnTo>
                <a:lnTo>
                  <a:pt x="3585265" y="322252"/>
                </a:lnTo>
                <a:lnTo>
                  <a:pt x="2273395" y="322252"/>
                </a:lnTo>
                <a:lnTo>
                  <a:pt x="1466097" y="322252"/>
                </a:lnTo>
                <a:lnTo>
                  <a:pt x="1172773" y="322252"/>
                </a:lnTo>
                <a:lnTo>
                  <a:pt x="201365" y="322252"/>
                </a:lnTo>
                <a:close/>
                <a:moveTo>
                  <a:pt x="112839" y="180581"/>
                </a:moveTo>
                <a:lnTo>
                  <a:pt x="1099684" y="180581"/>
                </a:lnTo>
                <a:lnTo>
                  <a:pt x="1466097" y="180581"/>
                </a:lnTo>
                <a:lnTo>
                  <a:pt x="2484643" y="180581"/>
                </a:lnTo>
                <a:lnTo>
                  <a:pt x="2527337" y="180581"/>
                </a:lnTo>
                <a:lnTo>
                  <a:pt x="3912295" y="180581"/>
                </a:lnTo>
                <a:lnTo>
                  <a:pt x="3950665" y="206272"/>
                </a:lnTo>
                <a:lnTo>
                  <a:pt x="3912295" y="231961"/>
                </a:lnTo>
                <a:lnTo>
                  <a:pt x="3585265" y="231961"/>
                </a:lnTo>
                <a:lnTo>
                  <a:pt x="2226814" y="231961"/>
                </a:lnTo>
                <a:lnTo>
                  <a:pt x="1466097" y="231961"/>
                </a:lnTo>
                <a:lnTo>
                  <a:pt x="1126192" y="231961"/>
                </a:lnTo>
                <a:lnTo>
                  <a:pt x="144945" y="231961"/>
                </a:lnTo>
                <a:close/>
                <a:moveTo>
                  <a:pt x="56420" y="90292"/>
                </a:moveTo>
                <a:lnTo>
                  <a:pt x="1053106" y="90292"/>
                </a:lnTo>
                <a:lnTo>
                  <a:pt x="1466097" y="90292"/>
                </a:lnTo>
                <a:lnTo>
                  <a:pt x="2153728" y="90292"/>
                </a:lnTo>
                <a:lnTo>
                  <a:pt x="3585265" y="90292"/>
                </a:lnTo>
                <a:lnTo>
                  <a:pt x="3912295" y="90292"/>
                </a:lnTo>
                <a:lnTo>
                  <a:pt x="3950665" y="115980"/>
                </a:lnTo>
                <a:lnTo>
                  <a:pt x="3912295" y="141671"/>
                </a:lnTo>
                <a:lnTo>
                  <a:pt x="2507262" y="141671"/>
                </a:lnTo>
                <a:lnTo>
                  <a:pt x="2484645" y="141671"/>
                </a:lnTo>
                <a:lnTo>
                  <a:pt x="2484643" y="141671"/>
                </a:lnTo>
                <a:lnTo>
                  <a:pt x="1466097" y="141671"/>
                </a:lnTo>
                <a:lnTo>
                  <a:pt x="1079609" y="141671"/>
                </a:lnTo>
                <a:lnTo>
                  <a:pt x="88525" y="141671"/>
                </a:lnTo>
                <a:close/>
                <a:moveTo>
                  <a:pt x="0" y="0"/>
                </a:moveTo>
                <a:lnTo>
                  <a:pt x="1006525" y="0"/>
                </a:lnTo>
                <a:lnTo>
                  <a:pt x="1466097" y="0"/>
                </a:lnTo>
                <a:lnTo>
                  <a:pt x="2107145" y="0"/>
                </a:lnTo>
                <a:lnTo>
                  <a:pt x="3585265" y="0"/>
                </a:lnTo>
                <a:lnTo>
                  <a:pt x="3912295" y="0"/>
                </a:lnTo>
                <a:lnTo>
                  <a:pt x="3950665" y="25689"/>
                </a:lnTo>
                <a:lnTo>
                  <a:pt x="3912295" y="51379"/>
                </a:lnTo>
                <a:lnTo>
                  <a:pt x="2484643" y="51379"/>
                </a:lnTo>
                <a:lnTo>
                  <a:pt x="2460684" y="51379"/>
                </a:lnTo>
                <a:lnTo>
                  <a:pt x="1466097" y="51379"/>
                </a:lnTo>
                <a:lnTo>
                  <a:pt x="1033031" y="51379"/>
                </a:lnTo>
                <a:lnTo>
                  <a:pt x="32105" y="51379"/>
                </a:lnTo>
                <a:close/>
              </a:path>
            </a:pathLst>
          </a:custGeom>
          <a:solidFill>
            <a:srgbClr val="666666"/>
          </a:solidFill>
          <a:ln w="31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1336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 panose="020B0403020202020204" pitchFamily="34" charset="0"/>
              <a:ea typeface="Nokia Pure Text Light" panose="020B0403020202020204" pitchFamily="34" charset="0"/>
              <a:cs typeface="+mn-cs"/>
            </a:endParaRPr>
          </a:p>
        </p:txBody>
      </p:sp>
      <p:sp>
        <p:nvSpPr>
          <p:cNvPr id="153" name="Textfeld 165">
            <a:extLst>
              <a:ext uri="{FF2B5EF4-FFF2-40B4-BE49-F238E27FC236}">
                <a16:creationId xmlns:a16="http://schemas.microsoft.com/office/drawing/2014/main" xmlns="" id="{29ED521B-85CE-4978-A860-FC619EE02799}"/>
              </a:ext>
            </a:extLst>
          </p:cNvPr>
          <p:cNvSpPr txBox="1"/>
          <p:nvPr/>
        </p:nvSpPr>
        <p:spPr>
          <a:xfrm>
            <a:off x="3176" y="3811432"/>
            <a:ext cx="2460291" cy="492637"/>
          </a:xfrm>
          <a:prstGeom prst="rect">
            <a:avLst/>
          </a:prstGeom>
          <a:noFill/>
        </p:spPr>
        <p:txBody>
          <a:bodyPr wrap="none" lIns="96000" tIns="96000" rIns="96000" bIns="96000" rtlCol="0">
            <a:noAutofit/>
          </a:bodyPr>
          <a:lstStyle/>
          <a:p>
            <a:pPr algn="ctr" defTabSz="479988" fontAlgn="base">
              <a:lnSpc>
                <a:spcPct val="90000"/>
              </a:lnSpc>
              <a:spcBef>
                <a:spcPct val="0"/>
              </a:spcBef>
              <a:tabLst>
                <a:tab pos="479988" algn="l"/>
              </a:tabLst>
            </a:pPr>
            <a:r>
              <a:rPr lang="bg-BG" sz="1400" dirty="0" smtClean="0">
                <a:ea typeface="Nokia Pure Text Light" panose="020B0403020202020204" pitchFamily="34" charset="0"/>
              </a:rPr>
              <a:t>Различни</a:t>
            </a:r>
            <a:r>
              <a:rPr lang="en-US" sz="1400" dirty="0" smtClean="0">
                <a:ea typeface="Nokia Pure Text Light" panose="020B0403020202020204" pitchFamily="34" charset="0"/>
              </a:rPr>
              <a:t> </a:t>
            </a:r>
            <a:r>
              <a:rPr lang="bg-BG" sz="1400" dirty="0" smtClean="0">
                <a:ea typeface="Nokia Pure Text Light" panose="020B0403020202020204" pitchFamily="34" charset="0"/>
              </a:rPr>
              <a:t>изисквания</a:t>
            </a:r>
            <a:endParaRPr lang="en-US" sz="1400" dirty="0">
              <a:ea typeface="Nokia Pure Text Light" panose="020B0403020202020204" pitchFamily="34" charset="0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xmlns="" id="{07DF5A60-4DC3-41F2-9647-F6AF1F1767DB}"/>
              </a:ext>
            </a:extLst>
          </p:cNvPr>
          <p:cNvSpPr/>
          <p:nvPr/>
        </p:nvSpPr>
        <p:spPr>
          <a:xfrm>
            <a:off x="1348460" y="2222509"/>
            <a:ext cx="34987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1336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bg-BG" sz="2000" dirty="0" smtClean="0">
                <a:solidFill>
                  <a:srgbClr val="001135"/>
                </a:solidFill>
                <a:ea typeface="Nokia Pure Text Light" panose="020B0403020202020204" pitchFamily="34" charset="0"/>
              </a:rPr>
              <a:t>Разрез в </a:t>
            </a:r>
            <a:r>
              <a:rPr lang="en-US" sz="2000" dirty="0" smtClean="0">
                <a:solidFill>
                  <a:srgbClr val="001135"/>
                </a:solidFill>
                <a:ea typeface="Nokia Pure Text Light" panose="020B0403020202020204" pitchFamily="34" charset="0"/>
              </a:rPr>
              <a:t>5G</a:t>
            </a:r>
            <a:endParaRPr lang="en-GB" sz="2000" dirty="0">
              <a:solidFill>
                <a:srgbClr val="001135"/>
              </a:solidFill>
              <a:ea typeface="Nokia Pure Text Light" panose="020B0403020202020204" pitchFamily="34" charset="0"/>
            </a:endParaRPr>
          </a:p>
        </p:txBody>
      </p:sp>
      <p:sp>
        <p:nvSpPr>
          <p:cNvPr id="2" name="Up Arrow 1"/>
          <p:cNvSpPr/>
          <p:nvPr/>
        </p:nvSpPr>
        <p:spPr>
          <a:xfrm rot="5400000">
            <a:off x="3913200" y="-16151"/>
            <a:ext cx="129600" cy="5283126"/>
          </a:xfrm>
          <a:prstGeom prst="upArrow">
            <a:avLst/>
          </a:prstGeom>
          <a:solidFill>
            <a:srgbClr val="DA291C"/>
          </a:solidFill>
          <a:ln>
            <a:solidFill>
              <a:srgbClr val="DA291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/>
          </a:p>
        </p:txBody>
      </p:sp>
      <p:sp>
        <p:nvSpPr>
          <p:cNvPr id="67" name="Up Arrow 66"/>
          <p:cNvSpPr/>
          <p:nvPr/>
        </p:nvSpPr>
        <p:spPr>
          <a:xfrm rot="5400000">
            <a:off x="3913200" y="101568"/>
            <a:ext cx="129600" cy="5283126"/>
          </a:xfrm>
          <a:prstGeom prst="upArrow">
            <a:avLst/>
          </a:prstGeom>
          <a:solidFill>
            <a:srgbClr val="6295AC"/>
          </a:solidFill>
          <a:ln>
            <a:solidFill>
              <a:srgbClr val="6295A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/>
          </a:p>
        </p:txBody>
      </p:sp>
      <p:sp>
        <p:nvSpPr>
          <p:cNvPr id="68" name="Up Arrow 67"/>
          <p:cNvSpPr/>
          <p:nvPr/>
        </p:nvSpPr>
        <p:spPr>
          <a:xfrm rot="5400000">
            <a:off x="3916800" y="218888"/>
            <a:ext cx="129600" cy="5283126"/>
          </a:xfrm>
          <a:prstGeom prst="upArrow">
            <a:avLst/>
          </a:prstGeom>
          <a:solidFill>
            <a:srgbClr val="000000"/>
          </a:solidFill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/>
          </a:p>
        </p:txBody>
      </p:sp>
      <p:sp>
        <p:nvSpPr>
          <p:cNvPr id="77" name="Up Arrow 76"/>
          <p:cNvSpPr/>
          <p:nvPr/>
        </p:nvSpPr>
        <p:spPr>
          <a:xfrm rot="5400000">
            <a:off x="3916800" y="342565"/>
            <a:ext cx="129600" cy="5283126"/>
          </a:xfrm>
          <a:prstGeom prst="upArrow">
            <a:avLst/>
          </a:prstGeom>
          <a:solidFill>
            <a:srgbClr val="DA291C"/>
          </a:solidFill>
          <a:ln>
            <a:solidFill>
              <a:srgbClr val="DA291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/>
          </a:p>
        </p:txBody>
      </p:sp>
      <p:sp>
        <p:nvSpPr>
          <p:cNvPr id="78" name="Up Arrow 77"/>
          <p:cNvSpPr/>
          <p:nvPr/>
        </p:nvSpPr>
        <p:spPr>
          <a:xfrm rot="5400000">
            <a:off x="3986089" y="527847"/>
            <a:ext cx="129600" cy="5148000"/>
          </a:xfrm>
          <a:prstGeom prst="upArrow">
            <a:avLst/>
          </a:prstGeom>
          <a:solidFill>
            <a:srgbClr val="6295AC"/>
          </a:solidFill>
          <a:ln>
            <a:solidFill>
              <a:srgbClr val="6295A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/>
          </a:p>
        </p:txBody>
      </p:sp>
      <p:sp>
        <p:nvSpPr>
          <p:cNvPr id="79" name="Up Arrow 78"/>
          <p:cNvSpPr/>
          <p:nvPr/>
        </p:nvSpPr>
        <p:spPr>
          <a:xfrm rot="5400000">
            <a:off x="4094089" y="759029"/>
            <a:ext cx="129600" cy="4932000"/>
          </a:xfrm>
          <a:prstGeom prst="upArrow">
            <a:avLst/>
          </a:prstGeom>
          <a:solidFill>
            <a:srgbClr val="000000"/>
          </a:solidFill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/>
          </a:p>
        </p:txBody>
      </p:sp>
      <p:sp>
        <p:nvSpPr>
          <p:cNvPr id="80" name="Up Arrow 79"/>
          <p:cNvSpPr/>
          <p:nvPr/>
        </p:nvSpPr>
        <p:spPr>
          <a:xfrm rot="5400000">
            <a:off x="4086988" y="883908"/>
            <a:ext cx="129600" cy="4932000"/>
          </a:xfrm>
          <a:prstGeom prst="upArrow">
            <a:avLst/>
          </a:prstGeom>
          <a:solidFill>
            <a:srgbClr val="DA291C"/>
          </a:solidFill>
          <a:ln>
            <a:solidFill>
              <a:srgbClr val="DA291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/>
          </a:p>
        </p:txBody>
      </p:sp>
      <p:sp>
        <p:nvSpPr>
          <p:cNvPr id="81" name="Up Arrow 80"/>
          <p:cNvSpPr/>
          <p:nvPr/>
        </p:nvSpPr>
        <p:spPr>
          <a:xfrm rot="5400000">
            <a:off x="4173826" y="1088175"/>
            <a:ext cx="129600" cy="4752000"/>
          </a:xfrm>
          <a:prstGeom prst="upArrow">
            <a:avLst/>
          </a:prstGeom>
          <a:solidFill>
            <a:srgbClr val="6295AC"/>
          </a:solidFill>
          <a:ln>
            <a:solidFill>
              <a:srgbClr val="6295A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/>
          </a:p>
        </p:txBody>
      </p:sp>
      <p:sp>
        <p:nvSpPr>
          <p:cNvPr id="82" name="Up Arrow 81"/>
          <p:cNvSpPr/>
          <p:nvPr/>
        </p:nvSpPr>
        <p:spPr>
          <a:xfrm rot="5400000">
            <a:off x="4185695" y="1209977"/>
            <a:ext cx="129600" cy="4752000"/>
          </a:xfrm>
          <a:prstGeom prst="upArrow">
            <a:avLst/>
          </a:prstGeom>
          <a:solidFill>
            <a:srgbClr val="000000"/>
          </a:solidFill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/>
          </a:p>
        </p:txBody>
      </p:sp>
      <p:sp>
        <p:nvSpPr>
          <p:cNvPr id="83" name="Up Arrow 82"/>
          <p:cNvSpPr/>
          <p:nvPr/>
        </p:nvSpPr>
        <p:spPr>
          <a:xfrm rot="5400000">
            <a:off x="3913200" y="1068273"/>
            <a:ext cx="129600" cy="5283126"/>
          </a:xfrm>
          <a:prstGeom prst="upArrow">
            <a:avLst/>
          </a:prstGeom>
          <a:solidFill>
            <a:srgbClr val="DA291C"/>
          </a:solidFill>
          <a:ln>
            <a:solidFill>
              <a:srgbClr val="DA291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/>
          </a:p>
        </p:txBody>
      </p:sp>
      <p:grpSp>
        <p:nvGrpSpPr>
          <p:cNvPr id="4" name="Group 3"/>
          <p:cNvGrpSpPr/>
          <p:nvPr/>
        </p:nvGrpSpPr>
        <p:grpSpPr>
          <a:xfrm>
            <a:off x="344687" y="2428883"/>
            <a:ext cx="1766957" cy="1435613"/>
            <a:chOff x="344687" y="2428883"/>
            <a:chExt cx="1766957" cy="1435613"/>
          </a:xfrm>
        </p:grpSpPr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xmlns="" id="{07DF5A60-4DC3-41F2-9647-F6AF1F1767DB}"/>
                </a:ext>
              </a:extLst>
            </p:cNvPr>
            <p:cNvSpPr/>
            <p:nvPr/>
          </p:nvSpPr>
          <p:spPr>
            <a:xfrm>
              <a:off x="961512" y="3184297"/>
              <a:ext cx="56538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61336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 smtClean="0">
                  <a:solidFill>
                    <a:srgbClr val="001135"/>
                  </a:solidFill>
                  <a:ea typeface="Nokia Pure Text Light" panose="020B0403020202020204" pitchFamily="34" charset="0"/>
                </a:rPr>
                <a:t>5G</a:t>
              </a:r>
              <a:endParaRPr lang="en-GB" sz="2000" dirty="0">
                <a:solidFill>
                  <a:srgbClr val="001135"/>
                </a:solidFill>
                <a:ea typeface="Nokia Pure Text Light" panose="020B0403020202020204" pitchFamily="34" charset="0"/>
              </a:endParaRPr>
            </a:p>
          </p:txBody>
        </p:sp>
        <p:grpSp>
          <p:nvGrpSpPr>
            <p:cNvPr id="129" name="Gruppieren 130">
              <a:extLst>
                <a:ext uri="{FF2B5EF4-FFF2-40B4-BE49-F238E27FC236}">
                  <a16:creationId xmlns:a16="http://schemas.microsoft.com/office/drawing/2014/main" xmlns="" id="{70FFFF31-0591-42F0-95B5-1B248929787F}"/>
                </a:ext>
              </a:extLst>
            </p:cNvPr>
            <p:cNvGrpSpPr/>
            <p:nvPr/>
          </p:nvGrpSpPr>
          <p:grpSpPr>
            <a:xfrm>
              <a:off x="344687" y="2428883"/>
              <a:ext cx="1766957" cy="1435613"/>
              <a:chOff x="980713" y="2874902"/>
              <a:chExt cx="1094323" cy="889111"/>
            </a:xfrm>
          </p:grpSpPr>
          <p:grpSp>
            <p:nvGrpSpPr>
              <p:cNvPr id="130" name="Gruppieren 131">
                <a:extLst>
                  <a:ext uri="{FF2B5EF4-FFF2-40B4-BE49-F238E27FC236}">
                    <a16:creationId xmlns:a16="http://schemas.microsoft.com/office/drawing/2014/main" xmlns="" id="{E1D44BA8-9AD8-499D-BE57-4549AE489372}"/>
                  </a:ext>
                </a:extLst>
              </p:cNvPr>
              <p:cNvGrpSpPr/>
              <p:nvPr/>
            </p:nvGrpSpPr>
            <p:grpSpPr>
              <a:xfrm>
                <a:off x="980713" y="2874902"/>
                <a:ext cx="1094323" cy="889111"/>
                <a:chOff x="3346111" y="1910968"/>
                <a:chExt cx="1107725" cy="900000"/>
              </a:xfrm>
              <a:gradFill flip="none" rotWithShape="1">
                <a:gsLst>
                  <a:gs pos="55000">
                    <a:srgbClr val="124191"/>
                  </a:gs>
                  <a:gs pos="34000">
                    <a:srgbClr val="00C9FF"/>
                  </a:gs>
                  <a:gs pos="76000">
                    <a:srgbClr val="98A2AE"/>
                  </a:gs>
                </a:gsLst>
                <a:lin ang="8100000" scaled="1"/>
                <a:tileRect/>
              </a:gradFill>
            </p:grpSpPr>
            <p:sp>
              <p:nvSpPr>
                <p:cNvPr id="148" name="Freeform 8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xmlns="" id="{DA2E4AD1-7610-4743-A9F9-82908F6DDD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46111" y="2400673"/>
                  <a:ext cx="538273" cy="410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5743" h="1002916">
                      <a:moveTo>
                        <a:pt x="725639" y="1939"/>
                      </a:moveTo>
                      <a:cubicBezTo>
                        <a:pt x="747194" y="5173"/>
                        <a:pt x="768330" y="12478"/>
                        <a:pt x="787794" y="24044"/>
                      </a:cubicBezTo>
                      <a:cubicBezTo>
                        <a:pt x="787794" y="24044"/>
                        <a:pt x="787794" y="24044"/>
                        <a:pt x="938831" y="115314"/>
                      </a:cubicBezTo>
                      <a:cubicBezTo>
                        <a:pt x="930376" y="146609"/>
                        <a:pt x="926446" y="179496"/>
                        <a:pt x="926446" y="213301"/>
                      </a:cubicBezTo>
                      <a:cubicBezTo>
                        <a:pt x="926446" y="436338"/>
                        <a:pt x="1097499" y="619419"/>
                        <a:pt x="1315743" y="636338"/>
                      </a:cubicBezTo>
                      <a:lnTo>
                        <a:pt x="1315743" y="837336"/>
                      </a:lnTo>
                      <a:cubicBezTo>
                        <a:pt x="1315743" y="927431"/>
                        <a:pt x="1242755" y="1002916"/>
                        <a:pt x="1150303" y="1002916"/>
                      </a:cubicBezTo>
                      <a:cubicBezTo>
                        <a:pt x="1150303" y="1002916"/>
                        <a:pt x="1150303" y="1002916"/>
                        <a:pt x="96837" y="1002916"/>
                      </a:cubicBezTo>
                      <a:cubicBezTo>
                        <a:pt x="6818" y="1002916"/>
                        <a:pt x="-27244" y="942041"/>
                        <a:pt x="23848" y="866556"/>
                      </a:cubicBezTo>
                      <a:cubicBezTo>
                        <a:pt x="23848" y="866556"/>
                        <a:pt x="23848" y="866556"/>
                        <a:pt x="554231" y="77614"/>
                      </a:cubicBezTo>
                      <a:cubicBezTo>
                        <a:pt x="592550" y="19174"/>
                        <a:pt x="660976" y="-7763"/>
                        <a:pt x="725639" y="1939"/>
                      </a:cubicBezTo>
                      <a:close/>
                    </a:path>
                  </a:pathLst>
                </a:custGeom>
                <a:solidFill>
                  <a:srgbClr val="6295AC"/>
                </a:solidFill>
                <a:ln w="3175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wrap="square" lIns="95232" tIns="49520" rIns="95232" bIns="49520" anchor="ctr">
                  <a:noAutofit/>
                </a:bodyPr>
                <a:lstStyle/>
                <a:p>
                  <a:pPr marL="0" marR="0" lvl="0" indent="0" algn="ctr" defTabSz="806277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33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</a:endParaRPr>
                </a:p>
              </p:txBody>
            </p:sp>
            <p:sp>
              <p:nvSpPr>
                <p:cNvPr id="149" name="Freeform 9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xmlns="" id="{195A57D7-A0B4-4ABF-83CF-B2095117B9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1004" y="1910968"/>
                  <a:ext cx="497404" cy="5193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15843" h="1269539">
                      <a:moveTo>
                        <a:pt x="606706" y="0"/>
                      </a:moveTo>
                      <a:cubicBezTo>
                        <a:pt x="640162" y="0"/>
                        <a:pt x="673618" y="22120"/>
                        <a:pt x="699167" y="66362"/>
                      </a:cubicBezTo>
                      <a:cubicBezTo>
                        <a:pt x="699167" y="66362"/>
                        <a:pt x="699167" y="66362"/>
                        <a:pt x="1188239" y="916938"/>
                      </a:cubicBezTo>
                      <a:cubicBezTo>
                        <a:pt x="1239336" y="1005421"/>
                        <a:pt x="1217437" y="1122447"/>
                        <a:pt x="1139575" y="1176678"/>
                      </a:cubicBezTo>
                      <a:cubicBezTo>
                        <a:pt x="1139575" y="1176678"/>
                        <a:pt x="1139575" y="1176678"/>
                        <a:pt x="1009001" y="1269539"/>
                      </a:cubicBezTo>
                      <a:cubicBezTo>
                        <a:pt x="952366" y="1102707"/>
                        <a:pt x="794061" y="983515"/>
                        <a:pt x="607922" y="983515"/>
                      </a:cubicBezTo>
                      <a:cubicBezTo>
                        <a:pt x="421783" y="983515"/>
                        <a:pt x="263478" y="1102707"/>
                        <a:pt x="206844" y="1269539"/>
                      </a:cubicBezTo>
                      <a:lnTo>
                        <a:pt x="76269" y="1176678"/>
                      </a:lnTo>
                      <a:cubicBezTo>
                        <a:pt x="-1593" y="1122447"/>
                        <a:pt x="-23492" y="1005421"/>
                        <a:pt x="27605" y="916938"/>
                      </a:cubicBezTo>
                      <a:cubicBezTo>
                        <a:pt x="27605" y="916938"/>
                        <a:pt x="27605" y="916938"/>
                        <a:pt x="514244" y="66362"/>
                      </a:cubicBezTo>
                      <a:cubicBezTo>
                        <a:pt x="539793" y="22120"/>
                        <a:pt x="573249" y="0"/>
                        <a:pt x="606706" y="0"/>
                      </a:cubicBezTo>
                      <a:close/>
                    </a:path>
                  </a:pathLst>
                </a:custGeom>
                <a:solidFill>
                  <a:srgbClr val="DA291C"/>
                </a:solidFill>
                <a:ln w="3175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wrap="square" lIns="95232" tIns="49520" rIns="95232" bIns="49520" anchor="ctr">
                  <a:noAutofit/>
                </a:bodyPr>
                <a:lstStyle/>
                <a:p>
                  <a:pPr marL="0" marR="0" lvl="0" indent="0" algn="ctr" defTabSz="806277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33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</a:endParaRPr>
                </a:p>
              </p:txBody>
            </p:sp>
            <p:sp>
              <p:nvSpPr>
                <p:cNvPr id="150" name="Freeform 7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xmlns="" id="{ED366049-4FDF-4B0B-9FEF-0E681F229E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8575" y="2400673"/>
                  <a:ext cx="545261" cy="410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2824" h="1002916">
                      <a:moveTo>
                        <a:pt x="604725" y="1939"/>
                      </a:moveTo>
                      <a:cubicBezTo>
                        <a:pt x="669391" y="-7763"/>
                        <a:pt x="737820" y="19174"/>
                        <a:pt x="776140" y="77614"/>
                      </a:cubicBezTo>
                      <a:cubicBezTo>
                        <a:pt x="776140" y="77614"/>
                        <a:pt x="776140" y="77614"/>
                        <a:pt x="1308976" y="866556"/>
                      </a:cubicBezTo>
                      <a:cubicBezTo>
                        <a:pt x="1360070" y="942041"/>
                        <a:pt x="1326008" y="1002916"/>
                        <a:pt x="1235985" y="1002916"/>
                      </a:cubicBezTo>
                      <a:cubicBezTo>
                        <a:pt x="1235985" y="1002916"/>
                        <a:pt x="1235985" y="1002916"/>
                        <a:pt x="165447" y="1002916"/>
                      </a:cubicBezTo>
                      <a:cubicBezTo>
                        <a:pt x="75425" y="1002916"/>
                        <a:pt x="0" y="927431"/>
                        <a:pt x="0" y="837336"/>
                      </a:cubicBezTo>
                      <a:cubicBezTo>
                        <a:pt x="0" y="837336"/>
                        <a:pt x="0" y="837336"/>
                        <a:pt x="0" y="637928"/>
                      </a:cubicBezTo>
                      <a:cubicBezTo>
                        <a:pt x="225655" y="628235"/>
                        <a:pt x="405066" y="441723"/>
                        <a:pt x="405066" y="213301"/>
                      </a:cubicBezTo>
                      <a:cubicBezTo>
                        <a:pt x="405066" y="179557"/>
                        <a:pt x="401151" y="146727"/>
                        <a:pt x="392733" y="115481"/>
                      </a:cubicBezTo>
                      <a:lnTo>
                        <a:pt x="542568" y="24044"/>
                      </a:lnTo>
                      <a:cubicBezTo>
                        <a:pt x="562033" y="12478"/>
                        <a:pt x="583170" y="5173"/>
                        <a:pt x="604725" y="1939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3175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wrap="square" lIns="95232" tIns="49520" rIns="95232" bIns="49520" anchor="ctr">
                  <a:noAutofit/>
                </a:bodyPr>
                <a:lstStyle/>
                <a:p>
                  <a:pPr marL="0" marR="0" lvl="0" indent="0" algn="ctr" defTabSz="806277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33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</a:endParaRPr>
                </a:p>
              </p:txBody>
            </p:sp>
          </p:grpSp>
          <p:grpSp>
            <p:nvGrpSpPr>
              <p:cNvPr id="131" name="Gruppieren 132">
                <a:extLst>
                  <a:ext uri="{FF2B5EF4-FFF2-40B4-BE49-F238E27FC236}">
                    <a16:creationId xmlns:a16="http://schemas.microsoft.com/office/drawing/2014/main" xmlns="" id="{40CA7CA9-E871-47CE-BA47-B90EFBC79AF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699222" y="3485794"/>
                <a:ext cx="209986" cy="209492"/>
                <a:chOff x="-1931824" y="1766260"/>
                <a:chExt cx="288681" cy="288000"/>
              </a:xfrm>
            </p:grpSpPr>
            <p:sp>
              <p:nvSpPr>
                <p:cNvPr id="144" name="Ellipse 155">
                  <a:extLst>
                    <a:ext uri="{FF2B5EF4-FFF2-40B4-BE49-F238E27FC236}">
                      <a16:creationId xmlns:a16="http://schemas.microsoft.com/office/drawing/2014/main" xmlns="" id="{5CF02AD6-41FB-49D4-8C41-67464CCDC1F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-1890620" y="1798363"/>
                  <a:ext cx="57279" cy="57279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613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Freihandform: Form 156">
                  <a:extLst>
                    <a:ext uri="{FF2B5EF4-FFF2-40B4-BE49-F238E27FC236}">
                      <a16:creationId xmlns:a16="http://schemas.microsoft.com/office/drawing/2014/main" xmlns="" id="{096E3C18-A54B-4142-A5E5-94796D9FDF2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-1931824" y="1766260"/>
                  <a:ext cx="219020" cy="288000"/>
                </a:xfrm>
                <a:custGeom>
                  <a:avLst/>
                  <a:gdLst>
                    <a:gd name="connsiteX0" fmla="*/ 554330 w 1738313"/>
                    <a:gd name="connsiteY0" fmla="*/ 0 h 2285790"/>
                    <a:gd name="connsiteX1" fmla="*/ 998541 w 1738313"/>
                    <a:gd name="connsiteY1" fmla="*/ 294444 h 2285790"/>
                    <a:gd name="connsiteX2" fmla="*/ 1013947 w 1738313"/>
                    <a:gd name="connsiteY2" fmla="*/ 344077 h 2285790"/>
                    <a:gd name="connsiteX3" fmla="*/ 1738313 w 1738313"/>
                    <a:gd name="connsiteY3" fmla="*/ 344077 h 2285790"/>
                    <a:gd name="connsiteX4" fmla="*/ 1738313 w 1738313"/>
                    <a:gd name="connsiteY4" fmla="*/ 578434 h 2285790"/>
                    <a:gd name="connsiteX5" fmla="*/ 1025590 w 1738313"/>
                    <a:gd name="connsiteY5" fmla="*/ 578434 h 2285790"/>
                    <a:gd name="connsiteX6" fmla="*/ 1014752 w 1738313"/>
                    <a:gd name="connsiteY6" fmla="*/ 625459 h 2285790"/>
                    <a:gd name="connsiteX7" fmla="*/ 954092 w 1738313"/>
                    <a:gd name="connsiteY7" fmla="*/ 751643 h 2285790"/>
                    <a:gd name="connsiteX8" fmla="*/ 906889 w 1738313"/>
                    <a:gd name="connsiteY8" fmla="*/ 808853 h 2285790"/>
                    <a:gd name="connsiteX9" fmla="*/ 1133984 w 1738313"/>
                    <a:gd name="connsiteY9" fmla="*/ 1792508 h 2285790"/>
                    <a:gd name="connsiteX10" fmla="*/ 1738313 w 1738313"/>
                    <a:gd name="connsiteY10" fmla="*/ 1792508 h 2285790"/>
                    <a:gd name="connsiteX11" fmla="*/ 1738313 w 1738313"/>
                    <a:gd name="connsiteY11" fmla="*/ 2285790 h 2285790"/>
                    <a:gd name="connsiteX12" fmla="*/ 0 w 1738313"/>
                    <a:gd name="connsiteY12" fmla="*/ 2285790 h 2285790"/>
                    <a:gd name="connsiteX13" fmla="*/ 0 w 1738313"/>
                    <a:gd name="connsiteY13" fmla="*/ 1792508 h 2285790"/>
                    <a:gd name="connsiteX14" fmla="*/ 627727 w 1738313"/>
                    <a:gd name="connsiteY14" fmla="*/ 1792508 h 2285790"/>
                    <a:gd name="connsiteX15" fmla="*/ 432464 w 1738313"/>
                    <a:gd name="connsiteY15" fmla="*/ 946732 h 2285790"/>
                    <a:gd name="connsiteX16" fmla="*/ 366677 w 1738313"/>
                    <a:gd name="connsiteY16" fmla="*/ 926310 h 2285790"/>
                    <a:gd name="connsiteX17" fmla="*/ 72234 w 1738313"/>
                    <a:gd name="connsiteY17" fmla="*/ 482098 h 2285790"/>
                    <a:gd name="connsiteX18" fmla="*/ 554330 w 1738313"/>
                    <a:gd name="connsiteY18" fmla="*/ 0 h 22857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738313" h="2285790">
                      <a:moveTo>
                        <a:pt x="554330" y="0"/>
                      </a:moveTo>
                      <a:cubicBezTo>
                        <a:pt x="754021" y="0"/>
                        <a:pt x="925354" y="121412"/>
                        <a:pt x="998541" y="294444"/>
                      </a:cubicBezTo>
                      <a:lnTo>
                        <a:pt x="1013947" y="344077"/>
                      </a:lnTo>
                      <a:lnTo>
                        <a:pt x="1738313" y="344077"/>
                      </a:lnTo>
                      <a:lnTo>
                        <a:pt x="1738313" y="578434"/>
                      </a:lnTo>
                      <a:lnTo>
                        <a:pt x="1025590" y="578434"/>
                      </a:lnTo>
                      <a:lnTo>
                        <a:pt x="1014752" y="625459"/>
                      </a:lnTo>
                      <a:cubicBezTo>
                        <a:pt x="1000666" y="670747"/>
                        <a:pt x="980083" y="713172"/>
                        <a:pt x="954092" y="751643"/>
                      </a:cubicBezTo>
                      <a:lnTo>
                        <a:pt x="906889" y="808853"/>
                      </a:lnTo>
                      <a:lnTo>
                        <a:pt x="1133984" y="1792508"/>
                      </a:lnTo>
                      <a:lnTo>
                        <a:pt x="1738313" y="1792508"/>
                      </a:lnTo>
                      <a:lnTo>
                        <a:pt x="1738313" y="2285790"/>
                      </a:lnTo>
                      <a:lnTo>
                        <a:pt x="0" y="2285790"/>
                      </a:lnTo>
                      <a:lnTo>
                        <a:pt x="0" y="1792508"/>
                      </a:lnTo>
                      <a:lnTo>
                        <a:pt x="627727" y="1792508"/>
                      </a:lnTo>
                      <a:lnTo>
                        <a:pt x="432464" y="946732"/>
                      </a:lnTo>
                      <a:lnTo>
                        <a:pt x="366677" y="926310"/>
                      </a:lnTo>
                      <a:cubicBezTo>
                        <a:pt x="193645" y="853124"/>
                        <a:pt x="72234" y="681789"/>
                        <a:pt x="72234" y="482098"/>
                      </a:cubicBezTo>
                      <a:cubicBezTo>
                        <a:pt x="72234" y="215843"/>
                        <a:pt x="288076" y="0"/>
                        <a:pt x="554330" y="0"/>
                      </a:cubicBezTo>
                      <a:close/>
                    </a:path>
                  </a:pathLst>
                </a:custGeom>
                <a:noFill/>
                <a:ln w="9525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613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Freihandform: Form 157">
                  <a:extLst>
                    <a:ext uri="{FF2B5EF4-FFF2-40B4-BE49-F238E27FC236}">
                      <a16:creationId xmlns:a16="http://schemas.microsoft.com/office/drawing/2014/main" xmlns="" id="{FA9A1219-636B-4028-B45D-1E6B6483DC71}"/>
                    </a:ext>
                  </a:extLst>
                </p:cNvPr>
                <p:cNvSpPr/>
                <p:nvPr/>
              </p:nvSpPr>
              <p:spPr>
                <a:xfrm>
                  <a:off x="-1713049" y="1779886"/>
                  <a:ext cx="69906" cy="32103"/>
                </a:xfrm>
                <a:custGeom>
                  <a:avLst/>
                  <a:gdLst>
                    <a:gd name="connsiteX0" fmla="*/ 554832 w 554832"/>
                    <a:gd name="connsiteY0" fmla="*/ 254794 h 709613"/>
                    <a:gd name="connsiteX1" fmla="*/ 247650 w 554832"/>
                    <a:gd name="connsiteY1" fmla="*/ 0 h 709613"/>
                    <a:gd name="connsiteX2" fmla="*/ 0 w 554832"/>
                    <a:gd name="connsiteY2" fmla="*/ 238125 h 709613"/>
                    <a:gd name="connsiteX3" fmla="*/ 0 w 554832"/>
                    <a:gd name="connsiteY3" fmla="*/ 471488 h 709613"/>
                    <a:gd name="connsiteX4" fmla="*/ 252413 w 554832"/>
                    <a:gd name="connsiteY4" fmla="*/ 709613 h 709613"/>
                    <a:gd name="connsiteX5" fmla="*/ 540544 w 554832"/>
                    <a:gd name="connsiteY5" fmla="*/ 419100 h 709613"/>
                    <a:gd name="connsiteX0" fmla="*/ 554832 w 554832"/>
                    <a:gd name="connsiteY0" fmla="*/ 254794 h 709613"/>
                    <a:gd name="connsiteX1" fmla="*/ 247650 w 554832"/>
                    <a:gd name="connsiteY1" fmla="*/ 0 h 709613"/>
                    <a:gd name="connsiteX2" fmla="*/ 0 w 554832"/>
                    <a:gd name="connsiteY2" fmla="*/ 238125 h 709613"/>
                    <a:gd name="connsiteX3" fmla="*/ 0 w 554832"/>
                    <a:gd name="connsiteY3" fmla="*/ 471488 h 709613"/>
                    <a:gd name="connsiteX4" fmla="*/ 252413 w 554832"/>
                    <a:gd name="connsiteY4" fmla="*/ 709613 h 709613"/>
                    <a:gd name="connsiteX0" fmla="*/ 554832 w 554832"/>
                    <a:gd name="connsiteY0" fmla="*/ 254794 h 471488"/>
                    <a:gd name="connsiteX1" fmla="*/ 247650 w 554832"/>
                    <a:gd name="connsiteY1" fmla="*/ 0 h 471488"/>
                    <a:gd name="connsiteX2" fmla="*/ 0 w 554832"/>
                    <a:gd name="connsiteY2" fmla="*/ 238125 h 471488"/>
                    <a:gd name="connsiteX3" fmla="*/ 0 w 554832"/>
                    <a:gd name="connsiteY3" fmla="*/ 471488 h 471488"/>
                    <a:gd name="connsiteX0" fmla="*/ 554832 w 554832"/>
                    <a:gd name="connsiteY0" fmla="*/ 254794 h 254794"/>
                    <a:gd name="connsiteX1" fmla="*/ 247650 w 554832"/>
                    <a:gd name="connsiteY1" fmla="*/ 0 h 254794"/>
                    <a:gd name="connsiteX2" fmla="*/ 0 w 554832"/>
                    <a:gd name="connsiteY2" fmla="*/ 238125 h 254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54832" h="254794">
                      <a:moveTo>
                        <a:pt x="554832" y="254794"/>
                      </a:moveTo>
                      <a:lnTo>
                        <a:pt x="247650" y="0"/>
                      </a:lnTo>
                      <a:lnTo>
                        <a:pt x="0" y="238125"/>
                      </a:lnTo>
                    </a:path>
                  </a:pathLst>
                </a:custGeom>
                <a:noFill/>
                <a:ln w="9525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613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ihandform: Form 158">
                  <a:extLst>
                    <a:ext uri="{FF2B5EF4-FFF2-40B4-BE49-F238E27FC236}">
                      <a16:creationId xmlns:a16="http://schemas.microsoft.com/office/drawing/2014/main" xmlns="" id="{67584A7F-CEAA-4661-87C0-9ACDD2110D9C}"/>
                    </a:ext>
                  </a:extLst>
                </p:cNvPr>
                <p:cNvSpPr/>
                <p:nvPr/>
              </p:nvSpPr>
              <p:spPr>
                <a:xfrm flipV="1">
                  <a:off x="-1713049" y="1836891"/>
                  <a:ext cx="69906" cy="32103"/>
                </a:xfrm>
                <a:custGeom>
                  <a:avLst/>
                  <a:gdLst>
                    <a:gd name="connsiteX0" fmla="*/ 554832 w 554832"/>
                    <a:gd name="connsiteY0" fmla="*/ 254794 h 709613"/>
                    <a:gd name="connsiteX1" fmla="*/ 247650 w 554832"/>
                    <a:gd name="connsiteY1" fmla="*/ 0 h 709613"/>
                    <a:gd name="connsiteX2" fmla="*/ 0 w 554832"/>
                    <a:gd name="connsiteY2" fmla="*/ 238125 h 709613"/>
                    <a:gd name="connsiteX3" fmla="*/ 0 w 554832"/>
                    <a:gd name="connsiteY3" fmla="*/ 471488 h 709613"/>
                    <a:gd name="connsiteX4" fmla="*/ 252413 w 554832"/>
                    <a:gd name="connsiteY4" fmla="*/ 709613 h 709613"/>
                    <a:gd name="connsiteX5" fmla="*/ 540544 w 554832"/>
                    <a:gd name="connsiteY5" fmla="*/ 419100 h 709613"/>
                    <a:gd name="connsiteX0" fmla="*/ 554832 w 554832"/>
                    <a:gd name="connsiteY0" fmla="*/ 254794 h 709613"/>
                    <a:gd name="connsiteX1" fmla="*/ 247650 w 554832"/>
                    <a:gd name="connsiteY1" fmla="*/ 0 h 709613"/>
                    <a:gd name="connsiteX2" fmla="*/ 0 w 554832"/>
                    <a:gd name="connsiteY2" fmla="*/ 238125 h 709613"/>
                    <a:gd name="connsiteX3" fmla="*/ 0 w 554832"/>
                    <a:gd name="connsiteY3" fmla="*/ 471488 h 709613"/>
                    <a:gd name="connsiteX4" fmla="*/ 252413 w 554832"/>
                    <a:gd name="connsiteY4" fmla="*/ 709613 h 709613"/>
                    <a:gd name="connsiteX0" fmla="*/ 554832 w 554832"/>
                    <a:gd name="connsiteY0" fmla="*/ 254794 h 471488"/>
                    <a:gd name="connsiteX1" fmla="*/ 247650 w 554832"/>
                    <a:gd name="connsiteY1" fmla="*/ 0 h 471488"/>
                    <a:gd name="connsiteX2" fmla="*/ 0 w 554832"/>
                    <a:gd name="connsiteY2" fmla="*/ 238125 h 471488"/>
                    <a:gd name="connsiteX3" fmla="*/ 0 w 554832"/>
                    <a:gd name="connsiteY3" fmla="*/ 471488 h 471488"/>
                    <a:gd name="connsiteX0" fmla="*/ 554832 w 554832"/>
                    <a:gd name="connsiteY0" fmla="*/ 254794 h 254794"/>
                    <a:gd name="connsiteX1" fmla="*/ 247650 w 554832"/>
                    <a:gd name="connsiteY1" fmla="*/ 0 h 254794"/>
                    <a:gd name="connsiteX2" fmla="*/ 0 w 554832"/>
                    <a:gd name="connsiteY2" fmla="*/ 238125 h 254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54832" h="254794">
                      <a:moveTo>
                        <a:pt x="554832" y="254794"/>
                      </a:moveTo>
                      <a:lnTo>
                        <a:pt x="247650" y="0"/>
                      </a:lnTo>
                      <a:lnTo>
                        <a:pt x="0" y="238125"/>
                      </a:lnTo>
                    </a:path>
                  </a:pathLst>
                </a:custGeom>
                <a:noFill/>
                <a:ln w="9525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613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2" name="Gruppieren 133">
                <a:extLst>
                  <a:ext uri="{FF2B5EF4-FFF2-40B4-BE49-F238E27FC236}">
                    <a16:creationId xmlns:a16="http://schemas.microsoft.com/office/drawing/2014/main" xmlns="" id="{638300B9-077C-4F3F-97AE-0902EE310C93}"/>
                  </a:ext>
                </a:extLst>
              </p:cNvPr>
              <p:cNvGrpSpPr/>
              <p:nvPr/>
            </p:nvGrpSpPr>
            <p:grpSpPr>
              <a:xfrm>
                <a:off x="1194678" y="3478454"/>
                <a:ext cx="114147" cy="224172"/>
                <a:chOff x="-1701262" y="1767530"/>
                <a:chExt cx="153890" cy="302223"/>
              </a:xfrm>
            </p:grpSpPr>
            <p:sp>
              <p:nvSpPr>
                <p:cNvPr id="134" name="Freihandform: Form 136">
                  <a:extLst>
                    <a:ext uri="{FF2B5EF4-FFF2-40B4-BE49-F238E27FC236}">
                      <a16:creationId xmlns:a16="http://schemas.microsoft.com/office/drawing/2014/main" xmlns="" id="{FF369693-AB20-4130-A780-AE5E2D26CA9C}"/>
                    </a:ext>
                  </a:extLst>
                </p:cNvPr>
                <p:cNvSpPr/>
                <p:nvPr/>
              </p:nvSpPr>
              <p:spPr>
                <a:xfrm rot="19500000" flipV="1">
                  <a:off x="-1661913" y="1955160"/>
                  <a:ext cx="114541" cy="114593"/>
                </a:xfrm>
                <a:custGeom>
                  <a:avLst/>
                  <a:gdLst>
                    <a:gd name="connsiteX0" fmla="*/ 897017 w 1799511"/>
                    <a:gd name="connsiteY0" fmla="*/ 0 h 1801020"/>
                    <a:gd name="connsiteX1" fmla="*/ 1799511 w 1799511"/>
                    <a:gd name="connsiteY1" fmla="*/ 902494 h 1801020"/>
                    <a:gd name="connsiteX2" fmla="*/ 989292 w 1799511"/>
                    <a:gd name="connsiteY2" fmla="*/ 1800329 h 1801020"/>
                    <a:gd name="connsiteX3" fmla="*/ 975599 w 1799511"/>
                    <a:gd name="connsiteY3" fmla="*/ 1801020 h 1801020"/>
                    <a:gd name="connsiteX4" fmla="*/ 975599 w 1799511"/>
                    <a:gd name="connsiteY4" fmla="*/ 804861 h 1801020"/>
                    <a:gd name="connsiteX5" fmla="*/ 0 w 1799511"/>
                    <a:gd name="connsiteY5" fmla="*/ 804861 h 1801020"/>
                    <a:gd name="connsiteX6" fmla="*/ 12859 w 1799511"/>
                    <a:gd name="connsiteY6" fmla="*/ 720610 h 1801020"/>
                    <a:gd name="connsiteX7" fmla="*/ 897017 w 1799511"/>
                    <a:gd name="connsiteY7" fmla="*/ 0 h 1801020"/>
                    <a:gd name="connsiteX0" fmla="*/ 897017 w 1799511"/>
                    <a:gd name="connsiteY0" fmla="*/ 0 h 1801020"/>
                    <a:gd name="connsiteX1" fmla="*/ 1799511 w 1799511"/>
                    <a:gd name="connsiteY1" fmla="*/ 902494 h 1801020"/>
                    <a:gd name="connsiteX2" fmla="*/ 989292 w 1799511"/>
                    <a:gd name="connsiteY2" fmla="*/ 1800329 h 1801020"/>
                    <a:gd name="connsiteX3" fmla="*/ 975599 w 1799511"/>
                    <a:gd name="connsiteY3" fmla="*/ 1801020 h 1801020"/>
                    <a:gd name="connsiteX4" fmla="*/ 0 w 1799511"/>
                    <a:gd name="connsiteY4" fmla="*/ 804861 h 1801020"/>
                    <a:gd name="connsiteX5" fmla="*/ 12859 w 1799511"/>
                    <a:gd name="connsiteY5" fmla="*/ 720610 h 1801020"/>
                    <a:gd name="connsiteX6" fmla="*/ 897017 w 1799511"/>
                    <a:gd name="connsiteY6" fmla="*/ 0 h 1801020"/>
                    <a:gd name="connsiteX0" fmla="*/ 0 w 1799511"/>
                    <a:gd name="connsiteY0" fmla="*/ 804861 h 1892460"/>
                    <a:gd name="connsiteX1" fmla="*/ 12859 w 1799511"/>
                    <a:gd name="connsiteY1" fmla="*/ 720610 h 1892460"/>
                    <a:gd name="connsiteX2" fmla="*/ 897017 w 1799511"/>
                    <a:gd name="connsiteY2" fmla="*/ 0 h 1892460"/>
                    <a:gd name="connsiteX3" fmla="*/ 1799511 w 1799511"/>
                    <a:gd name="connsiteY3" fmla="*/ 902494 h 1892460"/>
                    <a:gd name="connsiteX4" fmla="*/ 989292 w 1799511"/>
                    <a:gd name="connsiteY4" fmla="*/ 1800329 h 1892460"/>
                    <a:gd name="connsiteX5" fmla="*/ 1067039 w 1799511"/>
                    <a:gd name="connsiteY5" fmla="*/ 1892460 h 1892460"/>
                    <a:gd name="connsiteX0" fmla="*/ 0 w 1799511"/>
                    <a:gd name="connsiteY0" fmla="*/ 804861 h 1800329"/>
                    <a:gd name="connsiteX1" fmla="*/ 12859 w 1799511"/>
                    <a:gd name="connsiteY1" fmla="*/ 720610 h 1800329"/>
                    <a:gd name="connsiteX2" fmla="*/ 897017 w 1799511"/>
                    <a:gd name="connsiteY2" fmla="*/ 0 h 1800329"/>
                    <a:gd name="connsiteX3" fmla="*/ 1799511 w 1799511"/>
                    <a:gd name="connsiteY3" fmla="*/ 902494 h 1800329"/>
                    <a:gd name="connsiteX4" fmla="*/ 989292 w 1799511"/>
                    <a:gd name="connsiteY4" fmla="*/ 1800329 h 1800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9511" h="1800329">
                      <a:moveTo>
                        <a:pt x="0" y="804861"/>
                      </a:moveTo>
                      <a:lnTo>
                        <a:pt x="12859" y="720610"/>
                      </a:lnTo>
                      <a:cubicBezTo>
                        <a:pt x="97013" y="309359"/>
                        <a:pt x="460887" y="0"/>
                        <a:pt x="897017" y="0"/>
                      </a:cubicBezTo>
                      <a:cubicBezTo>
                        <a:pt x="1395451" y="0"/>
                        <a:pt x="1799511" y="404060"/>
                        <a:pt x="1799511" y="902494"/>
                      </a:cubicBezTo>
                      <a:cubicBezTo>
                        <a:pt x="1799511" y="1369776"/>
                        <a:pt x="1444380" y="1754112"/>
                        <a:pt x="989292" y="1800329"/>
                      </a:cubicBezTo>
                    </a:path>
                  </a:pathLst>
                </a:custGeom>
                <a:noFill/>
                <a:ln w="9525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613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Freihandform: Form 137">
                  <a:extLst>
                    <a:ext uri="{FF2B5EF4-FFF2-40B4-BE49-F238E27FC236}">
                      <a16:creationId xmlns:a16="http://schemas.microsoft.com/office/drawing/2014/main" xmlns="" id="{6ABA437B-06E5-4F7E-805F-553FEF97EC2B}"/>
                    </a:ext>
                  </a:extLst>
                </p:cNvPr>
                <p:cNvSpPr/>
                <p:nvPr/>
              </p:nvSpPr>
              <p:spPr>
                <a:xfrm rot="19500000" flipV="1">
                  <a:off x="-1627068" y="1990021"/>
                  <a:ext cx="44851" cy="44871"/>
                </a:xfrm>
                <a:custGeom>
                  <a:avLst/>
                  <a:gdLst>
                    <a:gd name="connsiteX0" fmla="*/ 897017 w 1799511"/>
                    <a:gd name="connsiteY0" fmla="*/ 0 h 1801020"/>
                    <a:gd name="connsiteX1" fmla="*/ 1799511 w 1799511"/>
                    <a:gd name="connsiteY1" fmla="*/ 902494 h 1801020"/>
                    <a:gd name="connsiteX2" fmla="*/ 989292 w 1799511"/>
                    <a:gd name="connsiteY2" fmla="*/ 1800329 h 1801020"/>
                    <a:gd name="connsiteX3" fmla="*/ 975599 w 1799511"/>
                    <a:gd name="connsiteY3" fmla="*/ 1801020 h 1801020"/>
                    <a:gd name="connsiteX4" fmla="*/ 975599 w 1799511"/>
                    <a:gd name="connsiteY4" fmla="*/ 804861 h 1801020"/>
                    <a:gd name="connsiteX5" fmla="*/ 0 w 1799511"/>
                    <a:gd name="connsiteY5" fmla="*/ 804861 h 1801020"/>
                    <a:gd name="connsiteX6" fmla="*/ 12859 w 1799511"/>
                    <a:gd name="connsiteY6" fmla="*/ 720610 h 1801020"/>
                    <a:gd name="connsiteX7" fmla="*/ 897017 w 1799511"/>
                    <a:gd name="connsiteY7" fmla="*/ 0 h 1801020"/>
                    <a:gd name="connsiteX0" fmla="*/ 897017 w 1799511"/>
                    <a:gd name="connsiteY0" fmla="*/ 0 h 1801020"/>
                    <a:gd name="connsiteX1" fmla="*/ 1799511 w 1799511"/>
                    <a:gd name="connsiteY1" fmla="*/ 902494 h 1801020"/>
                    <a:gd name="connsiteX2" fmla="*/ 989292 w 1799511"/>
                    <a:gd name="connsiteY2" fmla="*/ 1800329 h 1801020"/>
                    <a:gd name="connsiteX3" fmla="*/ 975599 w 1799511"/>
                    <a:gd name="connsiteY3" fmla="*/ 1801020 h 1801020"/>
                    <a:gd name="connsiteX4" fmla="*/ 0 w 1799511"/>
                    <a:gd name="connsiteY4" fmla="*/ 804861 h 1801020"/>
                    <a:gd name="connsiteX5" fmla="*/ 12859 w 1799511"/>
                    <a:gd name="connsiteY5" fmla="*/ 720610 h 1801020"/>
                    <a:gd name="connsiteX6" fmla="*/ 897017 w 1799511"/>
                    <a:gd name="connsiteY6" fmla="*/ 0 h 1801020"/>
                    <a:gd name="connsiteX0" fmla="*/ 0 w 1799511"/>
                    <a:gd name="connsiteY0" fmla="*/ 804861 h 1892460"/>
                    <a:gd name="connsiteX1" fmla="*/ 12859 w 1799511"/>
                    <a:gd name="connsiteY1" fmla="*/ 720610 h 1892460"/>
                    <a:gd name="connsiteX2" fmla="*/ 897017 w 1799511"/>
                    <a:gd name="connsiteY2" fmla="*/ 0 h 1892460"/>
                    <a:gd name="connsiteX3" fmla="*/ 1799511 w 1799511"/>
                    <a:gd name="connsiteY3" fmla="*/ 902494 h 1892460"/>
                    <a:gd name="connsiteX4" fmla="*/ 989292 w 1799511"/>
                    <a:gd name="connsiteY4" fmla="*/ 1800329 h 1892460"/>
                    <a:gd name="connsiteX5" fmla="*/ 1067039 w 1799511"/>
                    <a:gd name="connsiteY5" fmla="*/ 1892460 h 1892460"/>
                    <a:gd name="connsiteX0" fmla="*/ 0 w 1799511"/>
                    <a:gd name="connsiteY0" fmla="*/ 804861 h 1800329"/>
                    <a:gd name="connsiteX1" fmla="*/ 12859 w 1799511"/>
                    <a:gd name="connsiteY1" fmla="*/ 720610 h 1800329"/>
                    <a:gd name="connsiteX2" fmla="*/ 897017 w 1799511"/>
                    <a:gd name="connsiteY2" fmla="*/ 0 h 1800329"/>
                    <a:gd name="connsiteX3" fmla="*/ 1799511 w 1799511"/>
                    <a:gd name="connsiteY3" fmla="*/ 902494 h 1800329"/>
                    <a:gd name="connsiteX4" fmla="*/ 989292 w 1799511"/>
                    <a:gd name="connsiteY4" fmla="*/ 1800329 h 1800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9511" h="1800329">
                      <a:moveTo>
                        <a:pt x="0" y="804861"/>
                      </a:moveTo>
                      <a:lnTo>
                        <a:pt x="12859" y="720610"/>
                      </a:lnTo>
                      <a:cubicBezTo>
                        <a:pt x="97013" y="309359"/>
                        <a:pt x="460887" y="0"/>
                        <a:pt x="897017" y="0"/>
                      </a:cubicBezTo>
                      <a:cubicBezTo>
                        <a:pt x="1395451" y="0"/>
                        <a:pt x="1799511" y="404060"/>
                        <a:pt x="1799511" y="902494"/>
                      </a:cubicBezTo>
                      <a:cubicBezTo>
                        <a:pt x="1799511" y="1369776"/>
                        <a:pt x="1444380" y="1754112"/>
                        <a:pt x="989292" y="1800329"/>
                      </a:cubicBezTo>
                    </a:path>
                  </a:pathLst>
                </a:custGeom>
                <a:noFill/>
                <a:ln w="9525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613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ihandform: Form 139">
                  <a:extLst>
                    <a:ext uri="{FF2B5EF4-FFF2-40B4-BE49-F238E27FC236}">
                      <a16:creationId xmlns:a16="http://schemas.microsoft.com/office/drawing/2014/main" xmlns="" id="{F1468B57-0494-4BD4-B358-4AF9AACCAE0C}"/>
                    </a:ext>
                  </a:extLst>
                </p:cNvPr>
                <p:cNvSpPr/>
                <p:nvPr/>
              </p:nvSpPr>
              <p:spPr>
                <a:xfrm rot="19500000" flipV="1">
                  <a:off x="-1645854" y="1971226"/>
                  <a:ext cx="82423" cy="82460"/>
                </a:xfrm>
                <a:custGeom>
                  <a:avLst/>
                  <a:gdLst>
                    <a:gd name="connsiteX0" fmla="*/ 897017 w 1799511"/>
                    <a:gd name="connsiteY0" fmla="*/ 0 h 1801020"/>
                    <a:gd name="connsiteX1" fmla="*/ 1799511 w 1799511"/>
                    <a:gd name="connsiteY1" fmla="*/ 902494 h 1801020"/>
                    <a:gd name="connsiteX2" fmla="*/ 989292 w 1799511"/>
                    <a:gd name="connsiteY2" fmla="*/ 1800329 h 1801020"/>
                    <a:gd name="connsiteX3" fmla="*/ 975599 w 1799511"/>
                    <a:gd name="connsiteY3" fmla="*/ 1801020 h 1801020"/>
                    <a:gd name="connsiteX4" fmla="*/ 975599 w 1799511"/>
                    <a:gd name="connsiteY4" fmla="*/ 804861 h 1801020"/>
                    <a:gd name="connsiteX5" fmla="*/ 0 w 1799511"/>
                    <a:gd name="connsiteY5" fmla="*/ 804861 h 1801020"/>
                    <a:gd name="connsiteX6" fmla="*/ 12859 w 1799511"/>
                    <a:gd name="connsiteY6" fmla="*/ 720610 h 1801020"/>
                    <a:gd name="connsiteX7" fmla="*/ 897017 w 1799511"/>
                    <a:gd name="connsiteY7" fmla="*/ 0 h 1801020"/>
                    <a:gd name="connsiteX0" fmla="*/ 897017 w 1799511"/>
                    <a:gd name="connsiteY0" fmla="*/ 0 h 1801020"/>
                    <a:gd name="connsiteX1" fmla="*/ 1799511 w 1799511"/>
                    <a:gd name="connsiteY1" fmla="*/ 902494 h 1801020"/>
                    <a:gd name="connsiteX2" fmla="*/ 989292 w 1799511"/>
                    <a:gd name="connsiteY2" fmla="*/ 1800329 h 1801020"/>
                    <a:gd name="connsiteX3" fmla="*/ 975599 w 1799511"/>
                    <a:gd name="connsiteY3" fmla="*/ 1801020 h 1801020"/>
                    <a:gd name="connsiteX4" fmla="*/ 0 w 1799511"/>
                    <a:gd name="connsiteY4" fmla="*/ 804861 h 1801020"/>
                    <a:gd name="connsiteX5" fmla="*/ 12859 w 1799511"/>
                    <a:gd name="connsiteY5" fmla="*/ 720610 h 1801020"/>
                    <a:gd name="connsiteX6" fmla="*/ 897017 w 1799511"/>
                    <a:gd name="connsiteY6" fmla="*/ 0 h 1801020"/>
                    <a:gd name="connsiteX0" fmla="*/ 0 w 1799511"/>
                    <a:gd name="connsiteY0" fmla="*/ 804861 h 1892460"/>
                    <a:gd name="connsiteX1" fmla="*/ 12859 w 1799511"/>
                    <a:gd name="connsiteY1" fmla="*/ 720610 h 1892460"/>
                    <a:gd name="connsiteX2" fmla="*/ 897017 w 1799511"/>
                    <a:gd name="connsiteY2" fmla="*/ 0 h 1892460"/>
                    <a:gd name="connsiteX3" fmla="*/ 1799511 w 1799511"/>
                    <a:gd name="connsiteY3" fmla="*/ 902494 h 1892460"/>
                    <a:gd name="connsiteX4" fmla="*/ 989292 w 1799511"/>
                    <a:gd name="connsiteY4" fmla="*/ 1800329 h 1892460"/>
                    <a:gd name="connsiteX5" fmla="*/ 1067039 w 1799511"/>
                    <a:gd name="connsiteY5" fmla="*/ 1892460 h 1892460"/>
                    <a:gd name="connsiteX0" fmla="*/ 0 w 1799511"/>
                    <a:gd name="connsiteY0" fmla="*/ 804861 h 1800329"/>
                    <a:gd name="connsiteX1" fmla="*/ 12859 w 1799511"/>
                    <a:gd name="connsiteY1" fmla="*/ 720610 h 1800329"/>
                    <a:gd name="connsiteX2" fmla="*/ 897017 w 1799511"/>
                    <a:gd name="connsiteY2" fmla="*/ 0 h 1800329"/>
                    <a:gd name="connsiteX3" fmla="*/ 1799511 w 1799511"/>
                    <a:gd name="connsiteY3" fmla="*/ 902494 h 1800329"/>
                    <a:gd name="connsiteX4" fmla="*/ 989292 w 1799511"/>
                    <a:gd name="connsiteY4" fmla="*/ 1800329 h 18003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9511" h="1800329">
                      <a:moveTo>
                        <a:pt x="0" y="804861"/>
                      </a:moveTo>
                      <a:lnTo>
                        <a:pt x="12859" y="720610"/>
                      </a:lnTo>
                      <a:cubicBezTo>
                        <a:pt x="97013" y="309359"/>
                        <a:pt x="460887" y="0"/>
                        <a:pt x="897017" y="0"/>
                      </a:cubicBezTo>
                      <a:cubicBezTo>
                        <a:pt x="1395451" y="0"/>
                        <a:pt x="1799511" y="404060"/>
                        <a:pt x="1799511" y="902494"/>
                      </a:cubicBezTo>
                      <a:cubicBezTo>
                        <a:pt x="1799511" y="1369776"/>
                        <a:pt x="1444380" y="1754112"/>
                        <a:pt x="989292" y="1800329"/>
                      </a:cubicBezTo>
                    </a:path>
                  </a:pathLst>
                </a:custGeom>
                <a:noFill/>
                <a:ln w="9525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61336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grpSp>
              <p:nvGrpSpPr>
                <p:cNvPr id="137" name="Gruppieren 143">
                  <a:extLst>
                    <a:ext uri="{FF2B5EF4-FFF2-40B4-BE49-F238E27FC236}">
                      <a16:creationId xmlns:a16="http://schemas.microsoft.com/office/drawing/2014/main" xmlns="" id="{3CA7E407-E0EE-4895-9A34-50AB136547C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-1701262" y="1767530"/>
                  <a:ext cx="69652" cy="268566"/>
                  <a:chOff x="4843481" y="695164"/>
                  <a:chExt cx="601378" cy="2318818"/>
                </a:xfrm>
                <a:noFill/>
                <a:effectLst/>
              </p:grpSpPr>
              <p:sp>
                <p:nvSpPr>
                  <p:cNvPr id="138" name="Freihandform: Form 144">
                    <a:extLst>
                      <a:ext uri="{FF2B5EF4-FFF2-40B4-BE49-F238E27FC236}">
                        <a16:creationId xmlns:a16="http://schemas.microsoft.com/office/drawing/2014/main" xmlns="" id="{0D61C41D-F660-46AF-A3DE-494D25CBD90A}"/>
                      </a:ext>
                    </a:extLst>
                  </p:cNvPr>
                  <p:cNvSpPr/>
                  <p:nvPr/>
                </p:nvSpPr>
                <p:spPr>
                  <a:xfrm>
                    <a:off x="4906981" y="695164"/>
                    <a:ext cx="537878" cy="2318818"/>
                  </a:xfrm>
                  <a:custGeom>
                    <a:avLst/>
                    <a:gdLst>
                      <a:gd name="connsiteX0" fmla="*/ 268939 w 537878"/>
                      <a:gd name="connsiteY0" fmla="*/ 0 h 2318818"/>
                      <a:gd name="connsiteX1" fmla="*/ 398479 w 537878"/>
                      <a:gd name="connsiteY1" fmla="*/ 129540 h 2318818"/>
                      <a:gd name="connsiteX2" fmla="*/ 398479 w 537878"/>
                      <a:gd name="connsiteY2" fmla="*/ 1818640 h 2318818"/>
                      <a:gd name="connsiteX3" fmla="*/ 398445 w 537878"/>
                      <a:gd name="connsiteY3" fmla="*/ 1818809 h 2318818"/>
                      <a:gd name="connsiteX4" fmla="*/ 459108 w 537878"/>
                      <a:gd name="connsiteY4" fmla="*/ 1859709 h 2318818"/>
                      <a:gd name="connsiteX5" fmla="*/ 537878 w 537878"/>
                      <a:gd name="connsiteY5" fmla="*/ 2049878 h 2318818"/>
                      <a:gd name="connsiteX6" fmla="*/ 268939 w 537878"/>
                      <a:gd name="connsiteY6" fmla="*/ 2318818 h 2318818"/>
                      <a:gd name="connsiteX7" fmla="*/ 0 w 537878"/>
                      <a:gd name="connsiteY7" fmla="*/ 2049878 h 2318818"/>
                      <a:gd name="connsiteX8" fmla="*/ 78770 w 537878"/>
                      <a:gd name="connsiteY8" fmla="*/ 1859709 h 2318818"/>
                      <a:gd name="connsiteX9" fmla="*/ 139433 w 537878"/>
                      <a:gd name="connsiteY9" fmla="*/ 1818809 h 2318818"/>
                      <a:gd name="connsiteX10" fmla="*/ 139399 w 537878"/>
                      <a:gd name="connsiteY10" fmla="*/ 1818640 h 2318818"/>
                      <a:gd name="connsiteX11" fmla="*/ 139399 w 537878"/>
                      <a:gd name="connsiteY11" fmla="*/ 129540 h 2318818"/>
                      <a:gd name="connsiteX12" fmla="*/ 268939 w 537878"/>
                      <a:gd name="connsiteY12" fmla="*/ 0 h 23188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537878" h="2318818">
                        <a:moveTo>
                          <a:pt x="268939" y="0"/>
                        </a:moveTo>
                        <a:cubicBezTo>
                          <a:pt x="340482" y="0"/>
                          <a:pt x="398479" y="57997"/>
                          <a:pt x="398479" y="129540"/>
                        </a:cubicBezTo>
                        <a:lnTo>
                          <a:pt x="398479" y="1818640"/>
                        </a:lnTo>
                        <a:lnTo>
                          <a:pt x="398445" y="1818809"/>
                        </a:lnTo>
                        <a:lnTo>
                          <a:pt x="459108" y="1859709"/>
                        </a:lnTo>
                        <a:cubicBezTo>
                          <a:pt x="507776" y="1908378"/>
                          <a:pt x="537878" y="1975613"/>
                          <a:pt x="537878" y="2049878"/>
                        </a:cubicBezTo>
                        <a:cubicBezTo>
                          <a:pt x="537878" y="2198409"/>
                          <a:pt x="417470" y="2318818"/>
                          <a:pt x="268939" y="2318818"/>
                        </a:cubicBezTo>
                        <a:cubicBezTo>
                          <a:pt x="120408" y="2318818"/>
                          <a:pt x="0" y="2198409"/>
                          <a:pt x="0" y="2049878"/>
                        </a:cubicBezTo>
                        <a:cubicBezTo>
                          <a:pt x="0" y="1975613"/>
                          <a:pt x="30102" y="1908378"/>
                          <a:pt x="78770" y="1859709"/>
                        </a:cubicBezTo>
                        <a:lnTo>
                          <a:pt x="139433" y="1818809"/>
                        </a:lnTo>
                        <a:lnTo>
                          <a:pt x="139399" y="1818640"/>
                        </a:lnTo>
                        <a:lnTo>
                          <a:pt x="139399" y="129540"/>
                        </a:lnTo>
                        <a:cubicBezTo>
                          <a:pt x="139399" y="57997"/>
                          <a:pt x="197396" y="0"/>
                          <a:pt x="268939" y="0"/>
                        </a:cubicBezTo>
                        <a:close/>
                      </a:path>
                    </a:pathLst>
                  </a:custGeom>
                  <a:grpFill/>
                  <a:ln w="9525" cap="flat" cmpd="sng" algn="ctr">
                    <a:solidFill>
                      <a:srgbClr val="FFFFFF"/>
                    </a:solidFill>
                    <a:prstDash val="solid"/>
                  </a:ln>
                  <a:effectLst>
                    <a:outerShdw blurRad="50800" dist="254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defTabSz="61336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600" b="0" i="0" u="none" strike="noStrike" kern="0" cap="none" spc="0" normalizeH="0" baseline="0" noProof="0" dirty="0" err="1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Text Light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139" name="Gerader Verbinder 145">
                    <a:extLst>
                      <a:ext uri="{FF2B5EF4-FFF2-40B4-BE49-F238E27FC236}">
                        <a16:creationId xmlns:a16="http://schemas.microsoft.com/office/drawing/2014/main" xmlns="" id="{016B96FB-1600-4471-A61C-1BBC7B0ECAE4}"/>
                      </a:ext>
                    </a:extLst>
                  </p:cNvPr>
                  <p:cNvCxnSpPr/>
                  <p:nvPr/>
                </p:nvCxnSpPr>
                <p:spPr>
                  <a:xfrm>
                    <a:off x="4843481" y="1060450"/>
                    <a:ext cx="202899" cy="0"/>
                  </a:xfrm>
                  <a:prstGeom prst="line">
                    <a:avLst/>
                  </a:prstGeom>
                  <a:grpFill/>
                  <a:ln w="9525" cap="flat" cmpd="sng" algn="ctr">
                    <a:solidFill>
                      <a:srgbClr val="FFFFFF"/>
                    </a:solidFill>
                    <a:prstDash val="solid"/>
                  </a:ln>
                  <a:effectLst>
                    <a:outerShdw blurRad="50800" dist="25400" dir="5400000" rotWithShape="0">
                      <a:srgbClr val="000000">
                        <a:alpha val="35000"/>
                      </a:srgbClr>
                    </a:outerShdw>
                  </a:effectLst>
                </p:spPr>
              </p:cxnSp>
              <p:cxnSp>
                <p:nvCxnSpPr>
                  <p:cNvPr id="140" name="Gerader Verbinder 146">
                    <a:extLst>
                      <a:ext uri="{FF2B5EF4-FFF2-40B4-BE49-F238E27FC236}">
                        <a16:creationId xmlns:a16="http://schemas.microsoft.com/office/drawing/2014/main" xmlns="" id="{85943DD5-A7F2-446B-8B53-19FFF1AC5DB9}"/>
                      </a:ext>
                    </a:extLst>
                  </p:cNvPr>
                  <p:cNvCxnSpPr/>
                  <p:nvPr/>
                </p:nvCxnSpPr>
                <p:spPr>
                  <a:xfrm>
                    <a:off x="4843481" y="1362869"/>
                    <a:ext cx="202899" cy="0"/>
                  </a:xfrm>
                  <a:prstGeom prst="line">
                    <a:avLst/>
                  </a:prstGeom>
                  <a:grpFill/>
                  <a:ln w="9525" cap="flat" cmpd="sng" algn="ctr">
                    <a:solidFill>
                      <a:srgbClr val="FFFFFF"/>
                    </a:solidFill>
                    <a:prstDash val="solid"/>
                  </a:ln>
                  <a:effectLst>
                    <a:outerShdw blurRad="50800" dist="25400" dir="5400000" rotWithShape="0">
                      <a:srgbClr val="000000">
                        <a:alpha val="35000"/>
                      </a:srgbClr>
                    </a:outerShdw>
                  </a:effectLst>
                </p:spPr>
              </p:cxnSp>
              <p:cxnSp>
                <p:nvCxnSpPr>
                  <p:cNvPr id="141" name="Gerader Verbinder 147">
                    <a:extLst>
                      <a:ext uri="{FF2B5EF4-FFF2-40B4-BE49-F238E27FC236}">
                        <a16:creationId xmlns:a16="http://schemas.microsoft.com/office/drawing/2014/main" xmlns="" id="{2AD0ED04-8A0E-417D-9643-C10137211FE1}"/>
                      </a:ext>
                    </a:extLst>
                  </p:cNvPr>
                  <p:cNvCxnSpPr/>
                  <p:nvPr/>
                </p:nvCxnSpPr>
                <p:spPr>
                  <a:xfrm>
                    <a:off x="4843481" y="1665288"/>
                    <a:ext cx="202899" cy="0"/>
                  </a:xfrm>
                  <a:prstGeom prst="line">
                    <a:avLst/>
                  </a:prstGeom>
                  <a:grpFill/>
                  <a:ln w="9525" cap="flat" cmpd="sng" algn="ctr">
                    <a:solidFill>
                      <a:srgbClr val="FFFFFF"/>
                    </a:solidFill>
                    <a:prstDash val="solid"/>
                  </a:ln>
                  <a:effectLst>
                    <a:outerShdw blurRad="50800" dist="25400" dir="5400000" rotWithShape="0">
                      <a:srgbClr val="000000">
                        <a:alpha val="35000"/>
                      </a:srgbClr>
                    </a:outerShdw>
                  </a:effectLst>
                </p:spPr>
              </p:cxnSp>
              <p:cxnSp>
                <p:nvCxnSpPr>
                  <p:cNvPr id="142" name="Gerader Verbinder 152">
                    <a:extLst>
                      <a:ext uri="{FF2B5EF4-FFF2-40B4-BE49-F238E27FC236}">
                        <a16:creationId xmlns:a16="http://schemas.microsoft.com/office/drawing/2014/main" xmlns="" id="{28856F1D-ED0F-4256-9EEF-E5CB29446F9D}"/>
                      </a:ext>
                    </a:extLst>
                  </p:cNvPr>
                  <p:cNvCxnSpPr/>
                  <p:nvPr/>
                </p:nvCxnSpPr>
                <p:spPr>
                  <a:xfrm>
                    <a:off x="4843481" y="1967707"/>
                    <a:ext cx="202899" cy="0"/>
                  </a:xfrm>
                  <a:prstGeom prst="line">
                    <a:avLst/>
                  </a:prstGeom>
                  <a:grpFill/>
                  <a:ln w="9525" cap="flat" cmpd="sng" algn="ctr">
                    <a:solidFill>
                      <a:srgbClr val="FFFFFF"/>
                    </a:solidFill>
                    <a:prstDash val="solid"/>
                  </a:ln>
                  <a:effectLst>
                    <a:outerShdw blurRad="50800" dist="25400" dir="5400000" rotWithShape="0">
                      <a:srgbClr val="000000">
                        <a:alpha val="35000"/>
                      </a:srgbClr>
                    </a:outerShdw>
                  </a:effectLst>
                </p:spPr>
              </p:cxnSp>
              <p:cxnSp>
                <p:nvCxnSpPr>
                  <p:cNvPr id="143" name="Gerader Verbinder 154">
                    <a:extLst>
                      <a:ext uri="{FF2B5EF4-FFF2-40B4-BE49-F238E27FC236}">
                        <a16:creationId xmlns:a16="http://schemas.microsoft.com/office/drawing/2014/main" xmlns="" id="{35DFE909-BC05-49B4-B128-E1C9A3EBB18A}"/>
                      </a:ext>
                    </a:extLst>
                  </p:cNvPr>
                  <p:cNvCxnSpPr/>
                  <p:nvPr/>
                </p:nvCxnSpPr>
                <p:spPr>
                  <a:xfrm>
                    <a:off x="4843481" y="2270125"/>
                    <a:ext cx="202899" cy="0"/>
                  </a:xfrm>
                  <a:prstGeom prst="line">
                    <a:avLst/>
                  </a:prstGeom>
                  <a:grpFill/>
                  <a:ln w="9525" cap="flat" cmpd="sng" algn="ctr">
                    <a:solidFill>
                      <a:srgbClr val="FFFFFF"/>
                    </a:solidFill>
                    <a:prstDash val="solid"/>
                  </a:ln>
                  <a:effectLst>
                    <a:outerShdw blurRad="50800" dist="25400" dir="5400000" rotWithShape="0">
                      <a:srgbClr val="000000">
                        <a:alpha val="35000"/>
                      </a:srgbClr>
                    </a:outerShdw>
                  </a:effectLst>
                </p:spPr>
              </p:cxnSp>
            </p:grpSp>
          </p:grpSp>
          <p:sp>
            <p:nvSpPr>
              <p:cNvPr id="133" name="Freeform 10">
                <a:extLst>
                  <a:ext uri="{FF2B5EF4-FFF2-40B4-BE49-F238E27FC236}">
                    <a16:creationId xmlns:a16="http://schemas.microsoft.com/office/drawing/2014/main" xmlns="" id="{56FB0CB2-14AC-4DA0-BBF3-E0EC9C358CB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416194" y="3018785"/>
                <a:ext cx="222833" cy="224172"/>
              </a:xfrm>
              <a:custGeom>
                <a:avLst/>
                <a:gdLst>
                  <a:gd name="T0" fmla="*/ 68 w 68"/>
                  <a:gd name="T1" fmla="*/ 68 h 68"/>
                  <a:gd name="T2" fmla="*/ 48 w 68"/>
                  <a:gd name="T3" fmla="*/ 37 h 68"/>
                  <a:gd name="T4" fmla="*/ 56 w 68"/>
                  <a:gd name="T5" fmla="*/ 21 h 68"/>
                  <a:gd name="T6" fmla="*/ 34 w 68"/>
                  <a:gd name="T7" fmla="*/ 0 h 68"/>
                  <a:gd name="T8" fmla="*/ 13 w 68"/>
                  <a:gd name="T9" fmla="*/ 21 h 68"/>
                  <a:gd name="T10" fmla="*/ 20 w 68"/>
                  <a:gd name="T11" fmla="*/ 37 h 68"/>
                  <a:gd name="T12" fmla="*/ 0 w 68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68">
                    <a:moveTo>
                      <a:pt x="68" y="68"/>
                    </a:moveTo>
                    <a:cubicBezTo>
                      <a:pt x="68" y="54"/>
                      <a:pt x="60" y="43"/>
                      <a:pt x="48" y="37"/>
                    </a:cubicBezTo>
                    <a:cubicBezTo>
                      <a:pt x="53" y="33"/>
                      <a:pt x="56" y="28"/>
                      <a:pt x="56" y="21"/>
                    </a:cubicBezTo>
                    <a:cubicBezTo>
                      <a:pt x="56" y="10"/>
                      <a:pt x="46" y="0"/>
                      <a:pt x="34" y="0"/>
                    </a:cubicBezTo>
                    <a:cubicBezTo>
                      <a:pt x="22" y="0"/>
                      <a:pt x="13" y="10"/>
                      <a:pt x="13" y="21"/>
                    </a:cubicBezTo>
                    <a:cubicBezTo>
                      <a:pt x="13" y="28"/>
                      <a:pt x="16" y="33"/>
                      <a:pt x="20" y="37"/>
                    </a:cubicBezTo>
                    <a:cubicBezTo>
                      <a:pt x="8" y="43"/>
                      <a:pt x="0" y="54"/>
                      <a:pt x="0" y="68"/>
                    </a:cubicBezTo>
                  </a:path>
                </a:pathLst>
              </a:custGeom>
              <a:no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1336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81636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/>
      <p:bldP spid="74" grpId="0"/>
      <p:bldP spid="75" grpId="0"/>
      <p:bldP spid="2" grpId="0" animBg="1"/>
      <p:bldP spid="67" grpId="0" animBg="1"/>
      <p:bldP spid="68" grpId="0" animBg="1"/>
      <p:bldP spid="77" grpId="0" animBg="1"/>
      <p:bldP spid="78" grpId="0" animBg="1"/>
      <p:bldP spid="79" grpId="0" animBg="1"/>
      <p:bldP spid="80" grpId="0" animBg="1"/>
      <p:bldP spid="81" grpId="0" animBg="1"/>
      <p:bldP spid="82" grpId="0" animBg="1"/>
      <p:bldP spid="8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81" name="think-cell Folie" r:id="rId12" imgW="180" imgH="180" progId="TCLayout.ActiveDocument.1">
                  <p:embed/>
                </p:oleObj>
              </mc:Choice>
              <mc:Fallback>
                <p:oleObj name="think-cell Folie" r:id="rId12" imgW="180" imgH="18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85844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AT" sz="2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bg-BG" dirty="0">
                <a:solidFill>
                  <a:srgbClr val="DA291C"/>
                </a:solidFill>
              </a:rPr>
              <a:t>П</a:t>
            </a:r>
            <a:r>
              <a:rPr lang="bg-BG" dirty="0" smtClean="0">
                <a:solidFill>
                  <a:srgbClr val="DA291C"/>
                </a:solidFill>
              </a:rPr>
              <a:t>риложения </a:t>
            </a:r>
            <a:r>
              <a:rPr lang="bg-BG" dirty="0">
                <a:solidFill>
                  <a:srgbClr val="DA291C"/>
                </a:solidFill>
              </a:rPr>
              <a:t>на 5</a:t>
            </a:r>
            <a:r>
              <a:rPr lang="en-US" dirty="0" smtClean="0">
                <a:solidFill>
                  <a:srgbClr val="DA291C"/>
                </a:solidFill>
              </a:rPr>
              <a:t>G</a:t>
            </a:r>
            <a:endParaRPr lang="de-AT" dirty="0">
              <a:solidFill>
                <a:srgbClr val="DA291C"/>
              </a:solidFill>
            </a:endParaRPr>
          </a:p>
        </p:txBody>
      </p:sp>
      <p:grpSp>
        <p:nvGrpSpPr>
          <p:cNvPr id="19" name="Group 646"/>
          <p:cNvGrpSpPr/>
          <p:nvPr/>
        </p:nvGrpSpPr>
        <p:grpSpPr>
          <a:xfrm>
            <a:off x="914020" y="1484061"/>
            <a:ext cx="401638" cy="404813"/>
            <a:chOff x="12598400" y="5467350"/>
            <a:chExt cx="401638" cy="404813"/>
          </a:xfrm>
        </p:grpSpPr>
        <p:sp>
          <p:nvSpPr>
            <p:cNvPr id="20" name="Rectangle 219"/>
            <p:cNvSpPr>
              <a:spLocks noChangeArrowheads="1"/>
            </p:cNvSpPr>
            <p:nvPr/>
          </p:nvSpPr>
          <p:spPr bwMode="auto">
            <a:xfrm>
              <a:off x="12920663" y="5607050"/>
              <a:ext cx="79375" cy="265113"/>
            </a:xfrm>
            <a:prstGeom prst="rect">
              <a:avLst/>
            </a:prstGeom>
            <a:ln>
              <a:noFill/>
            </a:ln>
            <a:extLst/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21" name="Rectangle 220"/>
            <p:cNvSpPr>
              <a:spLocks noChangeArrowheads="1"/>
            </p:cNvSpPr>
            <p:nvPr/>
          </p:nvSpPr>
          <p:spPr bwMode="auto">
            <a:xfrm>
              <a:off x="12812713" y="5670550"/>
              <a:ext cx="79375" cy="201613"/>
            </a:xfrm>
            <a:prstGeom prst="rect">
              <a:avLst/>
            </a:prstGeom>
            <a:ln>
              <a:noFill/>
            </a:ln>
            <a:extLst/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22" name="Rectangle 221"/>
            <p:cNvSpPr>
              <a:spLocks noChangeArrowheads="1"/>
            </p:cNvSpPr>
            <p:nvPr/>
          </p:nvSpPr>
          <p:spPr bwMode="auto">
            <a:xfrm>
              <a:off x="12706350" y="5716588"/>
              <a:ext cx="79375" cy="155575"/>
            </a:xfrm>
            <a:prstGeom prst="rect">
              <a:avLst/>
            </a:prstGeom>
            <a:ln>
              <a:noFill/>
            </a:ln>
            <a:extLst/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23" name="Rectangle 222"/>
            <p:cNvSpPr>
              <a:spLocks noChangeArrowheads="1"/>
            </p:cNvSpPr>
            <p:nvPr/>
          </p:nvSpPr>
          <p:spPr bwMode="auto">
            <a:xfrm>
              <a:off x="12598400" y="5751513"/>
              <a:ext cx="79375" cy="120650"/>
            </a:xfrm>
            <a:prstGeom prst="rect">
              <a:avLst/>
            </a:prstGeom>
            <a:ln>
              <a:noFill/>
            </a:ln>
            <a:extLst/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24" name="Freeform 223"/>
            <p:cNvSpPr>
              <a:spLocks/>
            </p:cNvSpPr>
            <p:nvPr/>
          </p:nvSpPr>
          <p:spPr bwMode="auto">
            <a:xfrm>
              <a:off x="12677775" y="5467350"/>
              <a:ext cx="242888" cy="166688"/>
            </a:xfrm>
            <a:custGeom>
              <a:avLst/>
              <a:gdLst>
                <a:gd name="T0" fmla="*/ 129 w 153"/>
                <a:gd name="T1" fmla="*/ 31 h 105"/>
                <a:gd name="T2" fmla="*/ 54 w 153"/>
                <a:gd name="T3" fmla="*/ 105 h 105"/>
                <a:gd name="T4" fmla="*/ 0 w 153"/>
                <a:gd name="T5" fmla="*/ 105 h 105"/>
                <a:gd name="T6" fmla="*/ 0 w 153"/>
                <a:gd name="T7" fmla="*/ 93 h 105"/>
                <a:gd name="T8" fmla="*/ 49 w 153"/>
                <a:gd name="T9" fmla="*/ 93 h 105"/>
                <a:gd name="T10" fmla="*/ 121 w 153"/>
                <a:gd name="T11" fmla="*/ 21 h 105"/>
                <a:gd name="T12" fmla="*/ 100 w 153"/>
                <a:gd name="T13" fmla="*/ 0 h 105"/>
                <a:gd name="T14" fmla="*/ 153 w 153"/>
                <a:gd name="T15" fmla="*/ 0 h 105"/>
                <a:gd name="T16" fmla="*/ 153 w 153"/>
                <a:gd name="T17" fmla="*/ 54 h 105"/>
                <a:gd name="T18" fmla="*/ 129 w 153"/>
                <a:gd name="T19" fmla="*/ 3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105">
                  <a:moveTo>
                    <a:pt x="129" y="31"/>
                  </a:moveTo>
                  <a:lnTo>
                    <a:pt x="54" y="105"/>
                  </a:lnTo>
                  <a:lnTo>
                    <a:pt x="0" y="105"/>
                  </a:lnTo>
                  <a:lnTo>
                    <a:pt x="0" y="93"/>
                  </a:lnTo>
                  <a:lnTo>
                    <a:pt x="49" y="93"/>
                  </a:lnTo>
                  <a:lnTo>
                    <a:pt x="121" y="21"/>
                  </a:lnTo>
                  <a:lnTo>
                    <a:pt x="100" y="0"/>
                  </a:lnTo>
                  <a:lnTo>
                    <a:pt x="153" y="0"/>
                  </a:lnTo>
                  <a:lnTo>
                    <a:pt x="153" y="54"/>
                  </a:lnTo>
                  <a:lnTo>
                    <a:pt x="129" y="31"/>
                  </a:lnTo>
                  <a:close/>
                </a:path>
              </a:pathLst>
            </a:custGeom>
            <a:ln>
              <a:noFill/>
            </a:ln>
            <a:extLst/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</p:grpSp>
      <p:sp>
        <p:nvSpPr>
          <p:cNvPr id="14" name="Freeform 152"/>
          <p:cNvSpPr>
            <a:spLocks noEditPoints="1"/>
          </p:cNvSpPr>
          <p:nvPr/>
        </p:nvSpPr>
        <p:spPr bwMode="auto">
          <a:xfrm>
            <a:off x="994982" y="2850882"/>
            <a:ext cx="312783" cy="501854"/>
          </a:xfrm>
          <a:custGeom>
            <a:avLst/>
            <a:gdLst>
              <a:gd name="T0" fmla="*/ 0 w 96"/>
              <a:gd name="T1" fmla="*/ 0 h 154"/>
              <a:gd name="T2" fmla="*/ 0 w 96"/>
              <a:gd name="T3" fmla="*/ 89 h 154"/>
              <a:gd name="T4" fmla="*/ 7 w 96"/>
              <a:gd name="T5" fmla="*/ 154 h 154"/>
              <a:gd name="T6" fmla="*/ 89 w 96"/>
              <a:gd name="T7" fmla="*/ 154 h 154"/>
              <a:gd name="T8" fmla="*/ 96 w 96"/>
              <a:gd name="T9" fmla="*/ 89 h 154"/>
              <a:gd name="T10" fmla="*/ 96 w 96"/>
              <a:gd name="T11" fmla="*/ 0 h 154"/>
              <a:gd name="T12" fmla="*/ 0 w 96"/>
              <a:gd name="T13" fmla="*/ 0 h 154"/>
              <a:gd name="T14" fmla="*/ 48 w 96"/>
              <a:gd name="T15" fmla="*/ 144 h 154"/>
              <a:gd name="T16" fmla="*/ 40 w 96"/>
              <a:gd name="T17" fmla="*/ 136 h 154"/>
              <a:gd name="T18" fmla="*/ 48 w 96"/>
              <a:gd name="T19" fmla="*/ 128 h 154"/>
              <a:gd name="T20" fmla="*/ 56 w 96"/>
              <a:gd name="T21" fmla="*/ 136 h 154"/>
              <a:gd name="T22" fmla="*/ 48 w 96"/>
              <a:gd name="T23" fmla="*/ 144 h 154"/>
              <a:gd name="T24" fmla="*/ 82 w 96"/>
              <a:gd name="T25" fmla="*/ 120 h 154"/>
              <a:gd name="T26" fmla="*/ 14 w 96"/>
              <a:gd name="T27" fmla="*/ 120 h 154"/>
              <a:gd name="T28" fmla="*/ 14 w 96"/>
              <a:gd name="T29" fmla="*/ 14 h 154"/>
              <a:gd name="T30" fmla="*/ 82 w 96"/>
              <a:gd name="T31" fmla="*/ 14 h 154"/>
              <a:gd name="T32" fmla="*/ 82 w 96"/>
              <a:gd name="T33" fmla="*/ 12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6" h="154">
                <a:moveTo>
                  <a:pt x="0" y="0"/>
                </a:moveTo>
                <a:cubicBezTo>
                  <a:pt x="0" y="89"/>
                  <a:pt x="0" y="89"/>
                  <a:pt x="0" y="89"/>
                </a:cubicBezTo>
                <a:cubicBezTo>
                  <a:pt x="7" y="154"/>
                  <a:pt x="7" y="154"/>
                  <a:pt x="7" y="154"/>
                </a:cubicBezTo>
                <a:cubicBezTo>
                  <a:pt x="89" y="154"/>
                  <a:pt x="89" y="154"/>
                  <a:pt x="89" y="154"/>
                </a:cubicBezTo>
                <a:cubicBezTo>
                  <a:pt x="96" y="89"/>
                  <a:pt x="96" y="89"/>
                  <a:pt x="96" y="89"/>
                </a:cubicBezTo>
                <a:cubicBezTo>
                  <a:pt x="96" y="0"/>
                  <a:pt x="96" y="0"/>
                  <a:pt x="96" y="0"/>
                </a:cubicBezTo>
                <a:lnTo>
                  <a:pt x="0" y="0"/>
                </a:lnTo>
                <a:close/>
                <a:moveTo>
                  <a:pt x="48" y="144"/>
                </a:moveTo>
                <a:cubicBezTo>
                  <a:pt x="43" y="144"/>
                  <a:pt x="40" y="140"/>
                  <a:pt x="40" y="136"/>
                </a:cubicBezTo>
                <a:cubicBezTo>
                  <a:pt x="40" y="131"/>
                  <a:pt x="43" y="128"/>
                  <a:pt x="48" y="128"/>
                </a:cubicBezTo>
                <a:cubicBezTo>
                  <a:pt x="53" y="128"/>
                  <a:pt x="56" y="131"/>
                  <a:pt x="56" y="136"/>
                </a:cubicBezTo>
                <a:cubicBezTo>
                  <a:pt x="56" y="140"/>
                  <a:pt x="53" y="144"/>
                  <a:pt x="48" y="144"/>
                </a:cubicBezTo>
                <a:close/>
                <a:moveTo>
                  <a:pt x="82" y="120"/>
                </a:moveTo>
                <a:cubicBezTo>
                  <a:pt x="14" y="120"/>
                  <a:pt x="14" y="120"/>
                  <a:pt x="14" y="120"/>
                </a:cubicBezTo>
                <a:cubicBezTo>
                  <a:pt x="14" y="14"/>
                  <a:pt x="14" y="14"/>
                  <a:pt x="14" y="14"/>
                </a:cubicBezTo>
                <a:cubicBezTo>
                  <a:pt x="82" y="14"/>
                  <a:pt x="82" y="14"/>
                  <a:pt x="82" y="14"/>
                </a:cubicBezTo>
                <a:lnTo>
                  <a:pt x="82" y="120"/>
                </a:lnTo>
                <a:close/>
              </a:path>
            </a:pathLst>
          </a:custGeom>
          <a:ln>
            <a:noFill/>
          </a:ln>
          <a:extLst/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sp>
        <p:nvSpPr>
          <p:cNvPr id="18" name="Rectangle 17"/>
          <p:cNvSpPr/>
          <p:nvPr/>
        </p:nvSpPr>
        <p:spPr>
          <a:xfrm>
            <a:off x="372728" y="1045055"/>
            <a:ext cx="2543072" cy="137648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bg-BG" sz="1000" dirty="0" smtClean="0"/>
          </a:p>
          <a:p>
            <a:r>
              <a:rPr lang="ru-RU" sz="1000" b="1" dirty="0" smtClean="0"/>
              <a:t>Супербърз широколентов мобилен достъп</a:t>
            </a:r>
            <a:r>
              <a:rPr lang="en-US" sz="1000" b="1" dirty="0" smtClean="0"/>
              <a:t> (</a:t>
            </a:r>
            <a:r>
              <a:rPr lang="ru-RU" sz="1000" b="1" dirty="0" smtClean="0"/>
              <a:t>eMBB</a:t>
            </a:r>
            <a:r>
              <a:rPr lang="en-US" sz="1000" b="1" dirty="0" smtClean="0"/>
              <a:t>)</a:t>
            </a:r>
            <a:endParaRPr lang="ru-RU" sz="10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bg-BG" sz="1000" dirty="0"/>
              <a:t>Скорост </a:t>
            </a:r>
            <a:r>
              <a:rPr lang="en-US" sz="1000" dirty="0"/>
              <a:t>&gt;1Gbps</a:t>
            </a:r>
            <a:endParaRPr lang="ru-RU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bg-BG" sz="1000" dirty="0"/>
              <a:t>Фиксирани услуги през 5</a:t>
            </a:r>
            <a:r>
              <a:rPr lang="en-US" sz="1000" dirty="0"/>
              <a:t>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UHD </a:t>
            </a:r>
            <a:r>
              <a:rPr lang="en-US" sz="1000" dirty="0"/>
              <a:t>3D </a:t>
            </a:r>
            <a:r>
              <a:rPr lang="bg-BG" sz="1000" dirty="0"/>
              <a:t>и 4К телевизия</a:t>
            </a:r>
            <a:endParaRPr lang="ru-RU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/>
              <a:t>VR </a:t>
            </a:r>
            <a:r>
              <a:rPr lang="ru-RU" sz="1000" dirty="0"/>
              <a:t>(виртуална реалност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/>
              <a:t>AR (добавена реалност)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/>
              <a:t>MR (миксирана реалност</a:t>
            </a:r>
            <a:r>
              <a:rPr lang="ru-RU" sz="1000" dirty="0" smtClean="0"/>
              <a:t>)</a:t>
            </a:r>
            <a:endParaRPr lang="en-US" sz="1000" dirty="0" smtClean="0"/>
          </a:p>
          <a:p>
            <a:endParaRPr lang="ru-RU" sz="320" dirty="0" smtClean="0"/>
          </a:p>
          <a:p>
            <a:endParaRPr lang="ru-RU" sz="1000" dirty="0" smtClean="0"/>
          </a:p>
        </p:txBody>
      </p:sp>
      <p:sp>
        <p:nvSpPr>
          <p:cNvPr id="27" name="Rectangle 26"/>
          <p:cNvSpPr/>
          <p:nvPr/>
        </p:nvSpPr>
        <p:spPr>
          <a:xfrm>
            <a:off x="2983416" y="1045055"/>
            <a:ext cx="3173602" cy="1376488"/>
          </a:xfrm>
          <a:prstGeom prst="rect">
            <a:avLst/>
          </a:prstGeom>
          <a:solidFill>
            <a:srgbClr val="868C9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r>
              <a:rPr lang="ru-RU" sz="1000" b="1" dirty="0" smtClean="0">
                <a:solidFill>
                  <a:srgbClr val="FFFFFF"/>
                </a:solidFill>
              </a:rPr>
              <a:t>Ултра надеждната комуникация с малко закъснение</a:t>
            </a:r>
            <a:r>
              <a:rPr lang="en-US" sz="1000" b="1" dirty="0">
                <a:solidFill>
                  <a:srgbClr val="FFFFFF"/>
                </a:solidFill>
              </a:rPr>
              <a:t> (URLLC</a:t>
            </a:r>
            <a:r>
              <a:rPr lang="en-US" sz="1000" b="1" dirty="0" smtClean="0">
                <a:solidFill>
                  <a:srgbClr val="FFFFFF"/>
                </a:solidFill>
              </a:rPr>
              <a:t>)</a:t>
            </a:r>
            <a:endParaRPr lang="ru-RU" sz="1000" b="1" dirty="0" smtClean="0">
              <a:solidFill>
                <a:srgbClr val="FFFFFF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bg-BG" sz="1000" b="1" dirty="0" smtClean="0">
                <a:solidFill>
                  <a:srgbClr val="FFFFFF"/>
                </a:solidFill>
              </a:rPr>
              <a:t>Медицина</a:t>
            </a:r>
            <a:r>
              <a:rPr lang="bg-BG" sz="1000" b="1" dirty="0">
                <a:solidFill>
                  <a:srgbClr val="FFFFFF"/>
                </a:solidFill>
              </a:rPr>
              <a:t>: </a:t>
            </a:r>
            <a:r>
              <a:rPr lang="bg-BG" sz="1000" dirty="0">
                <a:solidFill>
                  <a:srgbClr val="FFFFFF"/>
                </a:solidFill>
              </a:rPr>
              <a:t>дистанционна диагностика и интервенции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bg-BG" sz="1000" b="1" dirty="0">
                <a:solidFill>
                  <a:srgbClr val="FFFFFF"/>
                </a:solidFill>
              </a:rPr>
              <a:t>Транспорт: </a:t>
            </a:r>
            <a:r>
              <a:rPr lang="bg-BG" sz="1000" dirty="0">
                <a:solidFill>
                  <a:srgbClr val="FFFFFF"/>
                </a:solidFill>
              </a:rPr>
              <a:t>безопасното движение на автономни автомобили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bg-BG" sz="1000" b="1" dirty="0">
                <a:solidFill>
                  <a:srgbClr val="FFFFFF"/>
                </a:solidFill>
              </a:rPr>
              <a:t>Индустрия: </a:t>
            </a:r>
            <a:r>
              <a:rPr lang="bg-BG" sz="1000" dirty="0">
                <a:solidFill>
                  <a:srgbClr val="FFFFFF"/>
                </a:solidFill>
              </a:rPr>
              <a:t>управление на големи промишлени съоръжения чрез роботи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233472" y="1045054"/>
            <a:ext cx="2545706" cy="1376489"/>
          </a:xfrm>
          <a:prstGeom prst="rect">
            <a:avLst/>
          </a:prstGeom>
          <a:solidFill>
            <a:srgbClr val="DA28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r>
              <a:rPr lang="bg-BG" sz="1000" b="1" dirty="0" smtClean="0">
                <a:solidFill>
                  <a:srgbClr val="FFFFFF"/>
                </a:solidFill>
              </a:rPr>
              <a:t>Масираната комуникация между машини </a:t>
            </a:r>
            <a:r>
              <a:rPr lang="en-US" sz="1000" b="1" dirty="0" smtClean="0">
                <a:solidFill>
                  <a:srgbClr val="FFFFFF"/>
                </a:solidFill>
              </a:rPr>
              <a:t>(</a:t>
            </a:r>
            <a:r>
              <a:rPr lang="en-US" sz="1000" b="1" dirty="0" err="1" smtClean="0">
                <a:solidFill>
                  <a:srgbClr val="FFFFFF"/>
                </a:solidFill>
              </a:rPr>
              <a:t>mMTC</a:t>
            </a:r>
            <a:r>
              <a:rPr lang="en-US" sz="1000" b="1" dirty="0" smtClean="0">
                <a:solidFill>
                  <a:srgbClr val="FFFFFF"/>
                </a:solidFill>
              </a:rPr>
              <a:t>)</a:t>
            </a:r>
            <a:endParaRPr lang="bg-BG" sz="1000" b="1" dirty="0" smtClean="0">
              <a:solidFill>
                <a:srgbClr val="FFFFFF"/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Инфраструктура за пренос на огромно количество данни между милиарди устройств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/>
              <a:t>Умен град и по-свързан свят</a:t>
            </a:r>
          </a:p>
        </p:txBody>
      </p:sp>
      <p:pic>
        <p:nvPicPr>
          <p:cNvPr id="9" name="190606_A1_Gamer_Cinemagraph_1080x1080">
            <a:hlinkClick r:id="" action="ppaction://media"/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372728" y="2412335"/>
            <a:ext cx="2543072" cy="2543072"/>
          </a:xfrm>
          <a:prstGeom prst="rect">
            <a:avLst/>
          </a:prstGeom>
        </p:spPr>
      </p:pic>
      <p:pic>
        <p:nvPicPr>
          <p:cNvPr id="10" name="190603_A1_Feuerwehr_Cinemagraph_1080x1080">
            <a:hlinkClick r:id="" action="ppaction://media"/>
          </p:cNvPr>
          <p:cNvPicPr>
            <a:picLocks noChangeAspect="1"/>
          </p:cNvPicPr>
          <p:nvPr>
            <a:videoFile r:link="rId7"/>
            <p:extLst>
              <p:ext uri="{DAA4B4D4-6D71-4841-9C94-3DE7FCFB9230}">
                <p14:media xmlns:p14="http://schemas.microsoft.com/office/powerpoint/2010/main" r:embed="rId6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6236105" y="2412334"/>
            <a:ext cx="2543073" cy="2543073"/>
          </a:xfrm>
          <a:prstGeom prst="rect">
            <a:avLst/>
          </a:prstGeom>
        </p:spPr>
      </p:pic>
      <p:pic>
        <p:nvPicPr>
          <p:cNvPr id="28" name="190603_A1_Spital_Cinemagraph_610x492">
            <a:hlinkClick r:id="" action="ppaction://media"/>
          </p:cNvPr>
          <p:cNvPicPr>
            <a:picLocks noChangeAspect="1"/>
          </p:cNvPicPr>
          <p:nvPr>
            <a:videoFile r:link="rId9"/>
            <p:extLst>
              <p:ext uri="{DAA4B4D4-6D71-4841-9C94-3DE7FCFB9230}">
                <p14:media xmlns:p14="http://schemas.microsoft.com/office/powerpoint/2010/main" r:embed="rId8"/>
              </p:ext>
            </p:extLst>
          </p:nvPr>
        </p:nvPicPr>
        <p:blipFill>
          <a:blip r:embed="rId16"/>
          <a:stretch>
            <a:fillRect/>
          </a:stretch>
        </p:blipFill>
        <p:spPr>
          <a:xfrm>
            <a:off x="2988792" y="2410052"/>
            <a:ext cx="3164032" cy="25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232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4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040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4480" fill="hold"/>
                                        <p:tgtEl>
                                          <p:spTgt spid="2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20"/>
                            </p:stCondLst>
                            <p:childTnLst>
                              <p:par>
                                <p:cTn id="11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4960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8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  <p:video>
              <p:cMediaNode vol="80000">
                <p:cTn id="19" repeatCount="indefinite" fill="hold" display="0">
                  <p:stCondLst>
                    <p:cond delay="indefinite"/>
                  </p:stCondLst>
                </p:cTn>
                <p:tgtEl>
                  <p:spTgt spid="28"/>
                </p:tgtEl>
              </p:cMediaNode>
            </p:video>
            <p:seq concurrent="1" nextAc="seek">
              <p:cTn id="20" restart="whenNotActive" fill="hold" evtFilter="cancelBubble" nodeType="interactiveSeq">
                <p:stCondLst>
                  <p:cond evt="onClick" delay="0">
                    <p:tgtEl>
                      <p:spTgt spid="2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1" fill="hold">
                      <p:stCondLst>
                        <p:cond delay="0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4" dur="1" fill="hold"/>
                                        <p:tgtEl>
                                          <p:spTgt spid="2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8"/>
                  </p:tgtEl>
                </p:cond>
              </p:nextCondLst>
            </p:seq>
            <p:video>
              <p:cMediaNode vol="80000">
                <p:cTn id="25" repeatCount="indefinite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26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7" fill="hold">
                      <p:stCondLst>
                        <p:cond delay="0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0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18" name="think-cell Folie" r:id="rId8" imgW="180" imgH="180" progId="TCLayout.ActiveDocument.1">
                  <p:embed/>
                </p:oleObj>
              </mc:Choice>
              <mc:Fallback>
                <p:oleObj name="think-cell Folie" r:id="rId8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5844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AT" sz="2000" dirty="0">
              <a:solidFill>
                <a:srgbClr val="FFFFFF"/>
              </a:solidFill>
              <a:sym typeface="Verdana" panose="020B0604030504040204" pitchFamily="34" charset="0"/>
            </a:endParaRP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dirty="0">
                <a:solidFill>
                  <a:srgbClr val="DA291C"/>
                </a:solidFill>
              </a:rPr>
              <a:t>Сигурност в 5G </a:t>
            </a:r>
            <a:r>
              <a:rPr lang="ru-RU" dirty="0" smtClean="0">
                <a:solidFill>
                  <a:srgbClr val="DA291C"/>
                </a:solidFill>
              </a:rPr>
              <a:t>мрежите</a:t>
            </a:r>
            <a:endParaRPr lang="de-AT" dirty="0">
              <a:solidFill>
                <a:srgbClr val="DA291C"/>
              </a:solidFill>
            </a:endParaRPr>
          </a:p>
        </p:txBody>
      </p:sp>
      <p:sp>
        <p:nvSpPr>
          <p:cNvPr id="13" name="Freeform 5"/>
          <p:cNvSpPr>
            <a:spLocks/>
          </p:cNvSpPr>
          <p:nvPr/>
        </p:nvSpPr>
        <p:spPr bwMode="auto">
          <a:xfrm>
            <a:off x="431795" y="1192855"/>
            <a:ext cx="1252764" cy="777072"/>
          </a:xfrm>
          <a:custGeom>
            <a:avLst/>
            <a:gdLst>
              <a:gd name="T0" fmla="*/ 0 w 1563"/>
              <a:gd name="T1" fmla="*/ 0 h 1040"/>
              <a:gd name="T2" fmla="*/ 0 w 1563"/>
              <a:gd name="T3" fmla="*/ 1040 h 1040"/>
              <a:gd name="T4" fmla="*/ 1563 w 1563"/>
              <a:gd name="T5" fmla="*/ 858 h 1040"/>
              <a:gd name="T6" fmla="*/ 1563 w 1563"/>
              <a:gd name="T7" fmla="*/ 181 h 1040"/>
              <a:gd name="T8" fmla="*/ 0 w 1563"/>
              <a:gd name="T9" fmla="*/ 0 h 1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3" h="1040">
                <a:moveTo>
                  <a:pt x="0" y="0"/>
                </a:moveTo>
                <a:lnTo>
                  <a:pt x="0" y="1040"/>
                </a:lnTo>
                <a:lnTo>
                  <a:pt x="1563" y="858"/>
                </a:lnTo>
                <a:lnTo>
                  <a:pt x="1563" y="181"/>
                </a:lnTo>
                <a:lnTo>
                  <a:pt x="0" y="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>
              <a:solidFill>
                <a:srgbClr val="FFFFFF"/>
              </a:solidFill>
              <a:latin typeface="A1 Einfach Fett" pitchFamily="2" charset="0"/>
            </a:endParaRPr>
          </a:p>
        </p:txBody>
      </p:sp>
      <p:sp>
        <p:nvSpPr>
          <p:cNvPr id="17" name="Freeform 5"/>
          <p:cNvSpPr>
            <a:spLocks/>
          </p:cNvSpPr>
          <p:nvPr/>
        </p:nvSpPr>
        <p:spPr bwMode="auto">
          <a:xfrm>
            <a:off x="431795" y="3260739"/>
            <a:ext cx="1252764" cy="777072"/>
          </a:xfrm>
          <a:custGeom>
            <a:avLst/>
            <a:gdLst>
              <a:gd name="T0" fmla="*/ 0 w 1563"/>
              <a:gd name="T1" fmla="*/ 0 h 1040"/>
              <a:gd name="T2" fmla="*/ 0 w 1563"/>
              <a:gd name="T3" fmla="*/ 1040 h 1040"/>
              <a:gd name="T4" fmla="*/ 1563 w 1563"/>
              <a:gd name="T5" fmla="*/ 858 h 1040"/>
              <a:gd name="T6" fmla="*/ 1563 w 1563"/>
              <a:gd name="T7" fmla="*/ 181 h 1040"/>
              <a:gd name="T8" fmla="*/ 0 w 1563"/>
              <a:gd name="T9" fmla="*/ 0 h 1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3" h="1040">
                <a:moveTo>
                  <a:pt x="0" y="0"/>
                </a:moveTo>
                <a:lnTo>
                  <a:pt x="0" y="1040"/>
                </a:lnTo>
                <a:lnTo>
                  <a:pt x="1563" y="858"/>
                </a:lnTo>
                <a:lnTo>
                  <a:pt x="1563" y="181"/>
                </a:lnTo>
                <a:lnTo>
                  <a:pt x="0" y="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>
              <a:solidFill>
                <a:srgbClr val="FFFFFF"/>
              </a:solidFill>
              <a:latin typeface="A1 Einfach Fett" pitchFamily="2" charset="0"/>
            </a:endParaRPr>
          </a:p>
        </p:txBody>
      </p:sp>
      <p:sp>
        <p:nvSpPr>
          <p:cNvPr id="25" name="Textfeld 1"/>
          <p:cNvSpPr txBox="1"/>
          <p:nvPr/>
        </p:nvSpPr>
        <p:spPr>
          <a:xfrm>
            <a:off x="1862937" y="1295766"/>
            <a:ext cx="3722139" cy="5416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ru-RU" sz="1600" dirty="0">
                <a:solidFill>
                  <a:srgbClr val="000000"/>
                </a:solidFill>
                <a:cs typeface="Verdana"/>
              </a:rPr>
              <a:t>Поддръжка на многообразие от вертикални </a:t>
            </a:r>
            <a:r>
              <a:rPr lang="ru-RU" sz="1600" dirty="0" smtClean="0">
                <a:solidFill>
                  <a:srgbClr val="000000"/>
                </a:solidFill>
                <a:cs typeface="Verdana"/>
              </a:rPr>
              <a:t>услуги</a:t>
            </a:r>
            <a:endParaRPr lang="ru-RU" sz="1600" dirty="0">
              <a:solidFill>
                <a:srgbClr val="000000"/>
              </a:solidFill>
              <a:cs typeface="Verdana"/>
            </a:endParaRPr>
          </a:p>
        </p:txBody>
      </p:sp>
      <p:sp>
        <p:nvSpPr>
          <p:cNvPr id="26" name="Textfeld 1"/>
          <p:cNvSpPr txBox="1"/>
          <p:nvPr/>
        </p:nvSpPr>
        <p:spPr>
          <a:xfrm>
            <a:off x="1862937" y="3362535"/>
            <a:ext cx="4126831" cy="5416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ru-RU" sz="1600" dirty="0">
                <a:solidFill>
                  <a:srgbClr val="000000"/>
                </a:solidFill>
                <a:cs typeface="Verdana"/>
              </a:rPr>
              <a:t>Сигурност на </a:t>
            </a:r>
            <a:r>
              <a:rPr lang="ru-RU" sz="1600" dirty="0" smtClean="0">
                <a:solidFill>
                  <a:srgbClr val="000000"/>
                </a:solidFill>
                <a:cs typeface="Verdana"/>
              </a:rPr>
              <a:t>мрежата </a:t>
            </a:r>
            <a:r>
              <a:rPr lang="ru-RU" sz="1600" dirty="0">
                <a:solidFill>
                  <a:srgbClr val="000000"/>
                </a:solidFill>
                <a:cs typeface="Verdana"/>
              </a:rPr>
              <a:t>като </a:t>
            </a:r>
            <a:r>
              <a:rPr lang="ru-RU" sz="1600" dirty="0" smtClean="0">
                <a:solidFill>
                  <a:srgbClr val="000000"/>
                </a:solidFill>
                <a:cs typeface="Verdana"/>
              </a:rPr>
              <a:t>услуга </a:t>
            </a:r>
            <a:r>
              <a:rPr lang="ru-RU" sz="1600" dirty="0">
                <a:solidFill>
                  <a:srgbClr val="000000"/>
                </a:solidFill>
                <a:cs typeface="Verdana"/>
              </a:rPr>
              <a:t>(NaaS Security)</a:t>
            </a:r>
          </a:p>
        </p:txBody>
      </p:sp>
      <p:pic>
        <p:nvPicPr>
          <p:cNvPr id="9" name="A1_Feuerwehr_Cinemagraph_720x1080">
            <a:hlinkClick r:id="" action="ppaction://media"/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6506839" y="1192855"/>
            <a:ext cx="2636907" cy="3955361"/>
          </a:xfrm>
          <a:prstGeom prst="rect">
            <a:avLst/>
          </a:prstGeom>
        </p:spPr>
      </p:pic>
      <p:sp>
        <p:nvSpPr>
          <p:cNvPr id="18" name="Freeform 5"/>
          <p:cNvSpPr>
            <a:spLocks/>
          </p:cNvSpPr>
          <p:nvPr/>
        </p:nvSpPr>
        <p:spPr bwMode="auto">
          <a:xfrm>
            <a:off x="431795" y="2228666"/>
            <a:ext cx="1252764" cy="777072"/>
          </a:xfrm>
          <a:custGeom>
            <a:avLst/>
            <a:gdLst>
              <a:gd name="T0" fmla="*/ 0 w 1563"/>
              <a:gd name="T1" fmla="*/ 0 h 1040"/>
              <a:gd name="T2" fmla="*/ 0 w 1563"/>
              <a:gd name="T3" fmla="*/ 1040 h 1040"/>
              <a:gd name="T4" fmla="*/ 1563 w 1563"/>
              <a:gd name="T5" fmla="*/ 858 h 1040"/>
              <a:gd name="T6" fmla="*/ 1563 w 1563"/>
              <a:gd name="T7" fmla="*/ 181 h 1040"/>
              <a:gd name="T8" fmla="*/ 0 w 1563"/>
              <a:gd name="T9" fmla="*/ 0 h 1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3" h="1040">
                <a:moveTo>
                  <a:pt x="0" y="0"/>
                </a:moveTo>
                <a:lnTo>
                  <a:pt x="0" y="1040"/>
                </a:lnTo>
                <a:lnTo>
                  <a:pt x="1563" y="858"/>
                </a:lnTo>
                <a:lnTo>
                  <a:pt x="1563" y="181"/>
                </a:lnTo>
                <a:lnTo>
                  <a:pt x="0" y="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>
              <a:solidFill>
                <a:srgbClr val="FFFFFF"/>
              </a:solidFill>
              <a:latin typeface="A1 Einfach Fett" pitchFamily="2" charset="0"/>
            </a:endParaRPr>
          </a:p>
        </p:txBody>
      </p:sp>
      <p:sp>
        <p:nvSpPr>
          <p:cNvPr id="27" name="Textfeld 1"/>
          <p:cNvSpPr txBox="1"/>
          <p:nvPr/>
        </p:nvSpPr>
        <p:spPr>
          <a:xfrm>
            <a:off x="1862937" y="2432916"/>
            <a:ext cx="4519681" cy="270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ru-RU" sz="1600" dirty="0">
                <a:solidFill>
                  <a:srgbClr val="000000"/>
                </a:solidFill>
                <a:cs typeface="Verdana"/>
              </a:rPr>
              <a:t>Мрежата като </a:t>
            </a:r>
            <a:r>
              <a:rPr lang="ru-RU" sz="1600" dirty="0" smtClean="0">
                <a:solidFill>
                  <a:srgbClr val="000000"/>
                </a:solidFill>
                <a:cs typeface="Verdana"/>
              </a:rPr>
              <a:t>услуга </a:t>
            </a:r>
            <a:r>
              <a:rPr lang="ru-RU" sz="1600" dirty="0">
                <a:solidFill>
                  <a:srgbClr val="000000"/>
                </a:solidFill>
                <a:cs typeface="Verdana"/>
              </a:rPr>
              <a:t>(</a:t>
            </a:r>
            <a:r>
              <a:rPr lang="en-US" sz="1600" dirty="0" err="1">
                <a:solidFill>
                  <a:srgbClr val="000000"/>
                </a:solidFill>
                <a:cs typeface="Verdana"/>
              </a:rPr>
              <a:t>NaaS</a:t>
            </a:r>
            <a:r>
              <a:rPr lang="en-US" sz="1600" dirty="0">
                <a:solidFill>
                  <a:srgbClr val="000000"/>
                </a:solidFill>
                <a:cs typeface="Verdana"/>
              </a:rPr>
              <a:t>)</a:t>
            </a:r>
          </a:p>
        </p:txBody>
      </p:sp>
      <p:sp>
        <p:nvSpPr>
          <p:cNvPr id="28" name="Freeform 5"/>
          <p:cNvSpPr>
            <a:spLocks/>
          </p:cNvSpPr>
          <p:nvPr/>
        </p:nvSpPr>
        <p:spPr bwMode="auto">
          <a:xfrm>
            <a:off x="431797" y="4292812"/>
            <a:ext cx="1252764" cy="777072"/>
          </a:xfrm>
          <a:custGeom>
            <a:avLst/>
            <a:gdLst>
              <a:gd name="T0" fmla="*/ 0 w 1563"/>
              <a:gd name="T1" fmla="*/ 0 h 1040"/>
              <a:gd name="T2" fmla="*/ 0 w 1563"/>
              <a:gd name="T3" fmla="*/ 1040 h 1040"/>
              <a:gd name="T4" fmla="*/ 1563 w 1563"/>
              <a:gd name="T5" fmla="*/ 858 h 1040"/>
              <a:gd name="T6" fmla="*/ 1563 w 1563"/>
              <a:gd name="T7" fmla="*/ 181 h 1040"/>
              <a:gd name="T8" fmla="*/ 0 w 1563"/>
              <a:gd name="T9" fmla="*/ 0 h 1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3" h="1040">
                <a:moveTo>
                  <a:pt x="0" y="0"/>
                </a:moveTo>
                <a:lnTo>
                  <a:pt x="0" y="1040"/>
                </a:lnTo>
                <a:lnTo>
                  <a:pt x="1563" y="858"/>
                </a:lnTo>
                <a:lnTo>
                  <a:pt x="1563" y="181"/>
                </a:lnTo>
                <a:lnTo>
                  <a:pt x="0" y="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>
              <a:solidFill>
                <a:srgbClr val="FFFFFF"/>
              </a:solidFill>
              <a:latin typeface="A1 Einfach Fett" pitchFamily="2" charset="0"/>
            </a:endParaRPr>
          </a:p>
        </p:txBody>
      </p:sp>
      <p:sp>
        <p:nvSpPr>
          <p:cNvPr id="29" name="Textfeld 1"/>
          <p:cNvSpPr txBox="1"/>
          <p:nvPr/>
        </p:nvSpPr>
        <p:spPr>
          <a:xfrm>
            <a:off x="1862939" y="4394608"/>
            <a:ext cx="4519680" cy="516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ru-RU" sz="1600" dirty="0">
                <a:solidFill>
                  <a:srgbClr val="000000"/>
                </a:solidFill>
                <a:cs typeface="Verdana"/>
              </a:rPr>
              <a:t>Механизми и средства за управление и контрол на сигурността </a:t>
            </a:r>
            <a:r>
              <a:rPr lang="ru-RU" sz="1600" dirty="0" smtClean="0">
                <a:solidFill>
                  <a:srgbClr val="000000"/>
                </a:solidFill>
                <a:cs typeface="Verdana"/>
              </a:rPr>
              <a:t>от край до край</a:t>
            </a:r>
            <a:endParaRPr lang="ru-RU" sz="1600" dirty="0">
              <a:solidFill>
                <a:srgbClr val="000000"/>
              </a:solidFill>
              <a:cs typeface="Verdana"/>
            </a:endParaRPr>
          </a:p>
        </p:txBody>
      </p:sp>
      <p:sp>
        <p:nvSpPr>
          <p:cNvPr id="41" name="Freeform 103"/>
          <p:cNvSpPr>
            <a:spLocks noEditPoints="1"/>
          </p:cNvSpPr>
          <p:nvPr/>
        </p:nvSpPr>
        <p:spPr bwMode="auto">
          <a:xfrm>
            <a:off x="831978" y="1324674"/>
            <a:ext cx="447949" cy="483869"/>
          </a:xfrm>
          <a:custGeom>
            <a:avLst/>
            <a:gdLst>
              <a:gd name="T0" fmla="*/ 134 w 152"/>
              <a:gd name="T1" fmla="*/ 52 h 164"/>
              <a:gd name="T2" fmla="*/ 134 w 152"/>
              <a:gd name="T3" fmla="*/ 22 h 164"/>
              <a:gd name="T4" fmla="*/ 112 w 152"/>
              <a:gd name="T5" fmla="*/ 0 h 164"/>
              <a:gd name="T6" fmla="*/ 40 w 152"/>
              <a:gd name="T7" fmla="*/ 0 h 164"/>
              <a:gd name="T8" fmla="*/ 18 w 152"/>
              <a:gd name="T9" fmla="*/ 22 h 164"/>
              <a:gd name="T10" fmla="*/ 18 w 152"/>
              <a:gd name="T11" fmla="*/ 52 h 164"/>
              <a:gd name="T12" fmla="*/ 0 w 152"/>
              <a:gd name="T13" fmla="*/ 52 h 164"/>
              <a:gd name="T14" fmla="*/ 0 w 152"/>
              <a:gd name="T15" fmla="*/ 110 h 164"/>
              <a:gd name="T16" fmla="*/ 13 w 152"/>
              <a:gd name="T17" fmla="*/ 164 h 164"/>
              <a:gd name="T18" fmla="*/ 139 w 152"/>
              <a:gd name="T19" fmla="*/ 164 h 164"/>
              <a:gd name="T20" fmla="*/ 152 w 152"/>
              <a:gd name="T21" fmla="*/ 110 h 164"/>
              <a:gd name="T22" fmla="*/ 152 w 152"/>
              <a:gd name="T23" fmla="*/ 52 h 164"/>
              <a:gd name="T24" fmla="*/ 134 w 152"/>
              <a:gd name="T25" fmla="*/ 52 h 164"/>
              <a:gd name="T26" fmla="*/ 76 w 152"/>
              <a:gd name="T27" fmla="*/ 52 h 164"/>
              <a:gd name="T28" fmla="*/ 36 w 152"/>
              <a:gd name="T29" fmla="*/ 52 h 164"/>
              <a:gd name="T30" fmla="*/ 36 w 152"/>
              <a:gd name="T31" fmla="*/ 29 h 164"/>
              <a:gd name="T32" fmla="*/ 47 w 152"/>
              <a:gd name="T33" fmla="*/ 18 h 164"/>
              <a:gd name="T34" fmla="*/ 105 w 152"/>
              <a:gd name="T35" fmla="*/ 18 h 164"/>
              <a:gd name="T36" fmla="*/ 116 w 152"/>
              <a:gd name="T37" fmla="*/ 29 h 164"/>
              <a:gd name="T38" fmla="*/ 116 w 152"/>
              <a:gd name="T39" fmla="*/ 52 h 164"/>
              <a:gd name="T40" fmla="*/ 76 w 152"/>
              <a:gd name="T41" fmla="*/ 52 h 164"/>
              <a:gd name="T42" fmla="*/ 86 w 152"/>
              <a:gd name="T43" fmla="*/ 117 h 164"/>
              <a:gd name="T44" fmla="*/ 86 w 152"/>
              <a:gd name="T45" fmla="*/ 141 h 164"/>
              <a:gd name="T46" fmla="*/ 65 w 152"/>
              <a:gd name="T47" fmla="*/ 141 h 164"/>
              <a:gd name="T48" fmla="*/ 65 w 152"/>
              <a:gd name="T49" fmla="*/ 117 h 164"/>
              <a:gd name="T50" fmla="*/ 56 w 152"/>
              <a:gd name="T51" fmla="*/ 100 h 164"/>
              <a:gd name="T52" fmla="*/ 76 w 152"/>
              <a:gd name="T53" fmla="*/ 80 h 164"/>
              <a:gd name="T54" fmla="*/ 96 w 152"/>
              <a:gd name="T55" fmla="*/ 100 h 164"/>
              <a:gd name="T56" fmla="*/ 86 w 152"/>
              <a:gd name="T57" fmla="*/ 117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52" h="164">
                <a:moveTo>
                  <a:pt x="134" y="52"/>
                </a:moveTo>
                <a:cubicBezTo>
                  <a:pt x="134" y="22"/>
                  <a:pt x="134" y="22"/>
                  <a:pt x="134" y="22"/>
                </a:cubicBezTo>
                <a:cubicBezTo>
                  <a:pt x="112" y="0"/>
                  <a:pt x="112" y="0"/>
                  <a:pt x="112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18" y="22"/>
                  <a:pt x="18" y="22"/>
                  <a:pt x="18" y="22"/>
                </a:cubicBezTo>
                <a:cubicBezTo>
                  <a:pt x="18" y="52"/>
                  <a:pt x="18" y="52"/>
                  <a:pt x="18" y="52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110"/>
                  <a:pt x="0" y="110"/>
                  <a:pt x="0" y="110"/>
                </a:cubicBezTo>
                <a:cubicBezTo>
                  <a:pt x="13" y="164"/>
                  <a:pt x="13" y="164"/>
                  <a:pt x="13" y="164"/>
                </a:cubicBezTo>
                <a:cubicBezTo>
                  <a:pt x="139" y="164"/>
                  <a:pt x="139" y="164"/>
                  <a:pt x="139" y="164"/>
                </a:cubicBezTo>
                <a:cubicBezTo>
                  <a:pt x="152" y="110"/>
                  <a:pt x="152" y="110"/>
                  <a:pt x="152" y="110"/>
                </a:cubicBezTo>
                <a:cubicBezTo>
                  <a:pt x="152" y="52"/>
                  <a:pt x="152" y="52"/>
                  <a:pt x="152" y="52"/>
                </a:cubicBezTo>
                <a:lnTo>
                  <a:pt x="134" y="52"/>
                </a:lnTo>
                <a:close/>
                <a:moveTo>
                  <a:pt x="76" y="52"/>
                </a:moveTo>
                <a:cubicBezTo>
                  <a:pt x="36" y="52"/>
                  <a:pt x="36" y="52"/>
                  <a:pt x="36" y="52"/>
                </a:cubicBezTo>
                <a:cubicBezTo>
                  <a:pt x="36" y="29"/>
                  <a:pt x="36" y="29"/>
                  <a:pt x="36" y="29"/>
                </a:cubicBezTo>
                <a:cubicBezTo>
                  <a:pt x="47" y="18"/>
                  <a:pt x="47" y="18"/>
                  <a:pt x="47" y="18"/>
                </a:cubicBezTo>
                <a:cubicBezTo>
                  <a:pt x="105" y="18"/>
                  <a:pt x="105" y="18"/>
                  <a:pt x="105" y="18"/>
                </a:cubicBezTo>
                <a:cubicBezTo>
                  <a:pt x="116" y="29"/>
                  <a:pt x="116" y="29"/>
                  <a:pt x="116" y="29"/>
                </a:cubicBezTo>
                <a:cubicBezTo>
                  <a:pt x="116" y="52"/>
                  <a:pt x="116" y="52"/>
                  <a:pt x="116" y="52"/>
                </a:cubicBezTo>
                <a:lnTo>
                  <a:pt x="76" y="52"/>
                </a:lnTo>
                <a:close/>
                <a:moveTo>
                  <a:pt x="86" y="117"/>
                </a:moveTo>
                <a:cubicBezTo>
                  <a:pt x="86" y="141"/>
                  <a:pt x="86" y="141"/>
                  <a:pt x="86" y="141"/>
                </a:cubicBezTo>
                <a:cubicBezTo>
                  <a:pt x="65" y="141"/>
                  <a:pt x="65" y="141"/>
                  <a:pt x="65" y="141"/>
                </a:cubicBezTo>
                <a:cubicBezTo>
                  <a:pt x="65" y="117"/>
                  <a:pt x="65" y="117"/>
                  <a:pt x="65" y="117"/>
                </a:cubicBezTo>
                <a:cubicBezTo>
                  <a:pt x="60" y="114"/>
                  <a:pt x="56" y="107"/>
                  <a:pt x="56" y="100"/>
                </a:cubicBezTo>
                <a:cubicBezTo>
                  <a:pt x="56" y="89"/>
                  <a:pt x="65" y="80"/>
                  <a:pt x="76" y="80"/>
                </a:cubicBezTo>
                <a:cubicBezTo>
                  <a:pt x="87" y="80"/>
                  <a:pt x="96" y="89"/>
                  <a:pt x="96" y="100"/>
                </a:cubicBezTo>
                <a:cubicBezTo>
                  <a:pt x="96" y="107"/>
                  <a:pt x="92" y="114"/>
                  <a:pt x="86" y="1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>
              <a:solidFill>
                <a:srgbClr val="000000"/>
              </a:solidFill>
            </a:endParaRPr>
          </a:p>
        </p:txBody>
      </p:sp>
      <p:grpSp>
        <p:nvGrpSpPr>
          <p:cNvPr id="42" name="Group 614"/>
          <p:cNvGrpSpPr/>
          <p:nvPr/>
        </p:nvGrpSpPr>
        <p:grpSpPr>
          <a:xfrm>
            <a:off x="824059" y="4466629"/>
            <a:ext cx="454514" cy="460548"/>
            <a:chOff x="719138" y="1017587"/>
            <a:chExt cx="358775" cy="363538"/>
          </a:xfrm>
          <a:solidFill>
            <a:schemeClr val="bg1"/>
          </a:solidFill>
        </p:grpSpPr>
        <p:sp>
          <p:nvSpPr>
            <p:cNvPr id="43" name="Freeform 115"/>
            <p:cNvSpPr>
              <a:spLocks/>
            </p:cNvSpPr>
            <p:nvPr/>
          </p:nvSpPr>
          <p:spPr bwMode="auto">
            <a:xfrm>
              <a:off x="815975" y="1017587"/>
              <a:ext cx="185738" cy="152400"/>
            </a:xfrm>
            <a:custGeom>
              <a:avLst/>
              <a:gdLst>
                <a:gd name="T0" fmla="*/ 101 w 117"/>
                <a:gd name="T1" fmla="*/ 96 h 96"/>
                <a:gd name="T2" fmla="*/ 117 w 117"/>
                <a:gd name="T3" fmla="*/ 34 h 96"/>
                <a:gd name="T4" fmla="*/ 90 w 117"/>
                <a:gd name="T5" fmla="*/ 50 h 96"/>
                <a:gd name="T6" fmla="*/ 62 w 117"/>
                <a:gd name="T7" fmla="*/ 0 h 96"/>
                <a:gd name="T8" fmla="*/ 39 w 117"/>
                <a:gd name="T9" fmla="*/ 0 h 96"/>
                <a:gd name="T10" fmla="*/ 0 w 117"/>
                <a:gd name="T11" fmla="*/ 68 h 96"/>
                <a:gd name="T12" fmla="*/ 23 w 117"/>
                <a:gd name="T13" fmla="*/ 82 h 96"/>
                <a:gd name="T14" fmla="*/ 50 w 117"/>
                <a:gd name="T15" fmla="*/ 34 h 96"/>
                <a:gd name="T16" fmla="*/ 67 w 117"/>
                <a:gd name="T17" fmla="*/ 63 h 96"/>
                <a:gd name="T18" fmla="*/ 39 w 117"/>
                <a:gd name="T19" fmla="*/ 80 h 96"/>
                <a:gd name="T20" fmla="*/ 101 w 117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7" h="96">
                  <a:moveTo>
                    <a:pt x="101" y="96"/>
                  </a:moveTo>
                  <a:lnTo>
                    <a:pt x="117" y="34"/>
                  </a:lnTo>
                  <a:lnTo>
                    <a:pt x="90" y="50"/>
                  </a:lnTo>
                  <a:lnTo>
                    <a:pt x="62" y="0"/>
                  </a:lnTo>
                  <a:lnTo>
                    <a:pt x="39" y="0"/>
                  </a:lnTo>
                  <a:lnTo>
                    <a:pt x="0" y="68"/>
                  </a:lnTo>
                  <a:lnTo>
                    <a:pt x="23" y="82"/>
                  </a:lnTo>
                  <a:lnTo>
                    <a:pt x="50" y="34"/>
                  </a:lnTo>
                  <a:lnTo>
                    <a:pt x="67" y="63"/>
                  </a:lnTo>
                  <a:lnTo>
                    <a:pt x="39" y="80"/>
                  </a:lnTo>
                  <a:lnTo>
                    <a:pt x="101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>
                <a:solidFill>
                  <a:srgbClr val="000000"/>
                </a:solidFill>
              </a:endParaRPr>
            </a:p>
          </p:txBody>
        </p:sp>
        <p:sp>
          <p:nvSpPr>
            <p:cNvPr id="44" name="Freeform 116"/>
            <p:cNvSpPr>
              <a:spLocks/>
            </p:cNvSpPr>
            <p:nvPr/>
          </p:nvSpPr>
          <p:spPr bwMode="auto">
            <a:xfrm>
              <a:off x="898525" y="1190625"/>
              <a:ext cx="179388" cy="190500"/>
            </a:xfrm>
            <a:custGeom>
              <a:avLst/>
              <a:gdLst>
                <a:gd name="T0" fmla="*/ 72 w 113"/>
                <a:gd name="T1" fmla="*/ 0 h 120"/>
                <a:gd name="T2" fmla="*/ 50 w 113"/>
                <a:gd name="T3" fmla="*/ 14 h 120"/>
                <a:gd name="T4" fmla="*/ 78 w 113"/>
                <a:gd name="T5" fmla="*/ 61 h 120"/>
                <a:gd name="T6" fmla="*/ 44 w 113"/>
                <a:gd name="T7" fmla="*/ 61 h 120"/>
                <a:gd name="T8" fmla="*/ 44 w 113"/>
                <a:gd name="T9" fmla="*/ 29 h 120"/>
                <a:gd name="T10" fmla="*/ 0 w 113"/>
                <a:gd name="T11" fmla="*/ 74 h 120"/>
                <a:gd name="T12" fmla="*/ 44 w 113"/>
                <a:gd name="T13" fmla="*/ 120 h 120"/>
                <a:gd name="T14" fmla="*/ 44 w 113"/>
                <a:gd name="T15" fmla="*/ 88 h 120"/>
                <a:gd name="T16" fmla="*/ 102 w 113"/>
                <a:gd name="T17" fmla="*/ 88 h 120"/>
                <a:gd name="T18" fmla="*/ 113 w 113"/>
                <a:gd name="T19" fmla="*/ 68 h 120"/>
                <a:gd name="T20" fmla="*/ 72 w 113"/>
                <a:gd name="T2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120">
                  <a:moveTo>
                    <a:pt x="72" y="0"/>
                  </a:moveTo>
                  <a:lnTo>
                    <a:pt x="50" y="14"/>
                  </a:lnTo>
                  <a:lnTo>
                    <a:pt x="78" y="61"/>
                  </a:lnTo>
                  <a:lnTo>
                    <a:pt x="44" y="61"/>
                  </a:lnTo>
                  <a:lnTo>
                    <a:pt x="44" y="29"/>
                  </a:lnTo>
                  <a:lnTo>
                    <a:pt x="0" y="74"/>
                  </a:lnTo>
                  <a:lnTo>
                    <a:pt x="44" y="120"/>
                  </a:lnTo>
                  <a:lnTo>
                    <a:pt x="44" y="88"/>
                  </a:lnTo>
                  <a:lnTo>
                    <a:pt x="102" y="88"/>
                  </a:lnTo>
                  <a:lnTo>
                    <a:pt x="113" y="68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>
                <a:solidFill>
                  <a:srgbClr val="000000"/>
                </a:solidFill>
              </a:endParaRPr>
            </a:p>
          </p:txBody>
        </p:sp>
        <p:sp>
          <p:nvSpPr>
            <p:cNvPr id="45" name="Freeform 117"/>
            <p:cNvSpPr>
              <a:spLocks/>
            </p:cNvSpPr>
            <p:nvPr/>
          </p:nvSpPr>
          <p:spPr bwMode="auto">
            <a:xfrm>
              <a:off x="719138" y="1169988"/>
              <a:ext cx="144463" cy="160338"/>
            </a:xfrm>
            <a:custGeom>
              <a:avLst/>
              <a:gdLst>
                <a:gd name="T0" fmla="*/ 35 w 91"/>
                <a:gd name="T1" fmla="*/ 74 h 101"/>
                <a:gd name="T2" fmla="*/ 52 w 91"/>
                <a:gd name="T3" fmla="*/ 45 h 101"/>
                <a:gd name="T4" fmla="*/ 79 w 91"/>
                <a:gd name="T5" fmla="*/ 62 h 101"/>
                <a:gd name="T6" fmla="*/ 63 w 91"/>
                <a:gd name="T7" fmla="*/ 0 h 101"/>
                <a:gd name="T8" fmla="*/ 1 w 91"/>
                <a:gd name="T9" fmla="*/ 17 h 101"/>
                <a:gd name="T10" fmla="*/ 29 w 91"/>
                <a:gd name="T11" fmla="*/ 33 h 101"/>
                <a:gd name="T12" fmla="*/ 0 w 91"/>
                <a:gd name="T13" fmla="*/ 81 h 101"/>
                <a:gd name="T14" fmla="*/ 11 w 91"/>
                <a:gd name="T15" fmla="*/ 101 h 101"/>
                <a:gd name="T16" fmla="*/ 91 w 91"/>
                <a:gd name="T17" fmla="*/ 101 h 101"/>
                <a:gd name="T18" fmla="*/ 91 w 91"/>
                <a:gd name="T19" fmla="*/ 74 h 101"/>
                <a:gd name="T20" fmla="*/ 35 w 91"/>
                <a:gd name="T21" fmla="*/ 74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101">
                  <a:moveTo>
                    <a:pt x="35" y="74"/>
                  </a:moveTo>
                  <a:lnTo>
                    <a:pt x="52" y="45"/>
                  </a:lnTo>
                  <a:lnTo>
                    <a:pt x="79" y="62"/>
                  </a:lnTo>
                  <a:lnTo>
                    <a:pt x="63" y="0"/>
                  </a:lnTo>
                  <a:lnTo>
                    <a:pt x="1" y="17"/>
                  </a:lnTo>
                  <a:lnTo>
                    <a:pt x="29" y="33"/>
                  </a:lnTo>
                  <a:lnTo>
                    <a:pt x="0" y="81"/>
                  </a:lnTo>
                  <a:lnTo>
                    <a:pt x="11" y="101"/>
                  </a:lnTo>
                  <a:lnTo>
                    <a:pt x="91" y="101"/>
                  </a:lnTo>
                  <a:lnTo>
                    <a:pt x="91" y="74"/>
                  </a:lnTo>
                  <a:lnTo>
                    <a:pt x="35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>
                <a:solidFill>
                  <a:srgbClr val="000000"/>
                </a:solidFill>
              </a:endParaRPr>
            </a:p>
          </p:txBody>
        </p:sp>
      </p:grpSp>
      <p:sp>
        <p:nvSpPr>
          <p:cNvPr id="46" name="Freeform 149"/>
          <p:cNvSpPr>
            <a:spLocks/>
          </p:cNvSpPr>
          <p:nvPr/>
        </p:nvSpPr>
        <p:spPr bwMode="auto">
          <a:xfrm>
            <a:off x="858442" y="2420008"/>
            <a:ext cx="406105" cy="417032"/>
          </a:xfrm>
          <a:custGeom>
            <a:avLst/>
            <a:gdLst>
              <a:gd name="T0" fmla="*/ 151 w 160"/>
              <a:gd name="T1" fmla="*/ 30 h 164"/>
              <a:gd name="T2" fmla="*/ 160 w 160"/>
              <a:gd name="T3" fmla="*/ 30 h 164"/>
              <a:gd name="T4" fmla="*/ 160 w 160"/>
              <a:gd name="T5" fmla="*/ 2 h 164"/>
              <a:gd name="T6" fmla="*/ 132 w 160"/>
              <a:gd name="T7" fmla="*/ 2 h 164"/>
              <a:gd name="T8" fmla="*/ 132 w 160"/>
              <a:gd name="T9" fmla="*/ 30 h 164"/>
              <a:gd name="T10" fmla="*/ 141 w 160"/>
              <a:gd name="T11" fmla="*/ 30 h 164"/>
              <a:gd name="T12" fmla="*/ 141 w 160"/>
              <a:gd name="T13" fmla="*/ 59 h 164"/>
              <a:gd name="T14" fmla="*/ 123 w 160"/>
              <a:gd name="T15" fmla="*/ 77 h 164"/>
              <a:gd name="T16" fmla="*/ 85 w 160"/>
              <a:gd name="T17" fmla="*/ 77 h 164"/>
              <a:gd name="T18" fmla="*/ 85 w 160"/>
              <a:gd name="T19" fmla="*/ 30 h 164"/>
              <a:gd name="T20" fmla="*/ 95 w 160"/>
              <a:gd name="T21" fmla="*/ 16 h 164"/>
              <a:gd name="T22" fmla="*/ 80 w 160"/>
              <a:gd name="T23" fmla="*/ 0 h 164"/>
              <a:gd name="T24" fmla="*/ 65 w 160"/>
              <a:gd name="T25" fmla="*/ 16 h 164"/>
              <a:gd name="T26" fmla="*/ 75 w 160"/>
              <a:gd name="T27" fmla="*/ 30 h 164"/>
              <a:gd name="T28" fmla="*/ 75 w 160"/>
              <a:gd name="T29" fmla="*/ 77 h 164"/>
              <a:gd name="T30" fmla="*/ 37 w 160"/>
              <a:gd name="T31" fmla="*/ 77 h 164"/>
              <a:gd name="T32" fmla="*/ 19 w 160"/>
              <a:gd name="T33" fmla="*/ 59 h 164"/>
              <a:gd name="T34" fmla="*/ 19 w 160"/>
              <a:gd name="T35" fmla="*/ 30 h 164"/>
              <a:gd name="T36" fmla="*/ 28 w 160"/>
              <a:gd name="T37" fmla="*/ 30 h 164"/>
              <a:gd name="T38" fmla="*/ 28 w 160"/>
              <a:gd name="T39" fmla="*/ 2 h 164"/>
              <a:gd name="T40" fmla="*/ 0 w 160"/>
              <a:gd name="T41" fmla="*/ 2 h 164"/>
              <a:gd name="T42" fmla="*/ 0 w 160"/>
              <a:gd name="T43" fmla="*/ 30 h 164"/>
              <a:gd name="T44" fmla="*/ 9 w 160"/>
              <a:gd name="T45" fmla="*/ 30 h 164"/>
              <a:gd name="T46" fmla="*/ 9 w 160"/>
              <a:gd name="T47" fmla="*/ 63 h 164"/>
              <a:gd name="T48" fmla="*/ 28 w 160"/>
              <a:gd name="T49" fmla="*/ 82 h 164"/>
              <a:gd name="T50" fmla="*/ 9 w 160"/>
              <a:gd name="T51" fmla="*/ 101 h 164"/>
              <a:gd name="T52" fmla="*/ 9 w 160"/>
              <a:gd name="T53" fmla="*/ 134 h 164"/>
              <a:gd name="T54" fmla="*/ 0 w 160"/>
              <a:gd name="T55" fmla="*/ 134 h 164"/>
              <a:gd name="T56" fmla="*/ 0 w 160"/>
              <a:gd name="T57" fmla="*/ 162 h 164"/>
              <a:gd name="T58" fmla="*/ 28 w 160"/>
              <a:gd name="T59" fmla="*/ 162 h 164"/>
              <a:gd name="T60" fmla="*/ 28 w 160"/>
              <a:gd name="T61" fmla="*/ 134 h 164"/>
              <a:gd name="T62" fmla="*/ 19 w 160"/>
              <a:gd name="T63" fmla="*/ 134 h 164"/>
              <a:gd name="T64" fmla="*/ 19 w 160"/>
              <a:gd name="T65" fmla="*/ 105 h 164"/>
              <a:gd name="T66" fmla="*/ 37 w 160"/>
              <a:gd name="T67" fmla="*/ 87 h 164"/>
              <a:gd name="T68" fmla="*/ 75 w 160"/>
              <a:gd name="T69" fmla="*/ 87 h 164"/>
              <a:gd name="T70" fmla="*/ 75 w 160"/>
              <a:gd name="T71" fmla="*/ 134 h 164"/>
              <a:gd name="T72" fmla="*/ 65 w 160"/>
              <a:gd name="T73" fmla="*/ 148 h 164"/>
              <a:gd name="T74" fmla="*/ 80 w 160"/>
              <a:gd name="T75" fmla="*/ 164 h 164"/>
              <a:gd name="T76" fmla="*/ 95 w 160"/>
              <a:gd name="T77" fmla="*/ 148 h 164"/>
              <a:gd name="T78" fmla="*/ 85 w 160"/>
              <a:gd name="T79" fmla="*/ 134 h 164"/>
              <a:gd name="T80" fmla="*/ 85 w 160"/>
              <a:gd name="T81" fmla="*/ 87 h 164"/>
              <a:gd name="T82" fmla="*/ 123 w 160"/>
              <a:gd name="T83" fmla="*/ 87 h 164"/>
              <a:gd name="T84" fmla="*/ 141 w 160"/>
              <a:gd name="T85" fmla="*/ 105 h 164"/>
              <a:gd name="T86" fmla="*/ 141 w 160"/>
              <a:gd name="T87" fmla="*/ 134 h 164"/>
              <a:gd name="T88" fmla="*/ 132 w 160"/>
              <a:gd name="T89" fmla="*/ 134 h 164"/>
              <a:gd name="T90" fmla="*/ 132 w 160"/>
              <a:gd name="T91" fmla="*/ 162 h 164"/>
              <a:gd name="T92" fmla="*/ 160 w 160"/>
              <a:gd name="T93" fmla="*/ 162 h 164"/>
              <a:gd name="T94" fmla="*/ 160 w 160"/>
              <a:gd name="T95" fmla="*/ 134 h 164"/>
              <a:gd name="T96" fmla="*/ 151 w 160"/>
              <a:gd name="T97" fmla="*/ 134 h 164"/>
              <a:gd name="T98" fmla="*/ 151 w 160"/>
              <a:gd name="T99" fmla="*/ 101 h 164"/>
              <a:gd name="T100" fmla="*/ 132 w 160"/>
              <a:gd name="T101" fmla="*/ 82 h 164"/>
              <a:gd name="T102" fmla="*/ 151 w 160"/>
              <a:gd name="T103" fmla="*/ 63 h 164"/>
              <a:gd name="T104" fmla="*/ 151 w 160"/>
              <a:gd name="T105" fmla="*/ 30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60" h="164">
                <a:moveTo>
                  <a:pt x="151" y="30"/>
                </a:moveTo>
                <a:cubicBezTo>
                  <a:pt x="160" y="30"/>
                  <a:pt x="160" y="30"/>
                  <a:pt x="160" y="30"/>
                </a:cubicBezTo>
                <a:cubicBezTo>
                  <a:pt x="160" y="2"/>
                  <a:pt x="160" y="2"/>
                  <a:pt x="160" y="2"/>
                </a:cubicBezTo>
                <a:cubicBezTo>
                  <a:pt x="132" y="2"/>
                  <a:pt x="132" y="2"/>
                  <a:pt x="132" y="2"/>
                </a:cubicBezTo>
                <a:cubicBezTo>
                  <a:pt x="132" y="30"/>
                  <a:pt x="132" y="30"/>
                  <a:pt x="132" y="30"/>
                </a:cubicBezTo>
                <a:cubicBezTo>
                  <a:pt x="141" y="30"/>
                  <a:pt x="141" y="30"/>
                  <a:pt x="141" y="30"/>
                </a:cubicBezTo>
                <a:cubicBezTo>
                  <a:pt x="141" y="59"/>
                  <a:pt x="141" y="59"/>
                  <a:pt x="141" y="59"/>
                </a:cubicBezTo>
                <a:cubicBezTo>
                  <a:pt x="123" y="77"/>
                  <a:pt x="123" y="77"/>
                  <a:pt x="123" y="77"/>
                </a:cubicBezTo>
                <a:cubicBezTo>
                  <a:pt x="85" y="77"/>
                  <a:pt x="85" y="77"/>
                  <a:pt x="85" y="77"/>
                </a:cubicBezTo>
                <a:cubicBezTo>
                  <a:pt x="85" y="30"/>
                  <a:pt x="85" y="30"/>
                  <a:pt x="85" y="30"/>
                </a:cubicBezTo>
                <a:cubicBezTo>
                  <a:pt x="91" y="28"/>
                  <a:pt x="95" y="22"/>
                  <a:pt x="95" y="16"/>
                </a:cubicBezTo>
                <a:cubicBezTo>
                  <a:pt x="95" y="7"/>
                  <a:pt x="88" y="0"/>
                  <a:pt x="80" y="0"/>
                </a:cubicBezTo>
                <a:cubicBezTo>
                  <a:pt x="72" y="0"/>
                  <a:pt x="65" y="7"/>
                  <a:pt x="65" y="16"/>
                </a:cubicBezTo>
                <a:cubicBezTo>
                  <a:pt x="65" y="22"/>
                  <a:pt x="69" y="28"/>
                  <a:pt x="75" y="30"/>
                </a:cubicBezTo>
                <a:cubicBezTo>
                  <a:pt x="75" y="77"/>
                  <a:pt x="75" y="77"/>
                  <a:pt x="75" y="77"/>
                </a:cubicBezTo>
                <a:cubicBezTo>
                  <a:pt x="37" y="77"/>
                  <a:pt x="37" y="77"/>
                  <a:pt x="37" y="77"/>
                </a:cubicBezTo>
                <a:cubicBezTo>
                  <a:pt x="19" y="59"/>
                  <a:pt x="19" y="59"/>
                  <a:pt x="19" y="59"/>
                </a:cubicBezTo>
                <a:cubicBezTo>
                  <a:pt x="19" y="30"/>
                  <a:pt x="19" y="30"/>
                  <a:pt x="19" y="30"/>
                </a:cubicBezTo>
                <a:cubicBezTo>
                  <a:pt x="28" y="30"/>
                  <a:pt x="28" y="30"/>
                  <a:pt x="28" y="30"/>
                </a:cubicBezTo>
                <a:cubicBezTo>
                  <a:pt x="28" y="2"/>
                  <a:pt x="28" y="2"/>
                  <a:pt x="28" y="2"/>
                </a:cubicBezTo>
                <a:cubicBezTo>
                  <a:pt x="0" y="2"/>
                  <a:pt x="0" y="2"/>
                  <a:pt x="0" y="2"/>
                </a:cubicBezTo>
                <a:cubicBezTo>
                  <a:pt x="0" y="30"/>
                  <a:pt x="0" y="30"/>
                  <a:pt x="0" y="30"/>
                </a:cubicBezTo>
                <a:cubicBezTo>
                  <a:pt x="9" y="30"/>
                  <a:pt x="9" y="30"/>
                  <a:pt x="9" y="30"/>
                </a:cubicBezTo>
                <a:cubicBezTo>
                  <a:pt x="9" y="63"/>
                  <a:pt x="9" y="63"/>
                  <a:pt x="9" y="63"/>
                </a:cubicBezTo>
                <a:cubicBezTo>
                  <a:pt x="28" y="82"/>
                  <a:pt x="28" y="82"/>
                  <a:pt x="28" y="82"/>
                </a:cubicBezTo>
                <a:cubicBezTo>
                  <a:pt x="9" y="101"/>
                  <a:pt x="9" y="101"/>
                  <a:pt x="9" y="101"/>
                </a:cubicBezTo>
                <a:cubicBezTo>
                  <a:pt x="9" y="134"/>
                  <a:pt x="9" y="134"/>
                  <a:pt x="9" y="134"/>
                </a:cubicBezTo>
                <a:cubicBezTo>
                  <a:pt x="0" y="134"/>
                  <a:pt x="0" y="134"/>
                  <a:pt x="0" y="134"/>
                </a:cubicBezTo>
                <a:cubicBezTo>
                  <a:pt x="0" y="162"/>
                  <a:pt x="0" y="162"/>
                  <a:pt x="0" y="162"/>
                </a:cubicBezTo>
                <a:cubicBezTo>
                  <a:pt x="28" y="162"/>
                  <a:pt x="28" y="162"/>
                  <a:pt x="28" y="162"/>
                </a:cubicBezTo>
                <a:cubicBezTo>
                  <a:pt x="28" y="134"/>
                  <a:pt x="28" y="134"/>
                  <a:pt x="28" y="134"/>
                </a:cubicBezTo>
                <a:cubicBezTo>
                  <a:pt x="19" y="134"/>
                  <a:pt x="19" y="134"/>
                  <a:pt x="19" y="134"/>
                </a:cubicBezTo>
                <a:cubicBezTo>
                  <a:pt x="19" y="105"/>
                  <a:pt x="19" y="105"/>
                  <a:pt x="19" y="105"/>
                </a:cubicBezTo>
                <a:cubicBezTo>
                  <a:pt x="37" y="87"/>
                  <a:pt x="37" y="87"/>
                  <a:pt x="37" y="87"/>
                </a:cubicBezTo>
                <a:cubicBezTo>
                  <a:pt x="75" y="87"/>
                  <a:pt x="75" y="87"/>
                  <a:pt x="75" y="87"/>
                </a:cubicBezTo>
                <a:cubicBezTo>
                  <a:pt x="75" y="134"/>
                  <a:pt x="75" y="134"/>
                  <a:pt x="75" y="134"/>
                </a:cubicBezTo>
                <a:cubicBezTo>
                  <a:pt x="69" y="136"/>
                  <a:pt x="65" y="142"/>
                  <a:pt x="65" y="148"/>
                </a:cubicBezTo>
                <a:cubicBezTo>
                  <a:pt x="65" y="157"/>
                  <a:pt x="72" y="164"/>
                  <a:pt x="80" y="164"/>
                </a:cubicBezTo>
                <a:cubicBezTo>
                  <a:pt x="88" y="164"/>
                  <a:pt x="95" y="157"/>
                  <a:pt x="95" y="148"/>
                </a:cubicBezTo>
                <a:cubicBezTo>
                  <a:pt x="95" y="142"/>
                  <a:pt x="91" y="136"/>
                  <a:pt x="85" y="134"/>
                </a:cubicBezTo>
                <a:cubicBezTo>
                  <a:pt x="85" y="87"/>
                  <a:pt x="85" y="87"/>
                  <a:pt x="85" y="87"/>
                </a:cubicBezTo>
                <a:cubicBezTo>
                  <a:pt x="123" y="87"/>
                  <a:pt x="123" y="87"/>
                  <a:pt x="123" y="87"/>
                </a:cubicBezTo>
                <a:cubicBezTo>
                  <a:pt x="141" y="105"/>
                  <a:pt x="141" y="105"/>
                  <a:pt x="141" y="105"/>
                </a:cubicBezTo>
                <a:cubicBezTo>
                  <a:pt x="141" y="134"/>
                  <a:pt x="141" y="134"/>
                  <a:pt x="141" y="134"/>
                </a:cubicBezTo>
                <a:cubicBezTo>
                  <a:pt x="132" y="134"/>
                  <a:pt x="132" y="134"/>
                  <a:pt x="132" y="134"/>
                </a:cubicBezTo>
                <a:cubicBezTo>
                  <a:pt x="132" y="162"/>
                  <a:pt x="132" y="162"/>
                  <a:pt x="132" y="162"/>
                </a:cubicBezTo>
                <a:cubicBezTo>
                  <a:pt x="160" y="162"/>
                  <a:pt x="160" y="162"/>
                  <a:pt x="160" y="162"/>
                </a:cubicBezTo>
                <a:cubicBezTo>
                  <a:pt x="160" y="134"/>
                  <a:pt x="160" y="134"/>
                  <a:pt x="160" y="134"/>
                </a:cubicBezTo>
                <a:cubicBezTo>
                  <a:pt x="151" y="134"/>
                  <a:pt x="151" y="134"/>
                  <a:pt x="151" y="134"/>
                </a:cubicBezTo>
                <a:cubicBezTo>
                  <a:pt x="151" y="101"/>
                  <a:pt x="151" y="101"/>
                  <a:pt x="151" y="101"/>
                </a:cubicBezTo>
                <a:cubicBezTo>
                  <a:pt x="132" y="82"/>
                  <a:pt x="132" y="82"/>
                  <a:pt x="132" y="82"/>
                </a:cubicBezTo>
                <a:cubicBezTo>
                  <a:pt x="151" y="63"/>
                  <a:pt x="151" y="63"/>
                  <a:pt x="151" y="63"/>
                </a:cubicBezTo>
                <a:lnTo>
                  <a:pt x="151" y="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>
              <a:solidFill>
                <a:srgbClr val="000000"/>
              </a:solidFill>
            </a:endParaRPr>
          </a:p>
        </p:txBody>
      </p:sp>
      <p:grpSp>
        <p:nvGrpSpPr>
          <p:cNvPr id="47" name="Group 663"/>
          <p:cNvGrpSpPr/>
          <p:nvPr/>
        </p:nvGrpSpPr>
        <p:grpSpPr>
          <a:xfrm>
            <a:off x="788084" y="3440918"/>
            <a:ext cx="540185" cy="416714"/>
            <a:chOff x="2219325" y="7031038"/>
            <a:chExt cx="333375" cy="257175"/>
          </a:xfrm>
          <a:solidFill>
            <a:schemeClr val="bg1"/>
          </a:solidFill>
        </p:grpSpPr>
        <p:sp>
          <p:nvSpPr>
            <p:cNvPr id="48" name="Freeform 287"/>
            <p:cNvSpPr>
              <a:spLocks/>
            </p:cNvSpPr>
            <p:nvPr/>
          </p:nvSpPr>
          <p:spPr bwMode="auto">
            <a:xfrm>
              <a:off x="2219325" y="7031038"/>
              <a:ext cx="333375" cy="146050"/>
            </a:xfrm>
            <a:custGeom>
              <a:avLst/>
              <a:gdLst>
                <a:gd name="T0" fmla="*/ 149 w 150"/>
                <a:gd name="T1" fmla="*/ 48 h 66"/>
                <a:gd name="T2" fmla="*/ 145 w 150"/>
                <a:gd name="T3" fmla="*/ 30 h 66"/>
                <a:gd name="T4" fmla="*/ 90 w 150"/>
                <a:gd name="T5" fmla="*/ 0 h 66"/>
                <a:gd name="T6" fmla="*/ 75 w 150"/>
                <a:gd name="T7" fmla="*/ 0 h 66"/>
                <a:gd name="T8" fmla="*/ 60 w 150"/>
                <a:gd name="T9" fmla="*/ 0 h 66"/>
                <a:gd name="T10" fmla="*/ 5 w 150"/>
                <a:gd name="T11" fmla="*/ 30 h 66"/>
                <a:gd name="T12" fmla="*/ 1 w 150"/>
                <a:gd name="T13" fmla="*/ 48 h 66"/>
                <a:gd name="T14" fmla="*/ 3 w 150"/>
                <a:gd name="T15" fmla="*/ 59 h 66"/>
                <a:gd name="T16" fmla="*/ 9 w 150"/>
                <a:gd name="T17" fmla="*/ 66 h 66"/>
                <a:gd name="T18" fmla="*/ 53 w 150"/>
                <a:gd name="T19" fmla="*/ 56 h 66"/>
                <a:gd name="T20" fmla="*/ 57 w 150"/>
                <a:gd name="T21" fmla="*/ 56 h 66"/>
                <a:gd name="T22" fmla="*/ 57 w 150"/>
                <a:gd name="T23" fmla="*/ 47 h 66"/>
                <a:gd name="T24" fmla="*/ 75 w 150"/>
                <a:gd name="T25" fmla="*/ 39 h 66"/>
                <a:gd name="T26" fmla="*/ 93 w 150"/>
                <a:gd name="T27" fmla="*/ 47 h 66"/>
                <a:gd name="T28" fmla="*/ 93 w 150"/>
                <a:gd name="T29" fmla="*/ 56 h 66"/>
                <a:gd name="T30" fmla="*/ 97 w 150"/>
                <a:gd name="T31" fmla="*/ 56 h 66"/>
                <a:gd name="T32" fmla="*/ 141 w 150"/>
                <a:gd name="T33" fmla="*/ 66 h 66"/>
                <a:gd name="T34" fmla="*/ 147 w 150"/>
                <a:gd name="T35" fmla="*/ 59 h 66"/>
                <a:gd name="T36" fmla="*/ 149 w 150"/>
                <a:gd name="T37" fmla="*/ 4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0" h="66">
                  <a:moveTo>
                    <a:pt x="149" y="48"/>
                  </a:moveTo>
                  <a:cubicBezTo>
                    <a:pt x="145" y="30"/>
                    <a:pt x="145" y="30"/>
                    <a:pt x="145" y="3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0" y="52"/>
                    <a:pt x="1" y="56"/>
                    <a:pt x="3" y="59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141" y="66"/>
                    <a:pt x="141" y="66"/>
                    <a:pt x="141" y="66"/>
                  </a:cubicBezTo>
                  <a:cubicBezTo>
                    <a:pt x="147" y="59"/>
                    <a:pt x="147" y="59"/>
                    <a:pt x="147" y="59"/>
                  </a:cubicBezTo>
                  <a:cubicBezTo>
                    <a:pt x="149" y="56"/>
                    <a:pt x="150" y="52"/>
                    <a:pt x="149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>
                <a:solidFill>
                  <a:srgbClr val="000000"/>
                </a:solidFill>
              </a:endParaRPr>
            </a:p>
          </p:txBody>
        </p:sp>
        <p:sp>
          <p:nvSpPr>
            <p:cNvPr id="49" name="Freeform 288"/>
            <p:cNvSpPr>
              <a:spLocks/>
            </p:cNvSpPr>
            <p:nvPr/>
          </p:nvSpPr>
          <p:spPr bwMode="auto">
            <a:xfrm>
              <a:off x="2252663" y="7170738"/>
              <a:ext cx="98425" cy="25400"/>
            </a:xfrm>
            <a:custGeom>
              <a:avLst/>
              <a:gdLst>
                <a:gd name="T0" fmla="*/ 59 w 62"/>
                <a:gd name="T1" fmla="*/ 7 h 16"/>
                <a:gd name="T2" fmla="*/ 59 w 62"/>
                <a:gd name="T3" fmla="*/ 0 h 16"/>
                <a:gd name="T4" fmla="*/ 56 w 62"/>
                <a:gd name="T5" fmla="*/ 0 h 16"/>
                <a:gd name="T6" fmla="*/ 0 w 62"/>
                <a:gd name="T7" fmla="*/ 6 h 16"/>
                <a:gd name="T8" fmla="*/ 0 w 62"/>
                <a:gd name="T9" fmla="*/ 16 h 16"/>
                <a:gd name="T10" fmla="*/ 56 w 62"/>
                <a:gd name="T11" fmla="*/ 11 h 16"/>
                <a:gd name="T12" fmla="*/ 62 w 62"/>
                <a:gd name="T13" fmla="*/ 11 h 16"/>
                <a:gd name="T14" fmla="*/ 59 w 62"/>
                <a:gd name="T15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16">
                  <a:moveTo>
                    <a:pt x="59" y="7"/>
                  </a:moveTo>
                  <a:lnTo>
                    <a:pt x="59" y="0"/>
                  </a:lnTo>
                  <a:lnTo>
                    <a:pt x="56" y="0"/>
                  </a:lnTo>
                  <a:lnTo>
                    <a:pt x="0" y="6"/>
                  </a:lnTo>
                  <a:lnTo>
                    <a:pt x="0" y="16"/>
                  </a:lnTo>
                  <a:lnTo>
                    <a:pt x="56" y="11"/>
                  </a:lnTo>
                  <a:lnTo>
                    <a:pt x="62" y="11"/>
                  </a:lnTo>
                  <a:lnTo>
                    <a:pt x="59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>
                <a:solidFill>
                  <a:srgbClr val="000000"/>
                </a:solidFill>
              </a:endParaRPr>
            </a:p>
          </p:txBody>
        </p:sp>
        <p:sp>
          <p:nvSpPr>
            <p:cNvPr id="50" name="Freeform 289"/>
            <p:cNvSpPr>
              <a:spLocks/>
            </p:cNvSpPr>
            <p:nvPr/>
          </p:nvSpPr>
          <p:spPr bwMode="auto">
            <a:xfrm>
              <a:off x="2420938" y="7170738"/>
              <a:ext cx="98425" cy="25400"/>
            </a:xfrm>
            <a:custGeom>
              <a:avLst/>
              <a:gdLst>
                <a:gd name="T0" fmla="*/ 6 w 62"/>
                <a:gd name="T1" fmla="*/ 0 h 16"/>
                <a:gd name="T2" fmla="*/ 3 w 62"/>
                <a:gd name="T3" fmla="*/ 0 h 16"/>
                <a:gd name="T4" fmla="*/ 3 w 62"/>
                <a:gd name="T5" fmla="*/ 7 h 16"/>
                <a:gd name="T6" fmla="*/ 0 w 62"/>
                <a:gd name="T7" fmla="*/ 11 h 16"/>
                <a:gd name="T8" fmla="*/ 6 w 62"/>
                <a:gd name="T9" fmla="*/ 11 h 16"/>
                <a:gd name="T10" fmla="*/ 62 w 62"/>
                <a:gd name="T11" fmla="*/ 16 h 16"/>
                <a:gd name="T12" fmla="*/ 62 w 62"/>
                <a:gd name="T13" fmla="*/ 6 h 16"/>
                <a:gd name="T14" fmla="*/ 6 w 62"/>
                <a:gd name="T1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16">
                  <a:moveTo>
                    <a:pt x="6" y="0"/>
                  </a:moveTo>
                  <a:lnTo>
                    <a:pt x="3" y="0"/>
                  </a:lnTo>
                  <a:lnTo>
                    <a:pt x="3" y="7"/>
                  </a:lnTo>
                  <a:lnTo>
                    <a:pt x="0" y="11"/>
                  </a:lnTo>
                  <a:lnTo>
                    <a:pt x="6" y="11"/>
                  </a:lnTo>
                  <a:lnTo>
                    <a:pt x="62" y="16"/>
                  </a:lnTo>
                  <a:lnTo>
                    <a:pt x="62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>
                <a:solidFill>
                  <a:srgbClr val="000000"/>
                </a:solidFill>
              </a:endParaRPr>
            </a:p>
          </p:txBody>
        </p:sp>
        <p:sp>
          <p:nvSpPr>
            <p:cNvPr id="51" name="Freeform 290"/>
            <p:cNvSpPr>
              <a:spLocks/>
            </p:cNvSpPr>
            <p:nvPr/>
          </p:nvSpPr>
          <p:spPr bwMode="auto">
            <a:xfrm>
              <a:off x="2252663" y="7199313"/>
              <a:ext cx="266700" cy="88900"/>
            </a:xfrm>
            <a:custGeom>
              <a:avLst/>
              <a:gdLst>
                <a:gd name="T0" fmla="*/ 117 w 168"/>
                <a:gd name="T1" fmla="*/ 0 h 56"/>
                <a:gd name="T2" fmla="*/ 103 w 168"/>
                <a:gd name="T3" fmla="*/ 0 h 56"/>
                <a:gd name="T4" fmla="*/ 102 w 168"/>
                <a:gd name="T5" fmla="*/ 3 h 56"/>
                <a:gd name="T6" fmla="*/ 84 w 168"/>
                <a:gd name="T7" fmla="*/ 16 h 56"/>
                <a:gd name="T8" fmla="*/ 66 w 168"/>
                <a:gd name="T9" fmla="*/ 3 h 56"/>
                <a:gd name="T10" fmla="*/ 64 w 168"/>
                <a:gd name="T11" fmla="*/ 0 h 56"/>
                <a:gd name="T12" fmla="*/ 50 w 168"/>
                <a:gd name="T13" fmla="*/ 0 h 56"/>
                <a:gd name="T14" fmla="*/ 0 w 168"/>
                <a:gd name="T15" fmla="*/ 5 h 56"/>
                <a:gd name="T16" fmla="*/ 0 w 168"/>
                <a:gd name="T17" fmla="*/ 27 h 56"/>
                <a:gd name="T18" fmla="*/ 53 w 168"/>
                <a:gd name="T19" fmla="*/ 56 h 56"/>
                <a:gd name="T20" fmla="*/ 115 w 168"/>
                <a:gd name="T21" fmla="*/ 56 h 56"/>
                <a:gd name="T22" fmla="*/ 168 w 168"/>
                <a:gd name="T23" fmla="*/ 27 h 56"/>
                <a:gd name="T24" fmla="*/ 168 w 168"/>
                <a:gd name="T25" fmla="*/ 5 h 56"/>
                <a:gd name="T26" fmla="*/ 117 w 168"/>
                <a:gd name="T2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8" h="56">
                  <a:moveTo>
                    <a:pt x="117" y="0"/>
                  </a:moveTo>
                  <a:lnTo>
                    <a:pt x="103" y="0"/>
                  </a:lnTo>
                  <a:lnTo>
                    <a:pt x="102" y="3"/>
                  </a:lnTo>
                  <a:lnTo>
                    <a:pt x="84" y="16"/>
                  </a:lnTo>
                  <a:lnTo>
                    <a:pt x="66" y="3"/>
                  </a:lnTo>
                  <a:lnTo>
                    <a:pt x="64" y="0"/>
                  </a:lnTo>
                  <a:lnTo>
                    <a:pt x="50" y="0"/>
                  </a:lnTo>
                  <a:lnTo>
                    <a:pt x="0" y="5"/>
                  </a:lnTo>
                  <a:lnTo>
                    <a:pt x="0" y="27"/>
                  </a:lnTo>
                  <a:lnTo>
                    <a:pt x="53" y="56"/>
                  </a:lnTo>
                  <a:lnTo>
                    <a:pt x="115" y="56"/>
                  </a:lnTo>
                  <a:lnTo>
                    <a:pt x="168" y="27"/>
                  </a:lnTo>
                  <a:lnTo>
                    <a:pt x="168" y="5"/>
                  </a:lnTo>
                  <a:lnTo>
                    <a:pt x="1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>
                <a:solidFill>
                  <a:srgbClr val="000000"/>
                </a:solidFill>
              </a:endParaRPr>
            </a:p>
          </p:txBody>
        </p:sp>
        <p:sp>
          <p:nvSpPr>
            <p:cNvPr id="52" name="Freeform 291"/>
            <p:cNvSpPr>
              <a:spLocks/>
            </p:cNvSpPr>
            <p:nvPr/>
          </p:nvSpPr>
          <p:spPr bwMode="auto">
            <a:xfrm>
              <a:off x="2359025" y="7135813"/>
              <a:ext cx="53975" cy="71438"/>
            </a:xfrm>
            <a:custGeom>
              <a:avLst/>
              <a:gdLst>
                <a:gd name="T0" fmla="*/ 34 w 34"/>
                <a:gd name="T1" fmla="*/ 26 h 45"/>
                <a:gd name="T2" fmla="*/ 29 w 34"/>
                <a:gd name="T3" fmla="*/ 36 h 45"/>
                <a:gd name="T4" fmla="*/ 17 w 34"/>
                <a:gd name="T5" fmla="*/ 45 h 45"/>
                <a:gd name="T6" fmla="*/ 4 w 34"/>
                <a:gd name="T7" fmla="*/ 36 h 45"/>
                <a:gd name="T8" fmla="*/ 0 w 34"/>
                <a:gd name="T9" fmla="*/ 26 h 45"/>
                <a:gd name="T10" fmla="*/ 0 w 34"/>
                <a:gd name="T11" fmla="*/ 7 h 45"/>
                <a:gd name="T12" fmla="*/ 17 w 34"/>
                <a:gd name="T13" fmla="*/ 0 h 45"/>
                <a:gd name="T14" fmla="*/ 34 w 34"/>
                <a:gd name="T15" fmla="*/ 7 h 45"/>
                <a:gd name="T16" fmla="*/ 34 w 34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45">
                  <a:moveTo>
                    <a:pt x="34" y="26"/>
                  </a:moveTo>
                  <a:lnTo>
                    <a:pt x="29" y="36"/>
                  </a:lnTo>
                  <a:lnTo>
                    <a:pt x="17" y="45"/>
                  </a:lnTo>
                  <a:lnTo>
                    <a:pt x="4" y="36"/>
                  </a:lnTo>
                  <a:lnTo>
                    <a:pt x="0" y="26"/>
                  </a:lnTo>
                  <a:lnTo>
                    <a:pt x="0" y="7"/>
                  </a:lnTo>
                  <a:lnTo>
                    <a:pt x="17" y="0"/>
                  </a:lnTo>
                  <a:lnTo>
                    <a:pt x="34" y="7"/>
                  </a:lnTo>
                  <a:lnTo>
                    <a:pt x="34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1763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96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60" name="think-cell Folie" r:id="rId8" imgW="180" imgH="180" progId="TCLayout.ActiveDocument.1">
                  <p:embed/>
                </p:oleObj>
              </mc:Choice>
              <mc:Fallback>
                <p:oleObj name="think-cell Folie" r:id="rId8" imgW="180" imgH="18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5844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AT" sz="2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dirty="0">
                <a:solidFill>
                  <a:srgbClr val="DA291C"/>
                </a:solidFill>
              </a:rPr>
              <a:t>5G </a:t>
            </a:r>
            <a:r>
              <a:rPr lang="ru-RU" dirty="0" smtClean="0">
                <a:solidFill>
                  <a:srgbClr val="DA291C"/>
                </a:solidFill>
              </a:rPr>
              <a:t>в България от 1 юли досега</a:t>
            </a:r>
            <a:endParaRPr lang="de-AT" dirty="0">
              <a:solidFill>
                <a:srgbClr val="DA291C"/>
              </a:solidFill>
            </a:endParaRPr>
          </a:p>
        </p:txBody>
      </p:sp>
      <p:sp>
        <p:nvSpPr>
          <p:cNvPr id="17" name="Textfeld 1"/>
          <p:cNvSpPr txBox="1"/>
          <p:nvPr/>
        </p:nvSpPr>
        <p:spPr>
          <a:xfrm>
            <a:off x="1879929" y="1011139"/>
            <a:ext cx="3816981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bg-BG" dirty="0" smtClean="0">
                <a:cs typeface="Verdana"/>
              </a:rPr>
              <a:t>Тестови </a:t>
            </a:r>
            <a:r>
              <a:rPr lang="en-US" dirty="0" err="1" smtClean="0"/>
              <a:t>честоти</a:t>
            </a:r>
            <a:r>
              <a:rPr lang="en-US" dirty="0" smtClean="0"/>
              <a:t> </a:t>
            </a:r>
            <a:r>
              <a:rPr lang="en-US" dirty="0" err="1"/>
              <a:t>от</a:t>
            </a:r>
            <a:r>
              <a:rPr lang="en-US" dirty="0"/>
              <a:t> </a:t>
            </a:r>
            <a:r>
              <a:rPr lang="bg-BG" dirty="0" smtClean="0"/>
              <a:t>КРС</a:t>
            </a:r>
            <a:r>
              <a:rPr lang="bg-BG" dirty="0" smtClean="0">
                <a:cs typeface="Verdana"/>
              </a:rPr>
              <a:t> за 6 месеца</a:t>
            </a:r>
            <a:endParaRPr lang="de-AT" dirty="0" smtClean="0">
              <a:cs typeface="Verdana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431800" y="927302"/>
            <a:ext cx="1252764" cy="777072"/>
          </a:xfrm>
          <a:custGeom>
            <a:avLst/>
            <a:gdLst>
              <a:gd name="T0" fmla="*/ 0 w 1563"/>
              <a:gd name="T1" fmla="*/ 0 h 1040"/>
              <a:gd name="T2" fmla="*/ 0 w 1563"/>
              <a:gd name="T3" fmla="*/ 1040 h 1040"/>
              <a:gd name="T4" fmla="*/ 1563 w 1563"/>
              <a:gd name="T5" fmla="*/ 858 h 1040"/>
              <a:gd name="T6" fmla="*/ 1563 w 1563"/>
              <a:gd name="T7" fmla="*/ 181 h 1040"/>
              <a:gd name="T8" fmla="*/ 0 w 1563"/>
              <a:gd name="T9" fmla="*/ 0 h 1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3" h="1040">
                <a:moveTo>
                  <a:pt x="0" y="0"/>
                </a:moveTo>
                <a:lnTo>
                  <a:pt x="0" y="1040"/>
                </a:lnTo>
                <a:lnTo>
                  <a:pt x="1563" y="858"/>
                </a:lnTo>
                <a:lnTo>
                  <a:pt x="1563" y="181"/>
                </a:lnTo>
                <a:lnTo>
                  <a:pt x="0" y="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>
              <a:solidFill>
                <a:schemeClr val="bg1"/>
              </a:solidFill>
              <a:latin typeface="A1 Einfach Fett" pitchFamily="2" charset="0"/>
            </a:endParaRPr>
          </a:p>
        </p:txBody>
      </p:sp>
      <p:pic>
        <p:nvPicPr>
          <p:cNvPr id="19" name="Grafik 3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536" y="958792"/>
            <a:ext cx="637575" cy="637575"/>
          </a:xfrm>
          <a:prstGeom prst="rect">
            <a:avLst/>
          </a:prstGeom>
        </p:spPr>
      </p:pic>
      <p:sp>
        <p:nvSpPr>
          <p:cNvPr id="20" name="Freeform 5"/>
          <p:cNvSpPr>
            <a:spLocks/>
          </p:cNvSpPr>
          <p:nvPr/>
        </p:nvSpPr>
        <p:spPr bwMode="auto">
          <a:xfrm>
            <a:off x="431800" y="2005888"/>
            <a:ext cx="1252764" cy="777072"/>
          </a:xfrm>
          <a:custGeom>
            <a:avLst/>
            <a:gdLst>
              <a:gd name="T0" fmla="*/ 0 w 1563"/>
              <a:gd name="T1" fmla="*/ 0 h 1040"/>
              <a:gd name="T2" fmla="*/ 0 w 1563"/>
              <a:gd name="T3" fmla="*/ 1040 h 1040"/>
              <a:gd name="T4" fmla="*/ 1563 w 1563"/>
              <a:gd name="T5" fmla="*/ 858 h 1040"/>
              <a:gd name="T6" fmla="*/ 1563 w 1563"/>
              <a:gd name="T7" fmla="*/ 181 h 1040"/>
              <a:gd name="T8" fmla="*/ 0 w 1563"/>
              <a:gd name="T9" fmla="*/ 0 h 1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3" h="1040">
                <a:moveTo>
                  <a:pt x="0" y="0"/>
                </a:moveTo>
                <a:lnTo>
                  <a:pt x="0" y="1040"/>
                </a:lnTo>
                <a:lnTo>
                  <a:pt x="1563" y="858"/>
                </a:lnTo>
                <a:lnTo>
                  <a:pt x="1563" y="181"/>
                </a:lnTo>
                <a:lnTo>
                  <a:pt x="0" y="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>
              <a:solidFill>
                <a:schemeClr val="bg1"/>
              </a:solidFill>
              <a:latin typeface="A1 Einfach Fett" pitchFamily="2" charset="0"/>
            </a:endParaRPr>
          </a:p>
        </p:txBody>
      </p:sp>
      <p:sp>
        <p:nvSpPr>
          <p:cNvPr id="23" name="Textfeld 1"/>
          <p:cNvSpPr txBox="1"/>
          <p:nvPr/>
        </p:nvSpPr>
        <p:spPr>
          <a:xfrm>
            <a:off x="1865288" y="2063221"/>
            <a:ext cx="4009732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bg-BG" dirty="0" smtClean="0">
                <a:cs typeface="Verdana"/>
              </a:rPr>
              <a:t>Честотен спектър: </a:t>
            </a:r>
            <a:r>
              <a:rPr lang="en-US" dirty="0" smtClean="0"/>
              <a:t>3440 </a:t>
            </a:r>
            <a:r>
              <a:rPr lang="bg-BG" dirty="0" smtClean="0"/>
              <a:t>и</a:t>
            </a:r>
            <a:r>
              <a:rPr lang="en-US" dirty="0" smtClean="0"/>
              <a:t> </a:t>
            </a:r>
            <a:r>
              <a:rPr lang="en-US" dirty="0"/>
              <a:t>3540 </a:t>
            </a:r>
            <a:r>
              <a:rPr lang="en-US" dirty="0" smtClean="0"/>
              <a:t>MHz</a:t>
            </a:r>
            <a:endParaRPr lang="de-AT" dirty="0" smtClean="0">
              <a:cs typeface="Verdana"/>
            </a:endParaRPr>
          </a:p>
        </p:txBody>
      </p:sp>
      <p:sp>
        <p:nvSpPr>
          <p:cNvPr id="27" name="Freeform 5"/>
          <p:cNvSpPr>
            <a:spLocks/>
          </p:cNvSpPr>
          <p:nvPr/>
        </p:nvSpPr>
        <p:spPr bwMode="auto">
          <a:xfrm>
            <a:off x="431800" y="3084474"/>
            <a:ext cx="1252764" cy="777072"/>
          </a:xfrm>
          <a:custGeom>
            <a:avLst/>
            <a:gdLst>
              <a:gd name="T0" fmla="*/ 0 w 1563"/>
              <a:gd name="T1" fmla="*/ 0 h 1040"/>
              <a:gd name="T2" fmla="*/ 0 w 1563"/>
              <a:gd name="T3" fmla="*/ 1040 h 1040"/>
              <a:gd name="T4" fmla="*/ 1563 w 1563"/>
              <a:gd name="T5" fmla="*/ 858 h 1040"/>
              <a:gd name="T6" fmla="*/ 1563 w 1563"/>
              <a:gd name="T7" fmla="*/ 181 h 1040"/>
              <a:gd name="T8" fmla="*/ 0 w 1563"/>
              <a:gd name="T9" fmla="*/ 0 h 1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3" h="1040">
                <a:moveTo>
                  <a:pt x="0" y="0"/>
                </a:moveTo>
                <a:lnTo>
                  <a:pt x="0" y="1040"/>
                </a:lnTo>
                <a:lnTo>
                  <a:pt x="1563" y="858"/>
                </a:lnTo>
                <a:lnTo>
                  <a:pt x="1563" y="181"/>
                </a:lnTo>
                <a:lnTo>
                  <a:pt x="0" y="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>
              <a:solidFill>
                <a:schemeClr val="bg1"/>
              </a:solidFill>
              <a:latin typeface="A1 Einfach Fett" pitchFamily="2" charset="0"/>
            </a:endParaRPr>
          </a:p>
        </p:txBody>
      </p:sp>
      <p:sp>
        <p:nvSpPr>
          <p:cNvPr id="30" name="Textfeld 1"/>
          <p:cNvSpPr txBox="1"/>
          <p:nvPr/>
        </p:nvSpPr>
        <p:spPr>
          <a:xfrm>
            <a:off x="1879930" y="3144208"/>
            <a:ext cx="3816980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bg-BG" dirty="0" smtClean="0">
                <a:cs typeface="Verdana"/>
              </a:rPr>
              <a:t>Изпитания на </a:t>
            </a:r>
            <a:r>
              <a:rPr lang="ru-RU" dirty="0" smtClean="0">
                <a:cs typeface="Verdana"/>
              </a:rPr>
              <a:t>различните </a:t>
            </a:r>
            <a:r>
              <a:rPr lang="ru-RU" dirty="0">
                <a:cs typeface="Verdana"/>
              </a:rPr>
              <a:t>приложения на </a:t>
            </a:r>
            <a:r>
              <a:rPr lang="ru-RU" dirty="0" smtClean="0">
                <a:cs typeface="Verdana"/>
              </a:rPr>
              <a:t>5G</a:t>
            </a:r>
            <a:endParaRPr lang="de-AT" dirty="0" smtClean="0">
              <a:cs typeface="Verdana"/>
            </a:endParaRPr>
          </a:p>
        </p:txBody>
      </p:sp>
      <p:pic>
        <p:nvPicPr>
          <p:cNvPr id="21" name="Grafik 2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849" y="3154222"/>
            <a:ext cx="637575" cy="637575"/>
          </a:xfrm>
          <a:prstGeom prst="rect">
            <a:avLst/>
          </a:prstGeom>
        </p:spPr>
      </p:pic>
      <p:sp>
        <p:nvSpPr>
          <p:cNvPr id="14" name="Freeform 5"/>
          <p:cNvSpPr>
            <a:spLocks/>
          </p:cNvSpPr>
          <p:nvPr/>
        </p:nvSpPr>
        <p:spPr bwMode="auto">
          <a:xfrm>
            <a:off x="431800" y="4013946"/>
            <a:ext cx="1252764" cy="777072"/>
          </a:xfrm>
          <a:custGeom>
            <a:avLst/>
            <a:gdLst>
              <a:gd name="T0" fmla="*/ 0 w 1563"/>
              <a:gd name="T1" fmla="*/ 0 h 1040"/>
              <a:gd name="T2" fmla="*/ 0 w 1563"/>
              <a:gd name="T3" fmla="*/ 1040 h 1040"/>
              <a:gd name="T4" fmla="*/ 1563 w 1563"/>
              <a:gd name="T5" fmla="*/ 858 h 1040"/>
              <a:gd name="T6" fmla="*/ 1563 w 1563"/>
              <a:gd name="T7" fmla="*/ 181 h 1040"/>
              <a:gd name="T8" fmla="*/ 0 w 1563"/>
              <a:gd name="T9" fmla="*/ 0 h 1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3" h="1040">
                <a:moveTo>
                  <a:pt x="0" y="0"/>
                </a:moveTo>
                <a:lnTo>
                  <a:pt x="0" y="1040"/>
                </a:lnTo>
                <a:lnTo>
                  <a:pt x="1563" y="858"/>
                </a:lnTo>
                <a:lnTo>
                  <a:pt x="1563" y="181"/>
                </a:lnTo>
                <a:lnTo>
                  <a:pt x="0" y="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>
              <a:solidFill>
                <a:schemeClr val="bg1"/>
              </a:solidFill>
              <a:latin typeface="A1 Einfach Fett" pitchFamily="2" charset="0"/>
            </a:endParaRPr>
          </a:p>
        </p:txBody>
      </p:sp>
      <p:sp>
        <p:nvSpPr>
          <p:cNvPr id="15" name="Textfeld 1"/>
          <p:cNvSpPr txBox="1"/>
          <p:nvPr/>
        </p:nvSpPr>
        <p:spPr>
          <a:xfrm>
            <a:off x="1860479" y="4243176"/>
            <a:ext cx="4014541" cy="3046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bg-BG" dirty="0" smtClean="0">
                <a:cs typeface="Verdana"/>
              </a:rPr>
              <a:t>Тестове с крайни 5</a:t>
            </a:r>
            <a:r>
              <a:rPr lang="en-US" dirty="0" smtClean="0">
                <a:cs typeface="Verdana"/>
              </a:rPr>
              <a:t>G </a:t>
            </a:r>
            <a:r>
              <a:rPr lang="bg-BG" dirty="0" smtClean="0">
                <a:cs typeface="Verdana"/>
              </a:rPr>
              <a:t>устройства</a:t>
            </a:r>
            <a:endParaRPr lang="de-AT" dirty="0" smtClean="0">
              <a:cs typeface="Verdana"/>
            </a:endParaRPr>
          </a:p>
        </p:txBody>
      </p:sp>
      <p:sp>
        <p:nvSpPr>
          <p:cNvPr id="22" name="Freeform 152"/>
          <p:cNvSpPr>
            <a:spLocks noEditPoints="1"/>
          </p:cNvSpPr>
          <p:nvPr/>
        </p:nvSpPr>
        <p:spPr bwMode="auto">
          <a:xfrm>
            <a:off x="857443" y="4163060"/>
            <a:ext cx="297543" cy="477402"/>
          </a:xfrm>
          <a:custGeom>
            <a:avLst/>
            <a:gdLst>
              <a:gd name="T0" fmla="*/ 0 w 96"/>
              <a:gd name="T1" fmla="*/ 0 h 154"/>
              <a:gd name="T2" fmla="*/ 0 w 96"/>
              <a:gd name="T3" fmla="*/ 89 h 154"/>
              <a:gd name="T4" fmla="*/ 7 w 96"/>
              <a:gd name="T5" fmla="*/ 154 h 154"/>
              <a:gd name="T6" fmla="*/ 89 w 96"/>
              <a:gd name="T7" fmla="*/ 154 h 154"/>
              <a:gd name="T8" fmla="*/ 96 w 96"/>
              <a:gd name="T9" fmla="*/ 89 h 154"/>
              <a:gd name="T10" fmla="*/ 96 w 96"/>
              <a:gd name="T11" fmla="*/ 0 h 154"/>
              <a:gd name="T12" fmla="*/ 0 w 96"/>
              <a:gd name="T13" fmla="*/ 0 h 154"/>
              <a:gd name="T14" fmla="*/ 48 w 96"/>
              <a:gd name="T15" fmla="*/ 144 h 154"/>
              <a:gd name="T16" fmla="*/ 40 w 96"/>
              <a:gd name="T17" fmla="*/ 136 h 154"/>
              <a:gd name="T18" fmla="*/ 48 w 96"/>
              <a:gd name="T19" fmla="*/ 128 h 154"/>
              <a:gd name="T20" fmla="*/ 56 w 96"/>
              <a:gd name="T21" fmla="*/ 136 h 154"/>
              <a:gd name="T22" fmla="*/ 48 w 96"/>
              <a:gd name="T23" fmla="*/ 144 h 154"/>
              <a:gd name="T24" fmla="*/ 82 w 96"/>
              <a:gd name="T25" fmla="*/ 120 h 154"/>
              <a:gd name="T26" fmla="*/ 14 w 96"/>
              <a:gd name="T27" fmla="*/ 120 h 154"/>
              <a:gd name="T28" fmla="*/ 14 w 96"/>
              <a:gd name="T29" fmla="*/ 14 h 154"/>
              <a:gd name="T30" fmla="*/ 82 w 96"/>
              <a:gd name="T31" fmla="*/ 14 h 154"/>
              <a:gd name="T32" fmla="*/ 82 w 96"/>
              <a:gd name="T33" fmla="*/ 12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6" h="154">
                <a:moveTo>
                  <a:pt x="0" y="0"/>
                </a:moveTo>
                <a:cubicBezTo>
                  <a:pt x="0" y="89"/>
                  <a:pt x="0" y="89"/>
                  <a:pt x="0" y="89"/>
                </a:cubicBezTo>
                <a:cubicBezTo>
                  <a:pt x="7" y="154"/>
                  <a:pt x="7" y="154"/>
                  <a:pt x="7" y="154"/>
                </a:cubicBezTo>
                <a:cubicBezTo>
                  <a:pt x="89" y="154"/>
                  <a:pt x="89" y="154"/>
                  <a:pt x="89" y="154"/>
                </a:cubicBezTo>
                <a:cubicBezTo>
                  <a:pt x="96" y="89"/>
                  <a:pt x="96" y="89"/>
                  <a:pt x="96" y="89"/>
                </a:cubicBezTo>
                <a:cubicBezTo>
                  <a:pt x="96" y="0"/>
                  <a:pt x="96" y="0"/>
                  <a:pt x="96" y="0"/>
                </a:cubicBezTo>
                <a:lnTo>
                  <a:pt x="0" y="0"/>
                </a:lnTo>
                <a:close/>
                <a:moveTo>
                  <a:pt x="48" y="144"/>
                </a:moveTo>
                <a:cubicBezTo>
                  <a:pt x="43" y="144"/>
                  <a:pt x="40" y="140"/>
                  <a:pt x="40" y="136"/>
                </a:cubicBezTo>
                <a:cubicBezTo>
                  <a:pt x="40" y="131"/>
                  <a:pt x="43" y="128"/>
                  <a:pt x="48" y="128"/>
                </a:cubicBezTo>
                <a:cubicBezTo>
                  <a:pt x="53" y="128"/>
                  <a:pt x="56" y="131"/>
                  <a:pt x="56" y="136"/>
                </a:cubicBezTo>
                <a:cubicBezTo>
                  <a:pt x="56" y="140"/>
                  <a:pt x="53" y="144"/>
                  <a:pt x="48" y="144"/>
                </a:cubicBezTo>
                <a:close/>
                <a:moveTo>
                  <a:pt x="82" y="120"/>
                </a:moveTo>
                <a:cubicBezTo>
                  <a:pt x="14" y="120"/>
                  <a:pt x="14" y="120"/>
                  <a:pt x="14" y="120"/>
                </a:cubicBezTo>
                <a:cubicBezTo>
                  <a:pt x="14" y="14"/>
                  <a:pt x="14" y="14"/>
                  <a:pt x="14" y="14"/>
                </a:cubicBezTo>
                <a:cubicBezTo>
                  <a:pt x="82" y="14"/>
                  <a:pt x="82" y="14"/>
                  <a:pt x="82" y="14"/>
                </a:cubicBezTo>
                <a:lnTo>
                  <a:pt x="82" y="1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pic>
        <p:nvPicPr>
          <p:cNvPr id="7" name="190606_A1_Uni_Cinemagraph_720x1080">
            <a:hlinkClick r:id="" action="ppaction://media"/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6332205" y="933450"/>
            <a:ext cx="2808288" cy="4212432"/>
          </a:xfrm>
          <a:prstGeom prst="rect">
            <a:avLst/>
          </a:prstGeom>
        </p:spPr>
      </p:pic>
      <p:grpSp>
        <p:nvGrpSpPr>
          <p:cNvPr id="24" name="Group 659"/>
          <p:cNvGrpSpPr/>
          <p:nvPr/>
        </p:nvGrpSpPr>
        <p:grpSpPr>
          <a:xfrm>
            <a:off x="792274" y="2157092"/>
            <a:ext cx="531813" cy="474663"/>
            <a:chOff x="-855663" y="9902825"/>
            <a:chExt cx="531813" cy="474663"/>
          </a:xfrm>
          <a:solidFill>
            <a:schemeClr val="bg1"/>
          </a:solidFill>
        </p:grpSpPr>
        <p:sp>
          <p:nvSpPr>
            <p:cNvPr id="25" name="Freeform 271"/>
            <p:cNvSpPr>
              <a:spLocks noEditPoints="1"/>
            </p:cNvSpPr>
            <p:nvPr/>
          </p:nvSpPr>
          <p:spPr bwMode="auto">
            <a:xfrm>
              <a:off x="-784225" y="9902825"/>
              <a:ext cx="161925" cy="150813"/>
            </a:xfrm>
            <a:custGeom>
              <a:avLst/>
              <a:gdLst>
                <a:gd name="T0" fmla="*/ 17 w 73"/>
                <a:gd name="T1" fmla="*/ 68 h 68"/>
                <a:gd name="T2" fmla="*/ 34 w 73"/>
                <a:gd name="T3" fmla="*/ 56 h 68"/>
                <a:gd name="T4" fmla="*/ 60 w 73"/>
                <a:gd name="T5" fmla="*/ 56 h 68"/>
                <a:gd name="T6" fmla="*/ 60 w 73"/>
                <a:gd name="T7" fmla="*/ 33 h 68"/>
                <a:gd name="T8" fmla="*/ 73 w 73"/>
                <a:gd name="T9" fmla="*/ 17 h 68"/>
                <a:gd name="T10" fmla="*/ 56 w 73"/>
                <a:gd name="T11" fmla="*/ 0 h 68"/>
                <a:gd name="T12" fmla="*/ 39 w 73"/>
                <a:gd name="T13" fmla="*/ 17 h 68"/>
                <a:gd name="T14" fmla="*/ 52 w 73"/>
                <a:gd name="T15" fmla="*/ 34 h 68"/>
                <a:gd name="T16" fmla="*/ 52 w 73"/>
                <a:gd name="T17" fmla="*/ 48 h 68"/>
                <a:gd name="T18" fmla="*/ 34 w 73"/>
                <a:gd name="T19" fmla="*/ 48 h 68"/>
                <a:gd name="T20" fmla="*/ 17 w 73"/>
                <a:gd name="T21" fmla="*/ 34 h 68"/>
                <a:gd name="T22" fmla="*/ 0 w 73"/>
                <a:gd name="T23" fmla="*/ 51 h 68"/>
                <a:gd name="T24" fmla="*/ 17 w 73"/>
                <a:gd name="T25" fmla="*/ 68 h 68"/>
                <a:gd name="T26" fmla="*/ 47 w 73"/>
                <a:gd name="T27" fmla="*/ 17 h 68"/>
                <a:gd name="T28" fmla="*/ 56 w 73"/>
                <a:gd name="T29" fmla="*/ 8 h 68"/>
                <a:gd name="T30" fmla="*/ 65 w 73"/>
                <a:gd name="T31" fmla="*/ 17 h 68"/>
                <a:gd name="T32" fmla="*/ 56 w 73"/>
                <a:gd name="T33" fmla="*/ 26 h 68"/>
                <a:gd name="T34" fmla="*/ 56 w 73"/>
                <a:gd name="T35" fmla="*/ 26 h 68"/>
                <a:gd name="T36" fmla="*/ 47 w 73"/>
                <a:gd name="T37" fmla="*/ 17 h 68"/>
                <a:gd name="T38" fmla="*/ 17 w 73"/>
                <a:gd name="T39" fmla="*/ 42 h 68"/>
                <a:gd name="T40" fmla="*/ 26 w 73"/>
                <a:gd name="T41" fmla="*/ 51 h 68"/>
                <a:gd name="T42" fmla="*/ 17 w 73"/>
                <a:gd name="T43" fmla="*/ 60 h 68"/>
                <a:gd name="T44" fmla="*/ 8 w 73"/>
                <a:gd name="T45" fmla="*/ 51 h 68"/>
                <a:gd name="T46" fmla="*/ 17 w 73"/>
                <a:gd name="T47" fmla="*/ 4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3" h="68">
                  <a:moveTo>
                    <a:pt x="17" y="68"/>
                  </a:moveTo>
                  <a:cubicBezTo>
                    <a:pt x="25" y="68"/>
                    <a:pt x="32" y="63"/>
                    <a:pt x="34" y="56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8" y="31"/>
                    <a:pt x="73" y="25"/>
                    <a:pt x="73" y="17"/>
                  </a:cubicBezTo>
                  <a:cubicBezTo>
                    <a:pt x="73" y="8"/>
                    <a:pt x="65" y="0"/>
                    <a:pt x="56" y="0"/>
                  </a:cubicBezTo>
                  <a:cubicBezTo>
                    <a:pt x="47" y="0"/>
                    <a:pt x="39" y="8"/>
                    <a:pt x="39" y="17"/>
                  </a:cubicBezTo>
                  <a:cubicBezTo>
                    <a:pt x="39" y="25"/>
                    <a:pt x="45" y="32"/>
                    <a:pt x="52" y="34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2" y="40"/>
                    <a:pt x="25" y="34"/>
                    <a:pt x="17" y="34"/>
                  </a:cubicBezTo>
                  <a:cubicBezTo>
                    <a:pt x="8" y="34"/>
                    <a:pt x="0" y="42"/>
                    <a:pt x="0" y="51"/>
                  </a:cubicBezTo>
                  <a:cubicBezTo>
                    <a:pt x="0" y="60"/>
                    <a:pt x="8" y="68"/>
                    <a:pt x="17" y="68"/>
                  </a:cubicBezTo>
                  <a:close/>
                  <a:moveTo>
                    <a:pt x="47" y="17"/>
                  </a:moveTo>
                  <a:cubicBezTo>
                    <a:pt x="47" y="12"/>
                    <a:pt x="51" y="8"/>
                    <a:pt x="56" y="8"/>
                  </a:cubicBezTo>
                  <a:cubicBezTo>
                    <a:pt x="61" y="8"/>
                    <a:pt x="65" y="12"/>
                    <a:pt x="65" y="17"/>
                  </a:cubicBezTo>
                  <a:cubicBezTo>
                    <a:pt x="65" y="22"/>
                    <a:pt x="61" y="26"/>
                    <a:pt x="56" y="26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1" y="26"/>
                    <a:pt x="47" y="22"/>
                    <a:pt x="47" y="17"/>
                  </a:cubicBezTo>
                  <a:close/>
                  <a:moveTo>
                    <a:pt x="17" y="42"/>
                  </a:moveTo>
                  <a:cubicBezTo>
                    <a:pt x="22" y="42"/>
                    <a:pt x="26" y="46"/>
                    <a:pt x="26" y="51"/>
                  </a:cubicBezTo>
                  <a:cubicBezTo>
                    <a:pt x="26" y="56"/>
                    <a:pt x="22" y="60"/>
                    <a:pt x="17" y="60"/>
                  </a:cubicBezTo>
                  <a:cubicBezTo>
                    <a:pt x="12" y="60"/>
                    <a:pt x="8" y="56"/>
                    <a:pt x="8" y="51"/>
                  </a:cubicBezTo>
                  <a:cubicBezTo>
                    <a:pt x="8" y="46"/>
                    <a:pt x="12" y="42"/>
                    <a:pt x="17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26" name="Freeform 272"/>
            <p:cNvSpPr>
              <a:spLocks noEditPoints="1"/>
            </p:cNvSpPr>
            <p:nvPr/>
          </p:nvSpPr>
          <p:spPr bwMode="auto">
            <a:xfrm>
              <a:off x="-582613" y="9909175"/>
              <a:ext cx="152400" cy="377825"/>
            </a:xfrm>
            <a:custGeom>
              <a:avLst/>
              <a:gdLst>
                <a:gd name="T0" fmla="*/ 55 w 69"/>
                <a:gd name="T1" fmla="*/ 137 h 170"/>
                <a:gd name="T2" fmla="*/ 55 w 69"/>
                <a:gd name="T3" fmla="*/ 100 h 170"/>
                <a:gd name="T4" fmla="*/ 21 w 69"/>
                <a:gd name="T5" fmla="*/ 100 h 170"/>
                <a:gd name="T6" fmla="*/ 21 w 69"/>
                <a:gd name="T7" fmla="*/ 34 h 170"/>
                <a:gd name="T8" fmla="*/ 34 w 69"/>
                <a:gd name="T9" fmla="*/ 17 h 170"/>
                <a:gd name="T10" fmla="*/ 17 w 69"/>
                <a:gd name="T11" fmla="*/ 0 h 170"/>
                <a:gd name="T12" fmla="*/ 0 w 69"/>
                <a:gd name="T13" fmla="*/ 17 h 170"/>
                <a:gd name="T14" fmla="*/ 13 w 69"/>
                <a:gd name="T15" fmla="*/ 34 h 170"/>
                <a:gd name="T16" fmla="*/ 13 w 69"/>
                <a:gd name="T17" fmla="*/ 108 h 170"/>
                <a:gd name="T18" fmla="*/ 47 w 69"/>
                <a:gd name="T19" fmla="*/ 108 h 170"/>
                <a:gd name="T20" fmla="*/ 47 w 69"/>
                <a:gd name="T21" fmla="*/ 137 h 170"/>
                <a:gd name="T22" fmla="*/ 35 w 69"/>
                <a:gd name="T23" fmla="*/ 153 h 170"/>
                <a:gd name="T24" fmla="*/ 52 w 69"/>
                <a:gd name="T25" fmla="*/ 170 h 170"/>
                <a:gd name="T26" fmla="*/ 69 w 69"/>
                <a:gd name="T27" fmla="*/ 153 h 170"/>
                <a:gd name="T28" fmla="*/ 55 w 69"/>
                <a:gd name="T29" fmla="*/ 137 h 170"/>
                <a:gd name="T30" fmla="*/ 8 w 69"/>
                <a:gd name="T31" fmla="*/ 17 h 170"/>
                <a:gd name="T32" fmla="*/ 17 w 69"/>
                <a:gd name="T33" fmla="*/ 8 h 170"/>
                <a:gd name="T34" fmla="*/ 26 w 69"/>
                <a:gd name="T35" fmla="*/ 17 h 170"/>
                <a:gd name="T36" fmla="*/ 17 w 69"/>
                <a:gd name="T37" fmla="*/ 27 h 170"/>
                <a:gd name="T38" fmla="*/ 17 w 69"/>
                <a:gd name="T39" fmla="*/ 27 h 170"/>
                <a:gd name="T40" fmla="*/ 8 w 69"/>
                <a:gd name="T41" fmla="*/ 17 h 170"/>
                <a:gd name="T42" fmla="*/ 52 w 69"/>
                <a:gd name="T43" fmla="*/ 162 h 170"/>
                <a:gd name="T44" fmla="*/ 43 w 69"/>
                <a:gd name="T45" fmla="*/ 153 h 170"/>
                <a:gd name="T46" fmla="*/ 52 w 69"/>
                <a:gd name="T47" fmla="*/ 144 h 170"/>
                <a:gd name="T48" fmla="*/ 61 w 69"/>
                <a:gd name="T49" fmla="*/ 153 h 170"/>
                <a:gd name="T50" fmla="*/ 52 w 69"/>
                <a:gd name="T51" fmla="*/ 16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9" h="170">
                  <a:moveTo>
                    <a:pt x="55" y="137"/>
                  </a:moveTo>
                  <a:cubicBezTo>
                    <a:pt x="55" y="100"/>
                    <a:pt x="55" y="100"/>
                    <a:pt x="55" y="100"/>
                  </a:cubicBezTo>
                  <a:cubicBezTo>
                    <a:pt x="21" y="100"/>
                    <a:pt x="21" y="100"/>
                    <a:pt x="21" y="100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9" y="32"/>
                    <a:pt x="34" y="25"/>
                    <a:pt x="34" y="17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6"/>
                    <a:pt x="6" y="33"/>
                    <a:pt x="13" y="3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47" y="108"/>
                    <a:pt x="47" y="108"/>
                    <a:pt x="47" y="108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0" y="139"/>
                    <a:pt x="35" y="146"/>
                    <a:pt x="35" y="153"/>
                  </a:cubicBezTo>
                  <a:cubicBezTo>
                    <a:pt x="35" y="163"/>
                    <a:pt x="42" y="170"/>
                    <a:pt x="52" y="170"/>
                  </a:cubicBezTo>
                  <a:cubicBezTo>
                    <a:pt x="61" y="170"/>
                    <a:pt x="69" y="163"/>
                    <a:pt x="69" y="153"/>
                  </a:cubicBezTo>
                  <a:cubicBezTo>
                    <a:pt x="69" y="145"/>
                    <a:pt x="63" y="138"/>
                    <a:pt x="55" y="137"/>
                  </a:cubicBezTo>
                  <a:close/>
                  <a:moveTo>
                    <a:pt x="8" y="17"/>
                  </a:moveTo>
                  <a:cubicBezTo>
                    <a:pt x="8" y="13"/>
                    <a:pt x="12" y="8"/>
                    <a:pt x="17" y="8"/>
                  </a:cubicBezTo>
                  <a:cubicBezTo>
                    <a:pt x="22" y="8"/>
                    <a:pt x="26" y="13"/>
                    <a:pt x="26" y="17"/>
                  </a:cubicBezTo>
                  <a:cubicBezTo>
                    <a:pt x="26" y="22"/>
                    <a:pt x="22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2" y="27"/>
                    <a:pt x="8" y="22"/>
                    <a:pt x="8" y="17"/>
                  </a:cubicBezTo>
                  <a:close/>
                  <a:moveTo>
                    <a:pt x="52" y="162"/>
                  </a:moveTo>
                  <a:cubicBezTo>
                    <a:pt x="47" y="162"/>
                    <a:pt x="43" y="158"/>
                    <a:pt x="43" y="153"/>
                  </a:cubicBezTo>
                  <a:cubicBezTo>
                    <a:pt x="43" y="148"/>
                    <a:pt x="47" y="144"/>
                    <a:pt x="52" y="144"/>
                  </a:cubicBezTo>
                  <a:cubicBezTo>
                    <a:pt x="57" y="144"/>
                    <a:pt x="61" y="148"/>
                    <a:pt x="61" y="153"/>
                  </a:cubicBezTo>
                  <a:cubicBezTo>
                    <a:pt x="61" y="158"/>
                    <a:pt x="57" y="162"/>
                    <a:pt x="52" y="1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28" name="Freeform 273"/>
            <p:cNvSpPr>
              <a:spLocks noEditPoints="1"/>
            </p:cNvSpPr>
            <p:nvPr/>
          </p:nvSpPr>
          <p:spPr bwMode="auto">
            <a:xfrm>
              <a:off x="-503238" y="9971088"/>
              <a:ext cx="179388" cy="161925"/>
            </a:xfrm>
            <a:custGeom>
              <a:avLst/>
              <a:gdLst>
                <a:gd name="T0" fmla="*/ 64 w 81"/>
                <a:gd name="T1" fmla="*/ 39 h 73"/>
                <a:gd name="T2" fmla="*/ 47 w 81"/>
                <a:gd name="T3" fmla="*/ 52 h 73"/>
                <a:gd name="T4" fmla="*/ 20 w 81"/>
                <a:gd name="T5" fmla="*/ 52 h 73"/>
                <a:gd name="T6" fmla="*/ 20 w 81"/>
                <a:gd name="T7" fmla="*/ 34 h 73"/>
                <a:gd name="T8" fmla="*/ 34 w 81"/>
                <a:gd name="T9" fmla="*/ 17 h 73"/>
                <a:gd name="T10" fmla="*/ 17 w 81"/>
                <a:gd name="T11" fmla="*/ 0 h 73"/>
                <a:gd name="T12" fmla="*/ 0 w 81"/>
                <a:gd name="T13" fmla="*/ 17 h 73"/>
                <a:gd name="T14" fmla="*/ 12 w 81"/>
                <a:gd name="T15" fmla="*/ 33 h 73"/>
                <a:gd name="T16" fmla="*/ 12 w 81"/>
                <a:gd name="T17" fmla="*/ 60 h 73"/>
                <a:gd name="T18" fmla="*/ 47 w 81"/>
                <a:gd name="T19" fmla="*/ 60 h 73"/>
                <a:gd name="T20" fmla="*/ 64 w 81"/>
                <a:gd name="T21" fmla="*/ 73 h 73"/>
                <a:gd name="T22" fmla="*/ 81 w 81"/>
                <a:gd name="T23" fmla="*/ 56 h 73"/>
                <a:gd name="T24" fmla="*/ 64 w 81"/>
                <a:gd name="T25" fmla="*/ 39 h 73"/>
                <a:gd name="T26" fmla="*/ 8 w 81"/>
                <a:gd name="T27" fmla="*/ 17 h 73"/>
                <a:gd name="T28" fmla="*/ 17 w 81"/>
                <a:gd name="T29" fmla="*/ 8 h 73"/>
                <a:gd name="T30" fmla="*/ 26 w 81"/>
                <a:gd name="T31" fmla="*/ 17 h 73"/>
                <a:gd name="T32" fmla="*/ 17 w 81"/>
                <a:gd name="T33" fmla="*/ 26 h 73"/>
                <a:gd name="T34" fmla="*/ 8 w 81"/>
                <a:gd name="T35" fmla="*/ 17 h 73"/>
                <a:gd name="T36" fmla="*/ 64 w 81"/>
                <a:gd name="T37" fmla="*/ 65 h 73"/>
                <a:gd name="T38" fmla="*/ 55 w 81"/>
                <a:gd name="T39" fmla="*/ 56 h 73"/>
                <a:gd name="T40" fmla="*/ 55 w 81"/>
                <a:gd name="T41" fmla="*/ 56 h 73"/>
                <a:gd name="T42" fmla="*/ 64 w 81"/>
                <a:gd name="T43" fmla="*/ 47 h 73"/>
                <a:gd name="T44" fmla="*/ 73 w 81"/>
                <a:gd name="T45" fmla="*/ 56 h 73"/>
                <a:gd name="T46" fmla="*/ 64 w 81"/>
                <a:gd name="T47" fmla="*/ 6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73">
                  <a:moveTo>
                    <a:pt x="64" y="39"/>
                  </a:moveTo>
                  <a:cubicBezTo>
                    <a:pt x="56" y="39"/>
                    <a:pt x="49" y="45"/>
                    <a:pt x="47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8" y="32"/>
                    <a:pt x="34" y="25"/>
                    <a:pt x="34" y="17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5"/>
                    <a:pt x="5" y="31"/>
                    <a:pt x="12" y="33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9" y="68"/>
                    <a:pt x="55" y="73"/>
                    <a:pt x="64" y="73"/>
                  </a:cubicBezTo>
                  <a:cubicBezTo>
                    <a:pt x="73" y="73"/>
                    <a:pt x="81" y="66"/>
                    <a:pt x="81" y="56"/>
                  </a:cubicBezTo>
                  <a:cubicBezTo>
                    <a:pt x="81" y="47"/>
                    <a:pt x="73" y="39"/>
                    <a:pt x="64" y="39"/>
                  </a:cubicBezTo>
                  <a:close/>
                  <a:moveTo>
                    <a:pt x="8" y="17"/>
                  </a:moveTo>
                  <a:cubicBezTo>
                    <a:pt x="8" y="12"/>
                    <a:pt x="12" y="8"/>
                    <a:pt x="17" y="8"/>
                  </a:cubicBezTo>
                  <a:cubicBezTo>
                    <a:pt x="22" y="8"/>
                    <a:pt x="26" y="12"/>
                    <a:pt x="26" y="17"/>
                  </a:cubicBezTo>
                  <a:cubicBezTo>
                    <a:pt x="26" y="22"/>
                    <a:pt x="22" y="26"/>
                    <a:pt x="17" y="26"/>
                  </a:cubicBezTo>
                  <a:cubicBezTo>
                    <a:pt x="12" y="26"/>
                    <a:pt x="8" y="22"/>
                    <a:pt x="8" y="17"/>
                  </a:cubicBezTo>
                  <a:close/>
                  <a:moveTo>
                    <a:pt x="64" y="65"/>
                  </a:moveTo>
                  <a:cubicBezTo>
                    <a:pt x="59" y="65"/>
                    <a:pt x="55" y="61"/>
                    <a:pt x="55" y="56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1"/>
                    <a:pt x="59" y="47"/>
                    <a:pt x="64" y="47"/>
                  </a:cubicBezTo>
                  <a:cubicBezTo>
                    <a:pt x="69" y="47"/>
                    <a:pt x="73" y="51"/>
                    <a:pt x="73" y="56"/>
                  </a:cubicBezTo>
                  <a:cubicBezTo>
                    <a:pt x="73" y="61"/>
                    <a:pt x="69" y="65"/>
                    <a:pt x="64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31" name="Freeform 274"/>
            <p:cNvSpPr>
              <a:spLocks noEditPoints="1"/>
            </p:cNvSpPr>
            <p:nvPr/>
          </p:nvSpPr>
          <p:spPr bwMode="auto">
            <a:xfrm>
              <a:off x="-649288" y="10045700"/>
              <a:ext cx="138113" cy="331788"/>
            </a:xfrm>
            <a:custGeom>
              <a:avLst/>
              <a:gdLst>
                <a:gd name="T0" fmla="*/ 49 w 62"/>
                <a:gd name="T1" fmla="*/ 116 h 150"/>
                <a:gd name="T2" fmla="*/ 49 w 62"/>
                <a:gd name="T3" fmla="*/ 68 h 150"/>
                <a:gd name="T4" fmla="*/ 21 w 62"/>
                <a:gd name="T5" fmla="*/ 68 h 150"/>
                <a:gd name="T6" fmla="*/ 21 w 62"/>
                <a:gd name="T7" fmla="*/ 34 h 150"/>
                <a:gd name="T8" fmla="*/ 34 w 62"/>
                <a:gd name="T9" fmla="*/ 17 h 150"/>
                <a:gd name="T10" fmla="*/ 17 w 62"/>
                <a:gd name="T11" fmla="*/ 0 h 150"/>
                <a:gd name="T12" fmla="*/ 0 w 62"/>
                <a:gd name="T13" fmla="*/ 17 h 150"/>
                <a:gd name="T14" fmla="*/ 13 w 62"/>
                <a:gd name="T15" fmla="*/ 34 h 150"/>
                <a:gd name="T16" fmla="*/ 13 w 62"/>
                <a:gd name="T17" fmla="*/ 76 h 150"/>
                <a:gd name="T18" fmla="*/ 41 w 62"/>
                <a:gd name="T19" fmla="*/ 76 h 150"/>
                <a:gd name="T20" fmla="*/ 41 w 62"/>
                <a:gd name="T21" fmla="*/ 116 h 150"/>
                <a:gd name="T22" fmla="*/ 28 w 62"/>
                <a:gd name="T23" fmla="*/ 133 h 150"/>
                <a:gd name="T24" fmla="*/ 45 w 62"/>
                <a:gd name="T25" fmla="*/ 150 h 150"/>
                <a:gd name="T26" fmla="*/ 62 w 62"/>
                <a:gd name="T27" fmla="*/ 133 h 150"/>
                <a:gd name="T28" fmla="*/ 49 w 62"/>
                <a:gd name="T29" fmla="*/ 116 h 150"/>
                <a:gd name="T30" fmla="*/ 8 w 62"/>
                <a:gd name="T31" fmla="*/ 17 h 150"/>
                <a:gd name="T32" fmla="*/ 17 w 62"/>
                <a:gd name="T33" fmla="*/ 8 h 150"/>
                <a:gd name="T34" fmla="*/ 26 w 62"/>
                <a:gd name="T35" fmla="*/ 17 h 150"/>
                <a:gd name="T36" fmla="*/ 17 w 62"/>
                <a:gd name="T37" fmla="*/ 26 h 150"/>
                <a:gd name="T38" fmla="*/ 8 w 62"/>
                <a:gd name="T39" fmla="*/ 17 h 150"/>
                <a:gd name="T40" fmla="*/ 45 w 62"/>
                <a:gd name="T41" fmla="*/ 142 h 150"/>
                <a:gd name="T42" fmla="*/ 36 w 62"/>
                <a:gd name="T43" fmla="*/ 133 h 150"/>
                <a:gd name="T44" fmla="*/ 45 w 62"/>
                <a:gd name="T45" fmla="*/ 124 h 150"/>
                <a:gd name="T46" fmla="*/ 54 w 62"/>
                <a:gd name="T47" fmla="*/ 133 h 150"/>
                <a:gd name="T48" fmla="*/ 45 w 62"/>
                <a:gd name="T49" fmla="*/ 14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2" h="150">
                  <a:moveTo>
                    <a:pt x="49" y="116"/>
                  </a:moveTo>
                  <a:cubicBezTo>
                    <a:pt x="49" y="68"/>
                    <a:pt x="49" y="68"/>
                    <a:pt x="49" y="68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8" y="32"/>
                    <a:pt x="34" y="25"/>
                    <a:pt x="34" y="17"/>
                  </a:cubicBezTo>
                  <a:cubicBezTo>
                    <a:pt x="34" y="8"/>
                    <a:pt x="26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5"/>
                    <a:pt x="5" y="32"/>
                    <a:pt x="13" y="34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41" y="76"/>
                    <a:pt x="41" y="76"/>
                    <a:pt x="41" y="76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33" y="118"/>
                    <a:pt x="28" y="125"/>
                    <a:pt x="28" y="133"/>
                  </a:cubicBezTo>
                  <a:cubicBezTo>
                    <a:pt x="28" y="142"/>
                    <a:pt x="35" y="150"/>
                    <a:pt x="45" y="150"/>
                  </a:cubicBezTo>
                  <a:cubicBezTo>
                    <a:pt x="54" y="150"/>
                    <a:pt x="62" y="142"/>
                    <a:pt x="62" y="133"/>
                  </a:cubicBezTo>
                  <a:cubicBezTo>
                    <a:pt x="62" y="125"/>
                    <a:pt x="56" y="118"/>
                    <a:pt x="49" y="116"/>
                  </a:cubicBezTo>
                  <a:close/>
                  <a:moveTo>
                    <a:pt x="8" y="17"/>
                  </a:moveTo>
                  <a:cubicBezTo>
                    <a:pt x="8" y="12"/>
                    <a:pt x="12" y="8"/>
                    <a:pt x="17" y="8"/>
                  </a:cubicBezTo>
                  <a:cubicBezTo>
                    <a:pt x="22" y="8"/>
                    <a:pt x="26" y="12"/>
                    <a:pt x="26" y="17"/>
                  </a:cubicBezTo>
                  <a:cubicBezTo>
                    <a:pt x="26" y="22"/>
                    <a:pt x="22" y="26"/>
                    <a:pt x="17" y="26"/>
                  </a:cubicBezTo>
                  <a:cubicBezTo>
                    <a:pt x="12" y="26"/>
                    <a:pt x="8" y="22"/>
                    <a:pt x="8" y="17"/>
                  </a:cubicBezTo>
                  <a:close/>
                  <a:moveTo>
                    <a:pt x="45" y="142"/>
                  </a:moveTo>
                  <a:cubicBezTo>
                    <a:pt x="40" y="142"/>
                    <a:pt x="36" y="138"/>
                    <a:pt x="36" y="133"/>
                  </a:cubicBezTo>
                  <a:cubicBezTo>
                    <a:pt x="36" y="128"/>
                    <a:pt x="40" y="124"/>
                    <a:pt x="45" y="124"/>
                  </a:cubicBezTo>
                  <a:cubicBezTo>
                    <a:pt x="50" y="124"/>
                    <a:pt x="54" y="128"/>
                    <a:pt x="54" y="133"/>
                  </a:cubicBezTo>
                  <a:cubicBezTo>
                    <a:pt x="54" y="138"/>
                    <a:pt x="50" y="142"/>
                    <a:pt x="45" y="1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32" name="Freeform 275"/>
            <p:cNvSpPr>
              <a:spLocks noEditPoints="1"/>
            </p:cNvSpPr>
            <p:nvPr/>
          </p:nvSpPr>
          <p:spPr bwMode="auto">
            <a:xfrm>
              <a:off x="-855663" y="10082213"/>
              <a:ext cx="217488" cy="257175"/>
            </a:xfrm>
            <a:custGeom>
              <a:avLst/>
              <a:gdLst>
                <a:gd name="T0" fmla="*/ 85 w 98"/>
                <a:gd name="T1" fmla="*/ 83 h 116"/>
                <a:gd name="T2" fmla="*/ 85 w 98"/>
                <a:gd name="T3" fmla="*/ 13 h 116"/>
                <a:gd name="T4" fmla="*/ 34 w 98"/>
                <a:gd name="T5" fmla="*/ 13 h 116"/>
                <a:gd name="T6" fmla="*/ 17 w 98"/>
                <a:gd name="T7" fmla="*/ 0 h 116"/>
                <a:gd name="T8" fmla="*/ 0 w 98"/>
                <a:gd name="T9" fmla="*/ 17 h 116"/>
                <a:gd name="T10" fmla="*/ 17 w 98"/>
                <a:gd name="T11" fmla="*/ 34 h 116"/>
                <a:gd name="T12" fmla="*/ 34 w 98"/>
                <a:gd name="T13" fmla="*/ 21 h 116"/>
                <a:gd name="T14" fmla="*/ 77 w 98"/>
                <a:gd name="T15" fmla="*/ 21 h 116"/>
                <a:gd name="T16" fmla="*/ 77 w 98"/>
                <a:gd name="T17" fmla="*/ 82 h 116"/>
                <a:gd name="T18" fmla="*/ 64 w 98"/>
                <a:gd name="T19" fmla="*/ 99 h 116"/>
                <a:gd name="T20" fmla="*/ 81 w 98"/>
                <a:gd name="T21" fmla="*/ 116 h 116"/>
                <a:gd name="T22" fmla="*/ 98 w 98"/>
                <a:gd name="T23" fmla="*/ 99 h 116"/>
                <a:gd name="T24" fmla="*/ 85 w 98"/>
                <a:gd name="T25" fmla="*/ 83 h 116"/>
                <a:gd name="T26" fmla="*/ 17 w 98"/>
                <a:gd name="T27" fmla="*/ 26 h 116"/>
                <a:gd name="T28" fmla="*/ 8 w 98"/>
                <a:gd name="T29" fmla="*/ 17 h 116"/>
                <a:gd name="T30" fmla="*/ 17 w 98"/>
                <a:gd name="T31" fmla="*/ 8 h 116"/>
                <a:gd name="T32" fmla="*/ 26 w 98"/>
                <a:gd name="T33" fmla="*/ 17 h 116"/>
                <a:gd name="T34" fmla="*/ 17 w 98"/>
                <a:gd name="T35" fmla="*/ 26 h 116"/>
                <a:gd name="T36" fmla="*/ 81 w 98"/>
                <a:gd name="T37" fmla="*/ 108 h 116"/>
                <a:gd name="T38" fmla="*/ 72 w 98"/>
                <a:gd name="T39" fmla="*/ 99 h 116"/>
                <a:gd name="T40" fmla="*/ 81 w 98"/>
                <a:gd name="T41" fmla="*/ 90 h 116"/>
                <a:gd name="T42" fmla="*/ 81 w 98"/>
                <a:gd name="T43" fmla="*/ 90 h 116"/>
                <a:gd name="T44" fmla="*/ 90 w 98"/>
                <a:gd name="T45" fmla="*/ 99 h 116"/>
                <a:gd name="T46" fmla="*/ 81 w 98"/>
                <a:gd name="T47" fmla="*/ 10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8" h="116">
                  <a:moveTo>
                    <a:pt x="85" y="83"/>
                  </a:moveTo>
                  <a:cubicBezTo>
                    <a:pt x="85" y="13"/>
                    <a:pt x="85" y="13"/>
                    <a:pt x="85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2" y="6"/>
                    <a:pt x="25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27"/>
                    <a:pt x="8" y="34"/>
                    <a:pt x="17" y="34"/>
                  </a:cubicBezTo>
                  <a:cubicBezTo>
                    <a:pt x="26" y="34"/>
                    <a:pt x="32" y="29"/>
                    <a:pt x="34" y="21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0" y="84"/>
                    <a:pt x="64" y="91"/>
                    <a:pt x="64" y="99"/>
                  </a:cubicBezTo>
                  <a:cubicBezTo>
                    <a:pt x="64" y="109"/>
                    <a:pt x="72" y="116"/>
                    <a:pt x="81" y="116"/>
                  </a:cubicBezTo>
                  <a:cubicBezTo>
                    <a:pt x="90" y="116"/>
                    <a:pt x="98" y="109"/>
                    <a:pt x="98" y="99"/>
                  </a:cubicBezTo>
                  <a:cubicBezTo>
                    <a:pt x="98" y="91"/>
                    <a:pt x="93" y="85"/>
                    <a:pt x="85" y="83"/>
                  </a:cubicBezTo>
                  <a:close/>
                  <a:moveTo>
                    <a:pt x="17" y="26"/>
                  </a:moveTo>
                  <a:cubicBezTo>
                    <a:pt x="12" y="26"/>
                    <a:pt x="8" y="22"/>
                    <a:pt x="8" y="17"/>
                  </a:cubicBezTo>
                  <a:cubicBezTo>
                    <a:pt x="8" y="12"/>
                    <a:pt x="12" y="8"/>
                    <a:pt x="17" y="8"/>
                  </a:cubicBezTo>
                  <a:cubicBezTo>
                    <a:pt x="22" y="8"/>
                    <a:pt x="26" y="12"/>
                    <a:pt x="26" y="17"/>
                  </a:cubicBezTo>
                  <a:cubicBezTo>
                    <a:pt x="26" y="22"/>
                    <a:pt x="22" y="26"/>
                    <a:pt x="17" y="26"/>
                  </a:cubicBezTo>
                  <a:close/>
                  <a:moveTo>
                    <a:pt x="81" y="108"/>
                  </a:moveTo>
                  <a:cubicBezTo>
                    <a:pt x="76" y="108"/>
                    <a:pt x="72" y="104"/>
                    <a:pt x="72" y="99"/>
                  </a:cubicBezTo>
                  <a:cubicBezTo>
                    <a:pt x="72" y="94"/>
                    <a:pt x="76" y="90"/>
                    <a:pt x="81" y="90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6" y="90"/>
                    <a:pt x="90" y="94"/>
                    <a:pt x="90" y="99"/>
                  </a:cubicBezTo>
                  <a:cubicBezTo>
                    <a:pt x="90" y="104"/>
                    <a:pt x="86" y="108"/>
                    <a:pt x="81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</p:grpSp>
    </p:spTree>
    <p:extLst>
      <p:ext uri="{BB962C8B-B14F-4D97-AF65-F5344CB8AC3E}">
        <p14:creationId xmlns:p14="http://schemas.microsoft.com/office/powerpoint/2010/main" val="3945162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8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92" name="think-cell Folie" r:id="rId8" imgW="180" imgH="180" progId="TCLayout.ActiveDocument.1">
                  <p:embed/>
                </p:oleObj>
              </mc:Choice>
              <mc:Fallback>
                <p:oleObj name="think-cell Folie" r:id="rId8" imgW="180" imgH="18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5844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AT" sz="2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bg-BG" dirty="0" smtClean="0">
                <a:solidFill>
                  <a:srgbClr val="DA291C"/>
                </a:solidFill>
              </a:rPr>
              <a:t>Предизвикателствата пред А1 и 5</a:t>
            </a:r>
            <a:r>
              <a:rPr lang="en-US" dirty="0" smtClean="0">
                <a:solidFill>
                  <a:srgbClr val="DA291C"/>
                </a:solidFill>
              </a:rPr>
              <a:t>G</a:t>
            </a:r>
            <a:endParaRPr lang="de-AT" dirty="0">
              <a:solidFill>
                <a:srgbClr val="DA291C"/>
              </a:solidFill>
            </a:endParaRPr>
          </a:p>
        </p:txBody>
      </p:sp>
      <p:sp>
        <p:nvSpPr>
          <p:cNvPr id="13" name="Freeform 5"/>
          <p:cNvSpPr>
            <a:spLocks/>
          </p:cNvSpPr>
          <p:nvPr/>
        </p:nvSpPr>
        <p:spPr bwMode="auto">
          <a:xfrm>
            <a:off x="431795" y="1192855"/>
            <a:ext cx="1252764" cy="777072"/>
          </a:xfrm>
          <a:custGeom>
            <a:avLst/>
            <a:gdLst>
              <a:gd name="T0" fmla="*/ 0 w 1563"/>
              <a:gd name="T1" fmla="*/ 0 h 1040"/>
              <a:gd name="T2" fmla="*/ 0 w 1563"/>
              <a:gd name="T3" fmla="*/ 1040 h 1040"/>
              <a:gd name="T4" fmla="*/ 1563 w 1563"/>
              <a:gd name="T5" fmla="*/ 858 h 1040"/>
              <a:gd name="T6" fmla="*/ 1563 w 1563"/>
              <a:gd name="T7" fmla="*/ 181 h 1040"/>
              <a:gd name="T8" fmla="*/ 0 w 1563"/>
              <a:gd name="T9" fmla="*/ 0 h 1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3" h="1040">
                <a:moveTo>
                  <a:pt x="0" y="0"/>
                </a:moveTo>
                <a:lnTo>
                  <a:pt x="0" y="1040"/>
                </a:lnTo>
                <a:lnTo>
                  <a:pt x="1563" y="858"/>
                </a:lnTo>
                <a:lnTo>
                  <a:pt x="1563" y="181"/>
                </a:lnTo>
                <a:lnTo>
                  <a:pt x="0" y="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>
              <a:solidFill>
                <a:schemeClr val="bg1"/>
              </a:solidFill>
              <a:latin typeface="A1 Einfach Fett" pitchFamily="2" charset="0"/>
            </a:endParaRPr>
          </a:p>
        </p:txBody>
      </p:sp>
      <p:sp>
        <p:nvSpPr>
          <p:cNvPr id="17" name="Freeform 5"/>
          <p:cNvSpPr>
            <a:spLocks/>
          </p:cNvSpPr>
          <p:nvPr/>
        </p:nvSpPr>
        <p:spPr bwMode="auto">
          <a:xfrm>
            <a:off x="431795" y="3260739"/>
            <a:ext cx="1252764" cy="777072"/>
          </a:xfrm>
          <a:custGeom>
            <a:avLst/>
            <a:gdLst>
              <a:gd name="T0" fmla="*/ 0 w 1563"/>
              <a:gd name="T1" fmla="*/ 0 h 1040"/>
              <a:gd name="T2" fmla="*/ 0 w 1563"/>
              <a:gd name="T3" fmla="*/ 1040 h 1040"/>
              <a:gd name="T4" fmla="*/ 1563 w 1563"/>
              <a:gd name="T5" fmla="*/ 858 h 1040"/>
              <a:gd name="T6" fmla="*/ 1563 w 1563"/>
              <a:gd name="T7" fmla="*/ 181 h 1040"/>
              <a:gd name="T8" fmla="*/ 0 w 1563"/>
              <a:gd name="T9" fmla="*/ 0 h 1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3" h="1040">
                <a:moveTo>
                  <a:pt x="0" y="0"/>
                </a:moveTo>
                <a:lnTo>
                  <a:pt x="0" y="1040"/>
                </a:lnTo>
                <a:lnTo>
                  <a:pt x="1563" y="858"/>
                </a:lnTo>
                <a:lnTo>
                  <a:pt x="1563" y="181"/>
                </a:lnTo>
                <a:lnTo>
                  <a:pt x="0" y="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>
              <a:solidFill>
                <a:schemeClr val="bg1"/>
              </a:solidFill>
              <a:latin typeface="A1 Einfach Fett" pitchFamily="2" charset="0"/>
            </a:endParaRPr>
          </a:p>
        </p:txBody>
      </p:sp>
      <p:grpSp>
        <p:nvGrpSpPr>
          <p:cNvPr id="19" name="Group 646"/>
          <p:cNvGrpSpPr/>
          <p:nvPr/>
        </p:nvGrpSpPr>
        <p:grpSpPr>
          <a:xfrm>
            <a:off x="801024" y="1363774"/>
            <a:ext cx="401638" cy="404813"/>
            <a:chOff x="12598400" y="5467350"/>
            <a:chExt cx="401638" cy="404813"/>
          </a:xfrm>
        </p:grpSpPr>
        <p:sp>
          <p:nvSpPr>
            <p:cNvPr id="20" name="Rectangle 219"/>
            <p:cNvSpPr>
              <a:spLocks noChangeArrowheads="1"/>
            </p:cNvSpPr>
            <p:nvPr/>
          </p:nvSpPr>
          <p:spPr bwMode="auto">
            <a:xfrm>
              <a:off x="12920663" y="5607050"/>
              <a:ext cx="79375" cy="265113"/>
            </a:xfrm>
            <a:prstGeom prst="rect">
              <a:avLst/>
            </a:prstGeom>
            <a:ln>
              <a:noFill/>
            </a:ln>
            <a:extLst/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21" name="Rectangle 220"/>
            <p:cNvSpPr>
              <a:spLocks noChangeArrowheads="1"/>
            </p:cNvSpPr>
            <p:nvPr/>
          </p:nvSpPr>
          <p:spPr bwMode="auto">
            <a:xfrm>
              <a:off x="12812713" y="5670550"/>
              <a:ext cx="79375" cy="201613"/>
            </a:xfrm>
            <a:prstGeom prst="rect">
              <a:avLst/>
            </a:prstGeom>
            <a:ln>
              <a:noFill/>
            </a:ln>
            <a:extLst/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22" name="Rectangle 221"/>
            <p:cNvSpPr>
              <a:spLocks noChangeArrowheads="1"/>
            </p:cNvSpPr>
            <p:nvPr/>
          </p:nvSpPr>
          <p:spPr bwMode="auto">
            <a:xfrm>
              <a:off x="12706350" y="5716588"/>
              <a:ext cx="79375" cy="155575"/>
            </a:xfrm>
            <a:prstGeom prst="rect">
              <a:avLst/>
            </a:prstGeom>
            <a:ln>
              <a:noFill/>
            </a:ln>
            <a:extLst/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23" name="Rectangle 222"/>
            <p:cNvSpPr>
              <a:spLocks noChangeArrowheads="1"/>
            </p:cNvSpPr>
            <p:nvPr/>
          </p:nvSpPr>
          <p:spPr bwMode="auto">
            <a:xfrm>
              <a:off x="12598400" y="5751513"/>
              <a:ext cx="79375" cy="120650"/>
            </a:xfrm>
            <a:prstGeom prst="rect">
              <a:avLst/>
            </a:prstGeom>
            <a:ln>
              <a:noFill/>
            </a:ln>
            <a:extLst/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24" name="Freeform 223"/>
            <p:cNvSpPr>
              <a:spLocks/>
            </p:cNvSpPr>
            <p:nvPr/>
          </p:nvSpPr>
          <p:spPr bwMode="auto">
            <a:xfrm>
              <a:off x="12677775" y="5467350"/>
              <a:ext cx="242888" cy="166688"/>
            </a:xfrm>
            <a:custGeom>
              <a:avLst/>
              <a:gdLst>
                <a:gd name="T0" fmla="*/ 129 w 153"/>
                <a:gd name="T1" fmla="*/ 31 h 105"/>
                <a:gd name="T2" fmla="*/ 54 w 153"/>
                <a:gd name="T3" fmla="*/ 105 h 105"/>
                <a:gd name="T4" fmla="*/ 0 w 153"/>
                <a:gd name="T5" fmla="*/ 105 h 105"/>
                <a:gd name="T6" fmla="*/ 0 w 153"/>
                <a:gd name="T7" fmla="*/ 93 h 105"/>
                <a:gd name="T8" fmla="*/ 49 w 153"/>
                <a:gd name="T9" fmla="*/ 93 h 105"/>
                <a:gd name="T10" fmla="*/ 121 w 153"/>
                <a:gd name="T11" fmla="*/ 21 h 105"/>
                <a:gd name="T12" fmla="*/ 100 w 153"/>
                <a:gd name="T13" fmla="*/ 0 h 105"/>
                <a:gd name="T14" fmla="*/ 153 w 153"/>
                <a:gd name="T15" fmla="*/ 0 h 105"/>
                <a:gd name="T16" fmla="*/ 153 w 153"/>
                <a:gd name="T17" fmla="*/ 54 h 105"/>
                <a:gd name="T18" fmla="*/ 129 w 153"/>
                <a:gd name="T19" fmla="*/ 3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105">
                  <a:moveTo>
                    <a:pt x="129" y="31"/>
                  </a:moveTo>
                  <a:lnTo>
                    <a:pt x="54" y="105"/>
                  </a:lnTo>
                  <a:lnTo>
                    <a:pt x="0" y="105"/>
                  </a:lnTo>
                  <a:lnTo>
                    <a:pt x="0" y="93"/>
                  </a:lnTo>
                  <a:lnTo>
                    <a:pt x="49" y="93"/>
                  </a:lnTo>
                  <a:lnTo>
                    <a:pt x="121" y="21"/>
                  </a:lnTo>
                  <a:lnTo>
                    <a:pt x="100" y="0"/>
                  </a:lnTo>
                  <a:lnTo>
                    <a:pt x="153" y="0"/>
                  </a:lnTo>
                  <a:lnTo>
                    <a:pt x="153" y="54"/>
                  </a:lnTo>
                  <a:lnTo>
                    <a:pt x="129" y="31"/>
                  </a:lnTo>
                  <a:close/>
                </a:path>
              </a:pathLst>
            </a:custGeom>
            <a:ln>
              <a:noFill/>
            </a:ln>
            <a:extLst/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</p:grpSp>
      <p:sp>
        <p:nvSpPr>
          <p:cNvPr id="25" name="Textfeld 1"/>
          <p:cNvSpPr txBox="1"/>
          <p:nvPr/>
        </p:nvSpPr>
        <p:spPr>
          <a:xfrm>
            <a:off x="1862937" y="1449074"/>
            <a:ext cx="4519679" cy="270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bg-BG" sz="1600" dirty="0" smtClean="0">
                <a:cs typeface="Verdana"/>
              </a:rPr>
              <a:t>Придобиване на 5</a:t>
            </a:r>
            <a:r>
              <a:rPr lang="en-US" sz="1600" dirty="0" smtClean="0">
                <a:cs typeface="Verdana"/>
              </a:rPr>
              <a:t>G </a:t>
            </a:r>
            <a:r>
              <a:rPr lang="bg-BG" sz="1600" dirty="0" smtClean="0">
                <a:cs typeface="Verdana"/>
              </a:rPr>
              <a:t>честоти</a:t>
            </a:r>
            <a:endParaRPr lang="de-AT" sz="1600" dirty="0" smtClean="0">
              <a:cs typeface="Verdana"/>
            </a:endParaRPr>
          </a:p>
        </p:txBody>
      </p:sp>
      <p:sp>
        <p:nvSpPr>
          <p:cNvPr id="14" name="Freeform 152"/>
          <p:cNvSpPr>
            <a:spLocks noEditPoints="1"/>
          </p:cNvSpPr>
          <p:nvPr/>
        </p:nvSpPr>
        <p:spPr bwMode="auto">
          <a:xfrm>
            <a:off x="862327" y="3402368"/>
            <a:ext cx="312783" cy="501854"/>
          </a:xfrm>
          <a:custGeom>
            <a:avLst/>
            <a:gdLst>
              <a:gd name="T0" fmla="*/ 0 w 96"/>
              <a:gd name="T1" fmla="*/ 0 h 154"/>
              <a:gd name="T2" fmla="*/ 0 w 96"/>
              <a:gd name="T3" fmla="*/ 89 h 154"/>
              <a:gd name="T4" fmla="*/ 7 w 96"/>
              <a:gd name="T5" fmla="*/ 154 h 154"/>
              <a:gd name="T6" fmla="*/ 89 w 96"/>
              <a:gd name="T7" fmla="*/ 154 h 154"/>
              <a:gd name="T8" fmla="*/ 96 w 96"/>
              <a:gd name="T9" fmla="*/ 89 h 154"/>
              <a:gd name="T10" fmla="*/ 96 w 96"/>
              <a:gd name="T11" fmla="*/ 0 h 154"/>
              <a:gd name="T12" fmla="*/ 0 w 96"/>
              <a:gd name="T13" fmla="*/ 0 h 154"/>
              <a:gd name="T14" fmla="*/ 48 w 96"/>
              <a:gd name="T15" fmla="*/ 144 h 154"/>
              <a:gd name="T16" fmla="*/ 40 w 96"/>
              <a:gd name="T17" fmla="*/ 136 h 154"/>
              <a:gd name="T18" fmla="*/ 48 w 96"/>
              <a:gd name="T19" fmla="*/ 128 h 154"/>
              <a:gd name="T20" fmla="*/ 56 w 96"/>
              <a:gd name="T21" fmla="*/ 136 h 154"/>
              <a:gd name="T22" fmla="*/ 48 w 96"/>
              <a:gd name="T23" fmla="*/ 144 h 154"/>
              <a:gd name="T24" fmla="*/ 82 w 96"/>
              <a:gd name="T25" fmla="*/ 120 h 154"/>
              <a:gd name="T26" fmla="*/ 14 w 96"/>
              <a:gd name="T27" fmla="*/ 120 h 154"/>
              <a:gd name="T28" fmla="*/ 14 w 96"/>
              <a:gd name="T29" fmla="*/ 14 h 154"/>
              <a:gd name="T30" fmla="*/ 82 w 96"/>
              <a:gd name="T31" fmla="*/ 14 h 154"/>
              <a:gd name="T32" fmla="*/ 82 w 96"/>
              <a:gd name="T33" fmla="*/ 12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6" h="154">
                <a:moveTo>
                  <a:pt x="0" y="0"/>
                </a:moveTo>
                <a:cubicBezTo>
                  <a:pt x="0" y="89"/>
                  <a:pt x="0" y="89"/>
                  <a:pt x="0" y="89"/>
                </a:cubicBezTo>
                <a:cubicBezTo>
                  <a:pt x="7" y="154"/>
                  <a:pt x="7" y="154"/>
                  <a:pt x="7" y="154"/>
                </a:cubicBezTo>
                <a:cubicBezTo>
                  <a:pt x="89" y="154"/>
                  <a:pt x="89" y="154"/>
                  <a:pt x="89" y="154"/>
                </a:cubicBezTo>
                <a:cubicBezTo>
                  <a:pt x="96" y="89"/>
                  <a:pt x="96" y="89"/>
                  <a:pt x="96" y="89"/>
                </a:cubicBezTo>
                <a:cubicBezTo>
                  <a:pt x="96" y="0"/>
                  <a:pt x="96" y="0"/>
                  <a:pt x="96" y="0"/>
                </a:cubicBezTo>
                <a:lnTo>
                  <a:pt x="0" y="0"/>
                </a:lnTo>
                <a:close/>
                <a:moveTo>
                  <a:pt x="48" y="144"/>
                </a:moveTo>
                <a:cubicBezTo>
                  <a:pt x="43" y="144"/>
                  <a:pt x="40" y="140"/>
                  <a:pt x="40" y="136"/>
                </a:cubicBezTo>
                <a:cubicBezTo>
                  <a:pt x="40" y="131"/>
                  <a:pt x="43" y="128"/>
                  <a:pt x="48" y="128"/>
                </a:cubicBezTo>
                <a:cubicBezTo>
                  <a:pt x="53" y="128"/>
                  <a:pt x="56" y="131"/>
                  <a:pt x="56" y="136"/>
                </a:cubicBezTo>
                <a:cubicBezTo>
                  <a:pt x="56" y="140"/>
                  <a:pt x="53" y="144"/>
                  <a:pt x="48" y="144"/>
                </a:cubicBezTo>
                <a:close/>
                <a:moveTo>
                  <a:pt x="82" y="120"/>
                </a:moveTo>
                <a:cubicBezTo>
                  <a:pt x="14" y="120"/>
                  <a:pt x="14" y="120"/>
                  <a:pt x="14" y="120"/>
                </a:cubicBezTo>
                <a:cubicBezTo>
                  <a:pt x="14" y="14"/>
                  <a:pt x="14" y="14"/>
                  <a:pt x="14" y="14"/>
                </a:cubicBezTo>
                <a:cubicBezTo>
                  <a:pt x="82" y="14"/>
                  <a:pt x="82" y="14"/>
                  <a:pt x="82" y="14"/>
                </a:cubicBezTo>
                <a:lnTo>
                  <a:pt x="82" y="120"/>
                </a:lnTo>
                <a:close/>
              </a:path>
            </a:pathLst>
          </a:custGeom>
          <a:ln>
            <a:noFill/>
          </a:ln>
          <a:extLst/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sp>
        <p:nvSpPr>
          <p:cNvPr id="26" name="Textfeld 1"/>
          <p:cNvSpPr txBox="1"/>
          <p:nvPr/>
        </p:nvSpPr>
        <p:spPr>
          <a:xfrm>
            <a:off x="1862937" y="3362535"/>
            <a:ext cx="4519680" cy="5416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bg-BG" sz="1600" dirty="0" smtClean="0">
                <a:cs typeface="Verdana"/>
              </a:rPr>
              <a:t>Масово навлизане на крайни </a:t>
            </a:r>
            <a:r>
              <a:rPr lang="en-US" sz="1600" dirty="0">
                <a:cs typeface="Verdana"/>
              </a:rPr>
              <a:t>5G </a:t>
            </a:r>
            <a:r>
              <a:rPr lang="bg-BG" sz="1600" dirty="0" smtClean="0">
                <a:cs typeface="Verdana"/>
              </a:rPr>
              <a:t>устройства</a:t>
            </a:r>
            <a:endParaRPr lang="de-AT" sz="1600" dirty="0" smtClean="0">
              <a:cs typeface="Verdana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431795" y="2228666"/>
            <a:ext cx="1252764" cy="777072"/>
          </a:xfrm>
          <a:custGeom>
            <a:avLst/>
            <a:gdLst>
              <a:gd name="T0" fmla="*/ 0 w 1563"/>
              <a:gd name="T1" fmla="*/ 0 h 1040"/>
              <a:gd name="T2" fmla="*/ 0 w 1563"/>
              <a:gd name="T3" fmla="*/ 1040 h 1040"/>
              <a:gd name="T4" fmla="*/ 1563 w 1563"/>
              <a:gd name="T5" fmla="*/ 858 h 1040"/>
              <a:gd name="T6" fmla="*/ 1563 w 1563"/>
              <a:gd name="T7" fmla="*/ 181 h 1040"/>
              <a:gd name="T8" fmla="*/ 0 w 1563"/>
              <a:gd name="T9" fmla="*/ 0 h 1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3" h="1040">
                <a:moveTo>
                  <a:pt x="0" y="0"/>
                </a:moveTo>
                <a:lnTo>
                  <a:pt x="0" y="1040"/>
                </a:lnTo>
                <a:lnTo>
                  <a:pt x="1563" y="858"/>
                </a:lnTo>
                <a:lnTo>
                  <a:pt x="1563" y="181"/>
                </a:lnTo>
                <a:lnTo>
                  <a:pt x="0" y="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>
              <a:solidFill>
                <a:schemeClr val="bg1"/>
              </a:solidFill>
              <a:latin typeface="A1 Einfach Fett" pitchFamily="2" charset="0"/>
            </a:endParaRPr>
          </a:p>
        </p:txBody>
      </p:sp>
      <p:sp>
        <p:nvSpPr>
          <p:cNvPr id="27" name="Textfeld 1"/>
          <p:cNvSpPr txBox="1"/>
          <p:nvPr/>
        </p:nvSpPr>
        <p:spPr>
          <a:xfrm>
            <a:off x="1862937" y="2357906"/>
            <a:ext cx="4519681" cy="516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ru-RU" sz="1600" dirty="0" smtClean="0">
                <a:cs typeface="Verdana"/>
              </a:rPr>
              <a:t>Улеснен </a:t>
            </a:r>
            <a:r>
              <a:rPr lang="ru-RU" sz="1600" dirty="0">
                <a:cs typeface="Verdana"/>
              </a:rPr>
              <a:t>разрешителен режим за изграждане на мрежата</a:t>
            </a:r>
            <a:endParaRPr lang="de-AT" sz="1600" dirty="0" smtClean="0">
              <a:cs typeface="Verdana"/>
            </a:endParaRPr>
          </a:p>
        </p:txBody>
      </p:sp>
      <p:grpSp>
        <p:nvGrpSpPr>
          <p:cNvPr id="30" name="Group 641"/>
          <p:cNvGrpSpPr/>
          <p:nvPr/>
        </p:nvGrpSpPr>
        <p:grpSpPr>
          <a:xfrm>
            <a:off x="703176" y="2392005"/>
            <a:ext cx="624322" cy="494156"/>
            <a:chOff x="12593638" y="-3425825"/>
            <a:chExt cx="411162" cy="325438"/>
          </a:xfrm>
          <a:solidFill>
            <a:schemeClr val="accent2"/>
          </a:solidFill>
        </p:grpSpPr>
        <p:sp>
          <p:nvSpPr>
            <p:cNvPr id="31" name="Freeform 204"/>
            <p:cNvSpPr>
              <a:spLocks/>
            </p:cNvSpPr>
            <p:nvPr/>
          </p:nvSpPr>
          <p:spPr bwMode="auto">
            <a:xfrm>
              <a:off x="12649200" y="-3278188"/>
              <a:ext cx="74613" cy="69850"/>
            </a:xfrm>
            <a:custGeom>
              <a:avLst/>
              <a:gdLst>
                <a:gd name="T0" fmla="*/ 12 w 47"/>
                <a:gd name="T1" fmla="*/ 44 h 44"/>
                <a:gd name="T2" fmla="*/ 15 w 47"/>
                <a:gd name="T3" fmla="*/ 41 h 44"/>
                <a:gd name="T4" fmla="*/ 47 w 47"/>
                <a:gd name="T5" fmla="*/ 17 h 44"/>
                <a:gd name="T6" fmla="*/ 29 w 47"/>
                <a:gd name="T7" fmla="*/ 0 h 44"/>
                <a:gd name="T8" fmla="*/ 0 w 47"/>
                <a:gd name="T9" fmla="*/ 23 h 44"/>
                <a:gd name="T10" fmla="*/ 0 w 47"/>
                <a:gd name="T11" fmla="*/ 39 h 44"/>
                <a:gd name="T12" fmla="*/ 12 w 47"/>
                <a:gd name="T13" fmla="*/ 44 h 44"/>
                <a:gd name="T14" fmla="*/ 12 w 47"/>
                <a:gd name="T1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4">
                  <a:moveTo>
                    <a:pt x="12" y="44"/>
                  </a:moveTo>
                  <a:lnTo>
                    <a:pt x="15" y="41"/>
                  </a:lnTo>
                  <a:lnTo>
                    <a:pt x="47" y="17"/>
                  </a:lnTo>
                  <a:lnTo>
                    <a:pt x="29" y="0"/>
                  </a:lnTo>
                  <a:lnTo>
                    <a:pt x="0" y="23"/>
                  </a:lnTo>
                  <a:lnTo>
                    <a:pt x="0" y="39"/>
                  </a:lnTo>
                  <a:lnTo>
                    <a:pt x="12" y="44"/>
                  </a:lnTo>
                  <a:lnTo>
                    <a:pt x="12" y="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32" name="Freeform 205"/>
            <p:cNvSpPr>
              <a:spLocks/>
            </p:cNvSpPr>
            <p:nvPr/>
          </p:nvSpPr>
          <p:spPr bwMode="auto">
            <a:xfrm>
              <a:off x="12677775" y="-3251200"/>
              <a:ext cx="85725" cy="79375"/>
            </a:xfrm>
            <a:custGeom>
              <a:avLst/>
              <a:gdLst>
                <a:gd name="T0" fmla="*/ 15 w 54"/>
                <a:gd name="T1" fmla="*/ 50 h 50"/>
                <a:gd name="T2" fmla="*/ 15 w 54"/>
                <a:gd name="T3" fmla="*/ 46 h 50"/>
                <a:gd name="T4" fmla="*/ 18 w 54"/>
                <a:gd name="T5" fmla="*/ 45 h 50"/>
                <a:gd name="T6" fmla="*/ 53 w 54"/>
                <a:gd name="T7" fmla="*/ 20 h 50"/>
                <a:gd name="T8" fmla="*/ 54 w 54"/>
                <a:gd name="T9" fmla="*/ 18 h 50"/>
                <a:gd name="T10" fmla="*/ 39 w 54"/>
                <a:gd name="T11" fmla="*/ 0 h 50"/>
                <a:gd name="T12" fmla="*/ 0 w 54"/>
                <a:gd name="T13" fmla="*/ 29 h 50"/>
                <a:gd name="T14" fmla="*/ 1 w 54"/>
                <a:gd name="T15" fmla="*/ 45 h 50"/>
                <a:gd name="T16" fmla="*/ 15 w 54"/>
                <a:gd name="T17" fmla="*/ 50 h 50"/>
                <a:gd name="T18" fmla="*/ 15 w 54"/>
                <a:gd name="T1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0">
                  <a:moveTo>
                    <a:pt x="15" y="50"/>
                  </a:moveTo>
                  <a:lnTo>
                    <a:pt x="15" y="46"/>
                  </a:lnTo>
                  <a:lnTo>
                    <a:pt x="18" y="45"/>
                  </a:lnTo>
                  <a:lnTo>
                    <a:pt x="53" y="20"/>
                  </a:lnTo>
                  <a:lnTo>
                    <a:pt x="54" y="18"/>
                  </a:lnTo>
                  <a:lnTo>
                    <a:pt x="39" y="0"/>
                  </a:lnTo>
                  <a:lnTo>
                    <a:pt x="0" y="29"/>
                  </a:lnTo>
                  <a:lnTo>
                    <a:pt x="1" y="45"/>
                  </a:lnTo>
                  <a:lnTo>
                    <a:pt x="15" y="50"/>
                  </a:lnTo>
                  <a:lnTo>
                    <a:pt x="15" y="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33" name="Freeform 206"/>
            <p:cNvSpPr>
              <a:spLocks/>
            </p:cNvSpPr>
            <p:nvPr/>
          </p:nvSpPr>
          <p:spPr bwMode="auto">
            <a:xfrm>
              <a:off x="12736513" y="-3163888"/>
              <a:ext cx="53975" cy="63500"/>
            </a:xfrm>
            <a:custGeom>
              <a:avLst/>
              <a:gdLst>
                <a:gd name="T0" fmla="*/ 0 w 34"/>
                <a:gd name="T1" fmla="*/ 18 h 40"/>
                <a:gd name="T2" fmla="*/ 3 w 34"/>
                <a:gd name="T3" fmla="*/ 33 h 40"/>
                <a:gd name="T4" fmla="*/ 17 w 34"/>
                <a:gd name="T5" fmla="*/ 40 h 40"/>
                <a:gd name="T6" fmla="*/ 34 w 34"/>
                <a:gd name="T7" fmla="*/ 25 h 40"/>
                <a:gd name="T8" fmla="*/ 25 w 34"/>
                <a:gd name="T9" fmla="*/ 0 h 40"/>
                <a:gd name="T10" fmla="*/ 0 w 34"/>
                <a:gd name="T11" fmla="*/ 1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40">
                  <a:moveTo>
                    <a:pt x="0" y="18"/>
                  </a:moveTo>
                  <a:lnTo>
                    <a:pt x="3" y="33"/>
                  </a:lnTo>
                  <a:lnTo>
                    <a:pt x="17" y="40"/>
                  </a:lnTo>
                  <a:lnTo>
                    <a:pt x="34" y="25"/>
                  </a:lnTo>
                  <a:lnTo>
                    <a:pt x="25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34" name="Freeform 207"/>
            <p:cNvSpPr>
              <a:spLocks/>
            </p:cNvSpPr>
            <p:nvPr/>
          </p:nvSpPr>
          <p:spPr bwMode="auto">
            <a:xfrm>
              <a:off x="12711113" y="-3213100"/>
              <a:ext cx="69850" cy="73025"/>
            </a:xfrm>
            <a:custGeom>
              <a:avLst/>
              <a:gdLst>
                <a:gd name="T0" fmla="*/ 14 w 44"/>
                <a:gd name="T1" fmla="*/ 45 h 46"/>
                <a:gd name="T2" fmla="*/ 39 w 44"/>
                <a:gd name="T3" fmla="*/ 26 h 46"/>
                <a:gd name="T4" fmla="*/ 44 w 44"/>
                <a:gd name="T5" fmla="*/ 22 h 46"/>
                <a:gd name="T6" fmla="*/ 35 w 44"/>
                <a:gd name="T7" fmla="*/ 0 h 46"/>
                <a:gd name="T8" fmla="*/ 0 w 44"/>
                <a:gd name="T9" fmla="*/ 25 h 46"/>
                <a:gd name="T10" fmla="*/ 1 w 44"/>
                <a:gd name="T11" fmla="*/ 42 h 46"/>
                <a:gd name="T12" fmla="*/ 11 w 44"/>
                <a:gd name="T13" fmla="*/ 46 h 46"/>
                <a:gd name="T14" fmla="*/ 14 w 44"/>
                <a:gd name="T15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46">
                  <a:moveTo>
                    <a:pt x="14" y="45"/>
                  </a:moveTo>
                  <a:lnTo>
                    <a:pt x="39" y="26"/>
                  </a:lnTo>
                  <a:lnTo>
                    <a:pt x="44" y="22"/>
                  </a:lnTo>
                  <a:lnTo>
                    <a:pt x="35" y="0"/>
                  </a:lnTo>
                  <a:lnTo>
                    <a:pt x="0" y="25"/>
                  </a:lnTo>
                  <a:lnTo>
                    <a:pt x="1" y="42"/>
                  </a:lnTo>
                  <a:lnTo>
                    <a:pt x="11" y="46"/>
                  </a:lnTo>
                  <a:lnTo>
                    <a:pt x="14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35" name="Freeform 208"/>
            <p:cNvSpPr>
              <a:spLocks/>
            </p:cNvSpPr>
            <p:nvPr/>
          </p:nvSpPr>
          <p:spPr bwMode="auto">
            <a:xfrm>
              <a:off x="12593638" y="-3425825"/>
              <a:ext cx="336550" cy="325438"/>
            </a:xfrm>
            <a:custGeom>
              <a:avLst/>
              <a:gdLst>
                <a:gd name="T0" fmla="*/ 208 w 212"/>
                <a:gd name="T1" fmla="*/ 135 h 205"/>
                <a:gd name="T2" fmla="*/ 164 w 212"/>
                <a:gd name="T3" fmla="*/ 70 h 205"/>
                <a:gd name="T4" fmla="*/ 138 w 212"/>
                <a:gd name="T5" fmla="*/ 56 h 205"/>
                <a:gd name="T6" fmla="*/ 129 w 212"/>
                <a:gd name="T7" fmla="*/ 53 h 205"/>
                <a:gd name="T8" fmla="*/ 95 w 212"/>
                <a:gd name="T9" fmla="*/ 75 h 205"/>
                <a:gd name="T10" fmla="*/ 89 w 212"/>
                <a:gd name="T11" fmla="*/ 79 h 205"/>
                <a:gd name="T12" fmla="*/ 86 w 212"/>
                <a:gd name="T13" fmla="*/ 72 h 205"/>
                <a:gd name="T14" fmla="*/ 78 w 212"/>
                <a:gd name="T15" fmla="*/ 50 h 205"/>
                <a:gd name="T16" fmla="*/ 76 w 212"/>
                <a:gd name="T17" fmla="*/ 46 h 205"/>
                <a:gd name="T18" fmla="*/ 79 w 212"/>
                <a:gd name="T19" fmla="*/ 43 h 205"/>
                <a:gd name="T20" fmla="*/ 95 w 212"/>
                <a:gd name="T21" fmla="*/ 33 h 205"/>
                <a:gd name="T22" fmla="*/ 93 w 212"/>
                <a:gd name="T23" fmla="*/ 32 h 205"/>
                <a:gd name="T24" fmla="*/ 56 w 212"/>
                <a:gd name="T25" fmla="*/ 0 h 205"/>
                <a:gd name="T26" fmla="*/ 0 w 212"/>
                <a:gd name="T27" fmla="*/ 65 h 205"/>
                <a:gd name="T28" fmla="*/ 43 w 212"/>
                <a:gd name="T29" fmla="*/ 102 h 205"/>
                <a:gd name="T30" fmla="*/ 60 w 212"/>
                <a:gd name="T31" fmla="*/ 89 h 205"/>
                <a:gd name="T32" fmla="*/ 64 w 212"/>
                <a:gd name="T33" fmla="*/ 86 h 205"/>
                <a:gd name="T34" fmla="*/ 67 w 212"/>
                <a:gd name="T35" fmla="*/ 89 h 205"/>
                <a:gd name="T36" fmla="*/ 88 w 212"/>
                <a:gd name="T37" fmla="*/ 106 h 205"/>
                <a:gd name="T38" fmla="*/ 89 w 212"/>
                <a:gd name="T39" fmla="*/ 104 h 205"/>
                <a:gd name="T40" fmla="*/ 93 w 212"/>
                <a:gd name="T41" fmla="*/ 102 h 205"/>
                <a:gd name="T42" fmla="*/ 96 w 212"/>
                <a:gd name="T43" fmla="*/ 106 h 205"/>
                <a:gd name="T44" fmla="*/ 114 w 212"/>
                <a:gd name="T45" fmla="*/ 128 h 205"/>
                <a:gd name="T46" fmla="*/ 117 w 212"/>
                <a:gd name="T47" fmla="*/ 132 h 205"/>
                <a:gd name="T48" fmla="*/ 114 w 212"/>
                <a:gd name="T49" fmla="*/ 134 h 205"/>
                <a:gd name="T50" fmla="*/ 125 w 212"/>
                <a:gd name="T51" fmla="*/ 159 h 205"/>
                <a:gd name="T52" fmla="*/ 127 w 212"/>
                <a:gd name="T53" fmla="*/ 162 h 205"/>
                <a:gd name="T54" fmla="*/ 122 w 212"/>
                <a:gd name="T55" fmla="*/ 165 h 205"/>
                <a:gd name="T56" fmla="*/ 121 w 212"/>
                <a:gd name="T57" fmla="*/ 166 h 205"/>
                <a:gd name="T58" fmla="*/ 128 w 212"/>
                <a:gd name="T59" fmla="*/ 188 h 205"/>
                <a:gd name="T60" fmla="*/ 129 w 212"/>
                <a:gd name="T61" fmla="*/ 192 h 205"/>
                <a:gd name="T62" fmla="*/ 127 w 212"/>
                <a:gd name="T63" fmla="*/ 194 h 205"/>
                <a:gd name="T64" fmla="*/ 117 w 212"/>
                <a:gd name="T65" fmla="*/ 204 h 205"/>
                <a:gd name="T66" fmla="*/ 132 w 212"/>
                <a:gd name="T67" fmla="*/ 205 h 205"/>
                <a:gd name="T68" fmla="*/ 139 w 212"/>
                <a:gd name="T69" fmla="*/ 188 h 205"/>
                <a:gd name="T70" fmla="*/ 157 w 212"/>
                <a:gd name="T71" fmla="*/ 190 h 205"/>
                <a:gd name="T72" fmla="*/ 163 w 212"/>
                <a:gd name="T73" fmla="*/ 173 h 205"/>
                <a:gd name="T74" fmla="*/ 181 w 212"/>
                <a:gd name="T75" fmla="*/ 174 h 205"/>
                <a:gd name="T76" fmla="*/ 188 w 212"/>
                <a:gd name="T77" fmla="*/ 158 h 205"/>
                <a:gd name="T78" fmla="*/ 206 w 212"/>
                <a:gd name="T79" fmla="*/ 159 h 205"/>
                <a:gd name="T80" fmla="*/ 212 w 212"/>
                <a:gd name="T81" fmla="*/ 142 h 205"/>
                <a:gd name="T82" fmla="*/ 208 w 212"/>
                <a:gd name="T83" fmla="*/ 13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2" h="205">
                  <a:moveTo>
                    <a:pt x="208" y="135"/>
                  </a:moveTo>
                  <a:lnTo>
                    <a:pt x="164" y="70"/>
                  </a:lnTo>
                  <a:lnTo>
                    <a:pt x="138" y="56"/>
                  </a:lnTo>
                  <a:lnTo>
                    <a:pt x="129" y="53"/>
                  </a:lnTo>
                  <a:lnTo>
                    <a:pt x="95" y="75"/>
                  </a:lnTo>
                  <a:lnTo>
                    <a:pt x="89" y="79"/>
                  </a:lnTo>
                  <a:lnTo>
                    <a:pt x="86" y="72"/>
                  </a:lnTo>
                  <a:lnTo>
                    <a:pt x="78" y="50"/>
                  </a:lnTo>
                  <a:lnTo>
                    <a:pt x="76" y="46"/>
                  </a:lnTo>
                  <a:lnTo>
                    <a:pt x="79" y="43"/>
                  </a:lnTo>
                  <a:lnTo>
                    <a:pt x="95" y="33"/>
                  </a:lnTo>
                  <a:lnTo>
                    <a:pt x="93" y="32"/>
                  </a:lnTo>
                  <a:lnTo>
                    <a:pt x="56" y="0"/>
                  </a:lnTo>
                  <a:lnTo>
                    <a:pt x="0" y="65"/>
                  </a:lnTo>
                  <a:lnTo>
                    <a:pt x="43" y="102"/>
                  </a:lnTo>
                  <a:lnTo>
                    <a:pt x="60" y="89"/>
                  </a:lnTo>
                  <a:lnTo>
                    <a:pt x="64" y="86"/>
                  </a:lnTo>
                  <a:lnTo>
                    <a:pt x="67" y="89"/>
                  </a:lnTo>
                  <a:lnTo>
                    <a:pt x="88" y="106"/>
                  </a:lnTo>
                  <a:lnTo>
                    <a:pt x="89" y="104"/>
                  </a:lnTo>
                  <a:lnTo>
                    <a:pt x="93" y="102"/>
                  </a:lnTo>
                  <a:lnTo>
                    <a:pt x="96" y="106"/>
                  </a:lnTo>
                  <a:lnTo>
                    <a:pt x="114" y="128"/>
                  </a:lnTo>
                  <a:lnTo>
                    <a:pt x="117" y="132"/>
                  </a:lnTo>
                  <a:lnTo>
                    <a:pt x="114" y="134"/>
                  </a:lnTo>
                  <a:lnTo>
                    <a:pt x="125" y="159"/>
                  </a:lnTo>
                  <a:lnTo>
                    <a:pt x="127" y="162"/>
                  </a:lnTo>
                  <a:lnTo>
                    <a:pt x="122" y="165"/>
                  </a:lnTo>
                  <a:lnTo>
                    <a:pt x="121" y="166"/>
                  </a:lnTo>
                  <a:lnTo>
                    <a:pt x="128" y="188"/>
                  </a:lnTo>
                  <a:lnTo>
                    <a:pt x="129" y="192"/>
                  </a:lnTo>
                  <a:lnTo>
                    <a:pt x="127" y="194"/>
                  </a:lnTo>
                  <a:lnTo>
                    <a:pt x="117" y="204"/>
                  </a:lnTo>
                  <a:lnTo>
                    <a:pt x="132" y="205"/>
                  </a:lnTo>
                  <a:lnTo>
                    <a:pt x="139" y="188"/>
                  </a:lnTo>
                  <a:lnTo>
                    <a:pt x="157" y="190"/>
                  </a:lnTo>
                  <a:lnTo>
                    <a:pt x="163" y="173"/>
                  </a:lnTo>
                  <a:lnTo>
                    <a:pt x="181" y="174"/>
                  </a:lnTo>
                  <a:lnTo>
                    <a:pt x="188" y="158"/>
                  </a:lnTo>
                  <a:lnTo>
                    <a:pt x="206" y="159"/>
                  </a:lnTo>
                  <a:lnTo>
                    <a:pt x="212" y="142"/>
                  </a:lnTo>
                  <a:lnTo>
                    <a:pt x="208" y="1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36" name="Freeform 209"/>
            <p:cNvSpPr>
              <a:spLocks/>
            </p:cNvSpPr>
            <p:nvPr/>
          </p:nvSpPr>
          <p:spPr bwMode="auto">
            <a:xfrm>
              <a:off x="12725400" y="-3421063"/>
              <a:ext cx="279400" cy="204788"/>
            </a:xfrm>
            <a:custGeom>
              <a:avLst/>
              <a:gdLst>
                <a:gd name="T0" fmla="*/ 0 w 176"/>
                <a:gd name="T1" fmla="*/ 44 h 129"/>
                <a:gd name="T2" fmla="*/ 69 w 176"/>
                <a:gd name="T3" fmla="*/ 0 h 129"/>
                <a:gd name="T4" fmla="*/ 106 w 176"/>
                <a:gd name="T5" fmla="*/ 25 h 129"/>
                <a:gd name="T6" fmla="*/ 133 w 176"/>
                <a:gd name="T7" fmla="*/ 8 h 129"/>
                <a:gd name="T8" fmla="*/ 138 w 176"/>
                <a:gd name="T9" fmla="*/ 16 h 129"/>
                <a:gd name="T10" fmla="*/ 176 w 176"/>
                <a:gd name="T11" fmla="*/ 72 h 129"/>
                <a:gd name="T12" fmla="*/ 148 w 176"/>
                <a:gd name="T13" fmla="*/ 99 h 129"/>
                <a:gd name="T14" fmla="*/ 130 w 176"/>
                <a:gd name="T15" fmla="*/ 129 h 129"/>
                <a:gd name="T16" fmla="*/ 85 w 176"/>
                <a:gd name="T17" fmla="*/ 62 h 129"/>
                <a:gd name="T18" fmla="*/ 58 w 176"/>
                <a:gd name="T19" fmla="*/ 48 h 129"/>
                <a:gd name="T20" fmla="*/ 46 w 176"/>
                <a:gd name="T21" fmla="*/ 43 h 129"/>
                <a:gd name="T22" fmla="*/ 9 w 176"/>
                <a:gd name="T23" fmla="*/ 68 h 129"/>
                <a:gd name="T24" fmla="*/ 0 w 176"/>
                <a:gd name="T25" fmla="*/ 4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6" h="129">
                  <a:moveTo>
                    <a:pt x="0" y="44"/>
                  </a:moveTo>
                  <a:lnTo>
                    <a:pt x="69" y="0"/>
                  </a:lnTo>
                  <a:lnTo>
                    <a:pt x="106" y="25"/>
                  </a:lnTo>
                  <a:lnTo>
                    <a:pt x="133" y="8"/>
                  </a:lnTo>
                  <a:lnTo>
                    <a:pt x="138" y="16"/>
                  </a:lnTo>
                  <a:lnTo>
                    <a:pt x="176" y="72"/>
                  </a:lnTo>
                  <a:lnTo>
                    <a:pt x="148" y="99"/>
                  </a:lnTo>
                  <a:lnTo>
                    <a:pt x="130" y="129"/>
                  </a:lnTo>
                  <a:lnTo>
                    <a:pt x="85" y="62"/>
                  </a:lnTo>
                  <a:lnTo>
                    <a:pt x="58" y="48"/>
                  </a:lnTo>
                  <a:lnTo>
                    <a:pt x="46" y="43"/>
                  </a:lnTo>
                  <a:lnTo>
                    <a:pt x="9" y="68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</p:grpSp>
      <p:sp>
        <p:nvSpPr>
          <p:cNvPr id="28" name="Freeform 5"/>
          <p:cNvSpPr>
            <a:spLocks/>
          </p:cNvSpPr>
          <p:nvPr/>
        </p:nvSpPr>
        <p:spPr bwMode="auto">
          <a:xfrm>
            <a:off x="431797" y="4292812"/>
            <a:ext cx="1252764" cy="777072"/>
          </a:xfrm>
          <a:custGeom>
            <a:avLst/>
            <a:gdLst>
              <a:gd name="T0" fmla="*/ 0 w 1563"/>
              <a:gd name="T1" fmla="*/ 0 h 1040"/>
              <a:gd name="T2" fmla="*/ 0 w 1563"/>
              <a:gd name="T3" fmla="*/ 1040 h 1040"/>
              <a:gd name="T4" fmla="*/ 1563 w 1563"/>
              <a:gd name="T5" fmla="*/ 858 h 1040"/>
              <a:gd name="T6" fmla="*/ 1563 w 1563"/>
              <a:gd name="T7" fmla="*/ 181 h 1040"/>
              <a:gd name="T8" fmla="*/ 0 w 1563"/>
              <a:gd name="T9" fmla="*/ 0 h 1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63" h="1040">
                <a:moveTo>
                  <a:pt x="0" y="0"/>
                </a:moveTo>
                <a:lnTo>
                  <a:pt x="0" y="1040"/>
                </a:lnTo>
                <a:lnTo>
                  <a:pt x="1563" y="858"/>
                </a:lnTo>
                <a:lnTo>
                  <a:pt x="1563" y="181"/>
                </a:lnTo>
                <a:lnTo>
                  <a:pt x="0" y="0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>
              <a:solidFill>
                <a:schemeClr val="bg1"/>
              </a:solidFill>
              <a:latin typeface="A1 Einfach Fett" pitchFamily="2" charset="0"/>
            </a:endParaRPr>
          </a:p>
        </p:txBody>
      </p:sp>
      <p:sp>
        <p:nvSpPr>
          <p:cNvPr id="29" name="Textfeld 1"/>
          <p:cNvSpPr txBox="1"/>
          <p:nvPr/>
        </p:nvSpPr>
        <p:spPr>
          <a:xfrm>
            <a:off x="1862939" y="4394608"/>
            <a:ext cx="4519680" cy="516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bg-BG" sz="1600" dirty="0" smtClean="0">
                <a:cs typeface="Verdana"/>
              </a:rPr>
              <a:t>Информационна кампания за широката общественост</a:t>
            </a:r>
            <a:endParaRPr lang="de-AT" sz="1600" dirty="0" smtClean="0">
              <a:cs typeface="Verdana"/>
            </a:endParaRPr>
          </a:p>
        </p:txBody>
      </p:sp>
      <p:grpSp>
        <p:nvGrpSpPr>
          <p:cNvPr id="37" name="Group 611"/>
          <p:cNvGrpSpPr/>
          <p:nvPr/>
        </p:nvGrpSpPr>
        <p:grpSpPr>
          <a:xfrm>
            <a:off x="830932" y="4448517"/>
            <a:ext cx="404391" cy="503292"/>
            <a:chOff x="6702425" y="-473075"/>
            <a:chExt cx="292100" cy="363538"/>
          </a:xfrm>
          <a:solidFill>
            <a:schemeClr val="bg1"/>
          </a:solidFill>
        </p:grpSpPr>
        <p:sp>
          <p:nvSpPr>
            <p:cNvPr id="38" name="Freeform 107"/>
            <p:cNvSpPr>
              <a:spLocks/>
            </p:cNvSpPr>
            <p:nvPr/>
          </p:nvSpPr>
          <p:spPr bwMode="auto">
            <a:xfrm>
              <a:off x="6756400" y="-419100"/>
              <a:ext cx="238125" cy="309563"/>
            </a:xfrm>
            <a:custGeom>
              <a:avLst/>
              <a:gdLst>
                <a:gd name="T0" fmla="*/ 139 w 150"/>
                <a:gd name="T1" fmla="*/ 119 h 195"/>
                <a:gd name="T2" fmla="*/ 132 w 150"/>
                <a:gd name="T3" fmla="*/ 184 h 195"/>
                <a:gd name="T4" fmla="*/ 0 w 150"/>
                <a:gd name="T5" fmla="*/ 184 h 195"/>
                <a:gd name="T6" fmla="*/ 0 w 150"/>
                <a:gd name="T7" fmla="*/ 195 h 195"/>
                <a:gd name="T8" fmla="*/ 143 w 150"/>
                <a:gd name="T9" fmla="*/ 195 h 195"/>
                <a:gd name="T10" fmla="*/ 150 w 150"/>
                <a:gd name="T11" fmla="*/ 119 h 195"/>
                <a:gd name="T12" fmla="*/ 150 w 150"/>
                <a:gd name="T13" fmla="*/ 0 h 195"/>
                <a:gd name="T14" fmla="*/ 139 w 150"/>
                <a:gd name="T15" fmla="*/ 0 h 195"/>
                <a:gd name="T16" fmla="*/ 139 w 150"/>
                <a:gd name="T17" fmla="*/ 11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0" h="195">
                  <a:moveTo>
                    <a:pt x="139" y="119"/>
                  </a:moveTo>
                  <a:lnTo>
                    <a:pt x="132" y="184"/>
                  </a:lnTo>
                  <a:lnTo>
                    <a:pt x="0" y="184"/>
                  </a:lnTo>
                  <a:lnTo>
                    <a:pt x="0" y="195"/>
                  </a:lnTo>
                  <a:lnTo>
                    <a:pt x="143" y="195"/>
                  </a:lnTo>
                  <a:lnTo>
                    <a:pt x="150" y="119"/>
                  </a:lnTo>
                  <a:lnTo>
                    <a:pt x="150" y="0"/>
                  </a:lnTo>
                  <a:lnTo>
                    <a:pt x="139" y="0"/>
                  </a:lnTo>
                  <a:lnTo>
                    <a:pt x="139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39" name="Freeform 108"/>
            <p:cNvSpPr>
              <a:spLocks/>
            </p:cNvSpPr>
            <p:nvPr/>
          </p:nvSpPr>
          <p:spPr bwMode="auto">
            <a:xfrm>
              <a:off x="6729413" y="-446088"/>
              <a:ext cx="238125" cy="311150"/>
            </a:xfrm>
            <a:custGeom>
              <a:avLst/>
              <a:gdLst>
                <a:gd name="T0" fmla="*/ 139 w 150"/>
                <a:gd name="T1" fmla="*/ 0 h 196"/>
                <a:gd name="T2" fmla="*/ 139 w 150"/>
                <a:gd name="T3" fmla="*/ 124 h 196"/>
                <a:gd name="T4" fmla="*/ 132 w 150"/>
                <a:gd name="T5" fmla="*/ 186 h 196"/>
                <a:gd name="T6" fmla="*/ 0 w 150"/>
                <a:gd name="T7" fmla="*/ 186 h 196"/>
                <a:gd name="T8" fmla="*/ 0 w 150"/>
                <a:gd name="T9" fmla="*/ 196 h 196"/>
                <a:gd name="T10" fmla="*/ 143 w 150"/>
                <a:gd name="T11" fmla="*/ 196 h 196"/>
                <a:gd name="T12" fmla="*/ 150 w 150"/>
                <a:gd name="T13" fmla="*/ 124 h 196"/>
                <a:gd name="T14" fmla="*/ 150 w 150"/>
                <a:gd name="T15" fmla="*/ 0 h 196"/>
                <a:gd name="T16" fmla="*/ 139 w 150"/>
                <a:gd name="T17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0" h="196">
                  <a:moveTo>
                    <a:pt x="139" y="0"/>
                  </a:moveTo>
                  <a:lnTo>
                    <a:pt x="139" y="124"/>
                  </a:lnTo>
                  <a:lnTo>
                    <a:pt x="132" y="186"/>
                  </a:lnTo>
                  <a:lnTo>
                    <a:pt x="0" y="186"/>
                  </a:lnTo>
                  <a:lnTo>
                    <a:pt x="0" y="196"/>
                  </a:lnTo>
                  <a:lnTo>
                    <a:pt x="143" y="196"/>
                  </a:lnTo>
                  <a:lnTo>
                    <a:pt x="150" y="124"/>
                  </a:lnTo>
                  <a:lnTo>
                    <a:pt x="150" y="0"/>
                  </a:lnTo>
                  <a:lnTo>
                    <a:pt x="1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  <p:sp>
          <p:nvSpPr>
            <p:cNvPr id="40" name="Freeform 109"/>
            <p:cNvSpPr>
              <a:spLocks noEditPoints="1"/>
            </p:cNvSpPr>
            <p:nvPr/>
          </p:nvSpPr>
          <p:spPr bwMode="auto">
            <a:xfrm>
              <a:off x="6702425" y="-473075"/>
              <a:ext cx="239713" cy="311150"/>
            </a:xfrm>
            <a:custGeom>
              <a:avLst/>
              <a:gdLst>
                <a:gd name="T0" fmla="*/ 0 w 151"/>
                <a:gd name="T1" fmla="*/ 0 h 196"/>
                <a:gd name="T2" fmla="*/ 0 w 151"/>
                <a:gd name="T3" fmla="*/ 129 h 196"/>
                <a:gd name="T4" fmla="*/ 7 w 151"/>
                <a:gd name="T5" fmla="*/ 196 h 196"/>
                <a:gd name="T6" fmla="*/ 144 w 151"/>
                <a:gd name="T7" fmla="*/ 196 h 196"/>
                <a:gd name="T8" fmla="*/ 151 w 151"/>
                <a:gd name="T9" fmla="*/ 129 h 196"/>
                <a:gd name="T10" fmla="*/ 151 w 151"/>
                <a:gd name="T11" fmla="*/ 0 h 196"/>
                <a:gd name="T12" fmla="*/ 0 w 151"/>
                <a:gd name="T13" fmla="*/ 0 h 196"/>
                <a:gd name="T14" fmla="*/ 66 w 151"/>
                <a:gd name="T15" fmla="*/ 44 h 196"/>
                <a:gd name="T16" fmla="*/ 87 w 151"/>
                <a:gd name="T17" fmla="*/ 44 h 196"/>
                <a:gd name="T18" fmla="*/ 87 w 151"/>
                <a:gd name="T19" fmla="*/ 65 h 196"/>
                <a:gd name="T20" fmla="*/ 66 w 151"/>
                <a:gd name="T21" fmla="*/ 65 h 196"/>
                <a:gd name="T22" fmla="*/ 66 w 151"/>
                <a:gd name="T23" fmla="*/ 44 h 196"/>
                <a:gd name="T24" fmla="*/ 96 w 151"/>
                <a:gd name="T25" fmla="*/ 151 h 196"/>
                <a:gd name="T26" fmla="*/ 55 w 151"/>
                <a:gd name="T27" fmla="*/ 151 h 196"/>
                <a:gd name="T28" fmla="*/ 55 w 151"/>
                <a:gd name="T29" fmla="*/ 134 h 196"/>
                <a:gd name="T30" fmla="*/ 66 w 151"/>
                <a:gd name="T31" fmla="*/ 134 h 196"/>
                <a:gd name="T32" fmla="*/ 66 w 151"/>
                <a:gd name="T33" fmla="*/ 93 h 196"/>
                <a:gd name="T34" fmla="*/ 56 w 151"/>
                <a:gd name="T35" fmla="*/ 93 h 196"/>
                <a:gd name="T36" fmla="*/ 56 w 151"/>
                <a:gd name="T37" fmla="*/ 76 h 196"/>
                <a:gd name="T38" fmla="*/ 87 w 151"/>
                <a:gd name="T39" fmla="*/ 76 h 196"/>
                <a:gd name="T40" fmla="*/ 87 w 151"/>
                <a:gd name="T41" fmla="*/ 134 h 196"/>
                <a:gd name="T42" fmla="*/ 96 w 151"/>
                <a:gd name="T43" fmla="*/ 134 h 196"/>
                <a:gd name="T44" fmla="*/ 96 w 151"/>
                <a:gd name="T45" fmla="*/ 151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1" h="196">
                  <a:moveTo>
                    <a:pt x="0" y="0"/>
                  </a:moveTo>
                  <a:lnTo>
                    <a:pt x="0" y="129"/>
                  </a:lnTo>
                  <a:lnTo>
                    <a:pt x="7" y="196"/>
                  </a:lnTo>
                  <a:lnTo>
                    <a:pt x="144" y="196"/>
                  </a:lnTo>
                  <a:lnTo>
                    <a:pt x="151" y="129"/>
                  </a:lnTo>
                  <a:lnTo>
                    <a:pt x="151" y="0"/>
                  </a:lnTo>
                  <a:lnTo>
                    <a:pt x="0" y="0"/>
                  </a:lnTo>
                  <a:close/>
                  <a:moveTo>
                    <a:pt x="66" y="44"/>
                  </a:moveTo>
                  <a:lnTo>
                    <a:pt x="87" y="44"/>
                  </a:lnTo>
                  <a:lnTo>
                    <a:pt x="87" y="65"/>
                  </a:lnTo>
                  <a:lnTo>
                    <a:pt x="66" y="65"/>
                  </a:lnTo>
                  <a:lnTo>
                    <a:pt x="66" y="44"/>
                  </a:lnTo>
                  <a:close/>
                  <a:moveTo>
                    <a:pt x="96" y="151"/>
                  </a:moveTo>
                  <a:lnTo>
                    <a:pt x="55" y="151"/>
                  </a:lnTo>
                  <a:lnTo>
                    <a:pt x="55" y="134"/>
                  </a:lnTo>
                  <a:lnTo>
                    <a:pt x="66" y="134"/>
                  </a:lnTo>
                  <a:lnTo>
                    <a:pt x="66" y="93"/>
                  </a:lnTo>
                  <a:lnTo>
                    <a:pt x="56" y="93"/>
                  </a:lnTo>
                  <a:lnTo>
                    <a:pt x="56" y="76"/>
                  </a:lnTo>
                  <a:lnTo>
                    <a:pt x="87" y="76"/>
                  </a:lnTo>
                  <a:lnTo>
                    <a:pt x="87" y="134"/>
                  </a:lnTo>
                  <a:lnTo>
                    <a:pt x="96" y="134"/>
                  </a:lnTo>
                  <a:lnTo>
                    <a:pt x="96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AT"/>
            </a:p>
          </p:txBody>
        </p:sp>
      </p:grpSp>
      <p:pic>
        <p:nvPicPr>
          <p:cNvPr id="2" name="A1_Spital_Cinemagraph_720x1080">
            <a:hlinkClick r:id="" action="ppaction://media"/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6421477" y="1052546"/>
            <a:ext cx="2715945" cy="4073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702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48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385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5" name="think-cell Folie" r:id="rId8" imgW="359" imgH="355" progId="TCLayout.ActiveDocument.1">
                  <p:embed/>
                </p:oleObj>
              </mc:Choice>
              <mc:Fallback>
                <p:oleObj name="think-cell Folie" r:id="rId8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AT" sz="2000" dirty="0">
              <a:latin typeface="Verdana" panose="020B0604030504040204" pitchFamily="34" charset="0"/>
              <a:ea typeface="+mj-ea"/>
              <a:sym typeface="Verdana" panose="020B0604030504040204" pitchFamily="34" charset="0"/>
            </a:endParaRPr>
          </a:p>
        </p:txBody>
      </p:sp>
      <p:pic>
        <p:nvPicPr>
          <p:cNvPr id="16" name="hero-slide-bg-vdo">
            <a:hlinkClick r:id="" action="ppaction://media"/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3176" y="-4444"/>
            <a:ext cx="9149109" cy="5224143"/>
          </a:xfrm>
          <a:prstGeom prst="rect">
            <a:avLst/>
          </a:prstGeom>
        </p:spPr>
      </p:pic>
      <p:sp>
        <p:nvSpPr>
          <p:cNvPr id="26" name="Titel 1"/>
          <p:cNvSpPr>
            <a:spLocks noGrp="1"/>
          </p:cNvSpPr>
          <p:nvPr>
            <p:ph type="title"/>
          </p:nvPr>
        </p:nvSpPr>
        <p:spPr>
          <a:xfrm>
            <a:off x="158750" y="4071301"/>
            <a:ext cx="8833946" cy="1072199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bg-BG" sz="3000" b="1" dirty="0">
                <a:solidFill>
                  <a:schemeClr val="bg1"/>
                </a:solidFill>
              </a:rPr>
              <a:t>Красимир Петров</a:t>
            </a:r>
            <a:br>
              <a:rPr lang="bg-BG" sz="3000" b="1" dirty="0">
                <a:solidFill>
                  <a:schemeClr val="bg1"/>
                </a:solidFill>
              </a:rPr>
            </a:br>
            <a:r>
              <a:rPr lang="bg-BG" sz="2200" i="1" dirty="0" smtClean="0">
                <a:solidFill>
                  <a:schemeClr val="bg1"/>
                </a:solidFill>
              </a:rPr>
              <a:t>Директор</a:t>
            </a:r>
            <a:r>
              <a:rPr lang="bg-BG" sz="2200" i="1" dirty="0">
                <a:solidFill>
                  <a:schemeClr val="bg1"/>
                </a:solidFill>
              </a:rPr>
              <a:t>, </a:t>
            </a:r>
            <a:r>
              <a:rPr lang="bg-BG" sz="2200" i="1" dirty="0" smtClean="0">
                <a:solidFill>
                  <a:schemeClr val="bg1"/>
                </a:solidFill>
              </a:rPr>
              <a:t>„</a:t>
            </a:r>
            <a:r>
              <a:rPr lang="bg-BG" sz="2200" i="1" dirty="0" err="1" smtClean="0">
                <a:solidFill>
                  <a:schemeClr val="bg1"/>
                </a:solidFill>
              </a:rPr>
              <a:t>Конвергентна</a:t>
            </a:r>
            <a:r>
              <a:rPr lang="bg-BG" sz="2200" i="1" dirty="0" smtClean="0">
                <a:solidFill>
                  <a:schemeClr val="bg1"/>
                </a:solidFill>
              </a:rPr>
              <a:t> </a:t>
            </a:r>
            <a:r>
              <a:rPr lang="bg-BG" sz="2200" i="1" dirty="0">
                <a:solidFill>
                  <a:schemeClr val="bg1"/>
                </a:solidFill>
              </a:rPr>
              <a:t>мрежа и </a:t>
            </a:r>
            <a:r>
              <a:rPr lang="bg-BG" sz="2200" i="1" dirty="0" smtClean="0">
                <a:solidFill>
                  <a:schemeClr val="bg1"/>
                </a:solidFill>
              </a:rPr>
              <a:t>услуги“</a:t>
            </a:r>
            <a:r>
              <a:rPr lang="en-US" sz="2200" i="1" dirty="0" smtClean="0">
                <a:solidFill>
                  <a:schemeClr val="bg1"/>
                </a:solidFill>
              </a:rPr>
              <a:t>, </a:t>
            </a:r>
            <a:r>
              <a:rPr lang="bg-BG" sz="2200" i="1" dirty="0" smtClean="0">
                <a:solidFill>
                  <a:schemeClr val="bg1"/>
                </a:solidFill>
              </a:rPr>
              <a:t>А1 България</a:t>
            </a:r>
            <a:r>
              <a:rPr lang="bg-BG" sz="2800" dirty="0">
                <a:solidFill>
                  <a:schemeClr val="bg1"/>
                </a:solidFill>
              </a:rPr>
              <a:t/>
            </a:r>
            <a:br>
              <a:rPr lang="bg-BG" sz="2800" dirty="0">
                <a:solidFill>
                  <a:schemeClr val="bg1"/>
                </a:solidFill>
              </a:rPr>
            </a:br>
            <a:endParaRPr lang="bg-BG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7874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9120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"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34124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sz="3000" b="1" dirty="0">
                <a:solidFill>
                  <a:schemeClr val="bg1"/>
                </a:solidFill>
                <a:latin typeface="+mn-lt"/>
              </a:rPr>
              <a:t>Интернет на нещата (</a:t>
            </a:r>
            <a:r>
              <a:rPr lang="es-MX" sz="3000" b="1" dirty="0" err="1">
                <a:solidFill>
                  <a:schemeClr val="bg1"/>
                </a:solidFill>
                <a:latin typeface="+mn-lt"/>
              </a:rPr>
              <a:t>IoT</a:t>
            </a:r>
            <a:r>
              <a:rPr lang="es-MX" sz="3000" b="1" dirty="0">
                <a:solidFill>
                  <a:schemeClr val="bg1"/>
                </a:solidFill>
                <a:latin typeface="+mn-lt"/>
              </a:rPr>
              <a:t>)</a:t>
            </a:r>
            <a:endParaRPr lang="bg-BG" sz="30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4758" y="0"/>
            <a:ext cx="1524740" cy="1524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356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480" name="Titel 1"/>
          <p:cNvSpPr txBox="1">
            <a:spLocks/>
          </p:cNvSpPr>
          <p:nvPr/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31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bg-BG" dirty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кво предлага </a:t>
            </a:r>
            <a:r>
              <a:rPr lang="en-US" dirty="0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B-</a:t>
            </a:r>
            <a:r>
              <a:rPr lang="en-US" dirty="0" err="1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oT</a:t>
            </a:r>
            <a:r>
              <a:rPr lang="en-US" dirty="0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bg-BG" dirty="0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 А1</a:t>
            </a:r>
            <a:endParaRPr lang="de-AT" dirty="0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15ABFEC4-B56C-4638-9416-96DFE6A0E64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16" t="12007" r="5837" b="12924"/>
          <a:stretch/>
        </p:blipFill>
        <p:spPr>
          <a:xfrm>
            <a:off x="895350" y="1582142"/>
            <a:ext cx="7353300" cy="3538498"/>
          </a:xfrm>
          <a:prstGeom prst="rect">
            <a:avLst/>
          </a:prstGeom>
        </p:spPr>
      </p:pic>
      <p:sp>
        <p:nvSpPr>
          <p:cNvPr id="9" name="Textfeld 1"/>
          <p:cNvSpPr txBox="1"/>
          <p:nvPr/>
        </p:nvSpPr>
        <p:spPr>
          <a:xfrm>
            <a:off x="554049" y="1028292"/>
            <a:ext cx="8589951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ru-RU" sz="1400" b="1" dirty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B-IoT (Narrowband IoT) </a:t>
            </a:r>
            <a:r>
              <a:rPr lang="ru-RU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технологичен стандарт, който свързва широка гама от устройства, машини и услуги с помощта на клетъчни </a:t>
            </a:r>
            <a:r>
              <a:rPr lang="ru-RU" sz="14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лекомуникационни </a:t>
            </a:r>
            <a:r>
              <a:rPr lang="ru-RU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хнологии</a:t>
            </a:r>
          </a:p>
        </p:txBody>
      </p:sp>
    </p:spTree>
    <p:extLst>
      <p:ext uri="{BB962C8B-B14F-4D97-AF65-F5344CB8AC3E}">
        <p14:creationId xmlns:p14="http://schemas.microsoft.com/office/powerpoint/2010/main" val="1470142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480" name="Titel 1"/>
          <p:cNvSpPr txBox="1">
            <a:spLocks/>
          </p:cNvSpPr>
          <p:nvPr/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31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B-</a:t>
            </a:r>
            <a:r>
              <a:rPr lang="en-US" dirty="0" err="1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oT</a:t>
            </a:r>
            <a:r>
              <a:rPr lang="en-US" dirty="0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  <a:r>
              <a:rPr lang="bg-BG" dirty="0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фери на приложение</a:t>
            </a:r>
            <a:endParaRPr lang="de-AT" dirty="0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82980" y="4538108"/>
            <a:ext cx="4000310" cy="468000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bg-BG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МЕН ДОМ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618251" y="4538108"/>
            <a:ext cx="4147779" cy="468000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bg-BG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МНА ИНДУСТРИЯ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82981" y="2606016"/>
            <a:ext cx="1932674" cy="468000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bg-BG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МНО ПАРКИРАНЕ</a:t>
            </a:r>
          </a:p>
        </p:txBody>
      </p:sp>
      <p:sp>
        <p:nvSpPr>
          <p:cNvPr id="25" name="Rectangle 24"/>
          <p:cNvSpPr/>
          <p:nvPr/>
        </p:nvSpPr>
        <p:spPr>
          <a:xfrm>
            <a:off x="2550616" y="2606016"/>
            <a:ext cx="1932674" cy="468000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bg-BG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МНО ОСВЕТЛЕНИЕ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618251" y="2606015"/>
            <a:ext cx="2014561" cy="468000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bg-BG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МНИ ВИК РЕШЕНИЯ</a:t>
            </a:r>
          </a:p>
        </p:txBody>
      </p:sp>
      <p:sp>
        <p:nvSpPr>
          <p:cNvPr id="27" name="Rectangle 26"/>
          <p:cNvSpPr/>
          <p:nvPr/>
        </p:nvSpPr>
        <p:spPr>
          <a:xfrm>
            <a:off x="6770613" y="2606014"/>
            <a:ext cx="2018728" cy="468000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bg-BG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МНО СМЕТОСЪБИРАНЕ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215" y="3192730"/>
            <a:ext cx="1932676" cy="1289095"/>
          </a:xfrm>
          <a:prstGeom prst="rect">
            <a:avLst/>
          </a:prstGeom>
          <a:solidFill>
            <a:srgbClr val="666666"/>
          </a:solidFill>
          <a:ln w="28575">
            <a:solidFill>
              <a:srgbClr val="DA291C"/>
            </a:solidFill>
          </a:ln>
        </p:spPr>
      </p:pic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4504" y="3196901"/>
            <a:ext cx="2004896" cy="1284923"/>
          </a:xfrm>
          <a:prstGeom prst="rect">
            <a:avLst/>
          </a:prstGeom>
          <a:solidFill>
            <a:srgbClr val="666666"/>
          </a:solidFill>
          <a:ln w="28575">
            <a:solidFill>
              <a:srgbClr val="DA291C"/>
            </a:solidFill>
          </a:ln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215" y="1281757"/>
            <a:ext cx="1922440" cy="1272655"/>
          </a:xfrm>
          <a:prstGeom prst="rect">
            <a:avLst/>
          </a:prstGeom>
          <a:ln w="28575">
            <a:solidFill>
              <a:srgbClr val="DA291C"/>
            </a:solidFill>
          </a:ln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0616" y="1281757"/>
            <a:ext cx="1932674" cy="1274174"/>
          </a:xfrm>
          <a:prstGeom prst="rect">
            <a:avLst/>
          </a:prstGeom>
          <a:ln w="28575">
            <a:solidFill>
              <a:srgbClr val="DA291C"/>
            </a:solidFill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47257" y="3192730"/>
            <a:ext cx="1936032" cy="1289094"/>
          </a:xfrm>
          <a:prstGeom prst="rect">
            <a:avLst/>
          </a:prstGeom>
          <a:solidFill>
            <a:srgbClr val="666666"/>
          </a:solidFill>
          <a:ln w="28575">
            <a:solidFill>
              <a:srgbClr val="DA291C"/>
            </a:solidFill>
          </a:ln>
        </p:spPr>
      </p:pic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497" y="3192730"/>
            <a:ext cx="2012533" cy="1290082"/>
          </a:xfrm>
          <a:prstGeom prst="rect">
            <a:avLst/>
          </a:prstGeom>
          <a:solidFill>
            <a:srgbClr val="666666"/>
          </a:solidFill>
          <a:ln w="28575">
            <a:solidFill>
              <a:srgbClr val="DA291C"/>
            </a:solidFill>
          </a:ln>
        </p:spPr>
      </p:pic>
      <p:pic>
        <p:nvPicPr>
          <p:cNvPr id="34" name="Picture 2" descr="Related image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70613" y="1281757"/>
            <a:ext cx="2005664" cy="1274174"/>
          </a:xfrm>
          <a:prstGeom prst="rect">
            <a:avLst/>
          </a:prstGeom>
          <a:solidFill>
            <a:schemeClr val="bg1"/>
          </a:solidFill>
          <a:ln w="28575">
            <a:solidFill>
              <a:srgbClr val="DA291C"/>
            </a:solidFill>
          </a:ln>
        </p:spPr>
      </p:pic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8250" y="1281757"/>
            <a:ext cx="2011149" cy="1276103"/>
          </a:xfrm>
          <a:prstGeom prst="rect">
            <a:avLst/>
          </a:prstGeom>
          <a:ln w="28575">
            <a:solidFill>
              <a:srgbClr val="DA291C"/>
            </a:solidFill>
          </a:ln>
        </p:spPr>
      </p:pic>
    </p:spTree>
    <p:extLst>
      <p:ext uri="{BB962C8B-B14F-4D97-AF65-F5344CB8AC3E}">
        <p14:creationId xmlns:p14="http://schemas.microsoft.com/office/powerpoint/2010/main" val="1324972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50787" cy="51435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sz="3000" b="1" dirty="0">
                <a:solidFill>
                  <a:schemeClr val="bg1"/>
                </a:solidFill>
                <a:latin typeface="+mn-lt"/>
              </a:rPr>
              <a:t>Реализирани проекти</a:t>
            </a:r>
          </a:p>
        </p:txBody>
      </p:sp>
      <p:grpSp>
        <p:nvGrpSpPr>
          <p:cNvPr id="82" name="Group 81"/>
          <p:cNvGrpSpPr/>
          <p:nvPr/>
        </p:nvGrpSpPr>
        <p:grpSpPr>
          <a:xfrm>
            <a:off x="412189" y="1210382"/>
            <a:ext cx="1145840" cy="1223865"/>
            <a:chOff x="553990" y="1569493"/>
            <a:chExt cx="1527786" cy="1631820"/>
          </a:xfrm>
        </p:grpSpPr>
        <p:sp>
          <p:nvSpPr>
            <p:cNvPr id="83" name="Hexagon 82"/>
            <p:cNvSpPr/>
            <p:nvPr/>
          </p:nvSpPr>
          <p:spPr>
            <a:xfrm rot="5400000">
              <a:off x="501973" y="1621510"/>
              <a:ext cx="1631820" cy="1527785"/>
            </a:xfrm>
            <a:prstGeom prst="hexagon">
              <a:avLst/>
            </a:prstGeom>
            <a:noFill/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algn="ctr" defTabSz="557227"/>
              <a:endParaRPr lang="bg-BG" sz="1500" b="1" kern="0">
                <a:solidFill>
                  <a:srgbClr val="000000">
                    <a:lumMod val="75000"/>
                    <a:lumOff val="25000"/>
                  </a:srgbClr>
                </a:solidFill>
                <a:latin typeface="A1 Serif" pitchFamily="2" charset="-52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575733" y="1951630"/>
              <a:ext cx="1506043" cy="8802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800">
                <a:lnSpc>
                  <a:spcPct val="110000"/>
                </a:lnSpc>
              </a:pPr>
              <a:r>
                <a:rPr lang="bg-BG" sz="1300" dirty="0">
                  <a:solidFill>
                    <a:srgbClr val="FFFFFF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Сигурност</a:t>
              </a:r>
              <a:r>
                <a:rPr lang="bg-BG" sz="12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1 Serif" pitchFamily="2" charset="-52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</a:p>
            <a:p>
              <a:pPr algn="ctr" defTabSz="685800">
                <a:lnSpc>
                  <a:spcPct val="110000"/>
                </a:lnSpc>
              </a:pPr>
              <a:r>
                <a:rPr lang="bg-BG" sz="1300" dirty="0">
                  <a:solidFill>
                    <a:srgbClr val="FFFFFF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и видео наблюдение</a:t>
              </a:r>
              <a:endParaRPr lang="bg-BG" sz="1300" dirty="0">
                <a:solidFill>
                  <a:srgbClr val="FFFFFF"/>
                </a:solidFill>
                <a:cs typeface="Verdana"/>
              </a:endParaRPr>
            </a:p>
          </p:txBody>
        </p:sp>
      </p:grpSp>
      <p:sp>
        <p:nvSpPr>
          <p:cNvPr id="86" name="Hexagon 85"/>
          <p:cNvSpPr/>
          <p:nvPr/>
        </p:nvSpPr>
        <p:spPr>
          <a:xfrm rot="5400000">
            <a:off x="981877" y="2232033"/>
            <a:ext cx="1223865" cy="1145839"/>
          </a:xfrm>
          <a:prstGeom prst="hexagon">
            <a:avLst/>
          </a:prstGeom>
          <a:noFill/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algn="ctr" defTabSz="557227"/>
            <a:endParaRPr lang="bg-BG" sz="1500" b="1" kern="0">
              <a:solidFill>
                <a:srgbClr val="000000">
                  <a:lumMod val="75000"/>
                  <a:lumOff val="25000"/>
                </a:srgbClr>
              </a:solidFill>
              <a:latin typeface="A1 Serif" pitchFamily="2" charset="-52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1630303" y="1585743"/>
            <a:ext cx="1129532" cy="4401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lnSpc>
                <a:spcPct val="110000"/>
              </a:lnSpc>
            </a:pPr>
            <a:r>
              <a:rPr lang="bg-BG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Дигитално образование</a:t>
            </a:r>
            <a:endParaRPr lang="bg-BG" sz="1300" dirty="0">
              <a:solidFill>
                <a:srgbClr val="FFFFFF"/>
              </a:solidFill>
              <a:cs typeface="Verdana"/>
            </a:endParaRPr>
          </a:p>
        </p:txBody>
      </p:sp>
      <p:sp>
        <p:nvSpPr>
          <p:cNvPr id="89" name="Hexagon 88"/>
          <p:cNvSpPr/>
          <p:nvPr/>
        </p:nvSpPr>
        <p:spPr>
          <a:xfrm rot="5400000">
            <a:off x="1590576" y="1240881"/>
            <a:ext cx="1223865" cy="1145839"/>
          </a:xfrm>
          <a:prstGeom prst="hexagon">
            <a:avLst/>
          </a:prstGeom>
          <a:noFill/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algn="ctr" defTabSz="557227"/>
            <a:endParaRPr lang="bg-BG" sz="1500" b="1" kern="0">
              <a:solidFill>
                <a:srgbClr val="000000">
                  <a:lumMod val="75000"/>
                  <a:lumOff val="25000"/>
                </a:srgbClr>
              </a:solidFill>
              <a:latin typeface="A1 Serif" pitchFamily="2" charset="-52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1037197" y="2563105"/>
            <a:ext cx="1129532" cy="4196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lnSpc>
                <a:spcPct val="110000"/>
              </a:lnSpc>
            </a:pPr>
            <a:r>
              <a:rPr lang="bg-BG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Умно осветление</a:t>
            </a:r>
            <a:endParaRPr lang="bg-BG" sz="1300" dirty="0">
              <a:solidFill>
                <a:srgbClr val="FFFFFF"/>
              </a:solidFill>
              <a:cs typeface="Verdana"/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2238289" y="2200249"/>
            <a:ext cx="1153993" cy="1223865"/>
            <a:chOff x="553990" y="1569493"/>
            <a:chExt cx="1538657" cy="1631820"/>
          </a:xfrm>
        </p:grpSpPr>
        <p:sp>
          <p:nvSpPr>
            <p:cNvPr id="92" name="Hexagon 91"/>
            <p:cNvSpPr/>
            <p:nvPr/>
          </p:nvSpPr>
          <p:spPr>
            <a:xfrm rot="5400000">
              <a:off x="501973" y="1621510"/>
              <a:ext cx="1631820" cy="1527785"/>
            </a:xfrm>
            <a:prstGeom prst="hexagon">
              <a:avLst/>
            </a:prstGeom>
            <a:noFill/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algn="ctr" defTabSz="557227"/>
              <a:endParaRPr lang="bg-BG" sz="1500" b="1" kern="0">
                <a:solidFill>
                  <a:srgbClr val="000000">
                    <a:lumMod val="75000"/>
                    <a:lumOff val="25000"/>
                  </a:srgbClr>
                </a:solidFill>
                <a:latin typeface="A1 Serif" pitchFamily="2" charset="-52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586605" y="2073872"/>
              <a:ext cx="1506042" cy="5868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800">
                <a:lnSpc>
                  <a:spcPct val="110000"/>
                </a:lnSpc>
              </a:pPr>
              <a:r>
                <a:rPr lang="bg-BG" sz="1300" dirty="0">
                  <a:solidFill>
                    <a:srgbClr val="FFFFFF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Умно паркиране</a:t>
              </a:r>
              <a:endParaRPr lang="bg-BG" sz="1300" dirty="0">
                <a:solidFill>
                  <a:srgbClr val="FFFFFF"/>
                </a:solidFill>
                <a:cs typeface="Verdana"/>
              </a:endParaRPr>
            </a:p>
          </p:txBody>
        </p:sp>
      </p:grpSp>
      <p:sp>
        <p:nvSpPr>
          <p:cNvPr id="95" name="Hexagon 94"/>
          <p:cNvSpPr/>
          <p:nvPr/>
        </p:nvSpPr>
        <p:spPr>
          <a:xfrm rot="5400000">
            <a:off x="371514" y="3225066"/>
            <a:ext cx="1223865" cy="1145839"/>
          </a:xfrm>
          <a:prstGeom prst="hexagon">
            <a:avLst/>
          </a:prstGeom>
          <a:noFill/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algn="ctr" defTabSz="557227"/>
            <a:endParaRPr lang="bg-BG" sz="1500" b="1" kern="0">
              <a:solidFill>
                <a:srgbClr val="000000">
                  <a:lumMod val="75000"/>
                  <a:lumOff val="25000"/>
                </a:srgbClr>
              </a:solidFill>
              <a:latin typeface="A1 Serif" pitchFamily="2" charset="-52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1655904" y="3604890"/>
            <a:ext cx="1129532" cy="5905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lnSpc>
                <a:spcPct val="110000"/>
              </a:lnSpc>
            </a:pPr>
            <a:r>
              <a:rPr lang="bg-BG" sz="12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Интелигентно </a:t>
            </a:r>
            <a:r>
              <a:rPr lang="bg-BG" sz="1200" dirty="0" err="1" smtClean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сметосъбира</a:t>
            </a:r>
            <a:r>
              <a:rPr lang="en-US" sz="1200" dirty="0" smtClean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-</a:t>
            </a:r>
            <a:r>
              <a:rPr lang="bg-BG" sz="1200" dirty="0" smtClean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не</a:t>
            </a:r>
            <a:endParaRPr lang="bg-BG" sz="1200" dirty="0">
              <a:solidFill>
                <a:srgbClr val="FFFFFF"/>
              </a:solidFill>
              <a:cs typeface="Verdana"/>
            </a:endParaRPr>
          </a:p>
        </p:txBody>
      </p:sp>
      <p:sp>
        <p:nvSpPr>
          <p:cNvPr id="98" name="Hexagon 97"/>
          <p:cNvSpPr/>
          <p:nvPr/>
        </p:nvSpPr>
        <p:spPr>
          <a:xfrm rot="5400000">
            <a:off x="1606883" y="3236708"/>
            <a:ext cx="1223865" cy="1145839"/>
          </a:xfrm>
          <a:prstGeom prst="hexagon">
            <a:avLst/>
          </a:prstGeom>
          <a:noFill/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algn="ctr" defTabSz="557227"/>
            <a:endParaRPr lang="bg-BG" sz="1500" b="1" kern="0">
              <a:solidFill>
                <a:srgbClr val="000000">
                  <a:lumMod val="75000"/>
                  <a:lumOff val="25000"/>
                </a:srgbClr>
              </a:solidFill>
              <a:latin typeface="A1 Serif" pitchFamily="2" charset="-52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3486969" y="2605775"/>
            <a:ext cx="1129532" cy="4401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lnSpc>
                <a:spcPct val="110000"/>
              </a:lnSpc>
            </a:pPr>
            <a:r>
              <a:rPr lang="bg-BG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Умни ВиК решения</a:t>
            </a:r>
            <a:endParaRPr lang="bg-BG" sz="1300" dirty="0">
              <a:solidFill>
                <a:srgbClr val="FFFFFF"/>
              </a:solidFill>
              <a:cs typeface="Verdana"/>
            </a:endParaRPr>
          </a:p>
        </p:txBody>
      </p:sp>
      <p:sp>
        <p:nvSpPr>
          <p:cNvPr id="101" name="Hexagon 100"/>
          <p:cNvSpPr/>
          <p:nvPr/>
        </p:nvSpPr>
        <p:spPr>
          <a:xfrm rot="5400000">
            <a:off x="2816129" y="1240879"/>
            <a:ext cx="1223865" cy="1145839"/>
          </a:xfrm>
          <a:prstGeom prst="hexagon">
            <a:avLst/>
          </a:prstGeom>
          <a:noFill/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algn="ctr" defTabSz="557227"/>
            <a:endParaRPr lang="bg-BG" sz="1500" b="1" kern="0">
              <a:solidFill>
                <a:srgbClr val="000000">
                  <a:lumMod val="75000"/>
                  <a:lumOff val="25000"/>
                </a:srgbClr>
              </a:solidFill>
              <a:latin typeface="A1 Serif" pitchFamily="2" charset="-52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26607" y="3623806"/>
            <a:ext cx="1129532" cy="4401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lnSpc>
                <a:spcPct val="110000"/>
              </a:lnSpc>
            </a:pPr>
            <a:r>
              <a:rPr lang="bg-BG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Е-билети за транспорт</a:t>
            </a:r>
            <a:endParaRPr lang="bg-BG" sz="1300" dirty="0">
              <a:solidFill>
                <a:srgbClr val="FFFFFF"/>
              </a:solidFill>
              <a:cs typeface="Verdana"/>
            </a:endParaRPr>
          </a:p>
        </p:txBody>
      </p:sp>
      <p:sp>
        <p:nvSpPr>
          <p:cNvPr id="104" name="Hexagon 103"/>
          <p:cNvSpPr/>
          <p:nvPr/>
        </p:nvSpPr>
        <p:spPr>
          <a:xfrm rot="5400000">
            <a:off x="2812052" y="3247453"/>
            <a:ext cx="1223865" cy="1145839"/>
          </a:xfrm>
          <a:prstGeom prst="hexagon">
            <a:avLst/>
          </a:prstGeom>
          <a:noFill/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algn="ctr" defTabSz="557227"/>
            <a:endParaRPr lang="bg-BG" sz="1500" b="1" kern="0">
              <a:solidFill>
                <a:srgbClr val="000000">
                  <a:lumMod val="75000"/>
                  <a:lumOff val="25000"/>
                </a:srgbClr>
              </a:solidFill>
              <a:latin typeface="A1 Serif" pitchFamily="2" charset="-52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2834267" y="3601678"/>
            <a:ext cx="1129532" cy="4401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lnSpc>
                <a:spcPct val="110000"/>
              </a:lnSpc>
            </a:pPr>
            <a:r>
              <a:rPr lang="bg-BG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Модерна индустрия</a:t>
            </a:r>
            <a:endParaRPr lang="bg-BG" sz="1300" dirty="0">
              <a:solidFill>
                <a:srgbClr val="FFFFFF"/>
              </a:solidFill>
              <a:cs typeface="Verdana"/>
            </a:endParaRPr>
          </a:p>
        </p:txBody>
      </p:sp>
      <p:sp>
        <p:nvSpPr>
          <p:cNvPr id="107" name="Hexagon 106"/>
          <p:cNvSpPr/>
          <p:nvPr/>
        </p:nvSpPr>
        <p:spPr>
          <a:xfrm rot="5400000">
            <a:off x="3430319" y="2246149"/>
            <a:ext cx="1223865" cy="1145839"/>
          </a:xfrm>
          <a:prstGeom prst="hexagon">
            <a:avLst/>
          </a:prstGeom>
          <a:noFill/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algn="ctr" defTabSz="557227"/>
            <a:endParaRPr lang="bg-BG" sz="1500" b="1" kern="0">
              <a:solidFill>
                <a:srgbClr val="000000">
                  <a:lumMod val="75000"/>
                  <a:lumOff val="25000"/>
                </a:srgbClr>
              </a:solidFill>
              <a:latin typeface="A1 Serif" pitchFamily="2" charset="-52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2852483" y="1580370"/>
            <a:ext cx="1129532" cy="4401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lnSpc>
                <a:spcPct val="110000"/>
              </a:lnSpc>
            </a:pPr>
            <a:r>
              <a:rPr lang="bg-BG" sz="130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Системна интеграция</a:t>
            </a:r>
            <a:endParaRPr lang="bg-BG" sz="1300" dirty="0">
              <a:solidFill>
                <a:srgbClr val="FFFFFF"/>
              </a:solidFill>
              <a:cs typeface="Verdana"/>
            </a:endParaRPr>
          </a:p>
        </p:txBody>
      </p:sp>
      <p:grpSp>
        <p:nvGrpSpPr>
          <p:cNvPr id="109" name="Group 108"/>
          <p:cNvGrpSpPr/>
          <p:nvPr/>
        </p:nvGrpSpPr>
        <p:grpSpPr>
          <a:xfrm>
            <a:off x="4091677" y="1194698"/>
            <a:ext cx="1145840" cy="1223865"/>
            <a:chOff x="553990" y="1569493"/>
            <a:chExt cx="1527786" cy="1631820"/>
          </a:xfrm>
        </p:grpSpPr>
        <p:sp>
          <p:nvSpPr>
            <p:cNvPr id="110" name="Hexagon 109"/>
            <p:cNvSpPr/>
            <p:nvPr/>
          </p:nvSpPr>
          <p:spPr>
            <a:xfrm rot="5400000">
              <a:off x="501973" y="1621510"/>
              <a:ext cx="1631820" cy="1527785"/>
            </a:xfrm>
            <a:prstGeom prst="hexagon">
              <a:avLst/>
            </a:prstGeom>
            <a:noFill/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algn="ctr" defTabSz="557227"/>
              <a:endParaRPr lang="bg-BG" sz="1500" b="1" kern="0">
                <a:solidFill>
                  <a:srgbClr val="000000">
                    <a:lumMod val="75000"/>
                    <a:lumOff val="25000"/>
                  </a:srgbClr>
                </a:solidFill>
                <a:latin typeface="A1 Serif" pitchFamily="2" charset="-52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575733" y="1951630"/>
              <a:ext cx="1506043" cy="9028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800">
                <a:lnSpc>
                  <a:spcPct val="110000"/>
                </a:lnSpc>
              </a:pPr>
              <a:r>
                <a:rPr lang="bg-BG" sz="1300" dirty="0">
                  <a:solidFill>
                    <a:srgbClr val="FFFFFF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Цялостна</a:t>
              </a:r>
              <a:r>
                <a:rPr lang="bg-BG" sz="12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1 Serif" pitchFamily="2" charset="-52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</a:p>
            <a:p>
              <a:pPr algn="ctr" defTabSz="685800">
                <a:lnSpc>
                  <a:spcPct val="110000"/>
                </a:lnSpc>
              </a:pPr>
              <a:r>
                <a:rPr lang="bg-BG" sz="1300" dirty="0">
                  <a:solidFill>
                    <a:srgbClr val="FFFFFF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ИТ поддръжка</a:t>
              </a:r>
              <a:endParaRPr lang="bg-BG" sz="1300" dirty="0">
                <a:solidFill>
                  <a:srgbClr val="FFFFFF"/>
                </a:solidFill>
                <a:cs typeface="Verdana"/>
              </a:endParaRPr>
            </a:p>
          </p:txBody>
        </p:sp>
      </p:grpSp>
      <p:pic>
        <p:nvPicPr>
          <p:cNvPr id="28" name="Picture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4758" y="0"/>
            <a:ext cx="1524740" cy="1524740"/>
          </a:xfrm>
          <a:prstGeom prst="rect">
            <a:avLst/>
          </a:prstGeom>
        </p:spPr>
      </p:pic>
      <p:sp>
        <p:nvSpPr>
          <p:cNvPr id="33" name="Hexagon 32"/>
          <p:cNvSpPr/>
          <p:nvPr/>
        </p:nvSpPr>
        <p:spPr>
          <a:xfrm rot="5400000">
            <a:off x="4036359" y="3249707"/>
            <a:ext cx="1223865" cy="1145839"/>
          </a:xfrm>
          <a:prstGeom prst="hexagon">
            <a:avLst/>
          </a:prstGeom>
          <a:noFill/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algn="ctr" defTabSz="557227"/>
            <a:endParaRPr lang="bg-BG" sz="1500" b="1" kern="0">
              <a:solidFill>
                <a:srgbClr val="000000">
                  <a:lumMod val="75000"/>
                  <a:lumOff val="25000"/>
                </a:srgbClr>
              </a:solidFill>
              <a:latin typeface="A1 Serif" pitchFamily="2" charset="-52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091678" y="3696903"/>
            <a:ext cx="1129533" cy="1996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lnSpc>
                <a:spcPct val="110000"/>
              </a:lnSpc>
            </a:pPr>
            <a:r>
              <a:rPr lang="en-US" sz="1300" dirty="0" smtClean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WiFi4EU</a:t>
            </a:r>
            <a:endParaRPr lang="bg-BG" sz="1300" dirty="0">
              <a:solidFill>
                <a:srgbClr val="FFFFFF"/>
              </a:solidFill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786947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85" name="think-cell Folie" r:id="rId8" imgW="180" imgH="180" progId="TCLayout.ActiveDocument.1">
                  <p:embed/>
                </p:oleObj>
              </mc:Choice>
              <mc:Fallback>
                <p:oleObj name="think-cell Folie" r:id="rId8" imgW="180" imgH="18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5844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AT" sz="2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8" name="lp_mann">
            <a:hlinkClick r:id="" action="ppaction://media"/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158750" y="3539178"/>
            <a:ext cx="6991990" cy="1072199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bg-BG" sz="3000" b="1" dirty="0" smtClean="0">
                <a:solidFill>
                  <a:schemeClr val="bg1"/>
                </a:solidFill>
              </a:rPr>
              <a:t>За 5</a:t>
            </a:r>
            <a:r>
              <a:rPr lang="en-US" sz="3000" b="1" dirty="0" smtClean="0">
                <a:solidFill>
                  <a:schemeClr val="bg1"/>
                </a:solidFill>
              </a:rPr>
              <a:t>G </a:t>
            </a:r>
            <a:r>
              <a:rPr lang="bg-BG" sz="3000" b="1" dirty="0" smtClean="0">
                <a:solidFill>
                  <a:schemeClr val="bg1"/>
                </a:solidFill>
              </a:rPr>
              <a:t>бъдеще с необятни възможности</a:t>
            </a:r>
            <a:endParaRPr lang="bg-BG" sz="3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813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7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51" name="think-cell Folie" r:id="rId6" imgW="359" imgH="355" progId="TCLayout.ActiveDocument.1">
                  <p:embed/>
                </p:oleObj>
              </mc:Choice>
              <mc:Fallback>
                <p:oleObj name="think-cell Folie" r:id="rId6" imgW="359" imgH="35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AT" sz="2000" dirty="0">
              <a:latin typeface="Verdana" panose="020B0604030504040204" pitchFamily="34" charset="0"/>
              <a:ea typeface="+mj-ea"/>
              <a:sym typeface="Verdana" panose="020B0604030504040204" pitchFamily="34" charset="0"/>
            </a:endParaRPr>
          </a:p>
        </p:txBody>
      </p:sp>
      <p:pic>
        <p:nvPicPr>
          <p:cNvPr id="187" name="Picture 186"/>
          <p:cNvPicPr>
            <a:picLocks noChangeAspect="1"/>
          </p:cNvPicPr>
          <p:nvPr/>
        </p:nvPicPr>
        <p:blipFill rotWithShape="1">
          <a:blip r:embed="rId8" cstate="screen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25239" r="25490"/>
          <a:stretch/>
        </p:blipFill>
        <p:spPr>
          <a:xfrm>
            <a:off x="-15158" y="-27475"/>
            <a:ext cx="9156032" cy="5167563"/>
          </a:xfrm>
          <a:prstGeom prst="rect">
            <a:avLst/>
          </a:prstGeom>
        </p:spPr>
      </p:pic>
      <p:pic>
        <p:nvPicPr>
          <p:cNvPr id="188" name="Grafik 665"/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2571" b="94286" l="500" r="97000">
                        <a14:foregroundMark x1="3000" y1="43143" x2="3000" y2="43143"/>
                        <a14:foregroundMark x1="15167" y1="42286" x2="15167" y2="42286"/>
                        <a14:foregroundMark x1="27833" y1="41714" x2="27833" y2="41714"/>
                        <a14:foregroundMark x1="33833" y1="36000" x2="33833" y2="36000"/>
                        <a14:foregroundMark x1="39667" y1="40571" x2="39667" y2="40571"/>
                        <a14:foregroundMark x1="51000" y1="40571" x2="51000" y2="40571"/>
                        <a14:foregroundMark x1="55333" y1="41714" x2="55333" y2="41714"/>
                        <a14:foregroundMark x1="66500" y1="44286" x2="66500" y2="44286"/>
                        <a14:foregroundMark x1="52833" y1="60000" x2="52833" y2="60000"/>
                        <a14:foregroundMark x1="65667" y1="58857" x2="65667" y2="58857"/>
                        <a14:foregroundMark x1="70833" y1="53714" x2="70833" y2="53714"/>
                        <a14:foregroundMark x1="78833" y1="61429" x2="78833" y2="61429"/>
                        <a14:foregroundMark x1="88167" y1="58857" x2="88167" y2="58857"/>
                        <a14:foregroundMark x1="92333" y1="58000" x2="92333" y2="58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9" y="2442338"/>
            <a:ext cx="2262637" cy="1356872"/>
          </a:xfrm>
          <a:prstGeom prst="rect">
            <a:avLst/>
          </a:prstGeom>
        </p:spPr>
      </p:pic>
      <p:cxnSp>
        <p:nvCxnSpPr>
          <p:cNvPr id="189" name="Straight Connector 188"/>
          <p:cNvCxnSpPr/>
          <p:nvPr/>
        </p:nvCxnSpPr>
        <p:spPr>
          <a:xfrm>
            <a:off x="80467" y="3361344"/>
            <a:ext cx="2241041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0" name="Group 189"/>
          <p:cNvGrpSpPr/>
          <p:nvPr/>
        </p:nvGrpSpPr>
        <p:grpSpPr>
          <a:xfrm>
            <a:off x="826607" y="474046"/>
            <a:ext cx="7699419" cy="4626681"/>
            <a:chOff x="1818933" y="571454"/>
            <a:chExt cx="10265892" cy="6168908"/>
          </a:xfrm>
        </p:grpSpPr>
        <p:grpSp>
          <p:nvGrpSpPr>
            <p:cNvPr id="191" name="Gruppieren 365"/>
            <p:cNvGrpSpPr>
              <a:grpSpLocks noChangeAspect="1"/>
            </p:cNvGrpSpPr>
            <p:nvPr/>
          </p:nvGrpSpPr>
          <p:grpSpPr>
            <a:xfrm>
              <a:off x="1818933" y="571454"/>
              <a:ext cx="10265892" cy="6168908"/>
              <a:chOff x="142876" y="1546227"/>
              <a:chExt cx="8229487" cy="4322763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194" name="Zimbabwe"/>
              <p:cNvSpPr>
                <a:spLocks/>
              </p:cNvSpPr>
              <p:nvPr/>
            </p:nvSpPr>
            <p:spPr bwMode="gray">
              <a:xfrm>
                <a:off x="4932371" y="4584703"/>
                <a:ext cx="220663" cy="222251"/>
              </a:xfrm>
              <a:custGeom>
                <a:avLst/>
                <a:gdLst>
                  <a:gd name="T0" fmla="*/ 2147483647 w 552"/>
                  <a:gd name="T1" fmla="*/ 2147483647 h 552"/>
                  <a:gd name="T2" fmla="*/ 2147483647 w 552"/>
                  <a:gd name="T3" fmla="*/ 2147483647 h 552"/>
                  <a:gd name="T4" fmla="*/ 2147483647 w 552"/>
                  <a:gd name="T5" fmla="*/ 2147483647 h 552"/>
                  <a:gd name="T6" fmla="*/ 2147483647 w 552"/>
                  <a:gd name="T7" fmla="*/ 2147483647 h 552"/>
                  <a:gd name="T8" fmla="*/ 2147483647 w 552"/>
                  <a:gd name="T9" fmla="*/ 2147483647 h 552"/>
                  <a:gd name="T10" fmla="*/ 2147483647 w 552"/>
                  <a:gd name="T11" fmla="*/ 2147483647 h 552"/>
                  <a:gd name="T12" fmla="*/ 2147483647 w 552"/>
                  <a:gd name="T13" fmla="*/ 2147483647 h 552"/>
                  <a:gd name="T14" fmla="*/ 2147483647 w 552"/>
                  <a:gd name="T15" fmla="*/ 2147483647 h 552"/>
                  <a:gd name="T16" fmla="*/ 2147483647 w 552"/>
                  <a:gd name="T17" fmla="*/ 2147483647 h 552"/>
                  <a:gd name="T18" fmla="*/ 2147483647 w 552"/>
                  <a:gd name="T19" fmla="*/ 2147483647 h 552"/>
                  <a:gd name="T20" fmla="*/ 2147483647 w 552"/>
                  <a:gd name="T21" fmla="*/ 2147483647 h 552"/>
                  <a:gd name="T22" fmla="*/ 2147483647 w 552"/>
                  <a:gd name="T23" fmla="*/ 2147483647 h 552"/>
                  <a:gd name="T24" fmla="*/ 2147483647 w 552"/>
                  <a:gd name="T25" fmla="*/ 2147483647 h 552"/>
                  <a:gd name="T26" fmla="*/ 2147483647 w 552"/>
                  <a:gd name="T27" fmla="*/ 2147483647 h 552"/>
                  <a:gd name="T28" fmla="*/ 2147483647 w 552"/>
                  <a:gd name="T29" fmla="*/ 2147483647 h 552"/>
                  <a:gd name="T30" fmla="*/ 2147483647 w 552"/>
                  <a:gd name="T31" fmla="*/ 2147483647 h 552"/>
                  <a:gd name="T32" fmla="*/ 2147483647 w 552"/>
                  <a:gd name="T33" fmla="*/ 2147483647 h 552"/>
                  <a:gd name="T34" fmla="*/ 2147483647 w 552"/>
                  <a:gd name="T35" fmla="*/ 2147483647 h 552"/>
                  <a:gd name="T36" fmla="*/ 2147483647 w 552"/>
                  <a:gd name="T37" fmla="*/ 2147483647 h 552"/>
                  <a:gd name="T38" fmla="*/ 2147483647 w 552"/>
                  <a:gd name="T39" fmla="*/ 2147483647 h 552"/>
                  <a:gd name="T40" fmla="*/ 2147483647 w 552"/>
                  <a:gd name="T41" fmla="*/ 2147483647 h 552"/>
                  <a:gd name="T42" fmla="*/ 2147483647 w 552"/>
                  <a:gd name="T43" fmla="*/ 2147483647 h 552"/>
                  <a:gd name="T44" fmla="*/ 2147483647 w 552"/>
                  <a:gd name="T45" fmla="*/ 2147483647 h 552"/>
                  <a:gd name="T46" fmla="*/ 2147483647 w 552"/>
                  <a:gd name="T47" fmla="*/ 2147483647 h 552"/>
                  <a:gd name="T48" fmla="*/ 2147483647 w 552"/>
                  <a:gd name="T49" fmla="*/ 2147483647 h 552"/>
                  <a:gd name="T50" fmla="*/ 2147483647 w 552"/>
                  <a:gd name="T51" fmla="*/ 2147483647 h 552"/>
                  <a:gd name="T52" fmla="*/ 2147483647 w 552"/>
                  <a:gd name="T53" fmla="*/ 2147483647 h 552"/>
                  <a:gd name="T54" fmla="*/ 2147483647 w 552"/>
                  <a:gd name="T55" fmla="*/ 2147483647 h 552"/>
                  <a:gd name="T56" fmla="*/ 2147483647 w 552"/>
                  <a:gd name="T57" fmla="*/ 2147483647 h 552"/>
                  <a:gd name="T58" fmla="*/ 2147483647 w 552"/>
                  <a:gd name="T59" fmla="*/ 2147483647 h 552"/>
                  <a:gd name="T60" fmla="*/ 2147483647 w 552"/>
                  <a:gd name="T61" fmla="*/ 2147483647 h 552"/>
                  <a:gd name="T62" fmla="*/ 2147483647 w 552"/>
                  <a:gd name="T63" fmla="*/ 2147483647 h 552"/>
                  <a:gd name="T64" fmla="*/ 2147483647 w 552"/>
                  <a:gd name="T65" fmla="*/ 2147483647 h 552"/>
                  <a:gd name="T66" fmla="*/ 2147483647 w 552"/>
                  <a:gd name="T67" fmla="*/ 2147483647 h 552"/>
                  <a:gd name="T68" fmla="*/ 2147483647 w 552"/>
                  <a:gd name="T69" fmla="*/ 2147483647 h 552"/>
                  <a:gd name="T70" fmla="*/ 2147483647 w 552"/>
                  <a:gd name="T71" fmla="*/ 2147483647 h 552"/>
                  <a:gd name="T72" fmla="*/ 2147483647 w 552"/>
                  <a:gd name="T73" fmla="*/ 2147483647 h 552"/>
                  <a:gd name="T74" fmla="*/ 2147483647 w 552"/>
                  <a:gd name="T75" fmla="*/ 0 h 552"/>
                  <a:gd name="T76" fmla="*/ 2147483647 w 552"/>
                  <a:gd name="T77" fmla="*/ 2147483647 h 552"/>
                  <a:gd name="T78" fmla="*/ 2147483647 w 552"/>
                  <a:gd name="T79" fmla="*/ 2147483647 h 552"/>
                  <a:gd name="T80" fmla="*/ 2147483647 w 552"/>
                  <a:gd name="T81" fmla="*/ 2147483647 h 552"/>
                  <a:gd name="T82" fmla="*/ 2147483647 w 552"/>
                  <a:gd name="T83" fmla="*/ 2147483647 h 552"/>
                  <a:gd name="T84" fmla="*/ 2147483647 w 552"/>
                  <a:gd name="T85" fmla="*/ 2147483647 h 552"/>
                  <a:gd name="T86" fmla="*/ 2147483647 w 552"/>
                  <a:gd name="T87" fmla="*/ 2147483647 h 552"/>
                  <a:gd name="T88" fmla="*/ 2147483647 w 552"/>
                  <a:gd name="T89" fmla="*/ 2147483647 h 552"/>
                  <a:gd name="T90" fmla="*/ 2147483647 w 552"/>
                  <a:gd name="T91" fmla="*/ 2147483647 h 552"/>
                  <a:gd name="T92" fmla="*/ 2147483647 w 552"/>
                  <a:gd name="T93" fmla="*/ 2147483647 h 552"/>
                  <a:gd name="T94" fmla="*/ 2147483647 w 552"/>
                  <a:gd name="T95" fmla="*/ 2147483647 h 552"/>
                  <a:gd name="T96" fmla="*/ 2147483647 w 552"/>
                  <a:gd name="T97" fmla="*/ 2147483647 h 552"/>
                  <a:gd name="T98" fmla="*/ 2147483647 w 552"/>
                  <a:gd name="T99" fmla="*/ 2147483647 h 552"/>
                  <a:gd name="T100" fmla="*/ 2147483647 w 552"/>
                  <a:gd name="T101" fmla="*/ 2147483647 h 552"/>
                  <a:gd name="T102" fmla="*/ 2147483647 w 552"/>
                  <a:gd name="T103" fmla="*/ 2147483647 h 55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552"/>
                  <a:gd name="T157" fmla="*/ 0 h 552"/>
                  <a:gd name="T158" fmla="*/ 552 w 552"/>
                  <a:gd name="T159" fmla="*/ 552 h 55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552" h="552">
                    <a:moveTo>
                      <a:pt x="18" y="204"/>
                    </a:moveTo>
                    <a:lnTo>
                      <a:pt x="18" y="234"/>
                    </a:lnTo>
                    <a:lnTo>
                      <a:pt x="30" y="234"/>
                    </a:lnTo>
                    <a:lnTo>
                      <a:pt x="36" y="240"/>
                    </a:lnTo>
                    <a:lnTo>
                      <a:pt x="48" y="264"/>
                    </a:lnTo>
                    <a:lnTo>
                      <a:pt x="54" y="270"/>
                    </a:lnTo>
                    <a:lnTo>
                      <a:pt x="54" y="294"/>
                    </a:lnTo>
                    <a:lnTo>
                      <a:pt x="72" y="330"/>
                    </a:lnTo>
                    <a:lnTo>
                      <a:pt x="84" y="336"/>
                    </a:lnTo>
                    <a:lnTo>
                      <a:pt x="102" y="354"/>
                    </a:lnTo>
                    <a:lnTo>
                      <a:pt x="132" y="354"/>
                    </a:lnTo>
                    <a:lnTo>
                      <a:pt x="138" y="360"/>
                    </a:lnTo>
                    <a:lnTo>
                      <a:pt x="138" y="390"/>
                    </a:lnTo>
                    <a:lnTo>
                      <a:pt x="168" y="390"/>
                    </a:lnTo>
                    <a:lnTo>
                      <a:pt x="174" y="414"/>
                    </a:lnTo>
                    <a:lnTo>
                      <a:pt x="168" y="420"/>
                    </a:lnTo>
                    <a:lnTo>
                      <a:pt x="168" y="450"/>
                    </a:lnTo>
                    <a:lnTo>
                      <a:pt x="186" y="450"/>
                    </a:lnTo>
                    <a:lnTo>
                      <a:pt x="186" y="480"/>
                    </a:lnTo>
                    <a:lnTo>
                      <a:pt x="198" y="480"/>
                    </a:lnTo>
                    <a:lnTo>
                      <a:pt x="216" y="486"/>
                    </a:lnTo>
                    <a:lnTo>
                      <a:pt x="228" y="486"/>
                    </a:lnTo>
                    <a:lnTo>
                      <a:pt x="246" y="492"/>
                    </a:lnTo>
                    <a:lnTo>
                      <a:pt x="264" y="510"/>
                    </a:lnTo>
                    <a:lnTo>
                      <a:pt x="270" y="522"/>
                    </a:lnTo>
                    <a:lnTo>
                      <a:pt x="270" y="528"/>
                    </a:lnTo>
                    <a:lnTo>
                      <a:pt x="252" y="528"/>
                    </a:lnTo>
                    <a:lnTo>
                      <a:pt x="312" y="528"/>
                    </a:lnTo>
                    <a:lnTo>
                      <a:pt x="324" y="534"/>
                    </a:lnTo>
                    <a:lnTo>
                      <a:pt x="330" y="534"/>
                    </a:lnTo>
                    <a:lnTo>
                      <a:pt x="342" y="540"/>
                    </a:lnTo>
                    <a:lnTo>
                      <a:pt x="402" y="540"/>
                    </a:lnTo>
                    <a:lnTo>
                      <a:pt x="420" y="552"/>
                    </a:lnTo>
                    <a:lnTo>
                      <a:pt x="486" y="468"/>
                    </a:lnTo>
                    <a:lnTo>
                      <a:pt x="504" y="462"/>
                    </a:lnTo>
                    <a:lnTo>
                      <a:pt x="492" y="444"/>
                    </a:lnTo>
                    <a:lnTo>
                      <a:pt x="504" y="432"/>
                    </a:lnTo>
                    <a:lnTo>
                      <a:pt x="504" y="402"/>
                    </a:lnTo>
                    <a:lnTo>
                      <a:pt x="516" y="396"/>
                    </a:lnTo>
                    <a:lnTo>
                      <a:pt x="528" y="384"/>
                    </a:lnTo>
                    <a:lnTo>
                      <a:pt x="528" y="372"/>
                    </a:lnTo>
                    <a:lnTo>
                      <a:pt x="540" y="360"/>
                    </a:lnTo>
                    <a:lnTo>
                      <a:pt x="546" y="348"/>
                    </a:lnTo>
                    <a:lnTo>
                      <a:pt x="546" y="342"/>
                    </a:lnTo>
                    <a:lnTo>
                      <a:pt x="522" y="318"/>
                    </a:lnTo>
                    <a:lnTo>
                      <a:pt x="522" y="306"/>
                    </a:lnTo>
                    <a:lnTo>
                      <a:pt x="540" y="288"/>
                    </a:lnTo>
                    <a:lnTo>
                      <a:pt x="522" y="264"/>
                    </a:lnTo>
                    <a:lnTo>
                      <a:pt x="540" y="252"/>
                    </a:lnTo>
                    <a:lnTo>
                      <a:pt x="540" y="240"/>
                    </a:lnTo>
                    <a:lnTo>
                      <a:pt x="546" y="240"/>
                    </a:lnTo>
                    <a:lnTo>
                      <a:pt x="546" y="234"/>
                    </a:lnTo>
                    <a:lnTo>
                      <a:pt x="552" y="228"/>
                    </a:lnTo>
                    <a:lnTo>
                      <a:pt x="552" y="216"/>
                    </a:lnTo>
                    <a:lnTo>
                      <a:pt x="540" y="192"/>
                    </a:lnTo>
                    <a:lnTo>
                      <a:pt x="540" y="180"/>
                    </a:lnTo>
                    <a:lnTo>
                      <a:pt x="546" y="174"/>
                    </a:lnTo>
                    <a:lnTo>
                      <a:pt x="546" y="168"/>
                    </a:lnTo>
                    <a:lnTo>
                      <a:pt x="552" y="162"/>
                    </a:lnTo>
                    <a:lnTo>
                      <a:pt x="540" y="150"/>
                    </a:lnTo>
                    <a:lnTo>
                      <a:pt x="552" y="138"/>
                    </a:lnTo>
                    <a:lnTo>
                      <a:pt x="540" y="120"/>
                    </a:lnTo>
                    <a:lnTo>
                      <a:pt x="546" y="114"/>
                    </a:lnTo>
                    <a:lnTo>
                      <a:pt x="552" y="102"/>
                    </a:lnTo>
                    <a:lnTo>
                      <a:pt x="552" y="96"/>
                    </a:lnTo>
                    <a:lnTo>
                      <a:pt x="540" y="84"/>
                    </a:lnTo>
                    <a:lnTo>
                      <a:pt x="528" y="84"/>
                    </a:lnTo>
                    <a:lnTo>
                      <a:pt x="510" y="66"/>
                    </a:lnTo>
                    <a:lnTo>
                      <a:pt x="498" y="66"/>
                    </a:lnTo>
                    <a:lnTo>
                      <a:pt x="486" y="72"/>
                    </a:lnTo>
                    <a:lnTo>
                      <a:pt x="480" y="72"/>
                    </a:lnTo>
                    <a:lnTo>
                      <a:pt x="462" y="48"/>
                    </a:lnTo>
                    <a:lnTo>
                      <a:pt x="444" y="48"/>
                    </a:lnTo>
                    <a:lnTo>
                      <a:pt x="432" y="30"/>
                    </a:lnTo>
                    <a:lnTo>
                      <a:pt x="372" y="30"/>
                    </a:lnTo>
                    <a:lnTo>
                      <a:pt x="366" y="0"/>
                    </a:lnTo>
                    <a:lnTo>
                      <a:pt x="330" y="0"/>
                    </a:lnTo>
                    <a:lnTo>
                      <a:pt x="294" y="12"/>
                    </a:lnTo>
                    <a:lnTo>
                      <a:pt x="282" y="24"/>
                    </a:lnTo>
                    <a:lnTo>
                      <a:pt x="258" y="36"/>
                    </a:lnTo>
                    <a:lnTo>
                      <a:pt x="258" y="72"/>
                    </a:lnTo>
                    <a:lnTo>
                      <a:pt x="252" y="78"/>
                    </a:lnTo>
                    <a:lnTo>
                      <a:pt x="240" y="78"/>
                    </a:lnTo>
                    <a:lnTo>
                      <a:pt x="228" y="84"/>
                    </a:lnTo>
                    <a:lnTo>
                      <a:pt x="210" y="90"/>
                    </a:lnTo>
                    <a:lnTo>
                      <a:pt x="198" y="96"/>
                    </a:lnTo>
                    <a:lnTo>
                      <a:pt x="192" y="102"/>
                    </a:lnTo>
                    <a:lnTo>
                      <a:pt x="180" y="126"/>
                    </a:lnTo>
                    <a:lnTo>
                      <a:pt x="174" y="132"/>
                    </a:lnTo>
                    <a:lnTo>
                      <a:pt x="174" y="138"/>
                    </a:lnTo>
                    <a:lnTo>
                      <a:pt x="168" y="144"/>
                    </a:lnTo>
                    <a:lnTo>
                      <a:pt x="162" y="156"/>
                    </a:lnTo>
                    <a:lnTo>
                      <a:pt x="132" y="186"/>
                    </a:lnTo>
                    <a:lnTo>
                      <a:pt x="108" y="198"/>
                    </a:lnTo>
                    <a:lnTo>
                      <a:pt x="90" y="198"/>
                    </a:lnTo>
                    <a:lnTo>
                      <a:pt x="90" y="192"/>
                    </a:lnTo>
                    <a:lnTo>
                      <a:pt x="78" y="180"/>
                    </a:lnTo>
                    <a:lnTo>
                      <a:pt x="66" y="180"/>
                    </a:lnTo>
                    <a:lnTo>
                      <a:pt x="66" y="192"/>
                    </a:lnTo>
                    <a:lnTo>
                      <a:pt x="54" y="192"/>
                    </a:lnTo>
                    <a:lnTo>
                      <a:pt x="42" y="180"/>
                    </a:lnTo>
                    <a:lnTo>
                      <a:pt x="42" y="174"/>
                    </a:lnTo>
                    <a:lnTo>
                      <a:pt x="0" y="174"/>
                    </a:lnTo>
                    <a:lnTo>
                      <a:pt x="6" y="192"/>
                    </a:lnTo>
                    <a:lnTo>
                      <a:pt x="18" y="204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95" name="Zambia"/>
              <p:cNvSpPr>
                <a:spLocks/>
              </p:cNvSpPr>
              <p:nvPr/>
            </p:nvSpPr>
            <p:spPr bwMode="gray">
              <a:xfrm>
                <a:off x="4841883" y="4341817"/>
                <a:ext cx="334963" cy="320675"/>
              </a:xfrm>
              <a:custGeom>
                <a:avLst/>
                <a:gdLst>
                  <a:gd name="T0" fmla="*/ 2147483647 w 834"/>
                  <a:gd name="T1" fmla="*/ 2147483647 h 798"/>
                  <a:gd name="T2" fmla="*/ 2147483647 w 834"/>
                  <a:gd name="T3" fmla="*/ 2147483647 h 798"/>
                  <a:gd name="T4" fmla="*/ 2147483647 w 834"/>
                  <a:gd name="T5" fmla="*/ 2147483647 h 798"/>
                  <a:gd name="T6" fmla="*/ 2147483647 w 834"/>
                  <a:gd name="T7" fmla="*/ 2147483647 h 798"/>
                  <a:gd name="T8" fmla="*/ 2147483647 w 834"/>
                  <a:gd name="T9" fmla="*/ 2147483647 h 798"/>
                  <a:gd name="T10" fmla="*/ 2147483647 w 834"/>
                  <a:gd name="T11" fmla="*/ 2147483647 h 798"/>
                  <a:gd name="T12" fmla="*/ 2147483647 w 834"/>
                  <a:gd name="T13" fmla="*/ 2147483647 h 798"/>
                  <a:gd name="T14" fmla="*/ 2147483647 w 834"/>
                  <a:gd name="T15" fmla="*/ 2147483647 h 798"/>
                  <a:gd name="T16" fmla="*/ 2147483647 w 834"/>
                  <a:gd name="T17" fmla="*/ 2147483647 h 798"/>
                  <a:gd name="T18" fmla="*/ 2147483647 w 834"/>
                  <a:gd name="T19" fmla="*/ 2147483647 h 798"/>
                  <a:gd name="T20" fmla="*/ 2147483647 w 834"/>
                  <a:gd name="T21" fmla="*/ 2147483647 h 798"/>
                  <a:gd name="T22" fmla="*/ 2147483647 w 834"/>
                  <a:gd name="T23" fmla="*/ 2147483647 h 798"/>
                  <a:gd name="T24" fmla="*/ 2147483647 w 834"/>
                  <a:gd name="T25" fmla="*/ 2147483647 h 798"/>
                  <a:gd name="T26" fmla="*/ 2147483647 w 834"/>
                  <a:gd name="T27" fmla="*/ 2147483647 h 798"/>
                  <a:gd name="T28" fmla="*/ 2147483647 w 834"/>
                  <a:gd name="T29" fmla="*/ 2147483647 h 798"/>
                  <a:gd name="T30" fmla="*/ 2147483647 w 834"/>
                  <a:gd name="T31" fmla="*/ 2147483647 h 798"/>
                  <a:gd name="T32" fmla="*/ 2147483647 w 834"/>
                  <a:gd name="T33" fmla="*/ 2147483647 h 798"/>
                  <a:gd name="T34" fmla="*/ 2147483647 w 834"/>
                  <a:gd name="T35" fmla="*/ 2147483647 h 798"/>
                  <a:gd name="T36" fmla="*/ 2147483647 w 834"/>
                  <a:gd name="T37" fmla="*/ 2147483647 h 798"/>
                  <a:gd name="T38" fmla="*/ 2147483647 w 834"/>
                  <a:gd name="T39" fmla="*/ 2147483647 h 798"/>
                  <a:gd name="T40" fmla="*/ 2147483647 w 834"/>
                  <a:gd name="T41" fmla="*/ 2147483647 h 798"/>
                  <a:gd name="T42" fmla="*/ 2147483647 w 834"/>
                  <a:gd name="T43" fmla="*/ 2147483647 h 798"/>
                  <a:gd name="T44" fmla="*/ 2147483647 w 834"/>
                  <a:gd name="T45" fmla="*/ 2147483647 h 798"/>
                  <a:gd name="T46" fmla="*/ 2147483647 w 834"/>
                  <a:gd name="T47" fmla="*/ 2147483647 h 798"/>
                  <a:gd name="T48" fmla="*/ 2147483647 w 834"/>
                  <a:gd name="T49" fmla="*/ 2147483647 h 798"/>
                  <a:gd name="T50" fmla="*/ 2147483647 w 834"/>
                  <a:gd name="T51" fmla="*/ 2147483647 h 798"/>
                  <a:gd name="T52" fmla="*/ 2147483647 w 834"/>
                  <a:gd name="T53" fmla="*/ 2147483647 h 798"/>
                  <a:gd name="T54" fmla="*/ 2147483647 w 834"/>
                  <a:gd name="T55" fmla="*/ 2147483647 h 798"/>
                  <a:gd name="T56" fmla="*/ 2147483647 w 834"/>
                  <a:gd name="T57" fmla="*/ 2147483647 h 798"/>
                  <a:gd name="T58" fmla="*/ 2147483647 w 834"/>
                  <a:gd name="T59" fmla="*/ 2147483647 h 798"/>
                  <a:gd name="T60" fmla="*/ 2147483647 w 834"/>
                  <a:gd name="T61" fmla="*/ 2147483647 h 798"/>
                  <a:gd name="T62" fmla="*/ 2147483647 w 834"/>
                  <a:gd name="T63" fmla="*/ 2147483647 h 798"/>
                  <a:gd name="T64" fmla="*/ 2147483647 w 834"/>
                  <a:gd name="T65" fmla="*/ 2147483647 h 798"/>
                  <a:gd name="T66" fmla="*/ 2147483647 w 834"/>
                  <a:gd name="T67" fmla="*/ 2147483647 h 798"/>
                  <a:gd name="T68" fmla="*/ 2147483647 w 834"/>
                  <a:gd name="T69" fmla="*/ 2147483647 h 798"/>
                  <a:gd name="T70" fmla="*/ 2147483647 w 834"/>
                  <a:gd name="T71" fmla="*/ 2147483647 h 798"/>
                  <a:gd name="T72" fmla="*/ 2147483647 w 834"/>
                  <a:gd name="T73" fmla="*/ 2147483647 h 798"/>
                  <a:gd name="T74" fmla="*/ 2147483647 w 834"/>
                  <a:gd name="T75" fmla="*/ 2147483647 h 798"/>
                  <a:gd name="T76" fmla="*/ 2147483647 w 834"/>
                  <a:gd name="T77" fmla="*/ 2147483647 h 798"/>
                  <a:gd name="T78" fmla="*/ 2147483647 w 834"/>
                  <a:gd name="T79" fmla="*/ 2147483647 h 798"/>
                  <a:gd name="T80" fmla="*/ 2147483647 w 834"/>
                  <a:gd name="T81" fmla="*/ 2147483647 h 798"/>
                  <a:gd name="T82" fmla="*/ 2147483647 w 834"/>
                  <a:gd name="T83" fmla="*/ 2147483647 h 798"/>
                  <a:gd name="T84" fmla="*/ 2147483647 w 834"/>
                  <a:gd name="T85" fmla="*/ 2147483647 h 798"/>
                  <a:gd name="T86" fmla="*/ 2147483647 w 834"/>
                  <a:gd name="T87" fmla="*/ 2147483647 h 798"/>
                  <a:gd name="T88" fmla="*/ 2147483647 w 834"/>
                  <a:gd name="T89" fmla="*/ 2147483647 h 798"/>
                  <a:gd name="T90" fmla="*/ 2147483647 w 834"/>
                  <a:gd name="T91" fmla="*/ 2147483647 h 798"/>
                  <a:gd name="T92" fmla="*/ 2147483647 w 834"/>
                  <a:gd name="T93" fmla="*/ 2147483647 h 798"/>
                  <a:gd name="T94" fmla="*/ 2147483647 w 834"/>
                  <a:gd name="T95" fmla="*/ 2147483647 h 798"/>
                  <a:gd name="T96" fmla="*/ 2147483647 w 834"/>
                  <a:gd name="T97" fmla="*/ 2147483647 h 798"/>
                  <a:gd name="T98" fmla="*/ 2147483647 w 834"/>
                  <a:gd name="T99" fmla="*/ 2147483647 h 798"/>
                  <a:gd name="T100" fmla="*/ 2147483647 w 834"/>
                  <a:gd name="T101" fmla="*/ 2147483647 h 798"/>
                  <a:gd name="T102" fmla="*/ 2147483647 w 834"/>
                  <a:gd name="T103" fmla="*/ 2147483647 h 798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834"/>
                  <a:gd name="T157" fmla="*/ 0 h 798"/>
                  <a:gd name="T158" fmla="*/ 834 w 834"/>
                  <a:gd name="T159" fmla="*/ 798 h 798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834" h="798">
                    <a:moveTo>
                      <a:pt x="822" y="186"/>
                    </a:moveTo>
                    <a:lnTo>
                      <a:pt x="822" y="162"/>
                    </a:lnTo>
                    <a:lnTo>
                      <a:pt x="816" y="168"/>
                    </a:lnTo>
                    <a:lnTo>
                      <a:pt x="810" y="168"/>
                    </a:lnTo>
                    <a:lnTo>
                      <a:pt x="810" y="126"/>
                    </a:lnTo>
                    <a:lnTo>
                      <a:pt x="798" y="114"/>
                    </a:lnTo>
                    <a:lnTo>
                      <a:pt x="786" y="114"/>
                    </a:lnTo>
                    <a:lnTo>
                      <a:pt x="786" y="102"/>
                    </a:lnTo>
                    <a:lnTo>
                      <a:pt x="768" y="90"/>
                    </a:lnTo>
                    <a:lnTo>
                      <a:pt x="750" y="90"/>
                    </a:lnTo>
                    <a:lnTo>
                      <a:pt x="750" y="72"/>
                    </a:lnTo>
                    <a:lnTo>
                      <a:pt x="738" y="78"/>
                    </a:lnTo>
                    <a:lnTo>
                      <a:pt x="726" y="78"/>
                    </a:lnTo>
                    <a:lnTo>
                      <a:pt x="708" y="60"/>
                    </a:lnTo>
                    <a:lnTo>
                      <a:pt x="690" y="60"/>
                    </a:lnTo>
                    <a:lnTo>
                      <a:pt x="684" y="54"/>
                    </a:lnTo>
                    <a:lnTo>
                      <a:pt x="684" y="36"/>
                    </a:lnTo>
                    <a:lnTo>
                      <a:pt x="672" y="42"/>
                    </a:lnTo>
                    <a:lnTo>
                      <a:pt x="654" y="42"/>
                    </a:lnTo>
                    <a:lnTo>
                      <a:pt x="648" y="54"/>
                    </a:lnTo>
                    <a:lnTo>
                      <a:pt x="642" y="60"/>
                    </a:lnTo>
                    <a:lnTo>
                      <a:pt x="636" y="60"/>
                    </a:lnTo>
                    <a:lnTo>
                      <a:pt x="624" y="48"/>
                    </a:lnTo>
                    <a:lnTo>
                      <a:pt x="624" y="36"/>
                    </a:lnTo>
                    <a:lnTo>
                      <a:pt x="618" y="30"/>
                    </a:lnTo>
                    <a:lnTo>
                      <a:pt x="606" y="30"/>
                    </a:lnTo>
                    <a:lnTo>
                      <a:pt x="600" y="24"/>
                    </a:lnTo>
                    <a:lnTo>
                      <a:pt x="594" y="24"/>
                    </a:lnTo>
                    <a:lnTo>
                      <a:pt x="594" y="6"/>
                    </a:lnTo>
                    <a:lnTo>
                      <a:pt x="600" y="0"/>
                    </a:lnTo>
                    <a:lnTo>
                      <a:pt x="576" y="12"/>
                    </a:lnTo>
                    <a:lnTo>
                      <a:pt x="558" y="12"/>
                    </a:lnTo>
                    <a:lnTo>
                      <a:pt x="546" y="18"/>
                    </a:lnTo>
                    <a:lnTo>
                      <a:pt x="528" y="18"/>
                    </a:lnTo>
                    <a:lnTo>
                      <a:pt x="510" y="24"/>
                    </a:lnTo>
                    <a:lnTo>
                      <a:pt x="498" y="24"/>
                    </a:lnTo>
                    <a:lnTo>
                      <a:pt x="498" y="54"/>
                    </a:lnTo>
                    <a:lnTo>
                      <a:pt x="480" y="72"/>
                    </a:lnTo>
                    <a:lnTo>
                      <a:pt x="468" y="78"/>
                    </a:lnTo>
                    <a:lnTo>
                      <a:pt x="462" y="84"/>
                    </a:lnTo>
                    <a:lnTo>
                      <a:pt x="456" y="84"/>
                    </a:lnTo>
                    <a:lnTo>
                      <a:pt x="468" y="96"/>
                    </a:lnTo>
                    <a:lnTo>
                      <a:pt x="468" y="102"/>
                    </a:lnTo>
                    <a:lnTo>
                      <a:pt x="474" y="108"/>
                    </a:lnTo>
                    <a:lnTo>
                      <a:pt x="474" y="114"/>
                    </a:lnTo>
                    <a:lnTo>
                      <a:pt x="480" y="120"/>
                    </a:lnTo>
                    <a:lnTo>
                      <a:pt x="480" y="144"/>
                    </a:lnTo>
                    <a:lnTo>
                      <a:pt x="486" y="162"/>
                    </a:lnTo>
                    <a:lnTo>
                      <a:pt x="486" y="216"/>
                    </a:lnTo>
                    <a:lnTo>
                      <a:pt x="474" y="228"/>
                    </a:lnTo>
                    <a:lnTo>
                      <a:pt x="468" y="240"/>
                    </a:lnTo>
                    <a:lnTo>
                      <a:pt x="462" y="258"/>
                    </a:lnTo>
                    <a:lnTo>
                      <a:pt x="456" y="270"/>
                    </a:lnTo>
                    <a:lnTo>
                      <a:pt x="456" y="294"/>
                    </a:lnTo>
                    <a:lnTo>
                      <a:pt x="468" y="306"/>
                    </a:lnTo>
                    <a:lnTo>
                      <a:pt x="474" y="306"/>
                    </a:lnTo>
                    <a:lnTo>
                      <a:pt x="474" y="312"/>
                    </a:lnTo>
                    <a:lnTo>
                      <a:pt x="480" y="312"/>
                    </a:lnTo>
                    <a:lnTo>
                      <a:pt x="510" y="342"/>
                    </a:lnTo>
                    <a:lnTo>
                      <a:pt x="522" y="348"/>
                    </a:lnTo>
                    <a:lnTo>
                      <a:pt x="528" y="348"/>
                    </a:lnTo>
                    <a:lnTo>
                      <a:pt x="534" y="342"/>
                    </a:lnTo>
                    <a:lnTo>
                      <a:pt x="534" y="324"/>
                    </a:lnTo>
                    <a:lnTo>
                      <a:pt x="558" y="324"/>
                    </a:lnTo>
                    <a:lnTo>
                      <a:pt x="558" y="372"/>
                    </a:lnTo>
                    <a:lnTo>
                      <a:pt x="552" y="408"/>
                    </a:lnTo>
                    <a:lnTo>
                      <a:pt x="546" y="426"/>
                    </a:lnTo>
                    <a:lnTo>
                      <a:pt x="540" y="426"/>
                    </a:lnTo>
                    <a:lnTo>
                      <a:pt x="540" y="420"/>
                    </a:lnTo>
                    <a:lnTo>
                      <a:pt x="534" y="408"/>
                    </a:lnTo>
                    <a:lnTo>
                      <a:pt x="516" y="420"/>
                    </a:lnTo>
                    <a:lnTo>
                      <a:pt x="498" y="420"/>
                    </a:lnTo>
                    <a:lnTo>
                      <a:pt x="498" y="408"/>
                    </a:lnTo>
                    <a:lnTo>
                      <a:pt x="492" y="396"/>
                    </a:lnTo>
                    <a:lnTo>
                      <a:pt x="492" y="384"/>
                    </a:lnTo>
                    <a:lnTo>
                      <a:pt x="480" y="372"/>
                    </a:lnTo>
                    <a:lnTo>
                      <a:pt x="468" y="372"/>
                    </a:lnTo>
                    <a:lnTo>
                      <a:pt x="462" y="360"/>
                    </a:lnTo>
                    <a:lnTo>
                      <a:pt x="462" y="354"/>
                    </a:lnTo>
                    <a:lnTo>
                      <a:pt x="456" y="342"/>
                    </a:lnTo>
                    <a:lnTo>
                      <a:pt x="450" y="336"/>
                    </a:lnTo>
                    <a:lnTo>
                      <a:pt x="444" y="336"/>
                    </a:lnTo>
                    <a:lnTo>
                      <a:pt x="438" y="342"/>
                    </a:lnTo>
                    <a:lnTo>
                      <a:pt x="426" y="342"/>
                    </a:lnTo>
                    <a:lnTo>
                      <a:pt x="426" y="330"/>
                    </a:lnTo>
                    <a:lnTo>
                      <a:pt x="420" y="324"/>
                    </a:lnTo>
                    <a:lnTo>
                      <a:pt x="390" y="324"/>
                    </a:lnTo>
                    <a:lnTo>
                      <a:pt x="390" y="312"/>
                    </a:lnTo>
                    <a:lnTo>
                      <a:pt x="396" y="312"/>
                    </a:lnTo>
                    <a:lnTo>
                      <a:pt x="396" y="300"/>
                    </a:lnTo>
                    <a:lnTo>
                      <a:pt x="384" y="300"/>
                    </a:lnTo>
                    <a:lnTo>
                      <a:pt x="378" y="294"/>
                    </a:lnTo>
                    <a:lnTo>
                      <a:pt x="378" y="282"/>
                    </a:lnTo>
                    <a:lnTo>
                      <a:pt x="366" y="270"/>
                    </a:lnTo>
                    <a:lnTo>
                      <a:pt x="360" y="270"/>
                    </a:lnTo>
                    <a:lnTo>
                      <a:pt x="354" y="276"/>
                    </a:lnTo>
                    <a:lnTo>
                      <a:pt x="354" y="294"/>
                    </a:lnTo>
                    <a:lnTo>
                      <a:pt x="348" y="300"/>
                    </a:lnTo>
                    <a:lnTo>
                      <a:pt x="348" y="306"/>
                    </a:lnTo>
                    <a:lnTo>
                      <a:pt x="330" y="306"/>
                    </a:lnTo>
                    <a:lnTo>
                      <a:pt x="300" y="300"/>
                    </a:lnTo>
                    <a:lnTo>
                      <a:pt x="264" y="294"/>
                    </a:lnTo>
                    <a:lnTo>
                      <a:pt x="246" y="282"/>
                    </a:lnTo>
                    <a:lnTo>
                      <a:pt x="240" y="276"/>
                    </a:lnTo>
                    <a:lnTo>
                      <a:pt x="234" y="264"/>
                    </a:lnTo>
                    <a:lnTo>
                      <a:pt x="234" y="246"/>
                    </a:lnTo>
                    <a:lnTo>
                      <a:pt x="192" y="252"/>
                    </a:lnTo>
                    <a:lnTo>
                      <a:pt x="198" y="258"/>
                    </a:lnTo>
                    <a:lnTo>
                      <a:pt x="198" y="264"/>
                    </a:lnTo>
                    <a:lnTo>
                      <a:pt x="180" y="264"/>
                    </a:lnTo>
                    <a:lnTo>
                      <a:pt x="174" y="258"/>
                    </a:lnTo>
                    <a:lnTo>
                      <a:pt x="174" y="228"/>
                    </a:lnTo>
                    <a:lnTo>
                      <a:pt x="156" y="228"/>
                    </a:lnTo>
                    <a:lnTo>
                      <a:pt x="150" y="216"/>
                    </a:lnTo>
                    <a:lnTo>
                      <a:pt x="144" y="234"/>
                    </a:lnTo>
                    <a:lnTo>
                      <a:pt x="144" y="240"/>
                    </a:lnTo>
                    <a:lnTo>
                      <a:pt x="156" y="252"/>
                    </a:lnTo>
                    <a:lnTo>
                      <a:pt x="156" y="270"/>
                    </a:lnTo>
                    <a:lnTo>
                      <a:pt x="150" y="276"/>
                    </a:lnTo>
                    <a:lnTo>
                      <a:pt x="144" y="276"/>
                    </a:lnTo>
                    <a:lnTo>
                      <a:pt x="144" y="330"/>
                    </a:lnTo>
                    <a:lnTo>
                      <a:pt x="156" y="342"/>
                    </a:lnTo>
                    <a:lnTo>
                      <a:pt x="138" y="348"/>
                    </a:lnTo>
                    <a:lnTo>
                      <a:pt x="138" y="354"/>
                    </a:lnTo>
                    <a:lnTo>
                      <a:pt x="144" y="360"/>
                    </a:lnTo>
                    <a:lnTo>
                      <a:pt x="144" y="384"/>
                    </a:lnTo>
                    <a:lnTo>
                      <a:pt x="132" y="396"/>
                    </a:lnTo>
                    <a:lnTo>
                      <a:pt x="126" y="396"/>
                    </a:lnTo>
                    <a:lnTo>
                      <a:pt x="0" y="390"/>
                    </a:lnTo>
                    <a:lnTo>
                      <a:pt x="0" y="642"/>
                    </a:lnTo>
                    <a:lnTo>
                      <a:pt x="6" y="654"/>
                    </a:lnTo>
                    <a:lnTo>
                      <a:pt x="6" y="672"/>
                    </a:lnTo>
                    <a:lnTo>
                      <a:pt x="96" y="762"/>
                    </a:lnTo>
                    <a:lnTo>
                      <a:pt x="114" y="768"/>
                    </a:lnTo>
                    <a:lnTo>
                      <a:pt x="138" y="756"/>
                    </a:lnTo>
                    <a:lnTo>
                      <a:pt x="144" y="756"/>
                    </a:lnTo>
                    <a:lnTo>
                      <a:pt x="150" y="750"/>
                    </a:lnTo>
                    <a:lnTo>
                      <a:pt x="168" y="750"/>
                    </a:lnTo>
                    <a:lnTo>
                      <a:pt x="174" y="756"/>
                    </a:lnTo>
                    <a:lnTo>
                      <a:pt x="174" y="762"/>
                    </a:lnTo>
                    <a:lnTo>
                      <a:pt x="204" y="756"/>
                    </a:lnTo>
                    <a:lnTo>
                      <a:pt x="222" y="774"/>
                    </a:lnTo>
                    <a:lnTo>
                      <a:pt x="264" y="774"/>
                    </a:lnTo>
                    <a:lnTo>
                      <a:pt x="264" y="780"/>
                    </a:lnTo>
                    <a:lnTo>
                      <a:pt x="276" y="792"/>
                    </a:lnTo>
                    <a:lnTo>
                      <a:pt x="288" y="792"/>
                    </a:lnTo>
                    <a:lnTo>
                      <a:pt x="288" y="780"/>
                    </a:lnTo>
                    <a:lnTo>
                      <a:pt x="300" y="780"/>
                    </a:lnTo>
                    <a:lnTo>
                      <a:pt x="312" y="792"/>
                    </a:lnTo>
                    <a:lnTo>
                      <a:pt x="312" y="798"/>
                    </a:lnTo>
                    <a:lnTo>
                      <a:pt x="330" y="798"/>
                    </a:lnTo>
                    <a:lnTo>
                      <a:pt x="354" y="786"/>
                    </a:lnTo>
                    <a:lnTo>
                      <a:pt x="384" y="756"/>
                    </a:lnTo>
                    <a:lnTo>
                      <a:pt x="390" y="744"/>
                    </a:lnTo>
                    <a:lnTo>
                      <a:pt x="396" y="738"/>
                    </a:lnTo>
                    <a:lnTo>
                      <a:pt x="396" y="732"/>
                    </a:lnTo>
                    <a:lnTo>
                      <a:pt x="402" y="726"/>
                    </a:lnTo>
                    <a:lnTo>
                      <a:pt x="414" y="702"/>
                    </a:lnTo>
                    <a:lnTo>
                      <a:pt x="420" y="696"/>
                    </a:lnTo>
                    <a:lnTo>
                      <a:pt x="432" y="690"/>
                    </a:lnTo>
                    <a:lnTo>
                      <a:pt x="450" y="684"/>
                    </a:lnTo>
                    <a:lnTo>
                      <a:pt x="462" y="678"/>
                    </a:lnTo>
                    <a:lnTo>
                      <a:pt x="474" y="678"/>
                    </a:lnTo>
                    <a:lnTo>
                      <a:pt x="480" y="672"/>
                    </a:lnTo>
                    <a:lnTo>
                      <a:pt x="480" y="636"/>
                    </a:lnTo>
                    <a:lnTo>
                      <a:pt x="504" y="624"/>
                    </a:lnTo>
                    <a:lnTo>
                      <a:pt x="516" y="612"/>
                    </a:lnTo>
                    <a:lnTo>
                      <a:pt x="552" y="600"/>
                    </a:lnTo>
                    <a:lnTo>
                      <a:pt x="588" y="600"/>
                    </a:lnTo>
                    <a:lnTo>
                      <a:pt x="588" y="576"/>
                    </a:lnTo>
                    <a:lnTo>
                      <a:pt x="570" y="558"/>
                    </a:lnTo>
                    <a:lnTo>
                      <a:pt x="582" y="546"/>
                    </a:lnTo>
                    <a:lnTo>
                      <a:pt x="612" y="546"/>
                    </a:lnTo>
                    <a:lnTo>
                      <a:pt x="630" y="528"/>
                    </a:lnTo>
                    <a:lnTo>
                      <a:pt x="642" y="528"/>
                    </a:lnTo>
                    <a:lnTo>
                      <a:pt x="654" y="522"/>
                    </a:lnTo>
                    <a:lnTo>
                      <a:pt x="672" y="522"/>
                    </a:lnTo>
                    <a:lnTo>
                      <a:pt x="690" y="516"/>
                    </a:lnTo>
                    <a:lnTo>
                      <a:pt x="702" y="510"/>
                    </a:lnTo>
                    <a:lnTo>
                      <a:pt x="708" y="510"/>
                    </a:lnTo>
                    <a:lnTo>
                      <a:pt x="732" y="498"/>
                    </a:lnTo>
                    <a:lnTo>
                      <a:pt x="750" y="486"/>
                    </a:lnTo>
                    <a:lnTo>
                      <a:pt x="762" y="480"/>
                    </a:lnTo>
                    <a:lnTo>
                      <a:pt x="780" y="474"/>
                    </a:lnTo>
                    <a:lnTo>
                      <a:pt x="786" y="468"/>
                    </a:lnTo>
                    <a:lnTo>
                      <a:pt x="792" y="468"/>
                    </a:lnTo>
                    <a:lnTo>
                      <a:pt x="780" y="462"/>
                    </a:lnTo>
                    <a:lnTo>
                      <a:pt x="768" y="450"/>
                    </a:lnTo>
                    <a:lnTo>
                      <a:pt x="756" y="444"/>
                    </a:lnTo>
                    <a:lnTo>
                      <a:pt x="756" y="438"/>
                    </a:lnTo>
                    <a:lnTo>
                      <a:pt x="762" y="432"/>
                    </a:lnTo>
                    <a:lnTo>
                      <a:pt x="768" y="420"/>
                    </a:lnTo>
                    <a:lnTo>
                      <a:pt x="774" y="414"/>
                    </a:lnTo>
                    <a:lnTo>
                      <a:pt x="780" y="402"/>
                    </a:lnTo>
                    <a:lnTo>
                      <a:pt x="774" y="366"/>
                    </a:lnTo>
                    <a:lnTo>
                      <a:pt x="780" y="366"/>
                    </a:lnTo>
                    <a:lnTo>
                      <a:pt x="786" y="360"/>
                    </a:lnTo>
                    <a:lnTo>
                      <a:pt x="798" y="354"/>
                    </a:lnTo>
                    <a:lnTo>
                      <a:pt x="816" y="336"/>
                    </a:lnTo>
                    <a:lnTo>
                      <a:pt x="816" y="330"/>
                    </a:lnTo>
                    <a:lnTo>
                      <a:pt x="804" y="330"/>
                    </a:lnTo>
                    <a:lnTo>
                      <a:pt x="804" y="258"/>
                    </a:lnTo>
                    <a:lnTo>
                      <a:pt x="810" y="240"/>
                    </a:lnTo>
                    <a:lnTo>
                      <a:pt x="798" y="234"/>
                    </a:lnTo>
                    <a:lnTo>
                      <a:pt x="798" y="216"/>
                    </a:lnTo>
                    <a:lnTo>
                      <a:pt x="804" y="216"/>
                    </a:lnTo>
                    <a:lnTo>
                      <a:pt x="810" y="210"/>
                    </a:lnTo>
                    <a:lnTo>
                      <a:pt x="834" y="198"/>
                    </a:lnTo>
                    <a:lnTo>
                      <a:pt x="834" y="186"/>
                    </a:lnTo>
                    <a:lnTo>
                      <a:pt x="822" y="186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96" name="Yemen"/>
              <p:cNvSpPr>
                <a:spLocks/>
              </p:cNvSpPr>
              <p:nvPr/>
            </p:nvSpPr>
            <p:spPr bwMode="gray">
              <a:xfrm>
                <a:off x="5426082" y="3460753"/>
                <a:ext cx="293688" cy="201613"/>
              </a:xfrm>
              <a:custGeom>
                <a:avLst/>
                <a:gdLst>
                  <a:gd name="T0" fmla="*/ 2147483647 w 732"/>
                  <a:gd name="T1" fmla="*/ 2147483647 h 498"/>
                  <a:gd name="T2" fmla="*/ 2147483647 w 732"/>
                  <a:gd name="T3" fmla="*/ 2147483647 h 498"/>
                  <a:gd name="T4" fmla="*/ 2147483647 w 732"/>
                  <a:gd name="T5" fmla="*/ 2147483647 h 498"/>
                  <a:gd name="T6" fmla="*/ 2147483647 w 732"/>
                  <a:gd name="T7" fmla="*/ 2147483647 h 498"/>
                  <a:gd name="T8" fmla="*/ 2147483647 w 732"/>
                  <a:gd name="T9" fmla="*/ 2147483647 h 498"/>
                  <a:gd name="T10" fmla="*/ 2147483647 w 732"/>
                  <a:gd name="T11" fmla="*/ 2147483647 h 498"/>
                  <a:gd name="T12" fmla="*/ 2147483647 w 732"/>
                  <a:gd name="T13" fmla="*/ 2147483647 h 498"/>
                  <a:gd name="T14" fmla="*/ 2147483647 w 732"/>
                  <a:gd name="T15" fmla="*/ 2147483647 h 498"/>
                  <a:gd name="T16" fmla="*/ 2147483647 w 732"/>
                  <a:gd name="T17" fmla="*/ 2147483647 h 498"/>
                  <a:gd name="T18" fmla="*/ 2147483647 w 732"/>
                  <a:gd name="T19" fmla="*/ 2147483647 h 498"/>
                  <a:gd name="T20" fmla="*/ 2147483647 w 732"/>
                  <a:gd name="T21" fmla="*/ 2147483647 h 498"/>
                  <a:gd name="T22" fmla="*/ 2147483647 w 732"/>
                  <a:gd name="T23" fmla="*/ 2147483647 h 498"/>
                  <a:gd name="T24" fmla="*/ 2147483647 w 732"/>
                  <a:gd name="T25" fmla="*/ 2147483647 h 498"/>
                  <a:gd name="T26" fmla="*/ 2147483647 w 732"/>
                  <a:gd name="T27" fmla="*/ 2147483647 h 498"/>
                  <a:gd name="T28" fmla="*/ 2147483647 w 732"/>
                  <a:gd name="T29" fmla="*/ 2147483647 h 498"/>
                  <a:gd name="T30" fmla="*/ 0 w 732"/>
                  <a:gd name="T31" fmla="*/ 2147483647 h 498"/>
                  <a:gd name="T32" fmla="*/ 2147483647 w 732"/>
                  <a:gd name="T33" fmla="*/ 2147483647 h 498"/>
                  <a:gd name="T34" fmla="*/ 2147483647 w 732"/>
                  <a:gd name="T35" fmla="*/ 2147483647 h 498"/>
                  <a:gd name="T36" fmla="*/ 2147483647 w 732"/>
                  <a:gd name="T37" fmla="*/ 2147483647 h 498"/>
                  <a:gd name="T38" fmla="*/ 2147483647 w 732"/>
                  <a:gd name="T39" fmla="*/ 2147483647 h 498"/>
                  <a:gd name="T40" fmla="*/ 2147483647 w 732"/>
                  <a:gd name="T41" fmla="*/ 2147483647 h 498"/>
                  <a:gd name="T42" fmla="*/ 2147483647 w 732"/>
                  <a:gd name="T43" fmla="*/ 2147483647 h 498"/>
                  <a:gd name="T44" fmla="*/ 2147483647 w 732"/>
                  <a:gd name="T45" fmla="*/ 2147483647 h 498"/>
                  <a:gd name="T46" fmla="*/ 2147483647 w 732"/>
                  <a:gd name="T47" fmla="*/ 2147483647 h 498"/>
                  <a:gd name="T48" fmla="*/ 2147483647 w 732"/>
                  <a:gd name="T49" fmla="*/ 2147483647 h 498"/>
                  <a:gd name="T50" fmla="*/ 2147483647 w 732"/>
                  <a:gd name="T51" fmla="*/ 2147483647 h 498"/>
                  <a:gd name="T52" fmla="*/ 2147483647 w 732"/>
                  <a:gd name="T53" fmla="*/ 2147483647 h 498"/>
                  <a:gd name="T54" fmla="*/ 2147483647 w 732"/>
                  <a:gd name="T55" fmla="*/ 2147483647 h 498"/>
                  <a:gd name="T56" fmla="*/ 2147483647 w 732"/>
                  <a:gd name="T57" fmla="*/ 2147483647 h 498"/>
                  <a:gd name="T58" fmla="*/ 2147483647 w 732"/>
                  <a:gd name="T59" fmla="*/ 2147483647 h 498"/>
                  <a:gd name="T60" fmla="*/ 2147483647 w 732"/>
                  <a:gd name="T61" fmla="*/ 2147483647 h 498"/>
                  <a:gd name="T62" fmla="*/ 2147483647 w 732"/>
                  <a:gd name="T63" fmla="*/ 2147483647 h 498"/>
                  <a:gd name="T64" fmla="*/ 2147483647 w 732"/>
                  <a:gd name="T65" fmla="*/ 2147483647 h 498"/>
                  <a:gd name="T66" fmla="*/ 2147483647 w 732"/>
                  <a:gd name="T67" fmla="*/ 2147483647 h 498"/>
                  <a:gd name="T68" fmla="*/ 2147483647 w 732"/>
                  <a:gd name="T69" fmla="*/ 2147483647 h 498"/>
                  <a:gd name="T70" fmla="*/ 2147483647 w 732"/>
                  <a:gd name="T71" fmla="*/ 2147483647 h 498"/>
                  <a:gd name="T72" fmla="*/ 2147483647 w 732"/>
                  <a:gd name="T73" fmla="*/ 2147483647 h 498"/>
                  <a:gd name="T74" fmla="*/ 2147483647 w 732"/>
                  <a:gd name="T75" fmla="*/ 2147483647 h 498"/>
                  <a:gd name="T76" fmla="*/ 2147483647 w 732"/>
                  <a:gd name="T77" fmla="*/ 0 h 498"/>
                  <a:gd name="T78" fmla="*/ 2147483647 w 732"/>
                  <a:gd name="T79" fmla="*/ 2147483647 h 498"/>
                  <a:gd name="T80" fmla="*/ 2147483647 w 732"/>
                  <a:gd name="T81" fmla="*/ 2147483647 h 49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732"/>
                  <a:gd name="T124" fmla="*/ 0 h 498"/>
                  <a:gd name="T125" fmla="*/ 732 w 732"/>
                  <a:gd name="T126" fmla="*/ 498 h 49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732" h="498">
                    <a:moveTo>
                      <a:pt x="468" y="24"/>
                    </a:moveTo>
                    <a:lnTo>
                      <a:pt x="450" y="30"/>
                    </a:lnTo>
                    <a:lnTo>
                      <a:pt x="420" y="36"/>
                    </a:lnTo>
                    <a:lnTo>
                      <a:pt x="390" y="54"/>
                    </a:lnTo>
                    <a:lnTo>
                      <a:pt x="372" y="72"/>
                    </a:lnTo>
                    <a:lnTo>
                      <a:pt x="366" y="84"/>
                    </a:lnTo>
                    <a:lnTo>
                      <a:pt x="354" y="96"/>
                    </a:lnTo>
                    <a:lnTo>
                      <a:pt x="348" y="108"/>
                    </a:lnTo>
                    <a:lnTo>
                      <a:pt x="342" y="114"/>
                    </a:lnTo>
                    <a:lnTo>
                      <a:pt x="336" y="126"/>
                    </a:lnTo>
                    <a:lnTo>
                      <a:pt x="336" y="144"/>
                    </a:lnTo>
                    <a:lnTo>
                      <a:pt x="330" y="150"/>
                    </a:lnTo>
                    <a:lnTo>
                      <a:pt x="324" y="162"/>
                    </a:lnTo>
                    <a:lnTo>
                      <a:pt x="312" y="162"/>
                    </a:lnTo>
                    <a:lnTo>
                      <a:pt x="300" y="156"/>
                    </a:lnTo>
                    <a:lnTo>
                      <a:pt x="294" y="144"/>
                    </a:lnTo>
                    <a:lnTo>
                      <a:pt x="288" y="138"/>
                    </a:lnTo>
                    <a:lnTo>
                      <a:pt x="210" y="138"/>
                    </a:lnTo>
                    <a:lnTo>
                      <a:pt x="204" y="132"/>
                    </a:lnTo>
                    <a:lnTo>
                      <a:pt x="192" y="126"/>
                    </a:lnTo>
                    <a:lnTo>
                      <a:pt x="102" y="126"/>
                    </a:lnTo>
                    <a:lnTo>
                      <a:pt x="96" y="132"/>
                    </a:lnTo>
                    <a:lnTo>
                      <a:pt x="72" y="138"/>
                    </a:lnTo>
                    <a:lnTo>
                      <a:pt x="54" y="120"/>
                    </a:lnTo>
                    <a:lnTo>
                      <a:pt x="48" y="120"/>
                    </a:lnTo>
                    <a:lnTo>
                      <a:pt x="42" y="126"/>
                    </a:lnTo>
                    <a:lnTo>
                      <a:pt x="36" y="138"/>
                    </a:lnTo>
                    <a:lnTo>
                      <a:pt x="36" y="186"/>
                    </a:lnTo>
                    <a:lnTo>
                      <a:pt x="30" y="192"/>
                    </a:lnTo>
                    <a:lnTo>
                      <a:pt x="24" y="204"/>
                    </a:lnTo>
                    <a:lnTo>
                      <a:pt x="12" y="216"/>
                    </a:lnTo>
                    <a:lnTo>
                      <a:pt x="0" y="252"/>
                    </a:lnTo>
                    <a:lnTo>
                      <a:pt x="0" y="258"/>
                    </a:lnTo>
                    <a:lnTo>
                      <a:pt x="18" y="276"/>
                    </a:lnTo>
                    <a:lnTo>
                      <a:pt x="24" y="288"/>
                    </a:lnTo>
                    <a:lnTo>
                      <a:pt x="36" y="294"/>
                    </a:lnTo>
                    <a:lnTo>
                      <a:pt x="24" y="408"/>
                    </a:lnTo>
                    <a:lnTo>
                      <a:pt x="54" y="444"/>
                    </a:lnTo>
                    <a:lnTo>
                      <a:pt x="54" y="456"/>
                    </a:lnTo>
                    <a:lnTo>
                      <a:pt x="60" y="468"/>
                    </a:lnTo>
                    <a:lnTo>
                      <a:pt x="78" y="486"/>
                    </a:lnTo>
                    <a:lnTo>
                      <a:pt x="90" y="492"/>
                    </a:lnTo>
                    <a:lnTo>
                      <a:pt x="114" y="498"/>
                    </a:lnTo>
                    <a:lnTo>
                      <a:pt x="132" y="498"/>
                    </a:lnTo>
                    <a:lnTo>
                      <a:pt x="150" y="492"/>
                    </a:lnTo>
                    <a:lnTo>
                      <a:pt x="162" y="486"/>
                    </a:lnTo>
                    <a:lnTo>
                      <a:pt x="168" y="480"/>
                    </a:lnTo>
                    <a:lnTo>
                      <a:pt x="186" y="444"/>
                    </a:lnTo>
                    <a:lnTo>
                      <a:pt x="198" y="432"/>
                    </a:lnTo>
                    <a:lnTo>
                      <a:pt x="210" y="432"/>
                    </a:lnTo>
                    <a:lnTo>
                      <a:pt x="228" y="438"/>
                    </a:lnTo>
                    <a:lnTo>
                      <a:pt x="270" y="438"/>
                    </a:lnTo>
                    <a:lnTo>
                      <a:pt x="324" y="432"/>
                    </a:lnTo>
                    <a:lnTo>
                      <a:pt x="366" y="426"/>
                    </a:lnTo>
                    <a:lnTo>
                      <a:pt x="390" y="414"/>
                    </a:lnTo>
                    <a:lnTo>
                      <a:pt x="402" y="402"/>
                    </a:lnTo>
                    <a:lnTo>
                      <a:pt x="414" y="384"/>
                    </a:lnTo>
                    <a:lnTo>
                      <a:pt x="426" y="372"/>
                    </a:lnTo>
                    <a:lnTo>
                      <a:pt x="450" y="360"/>
                    </a:lnTo>
                    <a:lnTo>
                      <a:pt x="462" y="348"/>
                    </a:lnTo>
                    <a:lnTo>
                      <a:pt x="474" y="342"/>
                    </a:lnTo>
                    <a:lnTo>
                      <a:pt x="486" y="330"/>
                    </a:lnTo>
                    <a:lnTo>
                      <a:pt x="504" y="324"/>
                    </a:lnTo>
                    <a:lnTo>
                      <a:pt x="528" y="312"/>
                    </a:lnTo>
                    <a:lnTo>
                      <a:pt x="546" y="306"/>
                    </a:lnTo>
                    <a:lnTo>
                      <a:pt x="558" y="294"/>
                    </a:lnTo>
                    <a:lnTo>
                      <a:pt x="594" y="276"/>
                    </a:lnTo>
                    <a:lnTo>
                      <a:pt x="666" y="276"/>
                    </a:lnTo>
                    <a:lnTo>
                      <a:pt x="666" y="270"/>
                    </a:lnTo>
                    <a:lnTo>
                      <a:pt x="672" y="264"/>
                    </a:lnTo>
                    <a:lnTo>
                      <a:pt x="684" y="240"/>
                    </a:lnTo>
                    <a:lnTo>
                      <a:pt x="690" y="222"/>
                    </a:lnTo>
                    <a:lnTo>
                      <a:pt x="702" y="210"/>
                    </a:lnTo>
                    <a:lnTo>
                      <a:pt x="708" y="198"/>
                    </a:lnTo>
                    <a:lnTo>
                      <a:pt x="720" y="192"/>
                    </a:lnTo>
                    <a:lnTo>
                      <a:pt x="720" y="186"/>
                    </a:lnTo>
                    <a:lnTo>
                      <a:pt x="732" y="186"/>
                    </a:lnTo>
                    <a:lnTo>
                      <a:pt x="648" y="0"/>
                    </a:lnTo>
                    <a:lnTo>
                      <a:pt x="630" y="0"/>
                    </a:lnTo>
                    <a:lnTo>
                      <a:pt x="588" y="6"/>
                    </a:lnTo>
                    <a:lnTo>
                      <a:pt x="540" y="18"/>
                    </a:lnTo>
                    <a:lnTo>
                      <a:pt x="492" y="24"/>
                    </a:lnTo>
                    <a:lnTo>
                      <a:pt x="468" y="24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97" name="Western Sahara"/>
              <p:cNvSpPr>
                <a:spLocks/>
              </p:cNvSpPr>
              <p:nvPr/>
            </p:nvSpPr>
            <p:spPr bwMode="gray">
              <a:xfrm>
                <a:off x="3743329" y="3179766"/>
                <a:ext cx="241300" cy="206375"/>
              </a:xfrm>
              <a:custGeom>
                <a:avLst/>
                <a:gdLst>
                  <a:gd name="T0" fmla="*/ 2147483647 w 600"/>
                  <a:gd name="T1" fmla="*/ 0 h 510"/>
                  <a:gd name="T2" fmla="*/ 2147483647 w 600"/>
                  <a:gd name="T3" fmla="*/ 0 h 510"/>
                  <a:gd name="T4" fmla="*/ 2147483647 w 600"/>
                  <a:gd name="T5" fmla="*/ 2147483647 h 510"/>
                  <a:gd name="T6" fmla="*/ 2147483647 w 600"/>
                  <a:gd name="T7" fmla="*/ 2147483647 h 510"/>
                  <a:gd name="T8" fmla="*/ 2147483647 w 600"/>
                  <a:gd name="T9" fmla="*/ 2147483647 h 510"/>
                  <a:gd name="T10" fmla="*/ 2147483647 w 600"/>
                  <a:gd name="T11" fmla="*/ 2147483647 h 510"/>
                  <a:gd name="T12" fmla="*/ 2147483647 w 600"/>
                  <a:gd name="T13" fmla="*/ 2147483647 h 510"/>
                  <a:gd name="T14" fmla="*/ 2147483647 w 600"/>
                  <a:gd name="T15" fmla="*/ 2147483647 h 510"/>
                  <a:gd name="T16" fmla="*/ 2147483647 w 600"/>
                  <a:gd name="T17" fmla="*/ 2147483647 h 510"/>
                  <a:gd name="T18" fmla="*/ 2147483647 w 600"/>
                  <a:gd name="T19" fmla="*/ 2147483647 h 510"/>
                  <a:gd name="T20" fmla="*/ 2147483647 w 600"/>
                  <a:gd name="T21" fmla="*/ 2147483647 h 510"/>
                  <a:gd name="T22" fmla="*/ 2147483647 w 600"/>
                  <a:gd name="T23" fmla="*/ 2147483647 h 510"/>
                  <a:gd name="T24" fmla="*/ 2147483647 w 600"/>
                  <a:gd name="T25" fmla="*/ 2147483647 h 510"/>
                  <a:gd name="T26" fmla="*/ 2147483647 w 600"/>
                  <a:gd name="T27" fmla="*/ 2147483647 h 510"/>
                  <a:gd name="T28" fmla="*/ 2147483647 w 600"/>
                  <a:gd name="T29" fmla="*/ 2147483647 h 510"/>
                  <a:gd name="T30" fmla="*/ 2147483647 w 600"/>
                  <a:gd name="T31" fmla="*/ 2147483647 h 510"/>
                  <a:gd name="T32" fmla="*/ 2147483647 w 600"/>
                  <a:gd name="T33" fmla="*/ 2147483647 h 510"/>
                  <a:gd name="T34" fmla="*/ 2147483647 w 600"/>
                  <a:gd name="T35" fmla="*/ 2147483647 h 510"/>
                  <a:gd name="T36" fmla="*/ 2147483647 w 600"/>
                  <a:gd name="T37" fmla="*/ 2147483647 h 510"/>
                  <a:gd name="T38" fmla="*/ 2147483647 w 600"/>
                  <a:gd name="T39" fmla="*/ 2147483647 h 510"/>
                  <a:gd name="T40" fmla="*/ 2147483647 w 600"/>
                  <a:gd name="T41" fmla="*/ 2147483647 h 510"/>
                  <a:gd name="T42" fmla="*/ 2147483647 w 600"/>
                  <a:gd name="T43" fmla="*/ 2147483647 h 510"/>
                  <a:gd name="T44" fmla="*/ 2147483647 w 600"/>
                  <a:gd name="T45" fmla="*/ 2147483647 h 510"/>
                  <a:gd name="T46" fmla="*/ 2147483647 w 600"/>
                  <a:gd name="T47" fmla="*/ 2147483647 h 510"/>
                  <a:gd name="T48" fmla="*/ 2147483647 w 600"/>
                  <a:gd name="T49" fmla="*/ 2147483647 h 510"/>
                  <a:gd name="T50" fmla="*/ 2147483647 w 600"/>
                  <a:gd name="T51" fmla="*/ 2147483647 h 510"/>
                  <a:gd name="T52" fmla="*/ 2147483647 w 600"/>
                  <a:gd name="T53" fmla="*/ 2147483647 h 510"/>
                  <a:gd name="T54" fmla="*/ 2147483647 w 600"/>
                  <a:gd name="T55" fmla="*/ 2147483647 h 510"/>
                  <a:gd name="T56" fmla="*/ 2147483647 w 600"/>
                  <a:gd name="T57" fmla="*/ 2147483647 h 510"/>
                  <a:gd name="T58" fmla="*/ 2147483647 w 600"/>
                  <a:gd name="T59" fmla="*/ 2147483647 h 510"/>
                  <a:gd name="T60" fmla="*/ 2147483647 w 600"/>
                  <a:gd name="T61" fmla="*/ 2147483647 h 510"/>
                  <a:gd name="T62" fmla="*/ 2147483647 w 600"/>
                  <a:gd name="T63" fmla="*/ 2147483647 h 510"/>
                  <a:gd name="T64" fmla="*/ 2147483647 w 600"/>
                  <a:gd name="T65" fmla="*/ 2147483647 h 510"/>
                  <a:gd name="T66" fmla="*/ 2147483647 w 600"/>
                  <a:gd name="T67" fmla="*/ 2147483647 h 510"/>
                  <a:gd name="T68" fmla="*/ 2147483647 w 600"/>
                  <a:gd name="T69" fmla="*/ 2147483647 h 510"/>
                  <a:gd name="T70" fmla="*/ 2147483647 w 600"/>
                  <a:gd name="T71" fmla="*/ 2147483647 h 510"/>
                  <a:gd name="T72" fmla="*/ 2147483647 w 600"/>
                  <a:gd name="T73" fmla="*/ 2147483647 h 510"/>
                  <a:gd name="T74" fmla="*/ 2147483647 w 600"/>
                  <a:gd name="T75" fmla="*/ 2147483647 h 510"/>
                  <a:gd name="T76" fmla="*/ 2147483647 w 600"/>
                  <a:gd name="T77" fmla="*/ 2147483647 h 510"/>
                  <a:gd name="T78" fmla="*/ 0 w 600"/>
                  <a:gd name="T79" fmla="*/ 2147483647 h 510"/>
                  <a:gd name="T80" fmla="*/ 0 w 600"/>
                  <a:gd name="T81" fmla="*/ 2147483647 h 510"/>
                  <a:gd name="T82" fmla="*/ 2147483647 w 600"/>
                  <a:gd name="T83" fmla="*/ 2147483647 h 510"/>
                  <a:gd name="T84" fmla="*/ 2147483647 w 600"/>
                  <a:gd name="T85" fmla="*/ 2147483647 h 510"/>
                  <a:gd name="T86" fmla="*/ 2147483647 w 600"/>
                  <a:gd name="T87" fmla="*/ 2147483647 h 510"/>
                  <a:gd name="T88" fmla="*/ 2147483647 w 600"/>
                  <a:gd name="T89" fmla="*/ 2147483647 h 510"/>
                  <a:gd name="T90" fmla="*/ 2147483647 w 600"/>
                  <a:gd name="T91" fmla="*/ 2147483647 h 510"/>
                  <a:gd name="T92" fmla="*/ 2147483647 w 600"/>
                  <a:gd name="T93" fmla="*/ 2147483647 h 510"/>
                  <a:gd name="T94" fmla="*/ 2147483647 w 600"/>
                  <a:gd name="T95" fmla="*/ 2147483647 h 510"/>
                  <a:gd name="T96" fmla="*/ 2147483647 w 600"/>
                  <a:gd name="T97" fmla="*/ 2147483647 h 510"/>
                  <a:gd name="T98" fmla="*/ 2147483647 w 600"/>
                  <a:gd name="T99" fmla="*/ 2147483647 h 510"/>
                  <a:gd name="T100" fmla="*/ 2147483647 w 600"/>
                  <a:gd name="T101" fmla="*/ 2147483647 h 510"/>
                  <a:gd name="T102" fmla="*/ 2147483647 w 600"/>
                  <a:gd name="T103" fmla="*/ 2147483647 h 510"/>
                  <a:gd name="T104" fmla="*/ 2147483647 w 600"/>
                  <a:gd name="T105" fmla="*/ 2147483647 h 510"/>
                  <a:gd name="T106" fmla="*/ 2147483647 w 600"/>
                  <a:gd name="T107" fmla="*/ 2147483647 h 510"/>
                  <a:gd name="T108" fmla="*/ 2147483647 w 600"/>
                  <a:gd name="T109" fmla="*/ 2147483647 h 510"/>
                  <a:gd name="T110" fmla="*/ 2147483647 w 600"/>
                  <a:gd name="T111" fmla="*/ 2147483647 h 510"/>
                  <a:gd name="T112" fmla="*/ 2147483647 w 600"/>
                  <a:gd name="T113" fmla="*/ 0 h 510"/>
                  <a:gd name="T114" fmla="*/ 2147483647 w 600"/>
                  <a:gd name="T115" fmla="*/ 0 h 5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600"/>
                  <a:gd name="T175" fmla="*/ 0 h 510"/>
                  <a:gd name="T176" fmla="*/ 600 w 600"/>
                  <a:gd name="T177" fmla="*/ 510 h 51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600" h="510">
                    <a:moveTo>
                      <a:pt x="546" y="0"/>
                    </a:moveTo>
                    <a:lnTo>
                      <a:pt x="288" y="0"/>
                    </a:lnTo>
                    <a:lnTo>
                      <a:pt x="282" y="6"/>
                    </a:lnTo>
                    <a:lnTo>
                      <a:pt x="270" y="30"/>
                    </a:lnTo>
                    <a:lnTo>
                      <a:pt x="270" y="42"/>
                    </a:lnTo>
                    <a:lnTo>
                      <a:pt x="264" y="54"/>
                    </a:lnTo>
                    <a:lnTo>
                      <a:pt x="264" y="66"/>
                    </a:lnTo>
                    <a:lnTo>
                      <a:pt x="234" y="96"/>
                    </a:lnTo>
                    <a:lnTo>
                      <a:pt x="198" y="96"/>
                    </a:lnTo>
                    <a:lnTo>
                      <a:pt x="186" y="108"/>
                    </a:lnTo>
                    <a:lnTo>
                      <a:pt x="186" y="144"/>
                    </a:lnTo>
                    <a:lnTo>
                      <a:pt x="156" y="174"/>
                    </a:lnTo>
                    <a:lnTo>
                      <a:pt x="156" y="186"/>
                    </a:lnTo>
                    <a:lnTo>
                      <a:pt x="168" y="210"/>
                    </a:lnTo>
                    <a:lnTo>
                      <a:pt x="168" y="222"/>
                    </a:lnTo>
                    <a:lnTo>
                      <a:pt x="156" y="246"/>
                    </a:lnTo>
                    <a:lnTo>
                      <a:pt x="144" y="252"/>
                    </a:lnTo>
                    <a:lnTo>
                      <a:pt x="138" y="252"/>
                    </a:lnTo>
                    <a:lnTo>
                      <a:pt x="132" y="258"/>
                    </a:lnTo>
                    <a:lnTo>
                      <a:pt x="126" y="270"/>
                    </a:lnTo>
                    <a:lnTo>
                      <a:pt x="114" y="282"/>
                    </a:lnTo>
                    <a:lnTo>
                      <a:pt x="102" y="288"/>
                    </a:lnTo>
                    <a:lnTo>
                      <a:pt x="96" y="294"/>
                    </a:lnTo>
                    <a:lnTo>
                      <a:pt x="84" y="300"/>
                    </a:lnTo>
                    <a:lnTo>
                      <a:pt x="78" y="306"/>
                    </a:lnTo>
                    <a:lnTo>
                      <a:pt x="78" y="318"/>
                    </a:lnTo>
                    <a:lnTo>
                      <a:pt x="90" y="324"/>
                    </a:lnTo>
                    <a:lnTo>
                      <a:pt x="78" y="330"/>
                    </a:lnTo>
                    <a:lnTo>
                      <a:pt x="60" y="366"/>
                    </a:lnTo>
                    <a:lnTo>
                      <a:pt x="60" y="384"/>
                    </a:lnTo>
                    <a:lnTo>
                      <a:pt x="48" y="384"/>
                    </a:lnTo>
                    <a:lnTo>
                      <a:pt x="48" y="390"/>
                    </a:lnTo>
                    <a:lnTo>
                      <a:pt x="54" y="396"/>
                    </a:lnTo>
                    <a:lnTo>
                      <a:pt x="54" y="408"/>
                    </a:lnTo>
                    <a:lnTo>
                      <a:pt x="48" y="420"/>
                    </a:lnTo>
                    <a:lnTo>
                      <a:pt x="36" y="426"/>
                    </a:lnTo>
                    <a:lnTo>
                      <a:pt x="24" y="426"/>
                    </a:lnTo>
                    <a:lnTo>
                      <a:pt x="18" y="432"/>
                    </a:lnTo>
                    <a:lnTo>
                      <a:pt x="6" y="456"/>
                    </a:lnTo>
                    <a:lnTo>
                      <a:pt x="0" y="462"/>
                    </a:lnTo>
                    <a:lnTo>
                      <a:pt x="0" y="510"/>
                    </a:lnTo>
                    <a:lnTo>
                      <a:pt x="276" y="510"/>
                    </a:lnTo>
                    <a:lnTo>
                      <a:pt x="282" y="408"/>
                    </a:lnTo>
                    <a:lnTo>
                      <a:pt x="276" y="396"/>
                    </a:lnTo>
                    <a:lnTo>
                      <a:pt x="276" y="378"/>
                    </a:lnTo>
                    <a:lnTo>
                      <a:pt x="282" y="366"/>
                    </a:lnTo>
                    <a:lnTo>
                      <a:pt x="306" y="354"/>
                    </a:lnTo>
                    <a:lnTo>
                      <a:pt x="336" y="354"/>
                    </a:lnTo>
                    <a:lnTo>
                      <a:pt x="348" y="348"/>
                    </a:lnTo>
                    <a:lnTo>
                      <a:pt x="354" y="342"/>
                    </a:lnTo>
                    <a:lnTo>
                      <a:pt x="354" y="150"/>
                    </a:lnTo>
                    <a:lnTo>
                      <a:pt x="366" y="144"/>
                    </a:lnTo>
                    <a:lnTo>
                      <a:pt x="366" y="132"/>
                    </a:lnTo>
                    <a:lnTo>
                      <a:pt x="588" y="126"/>
                    </a:lnTo>
                    <a:lnTo>
                      <a:pt x="588" y="90"/>
                    </a:lnTo>
                    <a:lnTo>
                      <a:pt x="594" y="84"/>
                    </a:lnTo>
                    <a:lnTo>
                      <a:pt x="600" y="0"/>
                    </a:lnTo>
                    <a:lnTo>
                      <a:pt x="546" y="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98" name="West Bank"/>
              <p:cNvSpPr>
                <a:spLocks/>
              </p:cNvSpPr>
              <p:nvPr/>
            </p:nvSpPr>
            <p:spPr bwMode="gray">
              <a:xfrm>
                <a:off x="5184784" y="3024191"/>
                <a:ext cx="17463" cy="38100"/>
              </a:xfrm>
              <a:custGeom>
                <a:avLst/>
                <a:gdLst>
                  <a:gd name="T0" fmla="*/ 2147483647 w 42"/>
                  <a:gd name="T1" fmla="*/ 2147483647 h 96"/>
                  <a:gd name="T2" fmla="*/ 2147483647 w 42"/>
                  <a:gd name="T3" fmla="*/ 2147483647 h 96"/>
                  <a:gd name="T4" fmla="*/ 2147483647 w 42"/>
                  <a:gd name="T5" fmla="*/ 2147483647 h 96"/>
                  <a:gd name="T6" fmla="*/ 2147483647 w 42"/>
                  <a:gd name="T7" fmla="*/ 0 h 96"/>
                  <a:gd name="T8" fmla="*/ 2147483647 w 42"/>
                  <a:gd name="T9" fmla="*/ 0 h 96"/>
                  <a:gd name="T10" fmla="*/ 0 w 42"/>
                  <a:gd name="T11" fmla="*/ 2147483647 h 96"/>
                  <a:gd name="T12" fmla="*/ 0 w 42"/>
                  <a:gd name="T13" fmla="*/ 2147483647 h 96"/>
                  <a:gd name="T14" fmla="*/ 2147483647 w 42"/>
                  <a:gd name="T15" fmla="*/ 2147483647 h 96"/>
                  <a:gd name="T16" fmla="*/ 2147483647 w 42"/>
                  <a:gd name="T17" fmla="*/ 2147483647 h 96"/>
                  <a:gd name="T18" fmla="*/ 2147483647 w 42"/>
                  <a:gd name="T19" fmla="*/ 2147483647 h 96"/>
                  <a:gd name="T20" fmla="*/ 2147483647 w 42"/>
                  <a:gd name="T21" fmla="*/ 2147483647 h 96"/>
                  <a:gd name="T22" fmla="*/ 2147483647 w 42"/>
                  <a:gd name="T23" fmla="*/ 2147483647 h 9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2"/>
                  <a:gd name="T37" fmla="*/ 0 h 96"/>
                  <a:gd name="T38" fmla="*/ 42 w 42"/>
                  <a:gd name="T39" fmla="*/ 96 h 9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2" h="96">
                    <a:moveTo>
                      <a:pt x="24" y="78"/>
                    </a:moveTo>
                    <a:lnTo>
                      <a:pt x="30" y="84"/>
                    </a:lnTo>
                    <a:lnTo>
                      <a:pt x="42" y="72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0" y="18"/>
                    </a:lnTo>
                    <a:lnTo>
                      <a:pt x="0" y="90"/>
                    </a:lnTo>
                    <a:lnTo>
                      <a:pt x="6" y="96"/>
                    </a:lnTo>
                    <a:lnTo>
                      <a:pt x="12" y="90"/>
                    </a:lnTo>
                    <a:lnTo>
                      <a:pt x="18" y="90"/>
                    </a:lnTo>
                    <a:lnTo>
                      <a:pt x="18" y="84"/>
                    </a:lnTo>
                    <a:lnTo>
                      <a:pt x="24" y="78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99" name="Uzbekistan"/>
              <p:cNvSpPr>
                <a:spLocks/>
              </p:cNvSpPr>
              <p:nvPr/>
            </p:nvSpPr>
            <p:spPr bwMode="gray">
              <a:xfrm>
                <a:off x="5683258" y="2603503"/>
                <a:ext cx="477838" cy="268288"/>
              </a:xfrm>
              <a:custGeom>
                <a:avLst/>
                <a:gdLst>
                  <a:gd name="T0" fmla="*/ 2147483647 w 1182"/>
                  <a:gd name="T1" fmla="*/ 2147483647 h 666"/>
                  <a:gd name="T2" fmla="*/ 2147483647 w 1182"/>
                  <a:gd name="T3" fmla="*/ 2147483647 h 666"/>
                  <a:gd name="T4" fmla="*/ 2147483647 w 1182"/>
                  <a:gd name="T5" fmla="*/ 2147483647 h 666"/>
                  <a:gd name="T6" fmla="*/ 2147483647 w 1182"/>
                  <a:gd name="T7" fmla="*/ 2147483647 h 666"/>
                  <a:gd name="T8" fmla="*/ 2147483647 w 1182"/>
                  <a:gd name="T9" fmla="*/ 2147483647 h 666"/>
                  <a:gd name="T10" fmla="*/ 2147483647 w 1182"/>
                  <a:gd name="T11" fmla="*/ 2147483647 h 666"/>
                  <a:gd name="T12" fmla="*/ 2147483647 w 1182"/>
                  <a:gd name="T13" fmla="*/ 2147483647 h 666"/>
                  <a:gd name="T14" fmla="*/ 2147483647 w 1182"/>
                  <a:gd name="T15" fmla="*/ 2147483647 h 666"/>
                  <a:gd name="T16" fmla="*/ 2147483647 w 1182"/>
                  <a:gd name="T17" fmla="*/ 2147483647 h 666"/>
                  <a:gd name="T18" fmla="*/ 2147483647 w 1182"/>
                  <a:gd name="T19" fmla="*/ 2147483647 h 666"/>
                  <a:gd name="T20" fmla="*/ 2147483647 w 1182"/>
                  <a:gd name="T21" fmla="*/ 2147483647 h 666"/>
                  <a:gd name="T22" fmla="*/ 2147483647 w 1182"/>
                  <a:gd name="T23" fmla="*/ 2147483647 h 666"/>
                  <a:gd name="T24" fmla="*/ 2147483647 w 1182"/>
                  <a:gd name="T25" fmla="*/ 2147483647 h 666"/>
                  <a:gd name="T26" fmla="*/ 2147483647 w 1182"/>
                  <a:gd name="T27" fmla="*/ 2147483647 h 666"/>
                  <a:gd name="T28" fmla="*/ 2147483647 w 1182"/>
                  <a:gd name="T29" fmla="*/ 2147483647 h 666"/>
                  <a:gd name="T30" fmla="*/ 2147483647 w 1182"/>
                  <a:gd name="T31" fmla="*/ 2147483647 h 666"/>
                  <a:gd name="T32" fmla="*/ 2147483647 w 1182"/>
                  <a:gd name="T33" fmla="*/ 2147483647 h 666"/>
                  <a:gd name="T34" fmla="*/ 2147483647 w 1182"/>
                  <a:gd name="T35" fmla="*/ 2147483647 h 666"/>
                  <a:gd name="T36" fmla="*/ 2147483647 w 1182"/>
                  <a:gd name="T37" fmla="*/ 2147483647 h 666"/>
                  <a:gd name="T38" fmla="*/ 2147483647 w 1182"/>
                  <a:gd name="T39" fmla="*/ 2147483647 h 666"/>
                  <a:gd name="T40" fmla="*/ 2147483647 w 1182"/>
                  <a:gd name="T41" fmla="*/ 2147483647 h 666"/>
                  <a:gd name="T42" fmla="*/ 2147483647 w 1182"/>
                  <a:gd name="T43" fmla="*/ 2147483647 h 666"/>
                  <a:gd name="T44" fmla="*/ 2147483647 w 1182"/>
                  <a:gd name="T45" fmla="*/ 2147483647 h 666"/>
                  <a:gd name="T46" fmla="*/ 2147483647 w 1182"/>
                  <a:gd name="T47" fmla="*/ 2147483647 h 666"/>
                  <a:gd name="T48" fmla="*/ 2147483647 w 1182"/>
                  <a:gd name="T49" fmla="*/ 2147483647 h 666"/>
                  <a:gd name="T50" fmla="*/ 2147483647 w 1182"/>
                  <a:gd name="T51" fmla="*/ 2147483647 h 666"/>
                  <a:gd name="T52" fmla="*/ 2147483647 w 1182"/>
                  <a:gd name="T53" fmla="*/ 2147483647 h 666"/>
                  <a:gd name="T54" fmla="*/ 2147483647 w 1182"/>
                  <a:gd name="T55" fmla="*/ 2147483647 h 666"/>
                  <a:gd name="T56" fmla="*/ 2147483647 w 1182"/>
                  <a:gd name="T57" fmla="*/ 2147483647 h 666"/>
                  <a:gd name="T58" fmla="*/ 2147483647 w 1182"/>
                  <a:gd name="T59" fmla="*/ 2147483647 h 666"/>
                  <a:gd name="T60" fmla="*/ 2147483647 w 1182"/>
                  <a:gd name="T61" fmla="*/ 2147483647 h 666"/>
                  <a:gd name="T62" fmla="*/ 2147483647 w 1182"/>
                  <a:gd name="T63" fmla="*/ 2147483647 h 666"/>
                  <a:gd name="T64" fmla="*/ 2147483647 w 1182"/>
                  <a:gd name="T65" fmla="*/ 2147483647 h 666"/>
                  <a:gd name="T66" fmla="*/ 2147483647 w 1182"/>
                  <a:gd name="T67" fmla="*/ 2147483647 h 666"/>
                  <a:gd name="T68" fmla="*/ 2147483647 w 1182"/>
                  <a:gd name="T69" fmla="*/ 2147483647 h 666"/>
                  <a:gd name="T70" fmla="*/ 2147483647 w 1182"/>
                  <a:gd name="T71" fmla="*/ 2147483647 h 666"/>
                  <a:gd name="T72" fmla="*/ 2147483647 w 1182"/>
                  <a:gd name="T73" fmla="*/ 2147483647 h 666"/>
                  <a:gd name="T74" fmla="*/ 2147483647 w 1182"/>
                  <a:gd name="T75" fmla="*/ 2147483647 h 666"/>
                  <a:gd name="T76" fmla="*/ 2147483647 w 1182"/>
                  <a:gd name="T77" fmla="*/ 2147483647 h 666"/>
                  <a:gd name="T78" fmla="*/ 2147483647 w 1182"/>
                  <a:gd name="T79" fmla="*/ 2147483647 h 666"/>
                  <a:gd name="T80" fmla="*/ 2147483647 w 1182"/>
                  <a:gd name="T81" fmla="*/ 2147483647 h 666"/>
                  <a:gd name="T82" fmla="*/ 2147483647 w 1182"/>
                  <a:gd name="T83" fmla="*/ 2147483647 h 666"/>
                  <a:gd name="T84" fmla="*/ 2147483647 w 1182"/>
                  <a:gd name="T85" fmla="*/ 2147483647 h 666"/>
                  <a:gd name="T86" fmla="*/ 2147483647 w 1182"/>
                  <a:gd name="T87" fmla="*/ 2147483647 h 666"/>
                  <a:gd name="T88" fmla="*/ 2147483647 w 1182"/>
                  <a:gd name="T89" fmla="*/ 2147483647 h 666"/>
                  <a:gd name="T90" fmla="*/ 2147483647 w 1182"/>
                  <a:gd name="T91" fmla="*/ 2147483647 h 666"/>
                  <a:gd name="T92" fmla="*/ 2147483647 w 1182"/>
                  <a:gd name="T93" fmla="*/ 2147483647 h 666"/>
                  <a:gd name="T94" fmla="*/ 2147483647 w 1182"/>
                  <a:gd name="T95" fmla="*/ 2147483647 h 666"/>
                  <a:gd name="T96" fmla="*/ 2147483647 w 1182"/>
                  <a:gd name="T97" fmla="*/ 2147483647 h 666"/>
                  <a:gd name="T98" fmla="*/ 2147483647 w 1182"/>
                  <a:gd name="T99" fmla="*/ 2147483647 h 666"/>
                  <a:gd name="T100" fmla="*/ 2147483647 w 1182"/>
                  <a:gd name="T101" fmla="*/ 2147483647 h 666"/>
                  <a:gd name="T102" fmla="*/ 2147483647 w 1182"/>
                  <a:gd name="T103" fmla="*/ 2147483647 h 666"/>
                  <a:gd name="T104" fmla="*/ 2147483647 w 1182"/>
                  <a:gd name="T105" fmla="*/ 2147483647 h 666"/>
                  <a:gd name="T106" fmla="*/ 2147483647 w 1182"/>
                  <a:gd name="T107" fmla="*/ 2147483647 h 666"/>
                  <a:gd name="T108" fmla="*/ 2147483647 w 1182"/>
                  <a:gd name="T109" fmla="*/ 2147483647 h 666"/>
                  <a:gd name="T110" fmla="*/ 2147483647 w 1182"/>
                  <a:gd name="T111" fmla="*/ 2147483647 h 666"/>
                  <a:gd name="T112" fmla="*/ 2147483647 w 1182"/>
                  <a:gd name="T113" fmla="*/ 2147483647 h 666"/>
                  <a:gd name="T114" fmla="*/ 2147483647 w 1182"/>
                  <a:gd name="T115" fmla="*/ 2147483647 h 66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182"/>
                  <a:gd name="T175" fmla="*/ 0 h 666"/>
                  <a:gd name="T176" fmla="*/ 1182 w 1182"/>
                  <a:gd name="T177" fmla="*/ 666 h 66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182" h="666">
                    <a:moveTo>
                      <a:pt x="1152" y="372"/>
                    </a:moveTo>
                    <a:lnTo>
                      <a:pt x="1146" y="360"/>
                    </a:lnTo>
                    <a:lnTo>
                      <a:pt x="1122" y="360"/>
                    </a:lnTo>
                    <a:lnTo>
                      <a:pt x="1116" y="342"/>
                    </a:lnTo>
                    <a:lnTo>
                      <a:pt x="1098" y="342"/>
                    </a:lnTo>
                    <a:lnTo>
                      <a:pt x="1080" y="318"/>
                    </a:lnTo>
                    <a:lnTo>
                      <a:pt x="1080" y="330"/>
                    </a:lnTo>
                    <a:lnTo>
                      <a:pt x="1068" y="330"/>
                    </a:lnTo>
                    <a:lnTo>
                      <a:pt x="1068" y="342"/>
                    </a:lnTo>
                    <a:lnTo>
                      <a:pt x="1032" y="342"/>
                    </a:lnTo>
                    <a:lnTo>
                      <a:pt x="1020" y="330"/>
                    </a:lnTo>
                    <a:lnTo>
                      <a:pt x="990" y="318"/>
                    </a:lnTo>
                    <a:lnTo>
                      <a:pt x="1038" y="270"/>
                    </a:lnTo>
                    <a:lnTo>
                      <a:pt x="1038" y="264"/>
                    </a:lnTo>
                    <a:lnTo>
                      <a:pt x="1032" y="264"/>
                    </a:lnTo>
                    <a:lnTo>
                      <a:pt x="1032" y="258"/>
                    </a:lnTo>
                    <a:lnTo>
                      <a:pt x="1002" y="276"/>
                    </a:lnTo>
                    <a:lnTo>
                      <a:pt x="978" y="276"/>
                    </a:lnTo>
                    <a:lnTo>
                      <a:pt x="966" y="300"/>
                    </a:lnTo>
                    <a:lnTo>
                      <a:pt x="960" y="300"/>
                    </a:lnTo>
                    <a:lnTo>
                      <a:pt x="954" y="306"/>
                    </a:lnTo>
                    <a:lnTo>
                      <a:pt x="942" y="306"/>
                    </a:lnTo>
                    <a:lnTo>
                      <a:pt x="930" y="312"/>
                    </a:lnTo>
                    <a:lnTo>
                      <a:pt x="918" y="324"/>
                    </a:lnTo>
                    <a:lnTo>
                      <a:pt x="918" y="342"/>
                    </a:lnTo>
                    <a:lnTo>
                      <a:pt x="912" y="342"/>
                    </a:lnTo>
                    <a:lnTo>
                      <a:pt x="906" y="348"/>
                    </a:lnTo>
                    <a:lnTo>
                      <a:pt x="894" y="354"/>
                    </a:lnTo>
                    <a:lnTo>
                      <a:pt x="882" y="366"/>
                    </a:lnTo>
                    <a:lnTo>
                      <a:pt x="882" y="378"/>
                    </a:lnTo>
                    <a:lnTo>
                      <a:pt x="888" y="384"/>
                    </a:lnTo>
                    <a:lnTo>
                      <a:pt x="888" y="396"/>
                    </a:lnTo>
                    <a:lnTo>
                      <a:pt x="882" y="390"/>
                    </a:lnTo>
                    <a:lnTo>
                      <a:pt x="870" y="390"/>
                    </a:lnTo>
                    <a:lnTo>
                      <a:pt x="858" y="384"/>
                    </a:lnTo>
                    <a:lnTo>
                      <a:pt x="852" y="384"/>
                    </a:lnTo>
                    <a:lnTo>
                      <a:pt x="852" y="372"/>
                    </a:lnTo>
                    <a:lnTo>
                      <a:pt x="858" y="366"/>
                    </a:lnTo>
                    <a:lnTo>
                      <a:pt x="858" y="348"/>
                    </a:lnTo>
                    <a:lnTo>
                      <a:pt x="840" y="342"/>
                    </a:lnTo>
                    <a:lnTo>
                      <a:pt x="762" y="342"/>
                    </a:lnTo>
                    <a:lnTo>
                      <a:pt x="732" y="282"/>
                    </a:lnTo>
                    <a:lnTo>
                      <a:pt x="726" y="276"/>
                    </a:lnTo>
                    <a:lnTo>
                      <a:pt x="714" y="276"/>
                    </a:lnTo>
                    <a:lnTo>
                      <a:pt x="708" y="282"/>
                    </a:lnTo>
                    <a:lnTo>
                      <a:pt x="702" y="282"/>
                    </a:lnTo>
                    <a:lnTo>
                      <a:pt x="696" y="276"/>
                    </a:lnTo>
                    <a:lnTo>
                      <a:pt x="696" y="234"/>
                    </a:lnTo>
                    <a:lnTo>
                      <a:pt x="690" y="216"/>
                    </a:lnTo>
                    <a:lnTo>
                      <a:pt x="690" y="204"/>
                    </a:lnTo>
                    <a:lnTo>
                      <a:pt x="660" y="204"/>
                    </a:lnTo>
                    <a:lnTo>
                      <a:pt x="654" y="192"/>
                    </a:lnTo>
                    <a:lnTo>
                      <a:pt x="642" y="186"/>
                    </a:lnTo>
                    <a:lnTo>
                      <a:pt x="636" y="168"/>
                    </a:lnTo>
                    <a:lnTo>
                      <a:pt x="618" y="150"/>
                    </a:lnTo>
                    <a:lnTo>
                      <a:pt x="612" y="138"/>
                    </a:lnTo>
                    <a:lnTo>
                      <a:pt x="600" y="138"/>
                    </a:lnTo>
                    <a:lnTo>
                      <a:pt x="576" y="150"/>
                    </a:lnTo>
                    <a:lnTo>
                      <a:pt x="570" y="156"/>
                    </a:lnTo>
                    <a:lnTo>
                      <a:pt x="552" y="156"/>
                    </a:lnTo>
                    <a:lnTo>
                      <a:pt x="534" y="150"/>
                    </a:lnTo>
                    <a:lnTo>
                      <a:pt x="474" y="150"/>
                    </a:lnTo>
                    <a:lnTo>
                      <a:pt x="456" y="156"/>
                    </a:lnTo>
                    <a:lnTo>
                      <a:pt x="420" y="156"/>
                    </a:lnTo>
                    <a:lnTo>
                      <a:pt x="414" y="162"/>
                    </a:lnTo>
                    <a:lnTo>
                      <a:pt x="408" y="162"/>
                    </a:lnTo>
                    <a:lnTo>
                      <a:pt x="330" y="90"/>
                    </a:lnTo>
                    <a:lnTo>
                      <a:pt x="264" y="54"/>
                    </a:lnTo>
                    <a:lnTo>
                      <a:pt x="270" y="66"/>
                    </a:lnTo>
                    <a:lnTo>
                      <a:pt x="270" y="90"/>
                    </a:lnTo>
                    <a:lnTo>
                      <a:pt x="264" y="102"/>
                    </a:lnTo>
                    <a:lnTo>
                      <a:pt x="258" y="108"/>
                    </a:lnTo>
                    <a:lnTo>
                      <a:pt x="240" y="108"/>
                    </a:lnTo>
                    <a:lnTo>
                      <a:pt x="228" y="102"/>
                    </a:lnTo>
                    <a:lnTo>
                      <a:pt x="222" y="96"/>
                    </a:lnTo>
                    <a:lnTo>
                      <a:pt x="222" y="78"/>
                    </a:lnTo>
                    <a:lnTo>
                      <a:pt x="210" y="54"/>
                    </a:lnTo>
                    <a:lnTo>
                      <a:pt x="216" y="36"/>
                    </a:lnTo>
                    <a:lnTo>
                      <a:pt x="162" y="12"/>
                    </a:lnTo>
                    <a:lnTo>
                      <a:pt x="156" y="30"/>
                    </a:lnTo>
                    <a:lnTo>
                      <a:pt x="168" y="36"/>
                    </a:lnTo>
                    <a:lnTo>
                      <a:pt x="174" y="48"/>
                    </a:lnTo>
                    <a:lnTo>
                      <a:pt x="174" y="72"/>
                    </a:lnTo>
                    <a:lnTo>
                      <a:pt x="168" y="78"/>
                    </a:lnTo>
                    <a:lnTo>
                      <a:pt x="156" y="84"/>
                    </a:lnTo>
                    <a:lnTo>
                      <a:pt x="150" y="84"/>
                    </a:lnTo>
                    <a:lnTo>
                      <a:pt x="144" y="78"/>
                    </a:lnTo>
                    <a:lnTo>
                      <a:pt x="144" y="60"/>
                    </a:lnTo>
                    <a:lnTo>
                      <a:pt x="132" y="48"/>
                    </a:lnTo>
                    <a:lnTo>
                      <a:pt x="132" y="42"/>
                    </a:lnTo>
                    <a:lnTo>
                      <a:pt x="144" y="30"/>
                    </a:lnTo>
                    <a:lnTo>
                      <a:pt x="150" y="6"/>
                    </a:lnTo>
                    <a:lnTo>
                      <a:pt x="144" y="0"/>
                    </a:lnTo>
                    <a:lnTo>
                      <a:pt x="0" y="42"/>
                    </a:lnTo>
                    <a:lnTo>
                      <a:pt x="48" y="324"/>
                    </a:lnTo>
                    <a:lnTo>
                      <a:pt x="60" y="324"/>
                    </a:lnTo>
                    <a:lnTo>
                      <a:pt x="72" y="336"/>
                    </a:lnTo>
                    <a:lnTo>
                      <a:pt x="138" y="336"/>
                    </a:lnTo>
                    <a:lnTo>
                      <a:pt x="132" y="324"/>
                    </a:lnTo>
                    <a:lnTo>
                      <a:pt x="120" y="318"/>
                    </a:lnTo>
                    <a:lnTo>
                      <a:pt x="114" y="300"/>
                    </a:lnTo>
                    <a:lnTo>
                      <a:pt x="114" y="288"/>
                    </a:lnTo>
                    <a:lnTo>
                      <a:pt x="132" y="270"/>
                    </a:lnTo>
                    <a:lnTo>
                      <a:pt x="144" y="264"/>
                    </a:lnTo>
                    <a:lnTo>
                      <a:pt x="156" y="264"/>
                    </a:lnTo>
                    <a:lnTo>
                      <a:pt x="162" y="258"/>
                    </a:lnTo>
                    <a:lnTo>
                      <a:pt x="168" y="258"/>
                    </a:lnTo>
                    <a:lnTo>
                      <a:pt x="168" y="246"/>
                    </a:lnTo>
                    <a:lnTo>
                      <a:pt x="174" y="240"/>
                    </a:lnTo>
                    <a:lnTo>
                      <a:pt x="180" y="240"/>
                    </a:lnTo>
                    <a:lnTo>
                      <a:pt x="186" y="246"/>
                    </a:lnTo>
                    <a:lnTo>
                      <a:pt x="198" y="246"/>
                    </a:lnTo>
                    <a:lnTo>
                      <a:pt x="204" y="252"/>
                    </a:lnTo>
                    <a:lnTo>
                      <a:pt x="174" y="222"/>
                    </a:lnTo>
                    <a:lnTo>
                      <a:pt x="204" y="228"/>
                    </a:lnTo>
                    <a:lnTo>
                      <a:pt x="210" y="216"/>
                    </a:lnTo>
                    <a:lnTo>
                      <a:pt x="228" y="240"/>
                    </a:lnTo>
                    <a:lnTo>
                      <a:pt x="252" y="240"/>
                    </a:lnTo>
                    <a:lnTo>
                      <a:pt x="252" y="252"/>
                    </a:lnTo>
                    <a:lnTo>
                      <a:pt x="264" y="258"/>
                    </a:lnTo>
                    <a:lnTo>
                      <a:pt x="300" y="258"/>
                    </a:lnTo>
                    <a:lnTo>
                      <a:pt x="306" y="264"/>
                    </a:lnTo>
                    <a:lnTo>
                      <a:pt x="312" y="276"/>
                    </a:lnTo>
                    <a:lnTo>
                      <a:pt x="312" y="288"/>
                    </a:lnTo>
                    <a:lnTo>
                      <a:pt x="324" y="294"/>
                    </a:lnTo>
                    <a:lnTo>
                      <a:pt x="312" y="306"/>
                    </a:lnTo>
                    <a:lnTo>
                      <a:pt x="312" y="318"/>
                    </a:lnTo>
                    <a:lnTo>
                      <a:pt x="330" y="336"/>
                    </a:lnTo>
                    <a:lnTo>
                      <a:pt x="360" y="336"/>
                    </a:lnTo>
                    <a:lnTo>
                      <a:pt x="414" y="342"/>
                    </a:lnTo>
                    <a:lnTo>
                      <a:pt x="414" y="336"/>
                    </a:lnTo>
                    <a:lnTo>
                      <a:pt x="450" y="354"/>
                    </a:lnTo>
                    <a:lnTo>
                      <a:pt x="468" y="384"/>
                    </a:lnTo>
                    <a:lnTo>
                      <a:pt x="486" y="402"/>
                    </a:lnTo>
                    <a:lnTo>
                      <a:pt x="486" y="408"/>
                    </a:lnTo>
                    <a:lnTo>
                      <a:pt x="492" y="414"/>
                    </a:lnTo>
                    <a:lnTo>
                      <a:pt x="510" y="450"/>
                    </a:lnTo>
                    <a:lnTo>
                      <a:pt x="522" y="462"/>
                    </a:lnTo>
                    <a:lnTo>
                      <a:pt x="534" y="468"/>
                    </a:lnTo>
                    <a:lnTo>
                      <a:pt x="552" y="468"/>
                    </a:lnTo>
                    <a:lnTo>
                      <a:pt x="564" y="474"/>
                    </a:lnTo>
                    <a:lnTo>
                      <a:pt x="570" y="474"/>
                    </a:lnTo>
                    <a:lnTo>
                      <a:pt x="582" y="486"/>
                    </a:lnTo>
                    <a:lnTo>
                      <a:pt x="588" y="498"/>
                    </a:lnTo>
                    <a:lnTo>
                      <a:pt x="594" y="504"/>
                    </a:lnTo>
                    <a:lnTo>
                      <a:pt x="624" y="522"/>
                    </a:lnTo>
                    <a:lnTo>
                      <a:pt x="648" y="522"/>
                    </a:lnTo>
                    <a:lnTo>
                      <a:pt x="666" y="534"/>
                    </a:lnTo>
                    <a:lnTo>
                      <a:pt x="690" y="546"/>
                    </a:lnTo>
                    <a:lnTo>
                      <a:pt x="696" y="552"/>
                    </a:lnTo>
                    <a:lnTo>
                      <a:pt x="708" y="558"/>
                    </a:lnTo>
                    <a:lnTo>
                      <a:pt x="720" y="570"/>
                    </a:lnTo>
                    <a:lnTo>
                      <a:pt x="732" y="570"/>
                    </a:lnTo>
                    <a:lnTo>
                      <a:pt x="744" y="582"/>
                    </a:lnTo>
                    <a:lnTo>
                      <a:pt x="750" y="582"/>
                    </a:lnTo>
                    <a:lnTo>
                      <a:pt x="774" y="576"/>
                    </a:lnTo>
                    <a:lnTo>
                      <a:pt x="822" y="606"/>
                    </a:lnTo>
                    <a:lnTo>
                      <a:pt x="816" y="612"/>
                    </a:lnTo>
                    <a:lnTo>
                      <a:pt x="816" y="630"/>
                    </a:lnTo>
                    <a:lnTo>
                      <a:pt x="828" y="642"/>
                    </a:lnTo>
                    <a:lnTo>
                      <a:pt x="828" y="654"/>
                    </a:lnTo>
                    <a:lnTo>
                      <a:pt x="840" y="654"/>
                    </a:lnTo>
                    <a:lnTo>
                      <a:pt x="852" y="642"/>
                    </a:lnTo>
                    <a:lnTo>
                      <a:pt x="870" y="666"/>
                    </a:lnTo>
                    <a:lnTo>
                      <a:pt x="882" y="660"/>
                    </a:lnTo>
                    <a:lnTo>
                      <a:pt x="894" y="660"/>
                    </a:lnTo>
                    <a:lnTo>
                      <a:pt x="900" y="666"/>
                    </a:lnTo>
                    <a:lnTo>
                      <a:pt x="906" y="666"/>
                    </a:lnTo>
                    <a:lnTo>
                      <a:pt x="900" y="666"/>
                    </a:lnTo>
                    <a:lnTo>
                      <a:pt x="900" y="642"/>
                    </a:lnTo>
                    <a:lnTo>
                      <a:pt x="906" y="636"/>
                    </a:lnTo>
                    <a:lnTo>
                      <a:pt x="912" y="624"/>
                    </a:lnTo>
                    <a:lnTo>
                      <a:pt x="924" y="618"/>
                    </a:lnTo>
                    <a:lnTo>
                      <a:pt x="930" y="606"/>
                    </a:lnTo>
                    <a:lnTo>
                      <a:pt x="930" y="588"/>
                    </a:lnTo>
                    <a:lnTo>
                      <a:pt x="918" y="576"/>
                    </a:lnTo>
                    <a:lnTo>
                      <a:pt x="906" y="570"/>
                    </a:lnTo>
                    <a:lnTo>
                      <a:pt x="900" y="564"/>
                    </a:lnTo>
                    <a:lnTo>
                      <a:pt x="900" y="546"/>
                    </a:lnTo>
                    <a:lnTo>
                      <a:pt x="906" y="540"/>
                    </a:lnTo>
                    <a:lnTo>
                      <a:pt x="906" y="534"/>
                    </a:lnTo>
                    <a:lnTo>
                      <a:pt x="894" y="522"/>
                    </a:lnTo>
                    <a:lnTo>
                      <a:pt x="882" y="522"/>
                    </a:lnTo>
                    <a:lnTo>
                      <a:pt x="876" y="516"/>
                    </a:lnTo>
                    <a:lnTo>
                      <a:pt x="870" y="516"/>
                    </a:lnTo>
                    <a:lnTo>
                      <a:pt x="858" y="504"/>
                    </a:lnTo>
                    <a:lnTo>
                      <a:pt x="840" y="504"/>
                    </a:lnTo>
                    <a:lnTo>
                      <a:pt x="840" y="486"/>
                    </a:lnTo>
                    <a:lnTo>
                      <a:pt x="846" y="480"/>
                    </a:lnTo>
                    <a:lnTo>
                      <a:pt x="894" y="480"/>
                    </a:lnTo>
                    <a:lnTo>
                      <a:pt x="918" y="468"/>
                    </a:lnTo>
                    <a:lnTo>
                      <a:pt x="918" y="456"/>
                    </a:lnTo>
                    <a:lnTo>
                      <a:pt x="912" y="456"/>
                    </a:lnTo>
                    <a:lnTo>
                      <a:pt x="930" y="444"/>
                    </a:lnTo>
                    <a:lnTo>
                      <a:pt x="906" y="420"/>
                    </a:lnTo>
                    <a:lnTo>
                      <a:pt x="948" y="420"/>
                    </a:lnTo>
                    <a:lnTo>
                      <a:pt x="948" y="414"/>
                    </a:lnTo>
                    <a:lnTo>
                      <a:pt x="936" y="402"/>
                    </a:lnTo>
                    <a:lnTo>
                      <a:pt x="936" y="390"/>
                    </a:lnTo>
                    <a:lnTo>
                      <a:pt x="942" y="384"/>
                    </a:lnTo>
                    <a:lnTo>
                      <a:pt x="942" y="372"/>
                    </a:lnTo>
                    <a:lnTo>
                      <a:pt x="954" y="372"/>
                    </a:lnTo>
                    <a:lnTo>
                      <a:pt x="972" y="390"/>
                    </a:lnTo>
                    <a:lnTo>
                      <a:pt x="978" y="390"/>
                    </a:lnTo>
                    <a:lnTo>
                      <a:pt x="984" y="378"/>
                    </a:lnTo>
                    <a:lnTo>
                      <a:pt x="996" y="372"/>
                    </a:lnTo>
                    <a:lnTo>
                      <a:pt x="1002" y="360"/>
                    </a:lnTo>
                    <a:lnTo>
                      <a:pt x="1020" y="360"/>
                    </a:lnTo>
                    <a:lnTo>
                      <a:pt x="1032" y="366"/>
                    </a:lnTo>
                    <a:lnTo>
                      <a:pt x="1038" y="372"/>
                    </a:lnTo>
                    <a:lnTo>
                      <a:pt x="1014" y="408"/>
                    </a:lnTo>
                    <a:lnTo>
                      <a:pt x="1026" y="408"/>
                    </a:lnTo>
                    <a:lnTo>
                      <a:pt x="1032" y="414"/>
                    </a:lnTo>
                    <a:lnTo>
                      <a:pt x="1044" y="414"/>
                    </a:lnTo>
                    <a:lnTo>
                      <a:pt x="1050" y="420"/>
                    </a:lnTo>
                    <a:lnTo>
                      <a:pt x="1056" y="420"/>
                    </a:lnTo>
                    <a:lnTo>
                      <a:pt x="1068" y="414"/>
                    </a:lnTo>
                    <a:lnTo>
                      <a:pt x="1086" y="414"/>
                    </a:lnTo>
                    <a:lnTo>
                      <a:pt x="1092" y="420"/>
                    </a:lnTo>
                    <a:lnTo>
                      <a:pt x="1098" y="420"/>
                    </a:lnTo>
                    <a:lnTo>
                      <a:pt x="1104" y="426"/>
                    </a:lnTo>
                    <a:lnTo>
                      <a:pt x="1110" y="426"/>
                    </a:lnTo>
                    <a:lnTo>
                      <a:pt x="1128" y="408"/>
                    </a:lnTo>
                    <a:lnTo>
                      <a:pt x="1146" y="402"/>
                    </a:lnTo>
                    <a:lnTo>
                      <a:pt x="1146" y="396"/>
                    </a:lnTo>
                    <a:lnTo>
                      <a:pt x="1158" y="396"/>
                    </a:lnTo>
                    <a:lnTo>
                      <a:pt x="1170" y="390"/>
                    </a:lnTo>
                    <a:lnTo>
                      <a:pt x="1182" y="378"/>
                    </a:lnTo>
                    <a:lnTo>
                      <a:pt x="1182" y="366"/>
                    </a:lnTo>
                    <a:lnTo>
                      <a:pt x="1170" y="366"/>
                    </a:lnTo>
                    <a:lnTo>
                      <a:pt x="1158" y="372"/>
                    </a:lnTo>
                    <a:lnTo>
                      <a:pt x="1152" y="372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00" name="United Arab Emirates"/>
              <p:cNvSpPr>
                <a:spLocks/>
              </p:cNvSpPr>
              <p:nvPr/>
            </p:nvSpPr>
            <p:spPr bwMode="gray">
              <a:xfrm>
                <a:off x="5662622" y="3216278"/>
                <a:ext cx="136525" cy="128588"/>
              </a:xfrm>
              <a:custGeom>
                <a:avLst/>
                <a:gdLst>
                  <a:gd name="T0" fmla="*/ 2147483647 w 336"/>
                  <a:gd name="T1" fmla="*/ 2147483647 h 318"/>
                  <a:gd name="T2" fmla="*/ 2147483647 w 336"/>
                  <a:gd name="T3" fmla="*/ 2147483647 h 318"/>
                  <a:gd name="T4" fmla="*/ 2147483647 w 336"/>
                  <a:gd name="T5" fmla="*/ 2147483647 h 318"/>
                  <a:gd name="T6" fmla="*/ 2147483647 w 336"/>
                  <a:gd name="T7" fmla="*/ 2147483647 h 318"/>
                  <a:gd name="T8" fmla="*/ 2147483647 w 336"/>
                  <a:gd name="T9" fmla="*/ 2147483647 h 318"/>
                  <a:gd name="T10" fmla="*/ 2147483647 w 336"/>
                  <a:gd name="T11" fmla="*/ 0 h 318"/>
                  <a:gd name="T12" fmla="*/ 2147483647 w 336"/>
                  <a:gd name="T13" fmla="*/ 2147483647 h 318"/>
                  <a:gd name="T14" fmla="*/ 2147483647 w 336"/>
                  <a:gd name="T15" fmla="*/ 2147483647 h 318"/>
                  <a:gd name="T16" fmla="*/ 2147483647 w 336"/>
                  <a:gd name="T17" fmla="*/ 2147483647 h 318"/>
                  <a:gd name="T18" fmla="*/ 2147483647 w 336"/>
                  <a:gd name="T19" fmla="*/ 2147483647 h 318"/>
                  <a:gd name="T20" fmla="*/ 2147483647 w 336"/>
                  <a:gd name="T21" fmla="*/ 2147483647 h 318"/>
                  <a:gd name="T22" fmla="*/ 2147483647 w 336"/>
                  <a:gd name="T23" fmla="*/ 2147483647 h 318"/>
                  <a:gd name="T24" fmla="*/ 2147483647 w 336"/>
                  <a:gd name="T25" fmla="*/ 2147483647 h 318"/>
                  <a:gd name="T26" fmla="*/ 2147483647 w 336"/>
                  <a:gd name="T27" fmla="*/ 2147483647 h 318"/>
                  <a:gd name="T28" fmla="*/ 2147483647 w 336"/>
                  <a:gd name="T29" fmla="*/ 2147483647 h 318"/>
                  <a:gd name="T30" fmla="*/ 2147483647 w 336"/>
                  <a:gd name="T31" fmla="*/ 2147483647 h 318"/>
                  <a:gd name="T32" fmla="*/ 2147483647 w 336"/>
                  <a:gd name="T33" fmla="*/ 2147483647 h 318"/>
                  <a:gd name="T34" fmla="*/ 2147483647 w 336"/>
                  <a:gd name="T35" fmla="*/ 2147483647 h 318"/>
                  <a:gd name="T36" fmla="*/ 0 w 336"/>
                  <a:gd name="T37" fmla="*/ 2147483647 h 318"/>
                  <a:gd name="T38" fmla="*/ 2147483647 w 336"/>
                  <a:gd name="T39" fmla="*/ 2147483647 h 318"/>
                  <a:gd name="T40" fmla="*/ 2147483647 w 336"/>
                  <a:gd name="T41" fmla="*/ 2147483647 h 318"/>
                  <a:gd name="T42" fmla="*/ 2147483647 w 336"/>
                  <a:gd name="T43" fmla="*/ 2147483647 h 318"/>
                  <a:gd name="T44" fmla="*/ 2147483647 w 336"/>
                  <a:gd name="T45" fmla="*/ 2147483647 h 318"/>
                  <a:gd name="T46" fmla="*/ 2147483647 w 336"/>
                  <a:gd name="T47" fmla="*/ 2147483647 h 318"/>
                  <a:gd name="T48" fmla="*/ 2147483647 w 336"/>
                  <a:gd name="T49" fmla="*/ 2147483647 h 318"/>
                  <a:gd name="T50" fmla="*/ 2147483647 w 336"/>
                  <a:gd name="T51" fmla="*/ 2147483647 h 318"/>
                  <a:gd name="T52" fmla="*/ 2147483647 w 336"/>
                  <a:gd name="T53" fmla="*/ 2147483647 h 318"/>
                  <a:gd name="T54" fmla="*/ 2147483647 w 336"/>
                  <a:gd name="T55" fmla="*/ 2147483647 h 318"/>
                  <a:gd name="T56" fmla="*/ 2147483647 w 336"/>
                  <a:gd name="T57" fmla="*/ 2147483647 h 318"/>
                  <a:gd name="T58" fmla="*/ 2147483647 w 336"/>
                  <a:gd name="T59" fmla="*/ 2147483647 h 318"/>
                  <a:gd name="T60" fmla="*/ 2147483647 w 336"/>
                  <a:gd name="T61" fmla="*/ 2147483647 h 318"/>
                  <a:gd name="T62" fmla="*/ 2147483647 w 336"/>
                  <a:gd name="T63" fmla="*/ 2147483647 h 318"/>
                  <a:gd name="T64" fmla="*/ 2147483647 w 336"/>
                  <a:gd name="T65" fmla="*/ 2147483647 h 318"/>
                  <a:gd name="T66" fmla="*/ 2147483647 w 336"/>
                  <a:gd name="T67" fmla="*/ 2147483647 h 318"/>
                  <a:gd name="T68" fmla="*/ 2147483647 w 336"/>
                  <a:gd name="T69" fmla="*/ 2147483647 h 31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36"/>
                  <a:gd name="T106" fmla="*/ 0 h 318"/>
                  <a:gd name="T107" fmla="*/ 336 w 336"/>
                  <a:gd name="T108" fmla="*/ 318 h 31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36" h="318">
                    <a:moveTo>
                      <a:pt x="300" y="120"/>
                    </a:moveTo>
                    <a:lnTo>
                      <a:pt x="306" y="120"/>
                    </a:lnTo>
                    <a:lnTo>
                      <a:pt x="306" y="126"/>
                    </a:lnTo>
                    <a:lnTo>
                      <a:pt x="312" y="138"/>
                    </a:lnTo>
                    <a:lnTo>
                      <a:pt x="336" y="132"/>
                    </a:lnTo>
                    <a:lnTo>
                      <a:pt x="330" y="120"/>
                    </a:lnTo>
                    <a:lnTo>
                      <a:pt x="324" y="102"/>
                    </a:lnTo>
                    <a:lnTo>
                      <a:pt x="324" y="60"/>
                    </a:lnTo>
                    <a:lnTo>
                      <a:pt x="330" y="42"/>
                    </a:lnTo>
                    <a:lnTo>
                      <a:pt x="330" y="6"/>
                    </a:lnTo>
                    <a:lnTo>
                      <a:pt x="324" y="0"/>
                    </a:lnTo>
                    <a:lnTo>
                      <a:pt x="318" y="0"/>
                    </a:lnTo>
                    <a:lnTo>
                      <a:pt x="312" y="6"/>
                    </a:lnTo>
                    <a:lnTo>
                      <a:pt x="306" y="18"/>
                    </a:lnTo>
                    <a:lnTo>
                      <a:pt x="300" y="36"/>
                    </a:lnTo>
                    <a:lnTo>
                      <a:pt x="288" y="60"/>
                    </a:lnTo>
                    <a:lnTo>
                      <a:pt x="282" y="66"/>
                    </a:lnTo>
                    <a:lnTo>
                      <a:pt x="282" y="72"/>
                    </a:lnTo>
                    <a:lnTo>
                      <a:pt x="276" y="72"/>
                    </a:lnTo>
                    <a:lnTo>
                      <a:pt x="264" y="78"/>
                    </a:lnTo>
                    <a:lnTo>
                      <a:pt x="234" y="108"/>
                    </a:lnTo>
                    <a:lnTo>
                      <a:pt x="228" y="120"/>
                    </a:lnTo>
                    <a:lnTo>
                      <a:pt x="216" y="132"/>
                    </a:lnTo>
                    <a:lnTo>
                      <a:pt x="204" y="138"/>
                    </a:lnTo>
                    <a:lnTo>
                      <a:pt x="198" y="150"/>
                    </a:lnTo>
                    <a:lnTo>
                      <a:pt x="198" y="168"/>
                    </a:lnTo>
                    <a:lnTo>
                      <a:pt x="192" y="180"/>
                    </a:lnTo>
                    <a:lnTo>
                      <a:pt x="192" y="186"/>
                    </a:lnTo>
                    <a:lnTo>
                      <a:pt x="186" y="192"/>
                    </a:lnTo>
                    <a:lnTo>
                      <a:pt x="150" y="192"/>
                    </a:lnTo>
                    <a:lnTo>
                      <a:pt x="132" y="186"/>
                    </a:lnTo>
                    <a:lnTo>
                      <a:pt x="90" y="186"/>
                    </a:lnTo>
                    <a:lnTo>
                      <a:pt x="72" y="192"/>
                    </a:lnTo>
                    <a:lnTo>
                      <a:pt x="48" y="204"/>
                    </a:lnTo>
                    <a:lnTo>
                      <a:pt x="24" y="204"/>
                    </a:lnTo>
                    <a:lnTo>
                      <a:pt x="12" y="192"/>
                    </a:lnTo>
                    <a:lnTo>
                      <a:pt x="0" y="186"/>
                    </a:lnTo>
                    <a:lnTo>
                      <a:pt x="0" y="198"/>
                    </a:lnTo>
                    <a:lnTo>
                      <a:pt x="18" y="216"/>
                    </a:lnTo>
                    <a:lnTo>
                      <a:pt x="30" y="240"/>
                    </a:lnTo>
                    <a:lnTo>
                      <a:pt x="54" y="264"/>
                    </a:lnTo>
                    <a:lnTo>
                      <a:pt x="60" y="276"/>
                    </a:lnTo>
                    <a:lnTo>
                      <a:pt x="72" y="282"/>
                    </a:lnTo>
                    <a:lnTo>
                      <a:pt x="78" y="294"/>
                    </a:lnTo>
                    <a:lnTo>
                      <a:pt x="96" y="294"/>
                    </a:lnTo>
                    <a:lnTo>
                      <a:pt x="132" y="300"/>
                    </a:lnTo>
                    <a:lnTo>
                      <a:pt x="228" y="312"/>
                    </a:lnTo>
                    <a:lnTo>
                      <a:pt x="270" y="318"/>
                    </a:lnTo>
                    <a:lnTo>
                      <a:pt x="264" y="306"/>
                    </a:lnTo>
                    <a:lnTo>
                      <a:pt x="258" y="300"/>
                    </a:lnTo>
                    <a:lnTo>
                      <a:pt x="252" y="288"/>
                    </a:lnTo>
                    <a:lnTo>
                      <a:pt x="252" y="276"/>
                    </a:lnTo>
                    <a:lnTo>
                      <a:pt x="258" y="270"/>
                    </a:lnTo>
                    <a:lnTo>
                      <a:pt x="264" y="258"/>
                    </a:lnTo>
                    <a:lnTo>
                      <a:pt x="270" y="252"/>
                    </a:lnTo>
                    <a:lnTo>
                      <a:pt x="276" y="240"/>
                    </a:lnTo>
                    <a:lnTo>
                      <a:pt x="276" y="228"/>
                    </a:lnTo>
                    <a:lnTo>
                      <a:pt x="282" y="216"/>
                    </a:lnTo>
                    <a:lnTo>
                      <a:pt x="282" y="204"/>
                    </a:lnTo>
                    <a:lnTo>
                      <a:pt x="288" y="198"/>
                    </a:lnTo>
                    <a:lnTo>
                      <a:pt x="288" y="192"/>
                    </a:lnTo>
                    <a:lnTo>
                      <a:pt x="300" y="192"/>
                    </a:lnTo>
                    <a:lnTo>
                      <a:pt x="300" y="198"/>
                    </a:lnTo>
                    <a:lnTo>
                      <a:pt x="306" y="198"/>
                    </a:lnTo>
                    <a:lnTo>
                      <a:pt x="306" y="192"/>
                    </a:lnTo>
                    <a:lnTo>
                      <a:pt x="288" y="174"/>
                    </a:lnTo>
                    <a:lnTo>
                      <a:pt x="288" y="144"/>
                    </a:lnTo>
                    <a:lnTo>
                      <a:pt x="294" y="132"/>
                    </a:lnTo>
                    <a:lnTo>
                      <a:pt x="294" y="126"/>
                    </a:lnTo>
                    <a:lnTo>
                      <a:pt x="300" y="12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01" name="Uganda"/>
              <p:cNvSpPr>
                <a:spLocks noEditPoints="1"/>
              </p:cNvSpPr>
              <p:nvPr/>
            </p:nvSpPr>
            <p:spPr bwMode="gray">
              <a:xfrm>
                <a:off x="5064134" y="3941765"/>
                <a:ext cx="157163" cy="185739"/>
              </a:xfrm>
              <a:custGeom>
                <a:avLst/>
                <a:gdLst>
                  <a:gd name="T0" fmla="*/ 2147483647 w 390"/>
                  <a:gd name="T1" fmla="*/ 2147483647 h 462"/>
                  <a:gd name="T2" fmla="*/ 2147483647 w 390"/>
                  <a:gd name="T3" fmla="*/ 2147483647 h 462"/>
                  <a:gd name="T4" fmla="*/ 2147483647 w 390"/>
                  <a:gd name="T5" fmla="*/ 2147483647 h 462"/>
                  <a:gd name="T6" fmla="*/ 2147483647 w 390"/>
                  <a:gd name="T7" fmla="*/ 2147483647 h 462"/>
                  <a:gd name="T8" fmla="*/ 2147483647 w 390"/>
                  <a:gd name="T9" fmla="*/ 2147483647 h 462"/>
                  <a:gd name="T10" fmla="*/ 2147483647 w 390"/>
                  <a:gd name="T11" fmla="*/ 2147483647 h 462"/>
                  <a:gd name="T12" fmla="*/ 2147483647 w 390"/>
                  <a:gd name="T13" fmla="*/ 2147483647 h 462"/>
                  <a:gd name="T14" fmla="*/ 2147483647 w 390"/>
                  <a:gd name="T15" fmla="*/ 2147483647 h 462"/>
                  <a:gd name="T16" fmla="*/ 2147483647 w 390"/>
                  <a:gd name="T17" fmla="*/ 2147483647 h 462"/>
                  <a:gd name="T18" fmla="*/ 2147483647 w 390"/>
                  <a:gd name="T19" fmla="*/ 2147483647 h 462"/>
                  <a:gd name="T20" fmla="*/ 2147483647 w 390"/>
                  <a:gd name="T21" fmla="*/ 2147483647 h 462"/>
                  <a:gd name="T22" fmla="*/ 2147483647 w 390"/>
                  <a:gd name="T23" fmla="*/ 2147483647 h 462"/>
                  <a:gd name="T24" fmla="*/ 2147483647 w 390"/>
                  <a:gd name="T25" fmla="*/ 0 h 462"/>
                  <a:gd name="T26" fmla="*/ 2147483647 w 390"/>
                  <a:gd name="T27" fmla="*/ 2147483647 h 462"/>
                  <a:gd name="T28" fmla="*/ 2147483647 w 390"/>
                  <a:gd name="T29" fmla="*/ 2147483647 h 462"/>
                  <a:gd name="T30" fmla="*/ 2147483647 w 390"/>
                  <a:gd name="T31" fmla="*/ 2147483647 h 462"/>
                  <a:gd name="T32" fmla="*/ 2147483647 w 390"/>
                  <a:gd name="T33" fmla="*/ 2147483647 h 462"/>
                  <a:gd name="T34" fmla="*/ 2147483647 w 390"/>
                  <a:gd name="T35" fmla="*/ 2147483647 h 462"/>
                  <a:gd name="T36" fmla="*/ 2147483647 w 390"/>
                  <a:gd name="T37" fmla="*/ 2147483647 h 462"/>
                  <a:gd name="T38" fmla="*/ 2147483647 w 390"/>
                  <a:gd name="T39" fmla="*/ 2147483647 h 462"/>
                  <a:gd name="T40" fmla="*/ 2147483647 w 390"/>
                  <a:gd name="T41" fmla="*/ 2147483647 h 462"/>
                  <a:gd name="T42" fmla="*/ 2147483647 w 390"/>
                  <a:gd name="T43" fmla="*/ 2147483647 h 462"/>
                  <a:gd name="T44" fmla="*/ 2147483647 w 390"/>
                  <a:gd name="T45" fmla="*/ 2147483647 h 462"/>
                  <a:gd name="T46" fmla="*/ 2147483647 w 390"/>
                  <a:gd name="T47" fmla="*/ 2147483647 h 462"/>
                  <a:gd name="T48" fmla="*/ 2147483647 w 390"/>
                  <a:gd name="T49" fmla="*/ 2147483647 h 462"/>
                  <a:gd name="T50" fmla="*/ 2147483647 w 390"/>
                  <a:gd name="T51" fmla="*/ 2147483647 h 462"/>
                  <a:gd name="T52" fmla="*/ 2147483647 w 390"/>
                  <a:gd name="T53" fmla="*/ 2147483647 h 462"/>
                  <a:gd name="T54" fmla="*/ 2147483647 w 390"/>
                  <a:gd name="T55" fmla="*/ 2147483647 h 462"/>
                  <a:gd name="T56" fmla="*/ 2147483647 w 390"/>
                  <a:gd name="T57" fmla="*/ 2147483647 h 462"/>
                  <a:gd name="T58" fmla="*/ 2147483647 w 390"/>
                  <a:gd name="T59" fmla="*/ 2147483647 h 462"/>
                  <a:gd name="T60" fmla="*/ 2147483647 w 390"/>
                  <a:gd name="T61" fmla="*/ 2147483647 h 462"/>
                  <a:gd name="T62" fmla="*/ 2147483647 w 390"/>
                  <a:gd name="T63" fmla="*/ 2147483647 h 462"/>
                  <a:gd name="T64" fmla="*/ 2147483647 w 390"/>
                  <a:gd name="T65" fmla="*/ 2147483647 h 462"/>
                  <a:gd name="T66" fmla="*/ 2147483647 w 390"/>
                  <a:gd name="T67" fmla="*/ 2147483647 h 462"/>
                  <a:gd name="T68" fmla="*/ 2147483647 w 390"/>
                  <a:gd name="T69" fmla="*/ 2147483647 h 462"/>
                  <a:gd name="T70" fmla="*/ 2147483647 w 390"/>
                  <a:gd name="T71" fmla="*/ 2147483647 h 462"/>
                  <a:gd name="T72" fmla="*/ 2147483647 w 390"/>
                  <a:gd name="T73" fmla="*/ 2147483647 h 462"/>
                  <a:gd name="T74" fmla="*/ 2147483647 w 390"/>
                  <a:gd name="T75" fmla="*/ 2147483647 h 462"/>
                  <a:gd name="T76" fmla="*/ 2147483647 w 390"/>
                  <a:gd name="T77" fmla="*/ 2147483647 h 462"/>
                  <a:gd name="T78" fmla="*/ 2147483647 w 390"/>
                  <a:gd name="T79" fmla="*/ 2147483647 h 462"/>
                  <a:gd name="T80" fmla="*/ 2147483647 w 390"/>
                  <a:gd name="T81" fmla="*/ 2147483647 h 462"/>
                  <a:gd name="T82" fmla="*/ 2147483647 w 390"/>
                  <a:gd name="T83" fmla="*/ 2147483647 h 462"/>
                  <a:gd name="T84" fmla="*/ 2147483647 w 390"/>
                  <a:gd name="T85" fmla="*/ 2147483647 h 462"/>
                  <a:gd name="T86" fmla="*/ 2147483647 w 390"/>
                  <a:gd name="T87" fmla="*/ 2147483647 h 462"/>
                  <a:gd name="T88" fmla="*/ 2147483647 w 390"/>
                  <a:gd name="T89" fmla="*/ 2147483647 h 462"/>
                  <a:gd name="T90" fmla="*/ 2147483647 w 390"/>
                  <a:gd name="T91" fmla="*/ 2147483647 h 462"/>
                  <a:gd name="T92" fmla="*/ 2147483647 w 390"/>
                  <a:gd name="T93" fmla="*/ 2147483647 h 462"/>
                  <a:gd name="T94" fmla="*/ 2147483647 w 390"/>
                  <a:gd name="T95" fmla="*/ 2147483647 h 462"/>
                  <a:gd name="T96" fmla="*/ 2147483647 w 390"/>
                  <a:gd name="T97" fmla="*/ 2147483647 h 462"/>
                  <a:gd name="T98" fmla="*/ 2147483647 w 390"/>
                  <a:gd name="T99" fmla="*/ 2147483647 h 462"/>
                  <a:gd name="T100" fmla="*/ 2147483647 w 390"/>
                  <a:gd name="T101" fmla="*/ 2147483647 h 462"/>
                  <a:gd name="T102" fmla="*/ 2147483647 w 390"/>
                  <a:gd name="T103" fmla="*/ 2147483647 h 462"/>
                  <a:gd name="T104" fmla="*/ 2147483647 w 390"/>
                  <a:gd name="T105" fmla="*/ 2147483647 h 462"/>
                  <a:gd name="T106" fmla="*/ 2147483647 w 390"/>
                  <a:gd name="T107" fmla="*/ 2147483647 h 46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390"/>
                  <a:gd name="T163" fmla="*/ 0 h 462"/>
                  <a:gd name="T164" fmla="*/ 390 w 390"/>
                  <a:gd name="T165" fmla="*/ 462 h 46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390" h="462">
                    <a:moveTo>
                      <a:pt x="306" y="426"/>
                    </a:moveTo>
                    <a:lnTo>
                      <a:pt x="318" y="426"/>
                    </a:lnTo>
                    <a:lnTo>
                      <a:pt x="318" y="420"/>
                    </a:lnTo>
                    <a:lnTo>
                      <a:pt x="306" y="420"/>
                    </a:lnTo>
                    <a:lnTo>
                      <a:pt x="306" y="426"/>
                    </a:lnTo>
                    <a:close/>
                    <a:moveTo>
                      <a:pt x="390" y="192"/>
                    </a:moveTo>
                    <a:lnTo>
                      <a:pt x="384" y="180"/>
                    </a:lnTo>
                    <a:lnTo>
                      <a:pt x="378" y="174"/>
                    </a:lnTo>
                    <a:lnTo>
                      <a:pt x="366" y="150"/>
                    </a:lnTo>
                    <a:lnTo>
                      <a:pt x="366" y="144"/>
                    </a:lnTo>
                    <a:lnTo>
                      <a:pt x="372" y="138"/>
                    </a:lnTo>
                    <a:lnTo>
                      <a:pt x="378" y="138"/>
                    </a:lnTo>
                    <a:lnTo>
                      <a:pt x="384" y="132"/>
                    </a:lnTo>
                    <a:lnTo>
                      <a:pt x="348" y="90"/>
                    </a:lnTo>
                    <a:lnTo>
                      <a:pt x="354" y="84"/>
                    </a:lnTo>
                    <a:lnTo>
                      <a:pt x="336" y="66"/>
                    </a:lnTo>
                    <a:lnTo>
                      <a:pt x="336" y="60"/>
                    </a:lnTo>
                    <a:lnTo>
                      <a:pt x="342" y="54"/>
                    </a:lnTo>
                    <a:lnTo>
                      <a:pt x="342" y="42"/>
                    </a:lnTo>
                    <a:lnTo>
                      <a:pt x="336" y="42"/>
                    </a:lnTo>
                    <a:lnTo>
                      <a:pt x="336" y="48"/>
                    </a:lnTo>
                    <a:lnTo>
                      <a:pt x="330" y="42"/>
                    </a:lnTo>
                    <a:lnTo>
                      <a:pt x="324" y="42"/>
                    </a:lnTo>
                    <a:lnTo>
                      <a:pt x="324" y="18"/>
                    </a:lnTo>
                    <a:lnTo>
                      <a:pt x="318" y="6"/>
                    </a:lnTo>
                    <a:lnTo>
                      <a:pt x="312" y="0"/>
                    </a:lnTo>
                    <a:lnTo>
                      <a:pt x="300" y="0"/>
                    </a:lnTo>
                    <a:lnTo>
                      <a:pt x="300" y="6"/>
                    </a:lnTo>
                    <a:lnTo>
                      <a:pt x="294" y="12"/>
                    </a:lnTo>
                    <a:lnTo>
                      <a:pt x="294" y="18"/>
                    </a:lnTo>
                    <a:lnTo>
                      <a:pt x="276" y="36"/>
                    </a:lnTo>
                    <a:lnTo>
                      <a:pt x="252" y="36"/>
                    </a:lnTo>
                    <a:lnTo>
                      <a:pt x="246" y="30"/>
                    </a:lnTo>
                    <a:lnTo>
                      <a:pt x="246" y="24"/>
                    </a:lnTo>
                    <a:lnTo>
                      <a:pt x="234" y="24"/>
                    </a:lnTo>
                    <a:lnTo>
                      <a:pt x="222" y="36"/>
                    </a:lnTo>
                    <a:lnTo>
                      <a:pt x="198" y="36"/>
                    </a:lnTo>
                    <a:lnTo>
                      <a:pt x="180" y="60"/>
                    </a:lnTo>
                    <a:lnTo>
                      <a:pt x="156" y="30"/>
                    </a:lnTo>
                    <a:lnTo>
                      <a:pt x="150" y="30"/>
                    </a:lnTo>
                    <a:lnTo>
                      <a:pt x="144" y="36"/>
                    </a:lnTo>
                    <a:lnTo>
                      <a:pt x="144" y="42"/>
                    </a:lnTo>
                    <a:lnTo>
                      <a:pt x="132" y="42"/>
                    </a:lnTo>
                    <a:lnTo>
                      <a:pt x="120" y="36"/>
                    </a:lnTo>
                    <a:lnTo>
                      <a:pt x="114" y="30"/>
                    </a:lnTo>
                    <a:lnTo>
                      <a:pt x="102" y="30"/>
                    </a:lnTo>
                    <a:lnTo>
                      <a:pt x="84" y="48"/>
                    </a:lnTo>
                    <a:lnTo>
                      <a:pt x="90" y="72"/>
                    </a:lnTo>
                    <a:lnTo>
                      <a:pt x="72" y="90"/>
                    </a:lnTo>
                    <a:lnTo>
                      <a:pt x="84" y="96"/>
                    </a:lnTo>
                    <a:lnTo>
                      <a:pt x="90" y="102"/>
                    </a:lnTo>
                    <a:lnTo>
                      <a:pt x="90" y="108"/>
                    </a:lnTo>
                    <a:lnTo>
                      <a:pt x="84" y="114"/>
                    </a:lnTo>
                    <a:lnTo>
                      <a:pt x="78" y="126"/>
                    </a:lnTo>
                    <a:lnTo>
                      <a:pt x="78" y="138"/>
                    </a:lnTo>
                    <a:lnTo>
                      <a:pt x="84" y="144"/>
                    </a:lnTo>
                    <a:lnTo>
                      <a:pt x="96" y="144"/>
                    </a:lnTo>
                    <a:lnTo>
                      <a:pt x="108" y="150"/>
                    </a:lnTo>
                    <a:lnTo>
                      <a:pt x="114" y="156"/>
                    </a:lnTo>
                    <a:lnTo>
                      <a:pt x="114" y="168"/>
                    </a:lnTo>
                    <a:lnTo>
                      <a:pt x="108" y="180"/>
                    </a:lnTo>
                    <a:lnTo>
                      <a:pt x="96" y="192"/>
                    </a:lnTo>
                    <a:lnTo>
                      <a:pt x="84" y="216"/>
                    </a:lnTo>
                    <a:lnTo>
                      <a:pt x="72" y="222"/>
                    </a:lnTo>
                    <a:lnTo>
                      <a:pt x="66" y="234"/>
                    </a:lnTo>
                    <a:lnTo>
                      <a:pt x="42" y="246"/>
                    </a:lnTo>
                    <a:lnTo>
                      <a:pt x="42" y="258"/>
                    </a:lnTo>
                    <a:lnTo>
                      <a:pt x="24" y="270"/>
                    </a:lnTo>
                    <a:lnTo>
                      <a:pt x="6" y="342"/>
                    </a:lnTo>
                    <a:lnTo>
                      <a:pt x="6" y="372"/>
                    </a:lnTo>
                    <a:lnTo>
                      <a:pt x="0" y="450"/>
                    </a:lnTo>
                    <a:lnTo>
                      <a:pt x="12" y="450"/>
                    </a:lnTo>
                    <a:lnTo>
                      <a:pt x="24" y="462"/>
                    </a:lnTo>
                    <a:lnTo>
                      <a:pt x="30" y="462"/>
                    </a:lnTo>
                    <a:lnTo>
                      <a:pt x="42" y="438"/>
                    </a:lnTo>
                    <a:lnTo>
                      <a:pt x="48" y="432"/>
                    </a:lnTo>
                    <a:lnTo>
                      <a:pt x="48" y="426"/>
                    </a:lnTo>
                    <a:lnTo>
                      <a:pt x="72" y="420"/>
                    </a:lnTo>
                    <a:lnTo>
                      <a:pt x="162" y="426"/>
                    </a:lnTo>
                    <a:lnTo>
                      <a:pt x="162" y="414"/>
                    </a:lnTo>
                    <a:lnTo>
                      <a:pt x="156" y="408"/>
                    </a:lnTo>
                    <a:lnTo>
                      <a:pt x="150" y="396"/>
                    </a:lnTo>
                    <a:lnTo>
                      <a:pt x="162" y="372"/>
                    </a:lnTo>
                    <a:lnTo>
                      <a:pt x="168" y="366"/>
                    </a:lnTo>
                    <a:lnTo>
                      <a:pt x="168" y="342"/>
                    </a:lnTo>
                    <a:lnTo>
                      <a:pt x="174" y="336"/>
                    </a:lnTo>
                    <a:lnTo>
                      <a:pt x="186" y="330"/>
                    </a:lnTo>
                    <a:lnTo>
                      <a:pt x="204" y="324"/>
                    </a:lnTo>
                    <a:lnTo>
                      <a:pt x="240" y="324"/>
                    </a:lnTo>
                    <a:lnTo>
                      <a:pt x="252" y="312"/>
                    </a:lnTo>
                    <a:lnTo>
                      <a:pt x="258" y="300"/>
                    </a:lnTo>
                    <a:lnTo>
                      <a:pt x="264" y="300"/>
                    </a:lnTo>
                    <a:lnTo>
                      <a:pt x="264" y="306"/>
                    </a:lnTo>
                    <a:lnTo>
                      <a:pt x="270" y="312"/>
                    </a:lnTo>
                    <a:lnTo>
                      <a:pt x="270" y="330"/>
                    </a:lnTo>
                    <a:lnTo>
                      <a:pt x="276" y="324"/>
                    </a:lnTo>
                    <a:lnTo>
                      <a:pt x="312" y="324"/>
                    </a:lnTo>
                    <a:lnTo>
                      <a:pt x="312" y="330"/>
                    </a:lnTo>
                    <a:lnTo>
                      <a:pt x="312" y="318"/>
                    </a:lnTo>
                    <a:lnTo>
                      <a:pt x="318" y="306"/>
                    </a:lnTo>
                    <a:lnTo>
                      <a:pt x="324" y="300"/>
                    </a:lnTo>
                    <a:lnTo>
                      <a:pt x="330" y="282"/>
                    </a:lnTo>
                    <a:lnTo>
                      <a:pt x="348" y="270"/>
                    </a:lnTo>
                    <a:lnTo>
                      <a:pt x="348" y="246"/>
                    </a:lnTo>
                    <a:lnTo>
                      <a:pt x="354" y="240"/>
                    </a:lnTo>
                    <a:lnTo>
                      <a:pt x="372" y="240"/>
                    </a:lnTo>
                    <a:lnTo>
                      <a:pt x="378" y="216"/>
                    </a:lnTo>
                    <a:lnTo>
                      <a:pt x="390" y="204"/>
                    </a:lnTo>
                    <a:lnTo>
                      <a:pt x="390" y="192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02" name="Turkmenistan"/>
              <p:cNvSpPr>
                <a:spLocks/>
              </p:cNvSpPr>
              <p:nvPr/>
            </p:nvSpPr>
            <p:spPr bwMode="gray">
              <a:xfrm>
                <a:off x="5611822" y="2690815"/>
                <a:ext cx="404813" cy="244475"/>
              </a:xfrm>
              <a:custGeom>
                <a:avLst/>
                <a:gdLst>
                  <a:gd name="T0" fmla="*/ 2147483647 w 1008"/>
                  <a:gd name="T1" fmla="*/ 2147483647 h 606"/>
                  <a:gd name="T2" fmla="*/ 2147483647 w 1008"/>
                  <a:gd name="T3" fmla="*/ 2147483647 h 606"/>
                  <a:gd name="T4" fmla="*/ 2147483647 w 1008"/>
                  <a:gd name="T5" fmla="*/ 2147483647 h 606"/>
                  <a:gd name="T6" fmla="*/ 2147483647 w 1008"/>
                  <a:gd name="T7" fmla="*/ 2147483647 h 606"/>
                  <a:gd name="T8" fmla="*/ 2147483647 w 1008"/>
                  <a:gd name="T9" fmla="*/ 2147483647 h 606"/>
                  <a:gd name="T10" fmla="*/ 2147483647 w 1008"/>
                  <a:gd name="T11" fmla="*/ 2147483647 h 606"/>
                  <a:gd name="T12" fmla="*/ 2147483647 w 1008"/>
                  <a:gd name="T13" fmla="*/ 2147483647 h 606"/>
                  <a:gd name="T14" fmla="*/ 2147483647 w 1008"/>
                  <a:gd name="T15" fmla="*/ 2147483647 h 606"/>
                  <a:gd name="T16" fmla="*/ 2147483647 w 1008"/>
                  <a:gd name="T17" fmla="*/ 2147483647 h 606"/>
                  <a:gd name="T18" fmla="*/ 2147483647 w 1008"/>
                  <a:gd name="T19" fmla="*/ 2147483647 h 606"/>
                  <a:gd name="T20" fmla="*/ 2147483647 w 1008"/>
                  <a:gd name="T21" fmla="*/ 2147483647 h 606"/>
                  <a:gd name="T22" fmla="*/ 2147483647 w 1008"/>
                  <a:gd name="T23" fmla="*/ 2147483647 h 606"/>
                  <a:gd name="T24" fmla="*/ 2147483647 w 1008"/>
                  <a:gd name="T25" fmla="*/ 2147483647 h 606"/>
                  <a:gd name="T26" fmla="*/ 2147483647 w 1008"/>
                  <a:gd name="T27" fmla="*/ 2147483647 h 606"/>
                  <a:gd name="T28" fmla="*/ 2147483647 w 1008"/>
                  <a:gd name="T29" fmla="*/ 2147483647 h 606"/>
                  <a:gd name="T30" fmla="*/ 2147483647 w 1008"/>
                  <a:gd name="T31" fmla="*/ 2147483647 h 606"/>
                  <a:gd name="T32" fmla="*/ 2147483647 w 1008"/>
                  <a:gd name="T33" fmla="*/ 2147483647 h 606"/>
                  <a:gd name="T34" fmla="*/ 2147483647 w 1008"/>
                  <a:gd name="T35" fmla="*/ 2147483647 h 606"/>
                  <a:gd name="T36" fmla="*/ 2147483647 w 1008"/>
                  <a:gd name="T37" fmla="*/ 2147483647 h 606"/>
                  <a:gd name="T38" fmla="*/ 2147483647 w 1008"/>
                  <a:gd name="T39" fmla="*/ 2147483647 h 606"/>
                  <a:gd name="T40" fmla="*/ 2147483647 w 1008"/>
                  <a:gd name="T41" fmla="*/ 2147483647 h 606"/>
                  <a:gd name="T42" fmla="*/ 2147483647 w 1008"/>
                  <a:gd name="T43" fmla="*/ 2147483647 h 606"/>
                  <a:gd name="T44" fmla="*/ 2147483647 w 1008"/>
                  <a:gd name="T45" fmla="*/ 2147483647 h 606"/>
                  <a:gd name="T46" fmla="*/ 2147483647 w 1008"/>
                  <a:gd name="T47" fmla="*/ 2147483647 h 606"/>
                  <a:gd name="T48" fmla="*/ 2147483647 w 1008"/>
                  <a:gd name="T49" fmla="*/ 2147483647 h 606"/>
                  <a:gd name="T50" fmla="*/ 2147483647 w 1008"/>
                  <a:gd name="T51" fmla="*/ 2147483647 h 606"/>
                  <a:gd name="T52" fmla="*/ 2147483647 w 1008"/>
                  <a:gd name="T53" fmla="*/ 2147483647 h 606"/>
                  <a:gd name="T54" fmla="*/ 2147483647 w 1008"/>
                  <a:gd name="T55" fmla="*/ 2147483647 h 606"/>
                  <a:gd name="T56" fmla="*/ 2147483647 w 1008"/>
                  <a:gd name="T57" fmla="*/ 2147483647 h 606"/>
                  <a:gd name="T58" fmla="*/ 2147483647 w 1008"/>
                  <a:gd name="T59" fmla="*/ 2147483647 h 606"/>
                  <a:gd name="T60" fmla="*/ 2147483647 w 1008"/>
                  <a:gd name="T61" fmla="*/ 2147483647 h 606"/>
                  <a:gd name="T62" fmla="*/ 2147483647 w 1008"/>
                  <a:gd name="T63" fmla="*/ 2147483647 h 606"/>
                  <a:gd name="T64" fmla="*/ 2147483647 w 1008"/>
                  <a:gd name="T65" fmla="*/ 2147483647 h 606"/>
                  <a:gd name="T66" fmla="*/ 2147483647 w 1008"/>
                  <a:gd name="T67" fmla="*/ 2147483647 h 606"/>
                  <a:gd name="T68" fmla="*/ 2147483647 w 1008"/>
                  <a:gd name="T69" fmla="*/ 2147483647 h 606"/>
                  <a:gd name="T70" fmla="*/ 2147483647 w 1008"/>
                  <a:gd name="T71" fmla="*/ 2147483647 h 606"/>
                  <a:gd name="T72" fmla="*/ 2147483647 w 1008"/>
                  <a:gd name="T73" fmla="*/ 2147483647 h 606"/>
                  <a:gd name="T74" fmla="*/ 2147483647 w 1008"/>
                  <a:gd name="T75" fmla="*/ 2147483647 h 606"/>
                  <a:gd name="T76" fmla="*/ 2147483647 w 1008"/>
                  <a:gd name="T77" fmla="*/ 2147483647 h 606"/>
                  <a:gd name="T78" fmla="*/ 2147483647 w 1008"/>
                  <a:gd name="T79" fmla="*/ 2147483647 h 606"/>
                  <a:gd name="T80" fmla="*/ 2147483647 w 1008"/>
                  <a:gd name="T81" fmla="*/ 2147483647 h 606"/>
                  <a:gd name="T82" fmla="*/ 2147483647 w 1008"/>
                  <a:gd name="T83" fmla="*/ 2147483647 h 606"/>
                  <a:gd name="T84" fmla="*/ 2147483647 w 1008"/>
                  <a:gd name="T85" fmla="*/ 2147483647 h 606"/>
                  <a:gd name="T86" fmla="*/ 2147483647 w 1008"/>
                  <a:gd name="T87" fmla="*/ 2147483647 h 606"/>
                  <a:gd name="T88" fmla="*/ 2147483647 w 1008"/>
                  <a:gd name="T89" fmla="*/ 2147483647 h 606"/>
                  <a:gd name="T90" fmla="*/ 2147483647 w 1008"/>
                  <a:gd name="T91" fmla="*/ 2147483647 h 606"/>
                  <a:gd name="T92" fmla="*/ 2147483647 w 1008"/>
                  <a:gd name="T93" fmla="*/ 2147483647 h 606"/>
                  <a:gd name="T94" fmla="*/ 2147483647 w 1008"/>
                  <a:gd name="T95" fmla="*/ 2147483647 h 606"/>
                  <a:gd name="T96" fmla="*/ 2147483647 w 1008"/>
                  <a:gd name="T97" fmla="*/ 2147483647 h 606"/>
                  <a:gd name="T98" fmla="*/ 2147483647 w 1008"/>
                  <a:gd name="T99" fmla="*/ 2147483647 h 606"/>
                  <a:gd name="T100" fmla="*/ 2147483647 w 1008"/>
                  <a:gd name="T101" fmla="*/ 2147483647 h 606"/>
                  <a:gd name="T102" fmla="*/ 2147483647 w 1008"/>
                  <a:gd name="T103" fmla="*/ 2147483647 h 606"/>
                  <a:gd name="T104" fmla="*/ 0 w 1008"/>
                  <a:gd name="T105" fmla="*/ 2147483647 h 606"/>
                  <a:gd name="T106" fmla="*/ 2147483647 w 1008"/>
                  <a:gd name="T107" fmla="*/ 2147483647 h 606"/>
                  <a:gd name="T108" fmla="*/ 2147483647 w 1008"/>
                  <a:gd name="T109" fmla="*/ 2147483647 h 60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008"/>
                  <a:gd name="T166" fmla="*/ 0 h 606"/>
                  <a:gd name="T167" fmla="*/ 1008 w 1008"/>
                  <a:gd name="T168" fmla="*/ 606 h 60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008" h="606">
                    <a:moveTo>
                      <a:pt x="48" y="150"/>
                    </a:moveTo>
                    <a:lnTo>
                      <a:pt x="48" y="156"/>
                    </a:lnTo>
                    <a:lnTo>
                      <a:pt x="42" y="162"/>
                    </a:lnTo>
                    <a:lnTo>
                      <a:pt x="36" y="174"/>
                    </a:lnTo>
                    <a:lnTo>
                      <a:pt x="36" y="186"/>
                    </a:lnTo>
                    <a:lnTo>
                      <a:pt x="42" y="198"/>
                    </a:lnTo>
                    <a:lnTo>
                      <a:pt x="48" y="204"/>
                    </a:lnTo>
                    <a:lnTo>
                      <a:pt x="54" y="216"/>
                    </a:lnTo>
                    <a:lnTo>
                      <a:pt x="60" y="222"/>
                    </a:lnTo>
                    <a:lnTo>
                      <a:pt x="60" y="228"/>
                    </a:lnTo>
                    <a:lnTo>
                      <a:pt x="90" y="222"/>
                    </a:lnTo>
                    <a:lnTo>
                      <a:pt x="90" y="246"/>
                    </a:lnTo>
                    <a:lnTo>
                      <a:pt x="114" y="258"/>
                    </a:lnTo>
                    <a:lnTo>
                      <a:pt x="90" y="258"/>
                    </a:lnTo>
                    <a:lnTo>
                      <a:pt x="78" y="264"/>
                    </a:lnTo>
                    <a:lnTo>
                      <a:pt x="72" y="264"/>
                    </a:lnTo>
                    <a:lnTo>
                      <a:pt x="72" y="270"/>
                    </a:lnTo>
                    <a:lnTo>
                      <a:pt x="78" y="276"/>
                    </a:lnTo>
                    <a:lnTo>
                      <a:pt x="90" y="276"/>
                    </a:lnTo>
                    <a:lnTo>
                      <a:pt x="96" y="282"/>
                    </a:lnTo>
                    <a:lnTo>
                      <a:pt x="114" y="282"/>
                    </a:lnTo>
                    <a:lnTo>
                      <a:pt x="120" y="288"/>
                    </a:lnTo>
                    <a:lnTo>
                      <a:pt x="126" y="300"/>
                    </a:lnTo>
                    <a:lnTo>
                      <a:pt x="132" y="306"/>
                    </a:lnTo>
                    <a:lnTo>
                      <a:pt x="138" y="354"/>
                    </a:lnTo>
                    <a:lnTo>
                      <a:pt x="150" y="360"/>
                    </a:lnTo>
                    <a:lnTo>
                      <a:pt x="150" y="372"/>
                    </a:lnTo>
                    <a:lnTo>
                      <a:pt x="144" y="378"/>
                    </a:lnTo>
                    <a:lnTo>
                      <a:pt x="144" y="402"/>
                    </a:lnTo>
                    <a:lnTo>
                      <a:pt x="150" y="414"/>
                    </a:lnTo>
                    <a:lnTo>
                      <a:pt x="150" y="426"/>
                    </a:lnTo>
                    <a:lnTo>
                      <a:pt x="156" y="432"/>
                    </a:lnTo>
                    <a:lnTo>
                      <a:pt x="156" y="438"/>
                    </a:lnTo>
                    <a:lnTo>
                      <a:pt x="186" y="438"/>
                    </a:lnTo>
                    <a:lnTo>
                      <a:pt x="198" y="426"/>
                    </a:lnTo>
                    <a:lnTo>
                      <a:pt x="210" y="420"/>
                    </a:lnTo>
                    <a:lnTo>
                      <a:pt x="210" y="408"/>
                    </a:lnTo>
                    <a:lnTo>
                      <a:pt x="216" y="402"/>
                    </a:lnTo>
                    <a:lnTo>
                      <a:pt x="228" y="396"/>
                    </a:lnTo>
                    <a:lnTo>
                      <a:pt x="246" y="378"/>
                    </a:lnTo>
                    <a:lnTo>
                      <a:pt x="258" y="372"/>
                    </a:lnTo>
                    <a:lnTo>
                      <a:pt x="294" y="372"/>
                    </a:lnTo>
                    <a:lnTo>
                      <a:pt x="306" y="378"/>
                    </a:lnTo>
                    <a:lnTo>
                      <a:pt x="312" y="372"/>
                    </a:lnTo>
                    <a:lnTo>
                      <a:pt x="312" y="366"/>
                    </a:lnTo>
                    <a:lnTo>
                      <a:pt x="372" y="366"/>
                    </a:lnTo>
                    <a:lnTo>
                      <a:pt x="384" y="378"/>
                    </a:lnTo>
                    <a:lnTo>
                      <a:pt x="384" y="390"/>
                    </a:lnTo>
                    <a:lnTo>
                      <a:pt x="414" y="390"/>
                    </a:lnTo>
                    <a:lnTo>
                      <a:pt x="420" y="396"/>
                    </a:lnTo>
                    <a:lnTo>
                      <a:pt x="432" y="402"/>
                    </a:lnTo>
                    <a:lnTo>
                      <a:pt x="438" y="408"/>
                    </a:lnTo>
                    <a:lnTo>
                      <a:pt x="450" y="414"/>
                    </a:lnTo>
                    <a:lnTo>
                      <a:pt x="450" y="408"/>
                    </a:lnTo>
                    <a:lnTo>
                      <a:pt x="468" y="408"/>
                    </a:lnTo>
                    <a:lnTo>
                      <a:pt x="480" y="414"/>
                    </a:lnTo>
                    <a:lnTo>
                      <a:pt x="498" y="414"/>
                    </a:lnTo>
                    <a:lnTo>
                      <a:pt x="510" y="420"/>
                    </a:lnTo>
                    <a:lnTo>
                      <a:pt x="516" y="420"/>
                    </a:lnTo>
                    <a:lnTo>
                      <a:pt x="522" y="426"/>
                    </a:lnTo>
                    <a:lnTo>
                      <a:pt x="522" y="432"/>
                    </a:lnTo>
                    <a:lnTo>
                      <a:pt x="528" y="444"/>
                    </a:lnTo>
                    <a:lnTo>
                      <a:pt x="534" y="450"/>
                    </a:lnTo>
                    <a:lnTo>
                      <a:pt x="540" y="450"/>
                    </a:lnTo>
                    <a:lnTo>
                      <a:pt x="546" y="456"/>
                    </a:lnTo>
                    <a:lnTo>
                      <a:pt x="558" y="456"/>
                    </a:lnTo>
                    <a:lnTo>
                      <a:pt x="570" y="468"/>
                    </a:lnTo>
                    <a:lnTo>
                      <a:pt x="582" y="474"/>
                    </a:lnTo>
                    <a:lnTo>
                      <a:pt x="588" y="486"/>
                    </a:lnTo>
                    <a:lnTo>
                      <a:pt x="594" y="492"/>
                    </a:lnTo>
                    <a:lnTo>
                      <a:pt x="660" y="486"/>
                    </a:lnTo>
                    <a:lnTo>
                      <a:pt x="660" y="522"/>
                    </a:lnTo>
                    <a:lnTo>
                      <a:pt x="672" y="522"/>
                    </a:lnTo>
                    <a:lnTo>
                      <a:pt x="666" y="546"/>
                    </a:lnTo>
                    <a:lnTo>
                      <a:pt x="678" y="576"/>
                    </a:lnTo>
                    <a:lnTo>
                      <a:pt x="684" y="582"/>
                    </a:lnTo>
                    <a:lnTo>
                      <a:pt x="696" y="582"/>
                    </a:lnTo>
                    <a:lnTo>
                      <a:pt x="702" y="588"/>
                    </a:lnTo>
                    <a:lnTo>
                      <a:pt x="714" y="588"/>
                    </a:lnTo>
                    <a:lnTo>
                      <a:pt x="720" y="582"/>
                    </a:lnTo>
                    <a:lnTo>
                      <a:pt x="726" y="582"/>
                    </a:lnTo>
                    <a:lnTo>
                      <a:pt x="750" y="606"/>
                    </a:lnTo>
                    <a:lnTo>
                      <a:pt x="774" y="606"/>
                    </a:lnTo>
                    <a:lnTo>
                      <a:pt x="786" y="600"/>
                    </a:lnTo>
                    <a:lnTo>
                      <a:pt x="792" y="594"/>
                    </a:lnTo>
                    <a:lnTo>
                      <a:pt x="804" y="570"/>
                    </a:lnTo>
                    <a:lnTo>
                      <a:pt x="804" y="558"/>
                    </a:lnTo>
                    <a:lnTo>
                      <a:pt x="816" y="558"/>
                    </a:lnTo>
                    <a:lnTo>
                      <a:pt x="852" y="540"/>
                    </a:lnTo>
                    <a:lnTo>
                      <a:pt x="858" y="528"/>
                    </a:lnTo>
                    <a:lnTo>
                      <a:pt x="870" y="522"/>
                    </a:lnTo>
                    <a:lnTo>
                      <a:pt x="882" y="522"/>
                    </a:lnTo>
                    <a:lnTo>
                      <a:pt x="882" y="462"/>
                    </a:lnTo>
                    <a:lnTo>
                      <a:pt x="888" y="450"/>
                    </a:lnTo>
                    <a:lnTo>
                      <a:pt x="900" y="444"/>
                    </a:lnTo>
                    <a:lnTo>
                      <a:pt x="936" y="444"/>
                    </a:lnTo>
                    <a:lnTo>
                      <a:pt x="936" y="420"/>
                    </a:lnTo>
                    <a:lnTo>
                      <a:pt x="948" y="420"/>
                    </a:lnTo>
                    <a:lnTo>
                      <a:pt x="960" y="426"/>
                    </a:lnTo>
                    <a:lnTo>
                      <a:pt x="966" y="432"/>
                    </a:lnTo>
                    <a:lnTo>
                      <a:pt x="978" y="438"/>
                    </a:lnTo>
                    <a:lnTo>
                      <a:pt x="1008" y="438"/>
                    </a:lnTo>
                    <a:lnTo>
                      <a:pt x="1008" y="426"/>
                    </a:lnTo>
                    <a:lnTo>
                      <a:pt x="996" y="414"/>
                    </a:lnTo>
                    <a:lnTo>
                      <a:pt x="996" y="396"/>
                    </a:lnTo>
                    <a:lnTo>
                      <a:pt x="1002" y="390"/>
                    </a:lnTo>
                    <a:lnTo>
                      <a:pt x="954" y="360"/>
                    </a:lnTo>
                    <a:lnTo>
                      <a:pt x="930" y="366"/>
                    </a:lnTo>
                    <a:lnTo>
                      <a:pt x="924" y="366"/>
                    </a:lnTo>
                    <a:lnTo>
                      <a:pt x="912" y="354"/>
                    </a:lnTo>
                    <a:lnTo>
                      <a:pt x="900" y="354"/>
                    </a:lnTo>
                    <a:lnTo>
                      <a:pt x="888" y="342"/>
                    </a:lnTo>
                    <a:lnTo>
                      <a:pt x="876" y="336"/>
                    </a:lnTo>
                    <a:lnTo>
                      <a:pt x="870" y="330"/>
                    </a:lnTo>
                    <a:lnTo>
                      <a:pt x="846" y="318"/>
                    </a:lnTo>
                    <a:lnTo>
                      <a:pt x="828" y="306"/>
                    </a:lnTo>
                    <a:lnTo>
                      <a:pt x="804" y="306"/>
                    </a:lnTo>
                    <a:lnTo>
                      <a:pt x="774" y="288"/>
                    </a:lnTo>
                    <a:lnTo>
                      <a:pt x="768" y="282"/>
                    </a:lnTo>
                    <a:lnTo>
                      <a:pt x="762" y="270"/>
                    </a:lnTo>
                    <a:lnTo>
                      <a:pt x="750" y="258"/>
                    </a:lnTo>
                    <a:lnTo>
                      <a:pt x="744" y="258"/>
                    </a:lnTo>
                    <a:lnTo>
                      <a:pt x="732" y="252"/>
                    </a:lnTo>
                    <a:lnTo>
                      <a:pt x="714" y="252"/>
                    </a:lnTo>
                    <a:lnTo>
                      <a:pt x="702" y="246"/>
                    </a:lnTo>
                    <a:lnTo>
                      <a:pt x="690" y="234"/>
                    </a:lnTo>
                    <a:lnTo>
                      <a:pt x="672" y="198"/>
                    </a:lnTo>
                    <a:lnTo>
                      <a:pt x="666" y="192"/>
                    </a:lnTo>
                    <a:lnTo>
                      <a:pt x="666" y="186"/>
                    </a:lnTo>
                    <a:lnTo>
                      <a:pt x="648" y="168"/>
                    </a:lnTo>
                    <a:lnTo>
                      <a:pt x="630" y="138"/>
                    </a:lnTo>
                    <a:lnTo>
                      <a:pt x="594" y="120"/>
                    </a:lnTo>
                    <a:lnTo>
                      <a:pt x="594" y="126"/>
                    </a:lnTo>
                    <a:lnTo>
                      <a:pt x="540" y="120"/>
                    </a:lnTo>
                    <a:lnTo>
                      <a:pt x="510" y="120"/>
                    </a:lnTo>
                    <a:lnTo>
                      <a:pt x="492" y="102"/>
                    </a:lnTo>
                    <a:lnTo>
                      <a:pt x="492" y="90"/>
                    </a:lnTo>
                    <a:lnTo>
                      <a:pt x="504" y="78"/>
                    </a:lnTo>
                    <a:lnTo>
                      <a:pt x="492" y="72"/>
                    </a:lnTo>
                    <a:lnTo>
                      <a:pt x="492" y="60"/>
                    </a:lnTo>
                    <a:lnTo>
                      <a:pt x="486" y="48"/>
                    </a:lnTo>
                    <a:lnTo>
                      <a:pt x="480" y="42"/>
                    </a:lnTo>
                    <a:lnTo>
                      <a:pt x="444" y="42"/>
                    </a:lnTo>
                    <a:lnTo>
                      <a:pt x="432" y="36"/>
                    </a:lnTo>
                    <a:lnTo>
                      <a:pt x="432" y="24"/>
                    </a:lnTo>
                    <a:lnTo>
                      <a:pt x="408" y="24"/>
                    </a:lnTo>
                    <a:lnTo>
                      <a:pt x="390" y="0"/>
                    </a:lnTo>
                    <a:lnTo>
                      <a:pt x="384" y="12"/>
                    </a:lnTo>
                    <a:lnTo>
                      <a:pt x="354" y="6"/>
                    </a:lnTo>
                    <a:lnTo>
                      <a:pt x="384" y="36"/>
                    </a:lnTo>
                    <a:lnTo>
                      <a:pt x="378" y="30"/>
                    </a:lnTo>
                    <a:lnTo>
                      <a:pt x="366" y="30"/>
                    </a:lnTo>
                    <a:lnTo>
                      <a:pt x="360" y="24"/>
                    </a:lnTo>
                    <a:lnTo>
                      <a:pt x="354" y="24"/>
                    </a:lnTo>
                    <a:lnTo>
                      <a:pt x="348" y="30"/>
                    </a:lnTo>
                    <a:lnTo>
                      <a:pt x="348" y="42"/>
                    </a:lnTo>
                    <a:lnTo>
                      <a:pt x="342" y="42"/>
                    </a:lnTo>
                    <a:lnTo>
                      <a:pt x="336" y="48"/>
                    </a:lnTo>
                    <a:lnTo>
                      <a:pt x="324" y="48"/>
                    </a:lnTo>
                    <a:lnTo>
                      <a:pt x="312" y="54"/>
                    </a:lnTo>
                    <a:lnTo>
                      <a:pt x="294" y="72"/>
                    </a:lnTo>
                    <a:lnTo>
                      <a:pt x="294" y="84"/>
                    </a:lnTo>
                    <a:lnTo>
                      <a:pt x="300" y="102"/>
                    </a:lnTo>
                    <a:lnTo>
                      <a:pt x="312" y="108"/>
                    </a:lnTo>
                    <a:lnTo>
                      <a:pt x="318" y="120"/>
                    </a:lnTo>
                    <a:lnTo>
                      <a:pt x="252" y="120"/>
                    </a:lnTo>
                    <a:lnTo>
                      <a:pt x="240" y="108"/>
                    </a:lnTo>
                    <a:lnTo>
                      <a:pt x="228" y="108"/>
                    </a:lnTo>
                    <a:lnTo>
                      <a:pt x="228" y="114"/>
                    </a:lnTo>
                    <a:lnTo>
                      <a:pt x="216" y="126"/>
                    </a:lnTo>
                    <a:lnTo>
                      <a:pt x="210" y="120"/>
                    </a:lnTo>
                    <a:lnTo>
                      <a:pt x="198" y="114"/>
                    </a:lnTo>
                    <a:lnTo>
                      <a:pt x="174" y="90"/>
                    </a:lnTo>
                    <a:lnTo>
                      <a:pt x="168" y="78"/>
                    </a:lnTo>
                    <a:lnTo>
                      <a:pt x="162" y="72"/>
                    </a:lnTo>
                    <a:lnTo>
                      <a:pt x="156" y="60"/>
                    </a:lnTo>
                    <a:lnTo>
                      <a:pt x="144" y="54"/>
                    </a:lnTo>
                    <a:lnTo>
                      <a:pt x="132" y="42"/>
                    </a:lnTo>
                    <a:lnTo>
                      <a:pt x="120" y="42"/>
                    </a:lnTo>
                    <a:lnTo>
                      <a:pt x="96" y="30"/>
                    </a:lnTo>
                    <a:lnTo>
                      <a:pt x="78" y="30"/>
                    </a:lnTo>
                    <a:lnTo>
                      <a:pt x="72" y="36"/>
                    </a:lnTo>
                    <a:lnTo>
                      <a:pt x="72" y="48"/>
                    </a:lnTo>
                    <a:lnTo>
                      <a:pt x="84" y="54"/>
                    </a:lnTo>
                    <a:lnTo>
                      <a:pt x="90" y="54"/>
                    </a:lnTo>
                    <a:lnTo>
                      <a:pt x="90" y="66"/>
                    </a:lnTo>
                    <a:lnTo>
                      <a:pt x="96" y="66"/>
                    </a:lnTo>
                    <a:lnTo>
                      <a:pt x="96" y="72"/>
                    </a:lnTo>
                    <a:lnTo>
                      <a:pt x="102" y="84"/>
                    </a:lnTo>
                    <a:lnTo>
                      <a:pt x="114" y="90"/>
                    </a:lnTo>
                    <a:lnTo>
                      <a:pt x="126" y="102"/>
                    </a:lnTo>
                    <a:lnTo>
                      <a:pt x="138" y="108"/>
                    </a:lnTo>
                    <a:lnTo>
                      <a:pt x="150" y="120"/>
                    </a:lnTo>
                    <a:lnTo>
                      <a:pt x="162" y="126"/>
                    </a:lnTo>
                    <a:lnTo>
                      <a:pt x="162" y="150"/>
                    </a:lnTo>
                    <a:lnTo>
                      <a:pt x="156" y="156"/>
                    </a:lnTo>
                    <a:lnTo>
                      <a:pt x="144" y="156"/>
                    </a:lnTo>
                    <a:lnTo>
                      <a:pt x="132" y="150"/>
                    </a:lnTo>
                    <a:lnTo>
                      <a:pt x="120" y="138"/>
                    </a:lnTo>
                    <a:lnTo>
                      <a:pt x="120" y="162"/>
                    </a:lnTo>
                    <a:lnTo>
                      <a:pt x="78" y="162"/>
                    </a:lnTo>
                    <a:lnTo>
                      <a:pt x="66" y="144"/>
                    </a:lnTo>
                    <a:lnTo>
                      <a:pt x="60" y="150"/>
                    </a:lnTo>
                    <a:lnTo>
                      <a:pt x="48" y="138"/>
                    </a:lnTo>
                    <a:lnTo>
                      <a:pt x="42" y="126"/>
                    </a:lnTo>
                    <a:lnTo>
                      <a:pt x="36" y="120"/>
                    </a:lnTo>
                    <a:lnTo>
                      <a:pt x="36" y="102"/>
                    </a:lnTo>
                    <a:lnTo>
                      <a:pt x="30" y="96"/>
                    </a:lnTo>
                    <a:lnTo>
                      <a:pt x="30" y="84"/>
                    </a:lnTo>
                    <a:lnTo>
                      <a:pt x="24" y="78"/>
                    </a:lnTo>
                    <a:lnTo>
                      <a:pt x="0" y="78"/>
                    </a:lnTo>
                    <a:lnTo>
                      <a:pt x="0" y="84"/>
                    </a:lnTo>
                    <a:lnTo>
                      <a:pt x="6" y="90"/>
                    </a:lnTo>
                    <a:lnTo>
                      <a:pt x="12" y="102"/>
                    </a:lnTo>
                    <a:lnTo>
                      <a:pt x="18" y="108"/>
                    </a:lnTo>
                    <a:lnTo>
                      <a:pt x="24" y="120"/>
                    </a:lnTo>
                    <a:lnTo>
                      <a:pt x="36" y="126"/>
                    </a:lnTo>
                    <a:lnTo>
                      <a:pt x="42" y="138"/>
                    </a:lnTo>
                    <a:lnTo>
                      <a:pt x="48" y="144"/>
                    </a:lnTo>
                    <a:lnTo>
                      <a:pt x="48" y="15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03" name="Tunisia"/>
              <p:cNvSpPr>
                <a:spLocks/>
              </p:cNvSpPr>
              <p:nvPr/>
            </p:nvSpPr>
            <p:spPr bwMode="gray">
              <a:xfrm>
                <a:off x="4433895" y="2867027"/>
                <a:ext cx="111125" cy="230188"/>
              </a:xfrm>
              <a:custGeom>
                <a:avLst/>
                <a:gdLst>
                  <a:gd name="T0" fmla="*/ 2147483647 w 276"/>
                  <a:gd name="T1" fmla="*/ 2147483647 h 570"/>
                  <a:gd name="T2" fmla="*/ 2147483647 w 276"/>
                  <a:gd name="T3" fmla="*/ 2147483647 h 570"/>
                  <a:gd name="T4" fmla="*/ 2147483647 w 276"/>
                  <a:gd name="T5" fmla="*/ 2147483647 h 570"/>
                  <a:gd name="T6" fmla="*/ 2147483647 w 276"/>
                  <a:gd name="T7" fmla="*/ 2147483647 h 570"/>
                  <a:gd name="T8" fmla="*/ 2147483647 w 276"/>
                  <a:gd name="T9" fmla="*/ 2147483647 h 570"/>
                  <a:gd name="T10" fmla="*/ 2147483647 w 276"/>
                  <a:gd name="T11" fmla="*/ 2147483647 h 570"/>
                  <a:gd name="T12" fmla="*/ 0 w 276"/>
                  <a:gd name="T13" fmla="*/ 2147483647 h 570"/>
                  <a:gd name="T14" fmla="*/ 2147483647 w 276"/>
                  <a:gd name="T15" fmla="*/ 2147483647 h 570"/>
                  <a:gd name="T16" fmla="*/ 2147483647 w 276"/>
                  <a:gd name="T17" fmla="*/ 2147483647 h 570"/>
                  <a:gd name="T18" fmla="*/ 2147483647 w 276"/>
                  <a:gd name="T19" fmla="*/ 2147483647 h 570"/>
                  <a:gd name="T20" fmla="*/ 2147483647 w 276"/>
                  <a:gd name="T21" fmla="*/ 2147483647 h 570"/>
                  <a:gd name="T22" fmla="*/ 2147483647 w 276"/>
                  <a:gd name="T23" fmla="*/ 2147483647 h 570"/>
                  <a:gd name="T24" fmla="*/ 2147483647 w 276"/>
                  <a:gd name="T25" fmla="*/ 2147483647 h 570"/>
                  <a:gd name="T26" fmla="*/ 2147483647 w 276"/>
                  <a:gd name="T27" fmla="*/ 2147483647 h 570"/>
                  <a:gd name="T28" fmla="*/ 2147483647 w 276"/>
                  <a:gd name="T29" fmla="*/ 2147483647 h 570"/>
                  <a:gd name="T30" fmla="*/ 2147483647 w 276"/>
                  <a:gd name="T31" fmla="*/ 2147483647 h 570"/>
                  <a:gd name="T32" fmla="*/ 2147483647 w 276"/>
                  <a:gd name="T33" fmla="*/ 2147483647 h 570"/>
                  <a:gd name="T34" fmla="*/ 2147483647 w 276"/>
                  <a:gd name="T35" fmla="*/ 2147483647 h 570"/>
                  <a:gd name="T36" fmla="*/ 2147483647 w 276"/>
                  <a:gd name="T37" fmla="*/ 2147483647 h 570"/>
                  <a:gd name="T38" fmla="*/ 2147483647 w 276"/>
                  <a:gd name="T39" fmla="*/ 2147483647 h 570"/>
                  <a:gd name="T40" fmla="*/ 2147483647 w 276"/>
                  <a:gd name="T41" fmla="*/ 2147483647 h 570"/>
                  <a:gd name="T42" fmla="*/ 2147483647 w 276"/>
                  <a:gd name="T43" fmla="*/ 2147483647 h 570"/>
                  <a:gd name="T44" fmla="*/ 2147483647 w 276"/>
                  <a:gd name="T45" fmla="*/ 2147483647 h 570"/>
                  <a:gd name="T46" fmla="*/ 2147483647 w 276"/>
                  <a:gd name="T47" fmla="*/ 2147483647 h 570"/>
                  <a:gd name="T48" fmla="*/ 2147483647 w 276"/>
                  <a:gd name="T49" fmla="*/ 2147483647 h 570"/>
                  <a:gd name="T50" fmla="*/ 2147483647 w 276"/>
                  <a:gd name="T51" fmla="*/ 2147483647 h 570"/>
                  <a:gd name="T52" fmla="*/ 2147483647 w 276"/>
                  <a:gd name="T53" fmla="*/ 2147483647 h 570"/>
                  <a:gd name="T54" fmla="*/ 2147483647 w 276"/>
                  <a:gd name="T55" fmla="*/ 2147483647 h 570"/>
                  <a:gd name="T56" fmla="*/ 2147483647 w 276"/>
                  <a:gd name="T57" fmla="*/ 2147483647 h 570"/>
                  <a:gd name="T58" fmla="*/ 2147483647 w 276"/>
                  <a:gd name="T59" fmla="*/ 2147483647 h 570"/>
                  <a:gd name="T60" fmla="*/ 2147483647 w 276"/>
                  <a:gd name="T61" fmla="*/ 2147483647 h 570"/>
                  <a:gd name="T62" fmla="*/ 2147483647 w 276"/>
                  <a:gd name="T63" fmla="*/ 2147483647 h 570"/>
                  <a:gd name="T64" fmla="*/ 2147483647 w 276"/>
                  <a:gd name="T65" fmla="*/ 2147483647 h 570"/>
                  <a:gd name="T66" fmla="*/ 2147483647 w 276"/>
                  <a:gd name="T67" fmla="*/ 2147483647 h 570"/>
                  <a:gd name="T68" fmla="*/ 2147483647 w 276"/>
                  <a:gd name="T69" fmla="*/ 2147483647 h 570"/>
                  <a:gd name="T70" fmla="*/ 2147483647 w 276"/>
                  <a:gd name="T71" fmla="*/ 2147483647 h 570"/>
                  <a:gd name="T72" fmla="*/ 2147483647 w 276"/>
                  <a:gd name="T73" fmla="*/ 2147483647 h 570"/>
                  <a:gd name="T74" fmla="*/ 2147483647 w 276"/>
                  <a:gd name="T75" fmla="*/ 2147483647 h 570"/>
                  <a:gd name="T76" fmla="*/ 2147483647 w 276"/>
                  <a:gd name="T77" fmla="*/ 2147483647 h 570"/>
                  <a:gd name="T78" fmla="*/ 2147483647 w 276"/>
                  <a:gd name="T79" fmla="*/ 2147483647 h 570"/>
                  <a:gd name="T80" fmla="*/ 2147483647 w 276"/>
                  <a:gd name="T81" fmla="*/ 2147483647 h 570"/>
                  <a:gd name="T82" fmla="*/ 2147483647 w 276"/>
                  <a:gd name="T83" fmla="*/ 2147483647 h 570"/>
                  <a:gd name="T84" fmla="*/ 2147483647 w 276"/>
                  <a:gd name="T85" fmla="*/ 2147483647 h 570"/>
                  <a:gd name="T86" fmla="*/ 2147483647 w 276"/>
                  <a:gd name="T87" fmla="*/ 2147483647 h 570"/>
                  <a:gd name="T88" fmla="*/ 2147483647 w 276"/>
                  <a:gd name="T89" fmla="*/ 0 h 570"/>
                  <a:gd name="T90" fmla="*/ 2147483647 w 276"/>
                  <a:gd name="T91" fmla="*/ 2147483647 h 570"/>
                  <a:gd name="T92" fmla="*/ 2147483647 w 276"/>
                  <a:gd name="T93" fmla="*/ 2147483647 h 570"/>
                  <a:gd name="T94" fmla="*/ 2147483647 w 276"/>
                  <a:gd name="T95" fmla="*/ 2147483647 h 57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76"/>
                  <a:gd name="T145" fmla="*/ 0 h 570"/>
                  <a:gd name="T146" fmla="*/ 276 w 276"/>
                  <a:gd name="T147" fmla="*/ 570 h 57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76" h="570">
                    <a:moveTo>
                      <a:pt x="42" y="60"/>
                    </a:moveTo>
                    <a:lnTo>
                      <a:pt x="60" y="66"/>
                    </a:lnTo>
                    <a:lnTo>
                      <a:pt x="60" y="78"/>
                    </a:lnTo>
                    <a:lnTo>
                      <a:pt x="54" y="90"/>
                    </a:lnTo>
                    <a:lnTo>
                      <a:pt x="54" y="126"/>
                    </a:lnTo>
                    <a:lnTo>
                      <a:pt x="60" y="138"/>
                    </a:lnTo>
                    <a:lnTo>
                      <a:pt x="60" y="180"/>
                    </a:lnTo>
                    <a:lnTo>
                      <a:pt x="54" y="192"/>
                    </a:lnTo>
                    <a:lnTo>
                      <a:pt x="54" y="204"/>
                    </a:lnTo>
                    <a:lnTo>
                      <a:pt x="48" y="210"/>
                    </a:lnTo>
                    <a:lnTo>
                      <a:pt x="48" y="216"/>
                    </a:lnTo>
                    <a:lnTo>
                      <a:pt x="24" y="234"/>
                    </a:lnTo>
                    <a:lnTo>
                      <a:pt x="0" y="258"/>
                    </a:lnTo>
                    <a:lnTo>
                      <a:pt x="0" y="300"/>
                    </a:lnTo>
                    <a:lnTo>
                      <a:pt x="12" y="300"/>
                    </a:lnTo>
                    <a:lnTo>
                      <a:pt x="12" y="330"/>
                    </a:lnTo>
                    <a:lnTo>
                      <a:pt x="24" y="330"/>
                    </a:lnTo>
                    <a:lnTo>
                      <a:pt x="42" y="336"/>
                    </a:lnTo>
                    <a:lnTo>
                      <a:pt x="54" y="348"/>
                    </a:lnTo>
                    <a:lnTo>
                      <a:pt x="54" y="390"/>
                    </a:lnTo>
                    <a:lnTo>
                      <a:pt x="60" y="390"/>
                    </a:lnTo>
                    <a:lnTo>
                      <a:pt x="66" y="396"/>
                    </a:lnTo>
                    <a:lnTo>
                      <a:pt x="90" y="408"/>
                    </a:lnTo>
                    <a:lnTo>
                      <a:pt x="96" y="420"/>
                    </a:lnTo>
                    <a:lnTo>
                      <a:pt x="102" y="426"/>
                    </a:lnTo>
                    <a:lnTo>
                      <a:pt x="108" y="450"/>
                    </a:lnTo>
                    <a:lnTo>
                      <a:pt x="114" y="492"/>
                    </a:lnTo>
                    <a:lnTo>
                      <a:pt x="126" y="540"/>
                    </a:lnTo>
                    <a:lnTo>
                      <a:pt x="138" y="570"/>
                    </a:lnTo>
                    <a:lnTo>
                      <a:pt x="144" y="564"/>
                    </a:lnTo>
                    <a:lnTo>
                      <a:pt x="156" y="564"/>
                    </a:lnTo>
                    <a:lnTo>
                      <a:pt x="186" y="534"/>
                    </a:lnTo>
                    <a:lnTo>
                      <a:pt x="186" y="510"/>
                    </a:lnTo>
                    <a:lnTo>
                      <a:pt x="174" y="486"/>
                    </a:lnTo>
                    <a:lnTo>
                      <a:pt x="174" y="468"/>
                    </a:lnTo>
                    <a:lnTo>
                      <a:pt x="192" y="450"/>
                    </a:lnTo>
                    <a:lnTo>
                      <a:pt x="198" y="450"/>
                    </a:lnTo>
                    <a:lnTo>
                      <a:pt x="204" y="438"/>
                    </a:lnTo>
                    <a:lnTo>
                      <a:pt x="210" y="432"/>
                    </a:lnTo>
                    <a:lnTo>
                      <a:pt x="216" y="420"/>
                    </a:lnTo>
                    <a:lnTo>
                      <a:pt x="222" y="414"/>
                    </a:lnTo>
                    <a:lnTo>
                      <a:pt x="234" y="408"/>
                    </a:lnTo>
                    <a:lnTo>
                      <a:pt x="246" y="408"/>
                    </a:lnTo>
                    <a:lnTo>
                      <a:pt x="270" y="396"/>
                    </a:lnTo>
                    <a:lnTo>
                      <a:pt x="276" y="390"/>
                    </a:lnTo>
                    <a:lnTo>
                      <a:pt x="276" y="384"/>
                    </a:lnTo>
                    <a:lnTo>
                      <a:pt x="264" y="372"/>
                    </a:lnTo>
                    <a:lnTo>
                      <a:pt x="258" y="372"/>
                    </a:lnTo>
                    <a:lnTo>
                      <a:pt x="264" y="330"/>
                    </a:lnTo>
                    <a:lnTo>
                      <a:pt x="252" y="330"/>
                    </a:lnTo>
                    <a:lnTo>
                      <a:pt x="240" y="300"/>
                    </a:lnTo>
                    <a:lnTo>
                      <a:pt x="228" y="294"/>
                    </a:lnTo>
                    <a:lnTo>
                      <a:pt x="222" y="306"/>
                    </a:lnTo>
                    <a:lnTo>
                      <a:pt x="216" y="294"/>
                    </a:lnTo>
                    <a:lnTo>
                      <a:pt x="198" y="294"/>
                    </a:lnTo>
                    <a:lnTo>
                      <a:pt x="186" y="288"/>
                    </a:lnTo>
                    <a:lnTo>
                      <a:pt x="180" y="282"/>
                    </a:lnTo>
                    <a:lnTo>
                      <a:pt x="168" y="276"/>
                    </a:lnTo>
                    <a:lnTo>
                      <a:pt x="168" y="246"/>
                    </a:lnTo>
                    <a:lnTo>
                      <a:pt x="174" y="240"/>
                    </a:lnTo>
                    <a:lnTo>
                      <a:pt x="180" y="240"/>
                    </a:lnTo>
                    <a:lnTo>
                      <a:pt x="234" y="186"/>
                    </a:lnTo>
                    <a:lnTo>
                      <a:pt x="240" y="174"/>
                    </a:lnTo>
                    <a:lnTo>
                      <a:pt x="240" y="156"/>
                    </a:lnTo>
                    <a:lnTo>
                      <a:pt x="234" y="144"/>
                    </a:lnTo>
                    <a:lnTo>
                      <a:pt x="216" y="126"/>
                    </a:lnTo>
                    <a:lnTo>
                      <a:pt x="204" y="120"/>
                    </a:lnTo>
                    <a:lnTo>
                      <a:pt x="198" y="120"/>
                    </a:lnTo>
                    <a:lnTo>
                      <a:pt x="198" y="102"/>
                    </a:lnTo>
                    <a:lnTo>
                      <a:pt x="204" y="90"/>
                    </a:lnTo>
                    <a:lnTo>
                      <a:pt x="204" y="78"/>
                    </a:lnTo>
                    <a:lnTo>
                      <a:pt x="210" y="72"/>
                    </a:lnTo>
                    <a:lnTo>
                      <a:pt x="222" y="66"/>
                    </a:lnTo>
                    <a:lnTo>
                      <a:pt x="228" y="60"/>
                    </a:lnTo>
                    <a:lnTo>
                      <a:pt x="234" y="48"/>
                    </a:lnTo>
                    <a:lnTo>
                      <a:pt x="234" y="36"/>
                    </a:lnTo>
                    <a:lnTo>
                      <a:pt x="240" y="30"/>
                    </a:lnTo>
                    <a:lnTo>
                      <a:pt x="240" y="18"/>
                    </a:lnTo>
                    <a:lnTo>
                      <a:pt x="228" y="18"/>
                    </a:lnTo>
                    <a:lnTo>
                      <a:pt x="222" y="30"/>
                    </a:lnTo>
                    <a:lnTo>
                      <a:pt x="210" y="36"/>
                    </a:lnTo>
                    <a:lnTo>
                      <a:pt x="204" y="48"/>
                    </a:lnTo>
                    <a:lnTo>
                      <a:pt x="192" y="60"/>
                    </a:lnTo>
                    <a:lnTo>
                      <a:pt x="186" y="60"/>
                    </a:lnTo>
                    <a:lnTo>
                      <a:pt x="174" y="54"/>
                    </a:lnTo>
                    <a:lnTo>
                      <a:pt x="162" y="42"/>
                    </a:lnTo>
                    <a:lnTo>
                      <a:pt x="174" y="30"/>
                    </a:lnTo>
                    <a:lnTo>
                      <a:pt x="174" y="24"/>
                    </a:lnTo>
                    <a:lnTo>
                      <a:pt x="180" y="12"/>
                    </a:lnTo>
                    <a:lnTo>
                      <a:pt x="168" y="0"/>
                    </a:lnTo>
                    <a:lnTo>
                      <a:pt x="138" y="0"/>
                    </a:lnTo>
                    <a:lnTo>
                      <a:pt x="126" y="6"/>
                    </a:lnTo>
                    <a:lnTo>
                      <a:pt x="108" y="12"/>
                    </a:lnTo>
                    <a:lnTo>
                      <a:pt x="96" y="18"/>
                    </a:lnTo>
                    <a:lnTo>
                      <a:pt x="84" y="30"/>
                    </a:lnTo>
                    <a:lnTo>
                      <a:pt x="84" y="42"/>
                    </a:lnTo>
                    <a:lnTo>
                      <a:pt x="42" y="6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04" name="Togo"/>
              <p:cNvSpPr>
                <a:spLocks/>
              </p:cNvSpPr>
              <p:nvPr/>
            </p:nvSpPr>
            <p:spPr bwMode="gray">
              <a:xfrm>
                <a:off x="4210055" y="3717929"/>
                <a:ext cx="57150" cy="163513"/>
              </a:xfrm>
              <a:custGeom>
                <a:avLst/>
                <a:gdLst>
                  <a:gd name="T0" fmla="*/ 2147483647 w 138"/>
                  <a:gd name="T1" fmla="*/ 2147483647 h 402"/>
                  <a:gd name="T2" fmla="*/ 2147483647 w 138"/>
                  <a:gd name="T3" fmla="*/ 2147483647 h 402"/>
                  <a:gd name="T4" fmla="*/ 2147483647 w 138"/>
                  <a:gd name="T5" fmla="*/ 2147483647 h 402"/>
                  <a:gd name="T6" fmla="*/ 2147483647 w 138"/>
                  <a:gd name="T7" fmla="*/ 2147483647 h 402"/>
                  <a:gd name="T8" fmla="*/ 2147483647 w 138"/>
                  <a:gd name="T9" fmla="*/ 2147483647 h 402"/>
                  <a:gd name="T10" fmla="*/ 2147483647 w 138"/>
                  <a:gd name="T11" fmla="*/ 2147483647 h 402"/>
                  <a:gd name="T12" fmla="*/ 2147483647 w 138"/>
                  <a:gd name="T13" fmla="*/ 2147483647 h 402"/>
                  <a:gd name="T14" fmla="*/ 2147483647 w 138"/>
                  <a:gd name="T15" fmla="*/ 2147483647 h 402"/>
                  <a:gd name="T16" fmla="*/ 2147483647 w 138"/>
                  <a:gd name="T17" fmla="*/ 2147483647 h 402"/>
                  <a:gd name="T18" fmla="*/ 2147483647 w 138"/>
                  <a:gd name="T19" fmla="*/ 2147483647 h 402"/>
                  <a:gd name="T20" fmla="*/ 2147483647 w 138"/>
                  <a:gd name="T21" fmla="*/ 2147483647 h 402"/>
                  <a:gd name="T22" fmla="*/ 2147483647 w 138"/>
                  <a:gd name="T23" fmla="*/ 2147483647 h 402"/>
                  <a:gd name="T24" fmla="*/ 2147483647 w 138"/>
                  <a:gd name="T25" fmla="*/ 2147483647 h 402"/>
                  <a:gd name="T26" fmla="*/ 2147483647 w 138"/>
                  <a:gd name="T27" fmla="*/ 2147483647 h 402"/>
                  <a:gd name="T28" fmla="*/ 2147483647 w 138"/>
                  <a:gd name="T29" fmla="*/ 2147483647 h 402"/>
                  <a:gd name="T30" fmla="*/ 2147483647 w 138"/>
                  <a:gd name="T31" fmla="*/ 2147483647 h 402"/>
                  <a:gd name="T32" fmla="*/ 2147483647 w 138"/>
                  <a:gd name="T33" fmla="*/ 0 h 402"/>
                  <a:gd name="T34" fmla="*/ 2147483647 w 138"/>
                  <a:gd name="T35" fmla="*/ 0 h 402"/>
                  <a:gd name="T36" fmla="*/ 2147483647 w 138"/>
                  <a:gd name="T37" fmla="*/ 2147483647 h 402"/>
                  <a:gd name="T38" fmla="*/ 0 w 138"/>
                  <a:gd name="T39" fmla="*/ 2147483647 h 402"/>
                  <a:gd name="T40" fmla="*/ 2147483647 w 138"/>
                  <a:gd name="T41" fmla="*/ 2147483647 h 402"/>
                  <a:gd name="T42" fmla="*/ 2147483647 w 138"/>
                  <a:gd name="T43" fmla="*/ 2147483647 h 402"/>
                  <a:gd name="T44" fmla="*/ 2147483647 w 138"/>
                  <a:gd name="T45" fmla="*/ 2147483647 h 402"/>
                  <a:gd name="T46" fmla="*/ 2147483647 w 138"/>
                  <a:gd name="T47" fmla="*/ 2147483647 h 402"/>
                  <a:gd name="T48" fmla="*/ 2147483647 w 138"/>
                  <a:gd name="T49" fmla="*/ 2147483647 h 402"/>
                  <a:gd name="T50" fmla="*/ 2147483647 w 138"/>
                  <a:gd name="T51" fmla="*/ 2147483647 h 402"/>
                  <a:gd name="T52" fmla="*/ 2147483647 w 138"/>
                  <a:gd name="T53" fmla="*/ 2147483647 h 402"/>
                  <a:gd name="T54" fmla="*/ 2147483647 w 138"/>
                  <a:gd name="T55" fmla="*/ 2147483647 h 402"/>
                  <a:gd name="T56" fmla="*/ 2147483647 w 138"/>
                  <a:gd name="T57" fmla="*/ 2147483647 h 402"/>
                  <a:gd name="T58" fmla="*/ 2147483647 w 138"/>
                  <a:gd name="T59" fmla="*/ 2147483647 h 402"/>
                  <a:gd name="T60" fmla="*/ 2147483647 w 138"/>
                  <a:gd name="T61" fmla="*/ 2147483647 h 402"/>
                  <a:gd name="T62" fmla="*/ 2147483647 w 138"/>
                  <a:gd name="T63" fmla="*/ 2147483647 h 402"/>
                  <a:gd name="T64" fmla="*/ 2147483647 w 138"/>
                  <a:gd name="T65" fmla="*/ 2147483647 h 402"/>
                  <a:gd name="T66" fmla="*/ 2147483647 w 138"/>
                  <a:gd name="T67" fmla="*/ 2147483647 h 402"/>
                  <a:gd name="T68" fmla="*/ 2147483647 w 138"/>
                  <a:gd name="T69" fmla="*/ 2147483647 h 402"/>
                  <a:gd name="T70" fmla="*/ 2147483647 w 138"/>
                  <a:gd name="T71" fmla="*/ 2147483647 h 402"/>
                  <a:gd name="T72" fmla="*/ 2147483647 w 138"/>
                  <a:gd name="T73" fmla="*/ 2147483647 h 402"/>
                  <a:gd name="T74" fmla="*/ 2147483647 w 138"/>
                  <a:gd name="T75" fmla="*/ 2147483647 h 402"/>
                  <a:gd name="T76" fmla="*/ 2147483647 w 138"/>
                  <a:gd name="T77" fmla="*/ 2147483647 h 402"/>
                  <a:gd name="T78" fmla="*/ 2147483647 w 138"/>
                  <a:gd name="T79" fmla="*/ 2147483647 h 402"/>
                  <a:gd name="T80" fmla="*/ 2147483647 w 138"/>
                  <a:gd name="T81" fmla="*/ 2147483647 h 402"/>
                  <a:gd name="T82" fmla="*/ 2147483647 w 138"/>
                  <a:gd name="T83" fmla="*/ 2147483647 h 402"/>
                  <a:gd name="T84" fmla="*/ 2147483647 w 138"/>
                  <a:gd name="T85" fmla="*/ 2147483647 h 402"/>
                  <a:gd name="T86" fmla="*/ 2147483647 w 138"/>
                  <a:gd name="T87" fmla="*/ 2147483647 h 402"/>
                  <a:gd name="T88" fmla="*/ 2147483647 w 138"/>
                  <a:gd name="T89" fmla="*/ 2147483647 h 402"/>
                  <a:gd name="T90" fmla="*/ 2147483647 w 138"/>
                  <a:gd name="T91" fmla="*/ 2147483647 h 402"/>
                  <a:gd name="T92" fmla="*/ 2147483647 w 138"/>
                  <a:gd name="T93" fmla="*/ 2147483647 h 402"/>
                  <a:gd name="T94" fmla="*/ 2147483647 w 138"/>
                  <a:gd name="T95" fmla="*/ 2147483647 h 402"/>
                  <a:gd name="T96" fmla="*/ 2147483647 w 138"/>
                  <a:gd name="T97" fmla="*/ 2147483647 h 402"/>
                  <a:gd name="T98" fmla="*/ 2147483647 w 138"/>
                  <a:gd name="T99" fmla="*/ 2147483647 h 402"/>
                  <a:gd name="T100" fmla="*/ 2147483647 w 138"/>
                  <a:gd name="T101" fmla="*/ 2147483647 h 402"/>
                  <a:gd name="T102" fmla="*/ 2147483647 w 138"/>
                  <a:gd name="T103" fmla="*/ 2147483647 h 40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38"/>
                  <a:gd name="T157" fmla="*/ 0 h 402"/>
                  <a:gd name="T158" fmla="*/ 138 w 138"/>
                  <a:gd name="T159" fmla="*/ 402 h 40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38" h="402">
                    <a:moveTo>
                      <a:pt x="126" y="354"/>
                    </a:moveTo>
                    <a:lnTo>
                      <a:pt x="120" y="288"/>
                    </a:lnTo>
                    <a:lnTo>
                      <a:pt x="132" y="282"/>
                    </a:lnTo>
                    <a:lnTo>
                      <a:pt x="120" y="270"/>
                    </a:lnTo>
                    <a:lnTo>
                      <a:pt x="120" y="210"/>
                    </a:lnTo>
                    <a:lnTo>
                      <a:pt x="132" y="198"/>
                    </a:lnTo>
                    <a:lnTo>
                      <a:pt x="126" y="186"/>
                    </a:lnTo>
                    <a:lnTo>
                      <a:pt x="126" y="156"/>
                    </a:lnTo>
                    <a:lnTo>
                      <a:pt x="120" y="144"/>
                    </a:lnTo>
                    <a:lnTo>
                      <a:pt x="108" y="132"/>
                    </a:lnTo>
                    <a:lnTo>
                      <a:pt x="108" y="90"/>
                    </a:lnTo>
                    <a:lnTo>
                      <a:pt x="78" y="60"/>
                    </a:lnTo>
                    <a:lnTo>
                      <a:pt x="66" y="54"/>
                    </a:lnTo>
                    <a:lnTo>
                      <a:pt x="66" y="24"/>
                    </a:lnTo>
                    <a:lnTo>
                      <a:pt x="72" y="6"/>
                    </a:lnTo>
                    <a:lnTo>
                      <a:pt x="54" y="6"/>
                    </a:lnTo>
                    <a:lnTo>
                      <a:pt x="30" y="0"/>
                    </a:lnTo>
                    <a:lnTo>
                      <a:pt x="12" y="0"/>
                    </a:lnTo>
                    <a:lnTo>
                      <a:pt x="12" y="18"/>
                    </a:lnTo>
                    <a:lnTo>
                      <a:pt x="0" y="30"/>
                    </a:lnTo>
                    <a:lnTo>
                      <a:pt x="36" y="54"/>
                    </a:lnTo>
                    <a:lnTo>
                      <a:pt x="24" y="132"/>
                    </a:lnTo>
                    <a:lnTo>
                      <a:pt x="36" y="120"/>
                    </a:lnTo>
                    <a:lnTo>
                      <a:pt x="42" y="120"/>
                    </a:lnTo>
                    <a:lnTo>
                      <a:pt x="48" y="126"/>
                    </a:lnTo>
                    <a:lnTo>
                      <a:pt x="48" y="150"/>
                    </a:lnTo>
                    <a:lnTo>
                      <a:pt x="42" y="162"/>
                    </a:lnTo>
                    <a:lnTo>
                      <a:pt x="54" y="174"/>
                    </a:lnTo>
                    <a:lnTo>
                      <a:pt x="54" y="180"/>
                    </a:lnTo>
                    <a:lnTo>
                      <a:pt x="48" y="180"/>
                    </a:lnTo>
                    <a:lnTo>
                      <a:pt x="36" y="192"/>
                    </a:lnTo>
                    <a:lnTo>
                      <a:pt x="42" y="198"/>
                    </a:lnTo>
                    <a:lnTo>
                      <a:pt x="54" y="204"/>
                    </a:lnTo>
                    <a:lnTo>
                      <a:pt x="60" y="210"/>
                    </a:lnTo>
                    <a:lnTo>
                      <a:pt x="60" y="222"/>
                    </a:lnTo>
                    <a:lnTo>
                      <a:pt x="54" y="228"/>
                    </a:lnTo>
                    <a:lnTo>
                      <a:pt x="54" y="270"/>
                    </a:lnTo>
                    <a:lnTo>
                      <a:pt x="48" y="276"/>
                    </a:lnTo>
                    <a:lnTo>
                      <a:pt x="48" y="294"/>
                    </a:lnTo>
                    <a:lnTo>
                      <a:pt x="54" y="294"/>
                    </a:lnTo>
                    <a:lnTo>
                      <a:pt x="60" y="300"/>
                    </a:lnTo>
                    <a:lnTo>
                      <a:pt x="60" y="312"/>
                    </a:lnTo>
                    <a:lnTo>
                      <a:pt x="54" y="324"/>
                    </a:lnTo>
                    <a:lnTo>
                      <a:pt x="54" y="336"/>
                    </a:lnTo>
                    <a:lnTo>
                      <a:pt x="66" y="378"/>
                    </a:lnTo>
                    <a:lnTo>
                      <a:pt x="96" y="402"/>
                    </a:lnTo>
                    <a:lnTo>
                      <a:pt x="108" y="396"/>
                    </a:lnTo>
                    <a:lnTo>
                      <a:pt x="120" y="384"/>
                    </a:lnTo>
                    <a:lnTo>
                      <a:pt x="138" y="384"/>
                    </a:lnTo>
                    <a:lnTo>
                      <a:pt x="138" y="372"/>
                    </a:lnTo>
                    <a:lnTo>
                      <a:pt x="126" y="360"/>
                    </a:lnTo>
                    <a:lnTo>
                      <a:pt x="126" y="354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05" name="Tanzania"/>
              <p:cNvSpPr>
                <a:spLocks noEditPoints="1"/>
              </p:cNvSpPr>
              <p:nvPr/>
            </p:nvSpPr>
            <p:spPr bwMode="gray">
              <a:xfrm>
                <a:off x="5062544" y="4110041"/>
                <a:ext cx="307976" cy="349251"/>
              </a:xfrm>
              <a:custGeom>
                <a:avLst/>
                <a:gdLst>
                  <a:gd name="T0" fmla="*/ 2147483647 w 768"/>
                  <a:gd name="T1" fmla="*/ 2147483647 h 870"/>
                  <a:gd name="T2" fmla="*/ 2147483647 w 768"/>
                  <a:gd name="T3" fmla="*/ 2147483647 h 870"/>
                  <a:gd name="T4" fmla="*/ 2147483647 w 768"/>
                  <a:gd name="T5" fmla="*/ 2147483647 h 870"/>
                  <a:gd name="T6" fmla="*/ 2147483647 w 768"/>
                  <a:gd name="T7" fmla="*/ 2147483647 h 870"/>
                  <a:gd name="T8" fmla="*/ 2147483647 w 768"/>
                  <a:gd name="T9" fmla="*/ 2147483647 h 870"/>
                  <a:gd name="T10" fmla="*/ 2147483647 w 768"/>
                  <a:gd name="T11" fmla="*/ 2147483647 h 870"/>
                  <a:gd name="T12" fmla="*/ 2147483647 w 768"/>
                  <a:gd name="T13" fmla="*/ 2147483647 h 870"/>
                  <a:gd name="T14" fmla="*/ 2147483647 w 768"/>
                  <a:gd name="T15" fmla="*/ 2147483647 h 870"/>
                  <a:gd name="T16" fmla="*/ 2147483647 w 768"/>
                  <a:gd name="T17" fmla="*/ 2147483647 h 870"/>
                  <a:gd name="T18" fmla="*/ 2147483647 w 768"/>
                  <a:gd name="T19" fmla="*/ 2147483647 h 870"/>
                  <a:gd name="T20" fmla="*/ 2147483647 w 768"/>
                  <a:gd name="T21" fmla="*/ 2147483647 h 870"/>
                  <a:gd name="T22" fmla="*/ 2147483647 w 768"/>
                  <a:gd name="T23" fmla="*/ 2147483647 h 870"/>
                  <a:gd name="T24" fmla="*/ 2147483647 w 768"/>
                  <a:gd name="T25" fmla="*/ 2147483647 h 870"/>
                  <a:gd name="T26" fmla="*/ 2147483647 w 768"/>
                  <a:gd name="T27" fmla="*/ 2147483647 h 870"/>
                  <a:gd name="T28" fmla="*/ 2147483647 w 768"/>
                  <a:gd name="T29" fmla="*/ 2147483647 h 870"/>
                  <a:gd name="T30" fmla="*/ 2147483647 w 768"/>
                  <a:gd name="T31" fmla="*/ 2147483647 h 870"/>
                  <a:gd name="T32" fmla="*/ 2147483647 w 768"/>
                  <a:gd name="T33" fmla="*/ 2147483647 h 870"/>
                  <a:gd name="T34" fmla="*/ 2147483647 w 768"/>
                  <a:gd name="T35" fmla="*/ 2147483647 h 870"/>
                  <a:gd name="T36" fmla="*/ 2147483647 w 768"/>
                  <a:gd name="T37" fmla="*/ 2147483647 h 870"/>
                  <a:gd name="T38" fmla="*/ 2147483647 w 768"/>
                  <a:gd name="T39" fmla="*/ 2147483647 h 870"/>
                  <a:gd name="T40" fmla="*/ 2147483647 w 768"/>
                  <a:gd name="T41" fmla="*/ 2147483647 h 870"/>
                  <a:gd name="T42" fmla="*/ 2147483647 w 768"/>
                  <a:gd name="T43" fmla="*/ 2147483647 h 870"/>
                  <a:gd name="T44" fmla="*/ 2147483647 w 768"/>
                  <a:gd name="T45" fmla="*/ 2147483647 h 870"/>
                  <a:gd name="T46" fmla="*/ 2147483647 w 768"/>
                  <a:gd name="T47" fmla="*/ 2147483647 h 870"/>
                  <a:gd name="T48" fmla="*/ 2147483647 w 768"/>
                  <a:gd name="T49" fmla="*/ 2147483647 h 870"/>
                  <a:gd name="T50" fmla="*/ 2147483647 w 768"/>
                  <a:gd name="T51" fmla="*/ 2147483647 h 870"/>
                  <a:gd name="T52" fmla="*/ 2147483647 w 768"/>
                  <a:gd name="T53" fmla="*/ 2147483647 h 870"/>
                  <a:gd name="T54" fmla="*/ 2147483647 w 768"/>
                  <a:gd name="T55" fmla="*/ 2147483647 h 870"/>
                  <a:gd name="T56" fmla="*/ 2147483647 w 768"/>
                  <a:gd name="T57" fmla="*/ 2147483647 h 870"/>
                  <a:gd name="T58" fmla="*/ 2147483647 w 768"/>
                  <a:gd name="T59" fmla="*/ 2147483647 h 870"/>
                  <a:gd name="T60" fmla="*/ 2147483647 w 768"/>
                  <a:gd name="T61" fmla="*/ 2147483647 h 870"/>
                  <a:gd name="T62" fmla="*/ 2147483647 w 768"/>
                  <a:gd name="T63" fmla="*/ 2147483647 h 870"/>
                  <a:gd name="T64" fmla="*/ 2147483647 w 768"/>
                  <a:gd name="T65" fmla="*/ 2147483647 h 870"/>
                  <a:gd name="T66" fmla="*/ 2147483647 w 768"/>
                  <a:gd name="T67" fmla="*/ 2147483647 h 870"/>
                  <a:gd name="T68" fmla="*/ 2147483647 w 768"/>
                  <a:gd name="T69" fmla="*/ 2147483647 h 870"/>
                  <a:gd name="T70" fmla="*/ 2147483647 w 768"/>
                  <a:gd name="T71" fmla="*/ 2147483647 h 870"/>
                  <a:gd name="T72" fmla="*/ 2147483647 w 768"/>
                  <a:gd name="T73" fmla="*/ 2147483647 h 870"/>
                  <a:gd name="T74" fmla="*/ 2147483647 w 768"/>
                  <a:gd name="T75" fmla="*/ 2147483647 h 870"/>
                  <a:gd name="T76" fmla="*/ 2147483647 w 768"/>
                  <a:gd name="T77" fmla="*/ 2147483647 h 870"/>
                  <a:gd name="T78" fmla="*/ 2147483647 w 768"/>
                  <a:gd name="T79" fmla="*/ 2147483647 h 870"/>
                  <a:gd name="T80" fmla="*/ 2147483647 w 768"/>
                  <a:gd name="T81" fmla="*/ 2147483647 h 870"/>
                  <a:gd name="T82" fmla="*/ 2147483647 w 768"/>
                  <a:gd name="T83" fmla="*/ 2147483647 h 870"/>
                  <a:gd name="T84" fmla="*/ 2147483647 w 768"/>
                  <a:gd name="T85" fmla="*/ 2147483647 h 870"/>
                  <a:gd name="T86" fmla="*/ 2147483647 w 768"/>
                  <a:gd name="T87" fmla="*/ 2147483647 h 870"/>
                  <a:gd name="T88" fmla="*/ 2147483647 w 768"/>
                  <a:gd name="T89" fmla="*/ 2147483647 h 870"/>
                  <a:gd name="T90" fmla="*/ 2147483647 w 768"/>
                  <a:gd name="T91" fmla="*/ 2147483647 h 870"/>
                  <a:gd name="T92" fmla="*/ 2147483647 w 768"/>
                  <a:gd name="T93" fmla="*/ 2147483647 h 870"/>
                  <a:gd name="T94" fmla="*/ 2147483647 w 768"/>
                  <a:gd name="T95" fmla="*/ 2147483647 h 870"/>
                  <a:gd name="T96" fmla="*/ 2147483647 w 768"/>
                  <a:gd name="T97" fmla="*/ 2147483647 h 870"/>
                  <a:gd name="T98" fmla="*/ 2147483647 w 768"/>
                  <a:gd name="T99" fmla="*/ 2147483647 h 870"/>
                  <a:gd name="T100" fmla="*/ 2147483647 w 768"/>
                  <a:gd name="T101" fmla="*/ 2147483647 h 870"/>
                  <a:gd name="T102" fmla="*/ 2147483647 w 768"/>
                  <a:gd name="T103" fmla="*/ 2147483647 h 87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768"/>
                  <a:gd name="T157" fmla="*/ 0 h 870"/>
                  <a:gd name="T158" fmla="*/ 768 w 768"/>
                  <a:gd name="T159" fmla="*/ 870 h 87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768" h="870">
                    <a:moveTo>
                      <a:pt x="762" y="744"/>
                    </a:moveTo>
                    <a:lnTo>
                      <a:pt x="750" y="744"/>
                    </a:lnTo>
                    <a:lnTo>
                      <a:pt x="744" y="738"/>
                    </a:lnTo>
                    <a:lnTo>
                      <a:pt x="732" y="732"/>
                    </a:lnTo>
                    <a:lnTo>
                      <a:pt x="720" y="720"/>
                    </a:lnTo>
                    <a:lnTo>
                      <a:pt x="720" y="708"/>
                    </a:lnTo>
                    <a:lnTo>
                      <a:pt x="714" y="690"/>
                    </a:lnTo>
                    <a:lnTo>
                      <a:pt x="714" y="654"/>
                    </a:lnTo>
                    <a:lnTo>
                      <a:pt x="690" y="612"/>
                    </a:lnTo>
                    <a:lnTo>
                      <a:pt x="702" y="564"/>
                    </a:lnTo>
                    <a:lnTo>
                      <a:pt x="684" y="540"/>
                    </a:lnTo>
                    <a:lnTo>
                      <a:pt x="690" y="528"/>
                    </a:lnTo>
                    <a:lnTo>
                      <a:pt x="696" y="522"/>
                    </a:lnTo>
                    <a:lnTo>
                      <a:pt x="708" y="498"/>
                    </a:lnTo>
                    <a:lnTo>
                      <a:pt x="708" y="480"/>
                    </a:lnTo>
                    <a:lnTo>
                      <a:pt x="702" y="474"/>
                    </a:lnTo>
                    <a:lnTo>
                      <a:pt x="690" y="468"/>
                    </a:lnTo>
                    <a:lnTo>
                      <a:pt x="672" y="456"/>
                    </a:lnTo>
                    <a:lnTo>
                      <a:pt x="660" y="450"/>
                    </a:lnTo>
                    <a:lnTo>
                      <a:pt x="654" y="438"/>
                    </a:lnTo>
                    <a:lnTo>
                      <a:pt x="654" y="426"/>
                    </a:lnTo>
                    <a:lnTo>
                      <a:pt x="660" y="414"/>
                    </a:lnTo>
                    <a:lnTo>
                      <a:pt x="666" y="396"/>
                    </a:lnTo>
                    <a:lnTo>
                      <a:pt x="666" y="384"/>
                    </a:lnTo>
                    <a:lnTo>
                      <a:pt x="672" y="366"/>
                    </a:lnTo>
                    <a:lnTo>
                      <a:pt x="678" y="354"/>
                    </a:lnTo>
                    <a:lnTo>
                      <a:pt x="678" y="330"/>
                    </a:lnTo>
                    <a:lnTo>
                      <a:pt x="684" y="318"/>
                    </a:lnTo>
                    <a:lnTo>
                      <a:pt x="684" y="300"/>
                    </a:lnTo>
                    <a:lnTo>
                      <a:pt x="570" y="192"/>
                    </a:lnTo>
                    <a:lnTo>
                      <a:pt x="576" y="186"/>
                    </a:lnTo>
                    <a:lnTo>
                      <a:pt x="582" y="186"/>
                    </a:lnTo>
                    <a:lnTo>
                      <a:pt x="588" y="180"/>
                    </a:lnTo>
                    <a:lnTo>
                      <a:pt x="588" y="174"/>
                    </a:lnTo>
                    <a:lnTo>
                      <a:pt x="576" y="162"/>
                    </a:lnTo>
                    <a:lnTo>
                      <a:pt x="324" y="6"/>
                    </a:lnTo>
                    <a:lnTo>
                      <a:pt x="312" y="6"/>
                    </a:lnTo>
                    <a:lnTo>
                      <a:pt x="312" y="18"/>
                    </a:lnTo>
                    <a:lnTo>
                      <a:pt x="318" y="24"/>
                    </a:lnTo>
                    <a:lnTo>
                      <a:pt x="318" y="36"/>
                    </a:lnTo>
                    <a:lnTo>
                      <a:pt x="294" y="48"/>
                    </a:lnTo>
                    <a:lnTo>
                      <a:pt x="276" y="66"/>
                    </a:lnTo>
                    <a:lnTo>
                      <a:pt x="264" y="84"/>
                    </a:lnTo>
                    <a:lnTo>
                      <a:pt x="264" y="90"/>
                    </a:lnTo>
                    <a:lnTo>
                      <a:pt x="270" y="96"/>
                    </a:lnTo>
                    <a:lnTo>
                      <a:pt x="294" y="96"/>
                    </a:lnTo>
                    <a:lnTo>
                      <a:pt x="306" y="90"/>
                    </a:lnTo>
                    <a:lnTo>
                      <a:pt x="312" y="90"/>
                    </a:lnTo>
                    <a:lnTo>
                      <a:pt x="306" y="96"/>
                    </a:lnTo>
                    <a:lnTo>
                      <a:pt x="294" y="102"/>
                    </a:lnTo>
                    <a:lnTo>
                      <a:pt x="276" y="120"/>
                    </a:lnTo>
                    <a:lnTo>
                      <a:pt x="270" y="120"/>
                    </a:lnTo>
                    <a:lnTo>
                      <a:pt x="264" y="114"/>
                    </a:lnTo>
                    <a:lnTo>
                      <a:pt x="252" y="108"/>
                    </a:lnTo>
                    <a:lnTo>
                      <a:pt x="246" y="108"/>
                    </a:lnTo>
                    <a:lnTo>
                      <a:pt x="234" y="120"/>
                    </a:lnTo>
                    <a:lnTo>
                      <a:pt x="234" y="138"/>
                    </a:lnTo>
                    <a:lnTo>
                      <a:pt x="246" y="150"/>
                    </a:lnTo>
                    <a:lnTo>
                      <a:pt x="216" y="150"/>
                    </a:lnTo>
                    <a:lnTo>
                      <a:pt x="216" y="138"/>
                    </a:lnTo>
                    <a:lnTo>
                      <a:pt x="222" y="132"/>
                    </a:lnTo>
                    <a:lnTo>
                      <a:pt x="222" y="126"/>
                    </a:lnTo>
                    <a:lnTo>
                      <a:pt x="228" y="114"/>
                    </a:lnTo>
                    <a:lnTo>
                      <a:pt x="210" y="120"/>
                    </a:lnTo>
                    <a:lnTo>
                      <a:pt x="192" y="102"/>
                    </a:lnTo>
                    <a:lnTo>
                      <a:pt x="186" y="102"/>
                    </a:lnTo>
                    <a:lnTo>
                      <a:pt x="174" y="114"/>
                    </a:lnTo>
                    <a:lnTo>
                      <a:pt x="174" y="132"/>
                    </a:lnTo>
                    <a:lnTo>
                      <a:pt x="168" y="138"/>
                    </a:lnTo>
                    <a:lnTo>
                      <a:pt x="162" y="138"/>
                    </a:lnTo>
                    <a:lnTo>
                      <a:pt x="156" y="132"/>
                    </a:lnTo>
                    <a:lnTo>
                      <a:pt x="156" y="48"/>
                    </a:lnTo>
                    <a:lnTo>
                      <a:pt x="162" y="36"/>
                    </a:lnTo>
                    <a:lnTo>
                      <a:pt x="162" y="24"/>
                    </a:lnTo>
                    <a:lnTo>
                      <a:pt x="168" y="12"/>
                    </a:lnTo>
                    <a:lnTo>
                      <a:pt x="168" y="6"/>
                    </a:lnTo>
                    <a:lnTo>
                      <a:pt x="78" y="0"/>
                    </a:lnTo>
                    <a:lnTo>
                      <a:pt x="72" y="24"/>
                    </a:lnTo>
                    <a:lnTo>
                      <a:pt x="78" y="30"/>
                    </a:lnTo>
                    <a:lnTo>
                      <a:pt x="84" y="42"/>
                    </a:lnTo>
                    <a:lnTo>
                      <a:pt x="90" y="48"/>
                    </a:lnTo>
                    <a:lnTo>
                      <a:pt x="90" y="66"/>
                    </a:lnTo>
                    <a:lnTo>
                      <a:pt x="96" y="72"/>
                    </a:lnTo>
                    <a:lnTo>
                      <a:pt x="96" y="96"/>
                    </a:lnTo>
                    <a:lnTo>
                      <a:pt x="78" y="114"/>
                    </a:lnTo>
                    <a:lnTo>
                      <a:pt x="66" y="114"/>
                    </a:lnTo>
                    <a:lnTo>
                      <a:pt x="66" y="126"/>
                    </a:lnTo>
                    <a:lnTo>
                      <a:pt x="60" y="138"/>
                    </a:lnTo>
                    <a:lnTo>
                      <a:pt x="60" y="156"/>
                    </a:lnTo>
                    <a:lnTo>
                      <a:pt x="66" y="156"/>
                    </a:lnTo>
                    <a:lnTo>
                      <a:pt x="72" y="162"/>
                    </a:lnTo>
                    <a:lnTo>
                      <a:pt x="90" y="162"/>
                    </a:lnTo>
                    <a:lnTo>
                      <a:pt x="90" y="180"/>
                    </a:lnTo>
                    <a:lnTo>
                      <a:pt x="78" y="186"/>
                    </a:lnTo>
                    <a:lnTo>
                      <a:pt x="84" y="198"/>
                    </a:lnTo>
                    <a:lnTo>
                      <a:pt x="72" y="198"/>
                    </a:lnTo>
                    <a:lnTo>
                      <a:pt x="54" y="216"/>
                    </a:lnTo>
                    <a:lnTo>
                      <a:pt x="48" y="228"/>
                    </a:lnTo>
                    <a:lnTo>
                      <a:pt x="48" y="246"/>
                    </a:lnTo>
                    <a:lnTo>
                      <a:pt x="42" y="258"/>
                    </a:lnTo>
                    <a:lnTo>
                      <a:pt x="30" y="270"/>
                    </a:lnTo>
                    <a:lnTo>
                      <a:pt x="6" y="282"/>
                    </a:lnTo>
                    <a:lnTo>
                      <a:pt x="0" y="294"/>
                    </a:lnTo>
                    <a:lnTo>
                      <a:pt x="6" y="306"/>
                    </a:lnTo>
                    <a:lnTo>
                      <a:pt x="18" y="318"/>
                    </a:lnTo>
                    <a:lnTo>
                      <a:pt x="18" y="330"/>
                    </a:lnTo>
                    <a:lnTo>
                      <a:pt x="12" y="342"/>
                    </a:lnTo>
                    <a:lnTo>
                      <a:pt x="12" y="348"/>
                    </a:lnTo>
                    <a:lnTo>
                      <a:pt x="18" y="354"/>
                    </a:lnTo>
                    <a:lnTo>
                      <a:pt x="18" y="366"/>
                    </a:lnTo>
                    <a:lnTo>
                      <a:pt x="24" y="378"/>
                    </a:lnTo>
                    <a:lnTo>
                      <a:pt x="24" y="396"/>
                    </a:lnTo>
                    <a:lnTo>
                      <a:pt x="18" y="402"/>
                    </a:lnTo>
                    <a:lnTo>
                      <a:pt x="18" y="432"/>
                    </a:lnTo>
                    <a:lnTo>
                      <a:pt x="30" y="444"/>
                    </a:lnTo>
                    <a:lnTo>
                      <a:pt x="36" y="444"/>
                    </a:lnTo>
                    <a:lnTo>
                      <a:pt x="48" y="450"/>
                    </a:lnTo>
                    <a:lnTo>
                      <a:pt x="72" y="474"/>
                    </a:lnTo>
                    <a:lnTo>
                      <a:pt x="78" y="486"/>
                    </a:lnTo>
                    <a:lnTo>
                      <a:pt x="78" y="546"/>
                    </a:lnTo>
                    <a:lnTo>
                      <a:pt x="84" y="558"/>
                    </a:lnTo>
                    <a:lnTo>
                      <a:pt x="114" y="594"/>
                    </a:lnTo>
                    <a:lnTo>
                      <a:pt x="114" y="600"/>
                    </a:lnTo>
                    <a:lnTo>
                      <a:pt x="108" y="612"/>
                    </a:lnTo>
                    <a:lnTo>
                      <a:pt x="108" y="618"/>
                    </a:lnTo>
                    <a:lnTo>
                      <a:pt x="126" y="618"/>
                    </a:lnTo>
                    <a:lnTo>
                      <a:pt x="138" y="612"/>
                    </a:lnTo>
                    <a:lnTo>
                      <a:pt x="138" y="630"/>
                    </a:lnTo>
                    <a:lnTo>
                      <a:pt x="144" y="636"/>
                    </a:lnTo>
                    <a:lnTo>
                      <a:pt x="162" y="636"/>
                    </a:lnTo>
                    <a:lnTo>
                      <a:pt x="180" y="654"/>
                    </a:lnTo>
                    <a:lnTo>
                      <a:pt x="192" y="654"/>
                    </a:lnTo>
                    <a:lnTo>
                      <a:pt x="204" y="648"/>
                    </a:lnTo>
                    <a:lnTo>
                      <a:pt x="204" y="666"/>
                    </a:lnTo>
                    <a:lnTo>
                      <a:pt x="222" y="666"/>
                    </a:lnTo>
                    <a:lnTo>
                      <a:pt x="240" y="678"/>
                    </a:lnTo>
                    <a:lnTo>
                      <a:pt x="264" y="678"/>
                    </a:lnTo>
                    <a:lnTo>
                      <a:pt x="270" y="696"/>
                    </a:lnTo>
                    <a:lnTo>
                      <a:pt x="300" y="696"/>
                    </a:lnTo>
                    <a:lnTo>
                      <a:pt x="300" y="690"/>
                    </a:lnTo>
                    <a:lnTo>
                      <a:pt x="312" y="678"/>
                    </a:lnTo>
                    <a:lnTo>
                      <a:pt x="318" y="684"/>
                    </a:lnTo>
                    <a:lnTo>
                      <a:pt x="330" y="690"/>
                    </a:lnTo>
                    <a:lnTo>
                      <a:pt x="336" y="702"/>
                    </a:lnTo>
                    <a:lnTo>
                      <a:pt x="348" y="714"/>
                    </a:lnTo>
                    <a:lnTo>
                      <a:pt x="348" y="774"/>
                    </a:lnTo>
                    <a:lnTo>
                      <a:pt x="354" y="774"/>
                    </a:lnTo>
                    <a:lnTo>
                      <a:pt x="360" y="780"/>
                    </a:lnTo>
                    <a:lnTo>
                      <a:pt x="360" y="792"/>
                    </a:lnTo>
                    <a:lnTo>
                      <a:pt x="354" y="798"/>
                    </a:lnTo>
                    <a:lnTo>
                      <a:pt x="354" y="804"/>
                    </a:lnTo>
                    <a:lnTo>
                      <a:pt x="348" y="810"/>
                    </a:lnTo>
                    <a:lnTo>
                      <a:pt x="348" y="816"/>
                    </a:lnTo>
                    <a:lnTo>
                      <a:pt x="366" y="834"/>
                    </a:lnTo>
                    <a:lnTo>
                      <a:pt x="378" y="840"/>
                    </a:lnTo>
                    <a:lnTo>
                      <a:pt x="372" y="858"/>
                    </a:lnTo>
                    <a:lnTo>
                      <a:pt x="408" y="858"/>
                    </a:lnTo>
                    <a:lnTo>
                      <a:pt x="414" y="852"/>
                    </a:lnTo>
                    <a:lnTo>
                      <a:pt x="420" y="852"/>
                    </a:lnTo>
                    <a:lnTo>
                      <a:pt x="432" y="840"/>
                    </a:lnTo>
                    <a:lnTo>
                      <a:pt x="444" y="840"/>
                    </a:lnTo>
                    <a:lnTo>
                      <a:pt x="456" y="846"/>
                    </a:lnTo>
                    <a:lnTo>
                      <a:pt x="462" y="858"/>
                    </a:lnTo>
                    <a:lnTo>
                      <a:pt x="474" y="864"/>
                    </a:lnTo>
                    <a:lnTo>
                      <a:pt x="480" y="870"/>
                    </a:lnTo>
                    <a:lnTo>
                      <a:pt x="492" y="870"/>
                    </a:lnTo>
                    <a:lnTo>
                      <a:pt x="510" y="852"/>
                    </a:lnTo>
                    <a:lnTo>
                      <a:pt x="516" y="852"/>
                    </a:lnTo>
                    <a:lnTo>
                      <a:pt x="522" y="858"/>
                    </a:lnTo>
                    <a:lnTo>
                      <a:pt x="534" y="864"/>
                    </a:lnTo>
                    <a:lnTo>
                      <a:pt x="552" y="864"/>
                    </a:lnTo>
                    <a:lnTo>
                      <a:pt x="564" y="852"/>
                    </a:lnTo>
                    <a:lnTo>
                      <a:pt x="576" y="846"/>
                    </a:lnTo>
                    <a:lnTo>
                      <a:pt x="582" y="834"/>
                    </a:lnTo>
                    <a:lnTo>
                      <a:pt x="588" y="828"/>
                    </a:lnTo>
                    <a:lnTo>
                      <a:pt x="612" y="828"/>
                    </a:lnTo>
                    <a:lnTo>
                      <a:pt x="618" y="834"/>
                    </a:lnTo>
                    <a:lnTo>
                      <a:pt x="618" y="840"/>
                    </a:lnTo>
                    <a:lnTo>
                      <a:pt x="630" y="840"/>
                    </a:lnTo>
                    <a:lnTo>
                      <a:pt x="642" y="834"/>
                    </a:lnTo>
                    <a:lnTo>
                      <a:pt x="654" y="822"/>
                    </a:lnTo>
                    <a:lnTo>
                      <a:pt x="660" y="822"/>
                    </a:lnTo>
                    <a:lnTo>
                      <a:pt x="690" y="816"/>
                    </a:lnTo>
                    <a:lnTo>
                      <a:pt x="768" y="762"/>
                    </a:lnTo>
                    <a:lnTo>
                      <a:pt x="762" y="744"/>
                    </a:lnTo>
                    <a:close/>
                    <a:moveTo>
                      <a:pt x="726" y="360"/>
                    </a:moveTo>
                    <a:lnTo>
                      <a:pt x="732" y="354"/>
                    </a:lnTo>
                    <a:lnTo>
                      <a:pt x="732" y="324"/>
                    </a:lnTo>
                    <a:lnTo>
                      <a:pt x="720" y="312"/>
                    </a:lnTo>
                    <a:lnTo>
                      <a:pt x="714" y="312"/>
                    </a:lnTo>
                    <a:lnTo>
                      <a:pt x="708" y="318"/>
                    </a:lnTo>
                    <a:lnTo>
                      <a:pt x="708" y="348"/>
                    </a:lnTo>
                    <a:lnTo>
                      <a:pt x="714" y="354"/>
                    </a:lnTo>
                    <a:lnTo>
                      <a:pt x="726" y="360"/>
                    </a:lnTo>
                    <a:close/>
                    <a:moveTo>
                      <a:pt x="678" y="420"/>
                    </a:moveTo>
                    <a:lnTo>
                      <a:pt x="690" y="426"/>
                    </a:lnTo>
                    <a:lnTo>
                      <a:pt x="696" y="438"/>
                    </a:lnTo>
                    <a:lnTo>
                      <a:pt x="708" y="444"/>
                    </a:lnTo>
                    <a:lnTo>
                      <a:pt x="720" y="444"/>
                    </a:lnTo>
                    <a:lnTo>
                      <a:pt x="726" y="438"/>
                    </a:lnTo>
                    <a:lnTo>
                      <a:pt x="720" y="432"/>
                    </a:lnTo>
                    <a:lnTo>
                      <a:pt x="720" y="426"/>
                    </a:lnTo>
                    <a:lnTo>
                      <a:pt x="708" y="414"/>
                    </a:lnTo>
                    <a:lnTo>
                      <a:pt x="708" y="390"/>
                    </a:lnTo>
                    <a:lnTo>
                      <a:pt x="702" y="378"/>
                    </a:lnTo>
                    <a:lnTo>
                      <a:pt x="684" y="378"/>
                    </a:lnTo>
                    <a:lnTo>
                      <a:pt x="678" y="384"/>
                    </a:lnTo>
                    <a:lnTo>
                      <a:pt x="678" y="42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06" name="Tajikistan"/>
              <p:cNvSpPr>
                <a:spLocks/>
              </p:cNvSpPr>
              <p:nvPr/>
            </p:nvSpPr>
            <p:spPr bwMode="gray">
              <a:xfrm>
                <a:off x="6021396" y="2749553"/>
                <a:ext cx="222250" cy="139700"/>
              </a:xfrm>
              <a:custGeom>
                <a:avLst/>
                <a:gdLst>
                  <a:gd name="T0" fmla="*/ 2147483647 w 552"/>
                  <a:gd name="T1" fmla="*/ 2147483647 h 348"/>
                  <a:gd name="T2" fmla="*/ 2147483647 w 552"/>
                  <a:gd name="T3" fmla="*/ 2147483647 h 348"/>
                  <a:gd name="T4" fmla="*/ 2147483647 w 552"/>
                  <a:gd name="T5" fmla="*/ 2147483647 h 348"/>
                  <a:gd name="T6" fmla="*/ 2147483647 w 552"/>
                  <a:gd name="T7" fmla="*/ 2147483647 h 348"/>
                  <a:gd name="T8" fmla="*/ 2147483647 w 552"/>
                  <a:gd name="T9" fmla="*/ 2147483647 h 348"/>
                  <a:gd name="T10" fmla="*/ 2147483647 w 552"/>
                  <a:gd name="T11" fmla="*/ 2147483647 h 348"/>
                  <a:gd name="T12" fmla="*/ 2147483647 w 552"/>
                  <a:gd name="T13" fmla="*/ 2147483647 h 348"/>
                  <a:gd name="T14" fmla="*/ 2147483647 w 552"/>
                  <a:gd name="T15" fmla="*/ 2147483647 h 348"/>
                  <a:gd name="T16" fmla="*/ 2147483647 w 552"/>
                  <a:gd name="T17" fmla="*/ 2147483647 h 348"/>
                  <a:gd name="T18" fmla="*/ 2147483647 w 552"/>
                  <a:gd name="T19" fmla="*/ 2147483647 h 348"/>
                  <a:gd name="T20" fmla="*/ 2147483647 w 552"/>
                  <a:gd name="T21" fmla="*/ 2147483647 h 348"/>
                  <a:gd name="T22" fmla="*/ 2147483647 w 552"/>
                  <a:gd name="T23" fmla="*/ 2147483647 h 348"/>
                  <a:gd name="T24" fmla="*/ 2147483647 w 552"/>
                  <a:gd name="T25" fmla="*/ 2147483647 h 348"/>
                  <a:gd name="T26" fmla="*/ 2147483647 w 552"/>
                  <a:gd name="T27" fmla="*/ 2147483647 h 348"/>
                  <a:gd name="T28" fmla="*/ 2147483647 w 552"/>
                  <a:gd name="T29" fmla="*/ 2147483647 h 348"/>
                  <a:gd name="T30" fmla="*/ 2147483647 w 552"/>
                  <a:gd name="T31" fmla="*/ 2147483647 h 348"/>
                  <a:gd name="T32" fmla="*/ 2147483647 w 552"/>
                  <a:gd name="T33" fmla="*/ 2147483647 h 348"/>
                  <a:gd name="T34" fmla="*/ 2147483647 w 552"/>
                  <a:gd name="T35" fmla="*/ 2147483647 h 348"/>
                  <a:gd name="T36" fmla="*/ 2147483647 w 552"/>
                  <a:gd name="T37" fmla="*/ 2147483647 h 348"/>
                  <a:gd name="T38" fmla="*/ 2147483647 w 552"/>
                  <a:gd name="T39" fmla="*/ 0 h 348"/>
                  <a:gd name="T40" fmla="*/ 2147483647 w 552"/>
                  <a:gd name="T41" fmla="*/ 2147483647 h 348"/>
                  <a:gd name="T42" fmla="*/ 2147483647 w 552"/>
                  <a:gd name="T43" fmla="*/ 2147483647 h 348"/>
                  <a:gd name="T44" fmla="*/ 2147483647 w 552"/>
                  <a:gd name="T45" fmla="*/ 2147483647 h 348"/>
                  <a:gd name="T46" fmla="*/ 2147483647 w 552"/>
                  <a:gd name="T47" fmla="*/ 2147483647 h 348"/>
                  <a:gd name="T48" fmla="*/ 2147483647 w 552"/>
                  <a:gd name="T49" fmla="*/ 2147483647 h 348"/>
                  <a:gd name="T50" fmla="*/ 2147483647 w 552"/>
                  <a:gd name="T51" fmla="*/ 2147483647 h 348"/>
                  <a:gd name="T52" fmla="*/ 2147483647 w 552"/>
                  <a:gd name="T53" fmla="*/ 2147483647 h 348"/>
                  <a:gd name="T54" fmla="*/ 2147483647 w 552"/>
                  <a:gd name="T55" fmla="*/ 2147483647 h 348"/>
                  <a:gd name="T56" fmla="*/ 2147483647 w 552"/>
                  <a:gd name="T57" fmla="*/ 2147483647 h 348"/>
                  <a:gd name="T58" fmla="*/ 2147483647 w 552"/>
                  <a:gd name="T59" fmla="*/ 2147483647 h 348"/>
                  <a:gd name="T60" fmla="*/ 2147483647 w 552"/>
                  <a:gd name="T61" fmla="*/ 2147483647 h 348"/>
                  <a:gd name="T62" fmla="*/ 2147483647 w 552"/>
                  <a:gd name="T63" fmla="*/ 2147483647 h 348"/>
                  <a:gd name="T64" fmla="*/ 2147483647 w 552"/>
                  <a:gd name="T65" fmla="*/ 2147483647 h 348"/>
                  <a:gd name="T66" fmla="*/ 2147483647 w 552"/>
                  <a:gd name="T67" fmla="*/ 2147483647 h 348"/>
                  <a:gd name="T68" fmla="*/ 2147483647 w 552"/>
                  <a:gd name="T69" fmla="*/ 2147483647 h 348"/>
                  <a:gd name="T70" fmla="*/ 2147483647 w 552"/>
                  <a:gd name="T71" fmla="*/ 2147483647 h 348"/>
                  <a:gd name="T72" fmla="*/ 2147483647 w 552"/>
                  <a:gd name="T73" fmla="*/ 2147483647 h 348"/>
                  <a:gd name="T74" fmla="*/ 2147483647 w 552"/>
                  <a:gd name="T75" fmla="*/ 2147483647 h 348"/>
                  <a:gd name="T76" fmla="*/ 2147483647 w 552"/>
                  <a:gd name="T77" fmla="*/ 2147483647 h 348"/>
                  <a:gd name="T78" fmla="*/ 2147483647 w 552"/>
                  <a:gd name="T79" fmla="*/ 2147483647 h 348"/>
                  <a:gd name="T80" fmla="*/ 2147483647 w 552"/>
                  <a:gd name="T81" fmla="*/ 2147483647 h 348"/>
                  <a:gd name="T82" fmla="*/ 2147483647 w 552"/>
                  <a:gd name="T83" fmla="*/ 2147483647 h 348"/>
                  <a:gd name="T84" fmla="*/ 2147483647 w 552"/>
                  <a:gd name="T85" fmla="*/ 2147483647 h 348"/>
                  <a:gd name="T86" fmla="*/ 2147483647 w 552"/>
                  <a:gd name="T87" fmla="*/ 2147483647 h 348"/>
                  <a:gd name="T88" fmla="*/ 2147483647 w 552"/>
                  <a:gd name="T89" fmla="*/ 2147483647 h 348"/>
                  <a:gd name="T90" fmla="*/ 2147483647 w 552"/>
                  <a:gd name="T91" fmla="*/ 2147483647 h 348"/>
                  <a:gd name="T92" fmla="*/ 2147483647 w 552"/>
                  <a:gd name="T93" fmla="*/ 2147483647 h 348"/>
                  <a:gd name="T94" fmla="*/ 2147483647 w 552"/>
                  <a:gd name="T95" fmla="*/ 2147483647 h 348"/>
                  <a:gd name="T96" fmla="*/ 2147483647 w 552"/>
                  <a:gd name="T97" fmla="*/ 2147483647 h 348"/>
                  <a:gd name="T98" fmla="*/ 2147483647 w 552"/>
                  <a:gd name="T99" fmla="*/ 2147483647 h 34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552"/>
                  <a:gd name="T151" fmla="*/ 0 h 348"/>
                  <a:gd name="T152" fmla="*/ 552 w 552"/>
                  <a:gd name="T153" fmla="*/ 348 h 34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552" h="348">
                    <a:moveTo>
                      <a:pt x="528" y="270"/>
                    </a:moveTo>
                    <a:lnTo>
                      <a:pt x="516" y="246"/>
                    </a:lnTo>
                    <a:lnTo>
                      <a:pt x="516" y="204"/>
                    </a:lnTo>
                    <a:lnTo>
                      <a:pt x="510" y="198"/>
                    </a:lnTo>
                    <a:lnTo>
                      <a:pt x="498" y="192"/>
                    </a:lnTo>
                    <a:lnTo>
                      <a:pt x="492" y="192"/>
                    </a:lnTo>
                    <a:lnTo>
                      <a:pt x="480" y="186"/>
                    </a:lnTo>
                    <a:lnTo>
                      <a:pt x="456" y="186"/>
                    </a:lnTo>
                    <a:lnTo>
                      <a:pt x="450" y="192"/>
                    </a:lnTo>
                    <a:lnTo>
                      <a:pt x="438" y="192"/>
                    </a:lnTo>
                    <a:lnTo>
                      <a:pt x="426" y="180"/>
                    </a:lnTo>
                    <a:lnTo>
                      <a:pt x="426" y="168"/>
                    </a:lnTo>
                    <a:lnTo>
                      <a:pt x="432" y="156"/>
                    </a:lnTo>
                    <a:lnTo>
                      <a:pt x="432" y="144"/>
                    </a:lnTo>
                    <a:lnTo>
                      <a:pt x="414" y="144"/>
                    </a:lnTo>
                    <a:lnTo>
                      <a:pt x="414" y="120"/>
                    </a:lnTo>
                    <a:lnTo>
                      <a:pt x="396" y="114"/>
                    </a:lnTo>
                    <a:lnTo>
                      <a:pt x="384" y="126"/>
                    </a:lnTo>
                    <a:lnTo>
                      <a:pt x="342" y="126"/>
                    </a:lnTo>
                    <a:lnTo>
                      <a:pt x="336" y="132"/>
                    </a:lnTo>
                    <a:lnTo>
                      <a:pt x="324" y="138"/>
                    </a:lnTo>
                    <a:lnTo>
                      <a:pt x="312" y="138"/>
                    </a:lnTo>
                    <a:lnTo>
                      <a:pt x="312" y="132"/>
                    </a:lnTo>
                    <a:lnTo>
                      <a:pt x="306" y="132"/>
                    </a:lnTo>
                    <a:lnTo>
                      <a:pt x="294" y="138"/>
                    </a:lnTo>
                    <a:lnTo>
                      <a:pt x="264" y="108"/>
                    </a:lnTo>
                    <a:lnTo>
                      <a:pt x="258" y="114"/>
                    </a:lnTo>
                    <a:lnTo>
                      <a:pt x="246" y="120"/>
                    </a:lnTo>
                    <a:lnTo>
                      <a:pt x="240" y="126"/>
                    </a:lnTo>
                    <a:lnTo>
                      <a:pt x="222" y="126"/>
                    </a:lnTo>
                    <a:lnTo>
                      <a:pt x="210" y="114"/>
                    </a:lnTo>
                    <a:lnTo>
                      <a:pt x="186" y="114"/>
                    </a:lnTo>
                    <a:lnTo>
                      <a:pt x="174" y="108"/>
                    </a:lnTo>
                    <a:lnTo>
                      <a:pt x="156" y="108"/>
                    </a:lnTo>
                    <a:lnTo>
                      <a:pt x="150" y="114"/>
                    </a:lnTo>
                    <a:lnTo>
                      <a:pt x="138" y="114"/>
                    </a:lnTo>
                    <a:lnTo>
                      <a:pt x="126" y="120"/>
                    </a:lnTo>
                    <a:lnTo>
                      <a:pt x="120" y="114"/>
                    </a:lnTo>
                    <a:lnTo>
                      <a:pt x="120" y="108"/>
                    </a:lnTo>
                    <a:lnTo>
                      <a:pt x="114" y="102"/>
                    </a:lnTo>
                    <a:lnTo>
                      <a:pt x="114" y="90"/>
                    </a:lnTo>
                    <a:lnTo>
                      <a:pt x="126" y="84"/>
                    </a:lnTo>
                    <a:lnTo>
                      <a:pt x="132" y="78"/>
                    </a:lnTo>
                    <a:lnTo>
                      <a:pt x="132" y="66"/>
                    </a:lnTo>
                    <a:lnTo>
                      <a:pt x="138" y="60"/>
                    </a:lnTo>
                    <a:lnTo>
                      <a:pt x="150" y="60"/>
                    </a:lnTo>
                    <a:lnTo>
                      <a:pt x="186" y="72"/>
                    </a:lnTo>
                    <a:lnTo>
                      <a:pt x="198" y="78"/>
                    </a:lnTo>
                    <a:lnTo>
                      <a:pt x="204" y="78"/>
                    </a:lnTo>
                    <a:lnTo>
                      <a:pt x="210" y="72"/>
                    </a:lnTo>
                    <a:lnTo>
                      <a:pt x="210" y="66"/>
                    </a:lnTo>
                    <a:lnTo>
                      <a:pt x="204" y="60"/>
                    </a:lnTo>
                    <a:lnTo>
                      <a:pt x="198" y="60"/>
                    </a:lnTo>
                    <a:lnTo>
                      <a:pt x="186" y="54"/>
                    </a:lnTo>
                    <a:lnTo>
                      <a:pt x="180" y="48"/>
                    </a:lnTo>
                    <a:lnTo>
                      <a:pt x="174" y="48"/>
                    </a:lnTo>
                    <a:lnTo>
                      <a:pt x="198" y="12"/>
                    </a:lnTo>
                    <a:lnTo>
                      <a:pt x="192" y="6"/>
                    </a:lnTo>
                    <a:lnTo>
                      <a:pt x="180" y="0"/>
                    </a:lnTo>
                    <a:lnTo>
                      <a:pt x="162" y="0"/>
                    </a:lnTo>
                    <a:lnTo>
                      <a:pt x="156" y="12"/>
                    </a:lnTo>
                    <a:lnTo>
                      <a:pt x="144" y="18"/>
                    </a:lnTo>
                    <a:lnTo>
                      <a:pt x="138" y="30"/>
                    </a:lnTo>
                    <a:lnTo>
                      <a:pt x="132" y="30"/>
                    </a:lnTo>
                    <a:lnTo>
                      <a:pt x="114" y="12"/>
                    </a:lnTo>
                    <a:lnTo>
                      <a:pt x="102" y="12"/>
                    </a:lnTo>
                    <a:lnTo>
                      <a:pt x="102" y="24"/>
                    </a:lnTo>
                    <a:lnTo>
                      <a:pt x="96" y="30"/>
                    </a:lnTo>
                    <a:lnTo>
                      <a:pt x="96" y="42"/>
                    </a:lnTo>
                    <a:lnTo>
                      <a:pt x="108" y="54"/>
                    </a:lnTo>
                    <a:lnTo>
                      <a:pt x="108" y="60"/>
                    </a:lnTo>
                    <a:lnTo>
                      <a:pt x="66" y="60"/>
                    </a:lnTo>
                    <a:lnTo>
                      <a:pt x="90" y="84"/>
                    </a:lnTo>
                    <a:lnTo>
                      <a:pt x="72" y="96"/>
                    </a:lnTo>
                    <a:lnTo>
                      <a:pt x="78" y="96"/>
                    </a:lnTo>
                    <a:lnTo>
                      <a:pt x="78" y="108"/>
                    </a:lnTo>
                    <a:lnTo>
                      <a:pt x="54" y="120"/>
                    </a:lnTo>
                    <a:lnTo>
                      <a:pt x="6" y="120"/>
                    </a:lnTo>
                    <a:lnTo>
                      <a:pt x="0" y="126"/>
                    </a:lnTo>
                    <a:lnTo>
                      <a:pt x="0" y="144"/>
                    </a:lnTo>
                    <a:lnTo>
                      <a:pt x="18" y="144"/>
                    </a:lnTo>
                    <a:lnTo>
                      <a:pt x="30" y="156"/>
                    </a:lnTo>
                    <a:lnTo>
                      <a:pt x="36" y="156"/>
                    </a:lnTo>
                    <a:lnTo>
                      <a:pt x="42" y="162"/>
                    </a:lnTo>
                    <a:lnTo>
                      <a:pt x="54" y="162"/>
                    </a:lnTo>
                    <a:lnTo>
                      <a:pt x="66" y="174"/>
                    </a:lnTo>
                    <a:lnTo>
                      <a:pt x="66" y="180"/>
                    </a:lnTo>
                    <a:lnTo>
                      <a:pt x="60" y="186"/>
                    </a:lnTo>
                    <a:lnTo>
                      <a:pt x="60" y="204"/>
                    </a:lnTo>
                    <a:lnTo>
                      <a:pt x="66" y="210"/>
                    </a:lnTo>
                    <a:lnTo>
                      <a:pt x="78" y="216"/>
                    </a:lnTo>
                    <a:lnTo>
                      <a:pt x="90" y="228"/>
                    </a:lnTo>
                    <a:lnTo>
                      <a:pt x="90" y="246"/>
                    </a:lnTo>
                    <a:lnTo>
                      <a:pt x="84" y="258"/>
                    </a:lnTo>
                    <a:lnTo>
                      <a:pt x="72" y="264"/>
                    </a:lnTo>
                    <a:lnTo>
                      <a:pt x="66" y="276"/>
                    </a:lnTo>
                    <a:lnTo>
                      <a:pt x="60" y="282"/>
                    </a:lnTo>
                    <a:lnTo>
                      <a:pt x="60" y="306"/>
                    </a:lnTo>
                    <a:lnTo>
                      <a:pt x="66" y="312"/>
                    </a:lnTo>
                    <a:lnTo>
                      <a:pt x="78" y="318"/>
                    </a:lnTo>
                    <a:lnTo>
                      <a:pt x="84" y="324"/>
                    </a:lnTo>
                    <a:lnTo>
                      <a:pt x="90" y="324"/>
                    </a:lnTo>
                    <a:lnTo>
                      <a:pt x="108" y="306"/>
                    </a:lnTo>
                    <a:lnTo>
                      <a:pt x="120" y="300"/>
                    </a:lnTo>
                    <a:lnTo>
                      <a:pt x="126" y="294"/>
                    </a:lnTo>
                    <a:lnTo>
                      <a:pt x="138" y="294"/>
                    </a:lnTo>
                    <a:lnTo>
                      <a:pt x="144" y="300"/>
                    </a:lnTo>
                    <a:lnTo>
                      <a:pt x="150" y="312"/>
                    </a:lnTo>
                    <a:lnTo>
                      <a:pt x="156" y="318"/>
                    </a:lnTo>
                    <a:lnTo>
                      <a:pt x="162" y="318"/>
                    </a:lnTo>
                    <a:lnTo>
                      <a:pt x="162" y="288"/>
                    </a:lnTo>
                    <a:lnTo>
                      <a:pt x="174" y="276"/>
                    </a:lnTo>
                    <a:lnTo>
                      <a:pt x="186" y="270"/>
                    </a:lnTo>
                    <a:lnTo>
                      <a:pt x="204" y="270"/>
                    </a:lnTo>
                    <a:lnTo>
                      <a:pt x="216" y="282"/>
                    </a:lnTo>
                    <a:lnTo>
                      <a:pt x="222" y="258"/>
                    </a:lnTo>
                    <a:lnTo>
                      <a:pt x="216" y="258"/>
                    </a:lnTo>
                    <a:lnTo>
                      <a:pt x="210" y="252"/>
                    </a:lnTo>
                    <a:lnTo>
                      <a:pt x="210" y="246"/>
                    </a:lnTo>
                    <a:lnTo>
                      <a:pt x="222" y="234"/>
                    </a:lnTo>
                    <a:lnTo>
                      <a:pt x="228" y="234"/>
                    </a:lnTo>
                    <a:lnTo>
                      <a:pt x="234" y="228"/>
                    </a:lnTo>
                    <a:lnTo>
                      <a:pt x="234" y="204"/>
                    </a:lnTo>
                    <a:lnTo>
                      <a:pt x="240" y="198"/>
                    </a:lnTo>
                    <a:lnTo>
                      <a:pt x="258" y="198"/>
                    </a:lnTo>
                    <a:lnTo>
                      <a:pt x="276" y="216"/>
                    </a:lnTo>
                    <a:lnTo>
                      <a:pt x="276" y="246"/>
                    </a:lnTo>
                    <a:lnTo>
                      <a:pt x="294" y="246"/>
                    </a:lnTo>
                    <a:lnTo>
                      <a:pt x="306" y="312"/>
                    </a:lnTo>
                    <a:lnTo>
                      <a:pt x="306" y="318"/>
                    </a:lnTo>
                    <a:lnTo>
                      <a:pt x="336" y="348"/>
                    </a:lnTo>
                    <a:lnTo>
                      <a:pt x="342" y="348"/>
                    </a:lnTo>
                    <a:lnTo>
                      <a:pt x="348" y="342"/>
                    </a:lnTo>
                    <a:lnTo>
                      <a:pt x="360" y="336"/>
                    </a:lnTo>
                    <a:lnTo>
                      <a:pt x="366" y="324"/>
                    </a:lnTo>
                    <a:lnTo>
                      <a:pt x="372" y="318"/>
                    </a:lnTo>
                    <a:lnTo>
                      <a:pt x="390" y="318"/>
                    </a:lnTo>
                    <a:lnTo>
                      <a:pt x="396" y="312"/>
                    </a:lnTo>
                    <a:lnTo>
                      <a:pt x="402" y="300"/>
                    </a:lnTo>
                    <a:lnTo>
                      <a:pt x="408" y="294"/>
                    </a:lnTo>
                    <a:lnTo>
                      <a:pt x="432" y="282"/>
                    </a:lnTo>
                    <a:lnTo>
                      <a:pt x="456" y="282"/>
                    </a:lnTo>
                    <a:lnTo>
                      <a:pt x="456" y="300"/>
                    </a:lnTo>
                    <a:lnTo>
                      <a:pt x="492" y="288"/>
                    </a:lnTo>
                    <a:lnTo>
                      <a:pt x="516" y="288"/>
                    </a:lnTo>
                    <a:lnTo>
                      <a:pt x="522" y="294"/>
                    </a:lnTo>
                    <a:lnTo>
                      <a:pt x="546" y="294"/>
                    </a:lnTo>
                    <a:lnTo>
                      <a:pt x="552" y="288"/>
                    </a:lnTo>
                    <a:lnTo>
                      <a:pt x="540" y="276"/>
                    </a:lnTo>
                    <a:lnTo>
                      <a:pt x="534" y="276"/>
                    </a:lnTo>
                    <a:lnTo>
                      <a:pt x="528" y="27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07" name="Syria"/>
              <p:cNvSpPr>
                <a:spLocks/>
              </p:cNvSpPr>
              <p:nvPr/>
            </p:nvSpPr>
            <p:spPr bwMode="gray">
              <a:xfrm>
                <a:off x="5189546" y="2863852"/>
                <a:ext cx="180975" cy="166688"/>
              </a:xfrm>
              <a:custGeom>
                <a:avLst/>
                <a:gdLst>
                  <a:gd name="T0" fmla="*/ 2147483647 w 450"/>
                  <a:gd name="T1" fmla="*/ 2147483647 h 414"/>
                  <a:gd name="T2" fmla="*/ 2147483647 w 450"/>
                  <a:gd name="T3" fmla="*/ 2147483647 h 414"/>
                  <a:gd name="T4" fmla="*/ 2147483647 w 450"/>
                  <a:gd name="T5" fmla="*/ 2147483647 h 414"/>
                  <a:gd name="T6" fmla="*/ 2147483647 w 450"/>
                  <a:gd name="T7" fmla="*/ 0 h 414"/>
                  <a:gd name="T8" fmla="*/ 2147483647 w 450"/>
                  <a:gd name="T9" fmla="*/ 2147483647 h 414"/>
                  <a:gd name="T10" fmla="*/ 2147483647 w 450"/>
                  <a:gd name="T11" fmla="*/ 2147483647 h 414"/>
                  <a:gd name="T12" fmla="*/ 2147483647 w 450"/>
                  <a:gd name="T13" fmla="*/ 2147483647 h 414"/>
                  <a:gd name="T14" fmla="*/ 2147483647 w 450"/>
                  <a:gd name="T15" fmla="*/ 2147483647 h 414"/>
                  <a:gd name="T16" fmla="*/ 2147483647 w 450"/>
                  <a:gd name="T17" fmla="*/ 2147483647 h 414"/>
                  <a:gd name="T18" fmla="*/ 2147483647 w 450"/>
                  <a:gd name="T19" fmla="*/ 2147483647 h 414"/>
                  <a:gd name="T20" fmla="*/ 2147483647 w 450"/>
                  <a:gd name="T21" fmla="*/ 2147483647 h 414"/>
                  <a:gd name="T22" fmla="*/ 2147483647 w 450"/>
                  <a:gd name="T23" fmla="*/ 2147483647 h 414"/>
                  <a:gd name="T24" fmla="*/ 2147483647 w 450"/>
                  <a:gd name="T25" fmla="*/ 2147483647 h 414"/>
                  <a:gd name="T26" fmla="*/ 2147483647 w 450"/>
                  <a:gd name="T27" fmla="*/ 2147483647 h 414"/>
                  <a:gd name="T28" fmla="*/ 2147483647 w 450"/>
                  <a:gd name="T29" fmla="*/ 2147483647 h 414"/>
                  <a:gd name="T30" fmla="*/ 2147483647 w 450"/>
                  <a:gd name="T31" fmla="*/ 2147483647 h 414"/>
                  <a:gd name="T32" fmla="*/ 2147483647 w 450"/>
                  <a:gd name="T33" fmla="*/ 2147483647 h 414"/>
                  <a:gd name="T34" fmla="*/ 2147483647 w 450"/>
                  <a:gd name="T35" fmla="*/ 2147483647 h 414"/>
                  <a:gd name="T36" fmla="*/ 2147483647 w 450"/>
                  <a:gd name="T37" fmla="*/ 2147483647 h 414"/>
                  <a:gd name="T38" fmla="*/ 2147483647 w 450"/>
                  <a:gd name="T39" fmla="*/ 2147483647 h 414"/>
                  <a:gd name="T40" fmla="*/ 2147483647 w 450"/>
                  <a:gd name="T41" fmla="*/ 2147483647 h 414"/>
                  <a:gd name="T42" fmla="*/ 2147483647 w 450"/>
                  <a:gd name="T43" fmla="*/ 2147483647 h 414"/>
                  <a:gd name="T44" fmla="*/ 2147483647 w 450"/>
                  <a:gd name="T45" fmla="*/ 2147483647 h 414"/>
                  <a:gd name="T46" fmla="*/ 2147483647 w 450"/>
                  <a:gd name="T47" fmla="*/ 2147483647 h 414"/>
                  <a:gd name="T48" fmla="*/ 2147483647 w 450"/>
                  <a:gd name="T49" fmla="*/ 2147483647 h 414"/>
                  <a:gd name="T50" fmla="*/ 2147483647 w 450"/>
                  <a:gd name="T51" fmla="*/ 2147483647 h 414"/>
                  <a:gd name="T52" fmla="*/ 2147483647 w 450"/>
                  <a:gd name="T53" fmla="*/ 2147483647 h 414"/>
                  <a:gd name="T54" fmla="*/ 2147483647 w 450"/>
                  <a:gd name="T55" fmla="*/ 2147483647 h 414"/>
                  <a:gd name="T56" fmla="*/ 2147483647 w 450"/>
                  <a:gd name="T57" fmla="*/ 2147483647 h 414"/>
                  <a:gd name="T58" fmla="*/ 2147483647 w 450"/>
                  <a:gd name="T59" fmla="*/ 2147483647 h 414"/>
                  <a:gd name="T60" fmla="*/ 2147483647 w 450"/>
                  <a:gd name="T61" fmla="*/ 2147483647 h 414"/>
                  <a:gd name="T62" fmla="*/ 2147483647 w 450"/>
                  <a:gd name="T63" fmla="*/ 2147483647 h 414"/>
                  <a:gd name="T64" fmla="*/ 2147483647 w 450"/>
                  <a:gd name="T65" fmla="*/ 2147483647 h 414"/>
                  <a:gd name="T66" fmla="*/ 2147483647 w 450"/>
                  <a:gd name="T67" fmla="*/ 2147483647 h 414"/>
                  <a:gd name="T68" fmla="*/ 2147483647 w 450"/>
                  <a:gd name="T69" fmla="*/ 2147483647 h 414"/>
                  <a:gd name="T70" fmla="*/ 2147483647 w 450"/>
                  <a:gd name="T71" fmla="*/ 2147483647 h 414"/>
                  <a:gd name="T72" fmla="*/ 2147483647 w 450"/>
                  <a:gd name="T73" fmla="*/ 2147483647 h 414"/>
                  <a:gd name="T74" fmla="*/ 2147483647 w 450"/>
                  <a:gd name="T75" fmla="*/ 2147483647 h 414"/>
                  <a:gd name="T76" fmla="*/ 2147483647 w 450"/>
                  <a:gd name="T77" fmla="*/ 2147483647 h 414"/>
                  <a:gd name="T78" fmla="*/ 2147483647 w 450"/>
                  <a:gd name="T79" fmla="*/ 2147483647 h 414"/>
                  <a:gd name="T80" fmla="*/ 2147483647 w 450"/>
                  <a:gd name="T81" fmla="*/ 2147483647 h 414"/>
                  <a:gd name="T82" fmla="*/ 2147483647 w 450"/>
                  <a:gd name="T83" fmla="*/ 2147483647 h 414"/>
                  <a:gd name="T84" fmla="*/ 2147483647 w 450"/>
                  <a:gd name="T85" fmla="*/ 2147483647 h 414"/>
                  <a:gd name="T86" fmla="*/ 2147483647 w 450"/>
                  <a:gd name="T87" fmla="*/ 2147483647 h 414"/>
                  <a:gd name="T88" fmla="*/ 2147483647 w 450"/>
                  <a:gd name="T89" fmla="*/ 2147483647 h 414"/>
                  <a:gd name="T90" fmla="*/ 2147483647 w 450"/>
                  <a:gd name="T91" fmla="*/ 2147483647 h 414"/>
                  <a:gd name="T92" fmla="*/ 2147483647 w 450"/>
                  <a:gd name="T93" fmla="*/ 2147483647 h 414"/>
                  <a:gd name="T94" fmla="*/ 2147483647 w 450"/>
                  <a:gd name="T95" fmla="*/ 2147483647 h 414"/>
                  <a:gd name="T96" fmla="*/ 2147483647 w 450"/>
                  <a:gd name="T97" fmla="*/ 2147483647 h 41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50"/>
                  <a:gd name="T148" fmla="*/ 0 h 414"/>
                  <a:gd name="T149" fmla="*/ 450 w 450"/>
                  <a:gd name="T150" fmla="*/ 414 h 41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50" h="414">
                    <a:moveTo>
                      <a:pt x="426" y="60"/>
                    </a:moveTo>
                    <a:lnTo>
                      <a:pt x="432" y="54"/>
                    </a:lnTo>
                    <a:lnTo>
                      <a:pt x="438" y="42"/>
                    </a:lnTo>
                    <a:lnTo>
                      <a:pt x="450" y="30"/>
                    </a:lnTo>
                    <a:lnTo>
                      <a:pt x="444" y="30"/>
                    </a:lnTo>
                    <a:lnTo>
                      <a:pt x="438" y="24"/>
                    </a:lnTo>
                    <a:lnTo>
                      <a:pt x="438" y="0"/>
                    </a:lnTo>
                    <a:lnTo>
                      <a:pt x="432" y="0"/>
                    </a:lnTo>
                    <a:lnTo>
                      <a:pt x="432" y="6"/>
                    </a:lnTo>
                    <a:lnTo>
                      <a:pt x="426" y="18"/>
                    </a:lnTo>
                    <a:lnTo>
                      <a:pt x="402" y="18"/>
                    </a:lnTo>
                    <a:lnTo>
                      <a:pt x="390" y="30"/>
                    </a:lnTo>
                    <a:lnTo>
                      <a:pt x="372" y="30"/>
                    </a:lnTo>
                    <a:lnTo>
                      <a:pt x="366" y="24"/>
                    </a:lnTo>
                    <a:lnTo>
                      <a:pt x="318" y="24"/>
                    </a:lnTo>
                    <a:lnTo>
                      <a:pt x="306" y="30"/>
                    </a:lnTo>
                    <a:lnTo>
                      <a:pt x="294" y="42"/>
                    </a:lnTo>
                    <a:lnTo>
                      <a:pt x="282" y="48"/>
                    </a:lnTo>
                    <a:lnTo>
                      <a:pt x="276" y="54"/>
                    </a:lnTo>
                    <a:lnTo>
                      <a:pt x="258" y="54"/>
                    </a:lnTo>
                    <a:lnTo>
                      <a:pt x="246" y="60"/>
                    </a:lnTo>
                    <a:lnTo>
                      <a:pt x="234" y="60"/>
                    </a:lnTo>
                    <a:lnTo>
                      <a:pt x="222" y="54"/>
                    </a:lnTo>
                    <a:lnTo>
                      <a:pt x="204" y="54"/>
                    </a:lnTo>
                    <a:lnTo>
                      <a:pt x="192" y="42"/>
                    </a:lnTo>
                    <a:lnTo>
                      <a:pt x="180" y="36"/>
                    </a:lnTo>
                    <a:lnTo>
                      <a:pt x="174" y="30"/>
                    </a:lnTo>
                    <a:lnTo>
                      <a:pt x="168" y="30"/>
                    </a:lnTo>
                    <a:lnTo>
                      <a:pt x="150" y="48"/>
                    </a:lnTo>
                    <a:lnTo>
                      <a:pt x="144" y="48"/>
                    </a:lnTo>
                    <a:lnTo>
                      <a:pt x="138" y="54"/>
                    </a:lnTo>
                    <a:lnTo>
                      <a:pt x="120" y="60"/>
                    </a:lnTo>
                    <a:lnTo>
                      <a:pt x="84" y="60"/>
                    </a:lnTo>
                    <a:lnTo>
                      <a:pt x="84" y="54"/>
                    </a:lnTo>
                    <a:lnTo>
                      <a:pt x="90" y="48"/>
                    </a:lnTo>
                    <a:lnTo>
                      <a:pt x="66" y="48"/>
                    </a:lnTo>
                    <a:lnTo>
                      <a:pt x="66" y="78"/>
                    </a:lnTo>
                    <a:lnTo>
                      <a:pt x="72" y="78"/>
                    </a:lnTo>
                    <a:lnTo>
                      <a:pt x="72" y="102"/>
                    </a:lnTo>
                    <a:lnTo>
                      <a:pt x="60" y="102"/>
                    </a:lnTo>
                    <a:lnTo>
                      <a:pt x="54" y="96"/>
                    </a:lnTo>
                    <a:lnTo>
                      <a:pt x="54" y="114"/>
                    </a:lnTo>
                    <a:lnTo>
                      <a:pt x="48" y="120"/>
                    </a:lnTo>
                    <a:lnTo>
                      <a:pt x="48" y="126"/>
                    </a:lnTo>
                    <a:lnTo>
                      <a:pt x="36" y="126"/>
                    </a:lnTo>
                    <a:lnTo>
                      <a:pt x="24" y="114"/>
                    </a:lnTo>
                    <a:lnTo>
                      <a:pt x="18" y="120"/>
                    </a:lnTo>
                    <a:lnTo>
                      <a:pt x="12" y="132"/>
                    </a:lnTo>
                    <a:lnTo>
                      <a:pt x="12" y="150"/>
                    </a:lnTo>
                    <a:lnTo>
                      <a:pt x="6" y="150"/>
                    </a:lnTo>
                    <a:lnTo>
                      <a:pt x="0" y="198"/>
                    </a:lnTo>
                    <a:lnTo>
                      <a:pt x="6" y="204"/>
                    </a:lnTo>
                    <a:lnTo>
                      <a:pt x="18" y="210"/>
                    </a:lnTo>
                    <a:lnTo>
                      <a:pt x="24" y="216"/>
                    </a:lnTo>
                    <a:lnTo>
                      <a:pt x="24" y="222"/>
                    </a:lnTo>
                    <a:lnTo>
                      <a:pt x="72" y="222"/>
                    </a:lnTo>
                    <a:lnTo>
                      <a:pt x="66" y="234"/>
                    </a:lnTo>
                    <a:lnTo>
                      <a:pt x="72" y="240"/>
                    </a:lnTo>
                    <a:lnTo>
                      <a:pt x="78" y="252"/>
                    </a:lnTo>
                    <a:lnTo>
                      <a:pt x="78" y="270"/>
                    </a:lnTo>
                    <a:lnTo>
                      <a:pt x="72" y="282"/>
                    </a:lnTo>
                    <a:lnTo>
                      <a:pt x="66" y="282"/>
                    </a:lnTo>
                    <a:lnTo>
                      <a:pt x="54" y="288"/>
                    </a:lnTo>
                    <a:lnTo>
                      <a:pt x="48" y="288"/>
                    </a:lnTo>
                    <a:lnTo>
                      <a:pt x="42" y="294"/>
                    </a:lnTo>
                    <a:lnTo>
                      <a:pt x="42" y="318"/>
                    </a:lnTo>
                    <a:lnTo>
                      <a:pt x="24" y="336"/>
                    </a:lnTo>
                    <a:lnTo>
                      <a:pt x="30" y="378"/>
                    </a:lnTo>
                    <a:lnTo>
                      <a:pt x="36" y="378"/>
                    </a:lnTo>
                    <a:lnTo>
                      <a:pt x="72" y="396"/>
                    </a:lnTo>
                    <a:lnTo>
                      <a:pt x="84" y="408"/>
                    </a:lnTo>
                    <a:lnTo>
                      <a:pt x="96" y="414"/>
                    </a:lnTo>
                    <a:lnTo>
                      <a:pt x="114" y="414"/>
                    </a:lnTo>
                    <a:lnTo>
                      <a:pt x="174" y="384"/>
                    </a:lnTo>
                    <a:lnTo>
                      <a:pt x="204" y="354"/>
                    </a:lnTo>
                    <a:lnTo>
                      <a:pt x="228" y="336"/>
                    </a:lnTo>
                    <a:lnTo>
                      <a:pt x="240" y="324"/>
                    </a:lnTo>
                    <a:lnTo>
                      <a:pt x="300" y="276"/>
                    </a:lnTo>
                    <a:lnTo>
                      <a:pt x="312" y="270"/>
                    </a:lnTo>
                    <a:lnTo>
                      <a:pt x="372" y="246"/>
                    </a:lnTo>
                    <a:lnTo>
                      <a:pt x="396" y="234"/>
                    </a:lnTo>
                    <a:lnTo>
                      <a:pt x="402" y="228"/>
                    </a:lnTo>
                    <a:lnTo>
                      <a:pt x="402" y="222"/>
                    </a:lnTo>
                    <a:lnTo>
                      <a:pt x="384" y="204"/>
                    </a:lnTo>
                    <a:lnTo>
                      <a:pt x="384" y="198"/>
                    </a:lnTo>
                    <a:lnTo>
                      <a:pt x="390" y="180"/>
                    </a:lnTo>
                    <a:lnTo>
                      <a:pt x="396" y="168"/>
                    </a:lnTo>
                    <a:lnTo>
                      <a:pt x="396" y="138"/>
                    </a:lnTo>
                    <a:lnTo>
                      <a:pt x="390" y="126"/>
                    </a:lnTo>
                    <a:lnTo>
                      <a:pt x="390" y="114"/>
                    </a:lnTo>
                    <a:lnTo>
                      <a:pt x="384" y="108"/>
                    </a:lnTo>
                    <a:lnTo>
                      <a:pt x="378" y="96"/>
                    </a:lnTo>
                    <a:lnTo>
                      <a:pt x="378" y="84"/>
                    </a:lnTo>
                    <a:lnTo>
                      <a:pt x="384" y="72"/>
                    </a:lnTo>
                    <a:lnTo>
                      <a:pt x="390" y="66"/>
                    </a:lnTo>
                    <a:lnTo>
                      <a:pt x="402" y="66"/>
                    </a:lnTo>
                    <a:lnTo>
                      <a:pt x="414" y="60"/>
                    </a:lnTo>
                    <a:lnTo>
                      <a:pt x="426" y="6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08" name="Swaziland"/>
              <p:cNvSpPr>
                <a:spLocks/>
              </p:cNvSpPr>
              <p:nvPr/>
            </p:nvSpPr>
            <p:spPr bwMode="gray">
              <a:xfrm>
                <a:off x="5081594" y="4911730"/>
                <a:ext cx="39688" cy="53975"/>
              </a:xfrm>
              <a:custGeom>
                <a:avLst/>
                <a:gdLst>
                  <a:gd name="T0" fmla="*/ 2147483647 w 102"/>
                  <a:gd name="T1" fmla="*/ 2147483647 h 132"/>
                  <a:gd name="T2" fmla="*/ 2147483647 w 102"/>
                  <a:gd name="T3" fmla="*/ 2147483647 h 132"/>
                  <a:gd name="T4" fmla="*/ 2147483647 w 102"/>
                  <a:gd name="T5" fmla="*/ 2147483647 h 132"/>
                  <a:gd name="T6" fmla="*/ 2147483647 w 102"/>
                  <a:gd name="T7" fmla="*/ 2147483647 h 132"/>
                  <a:gd name="T8" fmla="*/ 2147483647 w 102"/>
                  <a:gd name="T9" fmla="*/ 2147483647 h 132"/>
                  <a:gd name="T10" fmla="*/ 2147483647 w 102"/>
                  <a:gd name="T11" fmla="*/ 0 h 132"/>
                  <a:gd name="T12" fmla="*/ 2147483647 w 102"/>
                  <a:gd name="T13" fmla="*/ 0 h 132"/>
                  <a:gd name="T14" fmla="*/ 2147483647 w 102"/>
                  <a:gd name="T15" fmla="*/ 2147483647 h 132"/>
                  <a:gd name="T16" fmla="*/ 2147483647 w 102"/>
                  <a:gd name="T17" fmla="*/ 2147483647 h 132"/>
                  <a:gd name="T18" fmla="*/ 2147483647 w 102"/>
                  <a:gd name="T19" fmla="*/ 2147483647 h 132"/>
                  <a:gd name="T20" fmla="*/ 2147483647 w 102"/>
                  <a:gd name="T21" fmla="*/ 2147483647 h 132"/>
                  <a:gd name="T22" fmla="*/ 0 w 102"/>
                  <a:gd name="T23" fmla="*/ 2147483647 h 132"/>
                  <a:gd name="T24" fmla="*/ 0 w 102"/>
                  <a:gd name="T25" fmla="*/ 2147483647 h 132"/>
                  <a:gd name="T26" fmla="*/ 2147483647 w 102"/>
                  <a:gd name="T27" fmla="*/ 2147483647 h 132"/>
                  <a:gd name="T28" fmla="*/ 2147483647 w 102"/>
                  <a:gd name="T29" fmla="*/ 2147483647 h 132"/>
                  <a:gd name="T30" fmla="*/ 2147483647 w 102"/>
                  <a:gd name="T31" fmla="*/ 2147483647 h 132"/>
                  <a:gd name="T32" fmla="*/ 2147483647 w 102"/>
                  <a:gd name="T33" fmla="*/ 2147483647 h 132"/>
                  <a:gd name="T34" fmla="*/ 2147483647 w 102"/>
                  <a:gd name="T35" fmla="*/ 2147483647 h 132"/>
                  <a:gd name="T36" fmla="*/ 2147483647 w 102"/>
                  <a:gd name="T37" fmla="*/ 2147483647 h 132"/>
                  <a:gd name="T38" fmla="*/ 2147483647 w 102"/>
                  <a:gd name="T39" fmla="*/ 2147483647 h 132"/>
                  <a:gd name="T40" fmla="*/ 2147483647 w 102"/>
                  <a:gd name="T41" fmla="*/ 2147483647 h 132"/>
                  <a:gd name="T42" fmla="*/ 2147483647 w 102"/>
                  <a:gd name="T43" fmla="*/ 2147483647 h 132"/>
                  <a:gd name="T44" fmla="*/ 2147483647 w 102"/>
                  <a:gd name="T45" fmla="*/ 2147483647 h 132"/>
                  <a:gd name="T46" fmla="*/ 2147483647 w 102"/>
                  <a:gd name="T47" fmla="*/ 2147483647 h 132"/>
                  <a:gd name="T48" fmla="*/ 2147483647 w 102"/>
                  <a:gd name="T49" fmla="*/ 2147483647 h 13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02"/>
                  <a:gd name="T76" fmla="*/ 0 h 132"/>
                  <a:gd name="T77" fmla="*/ 102 w 102"/>
                  <a:gd name="T78" fmla="*/ 132 h 132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02" h="132">
                    <a:moveTo>
                      <a:pt x="84" y="54"/>
                    </a:moveTo>
                    <a:lnTo>
                      <a:pt x="84" y="30"/>
                    </a:lnTo>
                    <a:lnTo>
                      <a:pt x="90" y="18"/>
                    </a:lnTo>
                    <a:lnTo>
                      <a:pt x="66" y="18"/>
                    </a:lnTo>
                    <a:lnTo>
                      <a:pt x="54" y="6"/>
                    </a:lnTo>
                    <a:lnTo>
                      <a:pt x="42" y="0"/>
                    </a:lnTo>
                    <a:lnTo>
                      <a:pt x="36" y="0"/>
                    </a:lnTo>
                    <a:lnTo>
                      <a:pt x="24" y="12"/>
                    </a:lnTo>
                    <a:lnTo>
                      <a:pt x="18" y="24"/>
                    </a:lnTo>
                    <a:lnTo>
                      <a:pt x="18" y="36"/>
                    </a:lnTo>
                    <a:lnTo>
                      <a:pt x="6" y="48"/>
                    </a:lnTo>
                    <a:lnTo>
                      <a:pt x="0" y="60"/>
                    </a:lnTo>
                    <a:lnTo>
                      <a:pt x="0" y="84"/>
                    </a:lnTo>
                    <a:lnTo>
                      <a:pt x="12" y="108"/>
                    </a:lnTo>
                    <a:lnTo>
                      <a:pt x="24" y="114"/>
                    </a:lnTo>
                    <a:lnTo>
                      <a:pt x="36" y="126"/>
                    </a:lnTo>
                    <a:lnTo>
                      <a:pt x="54" y="126"/>
                    </a:lnTo>
                    <a:lnTo>
                      <a:pt x="66" y="132"/>
                    </a:lnTo>
                    <a:lnTo>
                      <a:pt x="78" y="132"/>
                    </a:lnTo>
                    <a:lnTo>
                      <a:pt x="90" y="90"/>
                    </a:lnTo>
                    <a:lnTo>
                      <a:pt x="96" y="90"/>
                    </a:lnTo>
                    <a:lnTo>
                      <a:pt x="102" y="84"/>
                    </a:lnTo>
                    <a:lnTo>
                      <a:pt x="96" y="60"/>
                    </a:lnTo>
                    <a:lnTo>
                      <a:pt x="90" y="60"/>
                    </a:lnTo>
                    <a:lnTo>
                      <a:pt x="84" y="54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09" name="Somalia"/>
              <p:cNvSpPr>
                <a:spLocks/>
              </p:cNvSpPr>
              <p:nvPr/>
            </p:nvSpPr>
            <p:spPr bwMode="gray">
              <a:xfrm>
                <a:off x="5389570" y="3687766"/>
                <a:ext cx="287338" cy="444500"/>
              </a:xfrm>
              <a:custGeom>
                <a:avLst/>
                <a:gdLst>
                  <a:gd name="T0" fmla="*/ 2147483647 w 714"/>
                  <a:gd name="T1" fmla="*/ 2147483647 h 1104"/>
                  <a:gd name="T2" fmla="*/ 2147483647 w 714"/>
                  <a:gd name="T3" fmla="*/ 2147483647 h 1104"/>
                  <a:gd name="T4" fmla="*/ 2147483647 w 714"/>
                  <a:gd name="T5" fmla="*/ 2147483647 h 1104"/>
                  <a:gd name="T6" fmla="*/ 2147483647 w 714"/>
                  <a:gd name="T7" fmla="*/ 2147483647 h 1104"/>
                  <a:gd name="T8" fmla="*/ 2147483647 w 714"/>
                  <a:gd name="T9" fmla="*/ 2147483647 h 1104"/>
                  <a:gd name="T10" fmla="*/ 2147483647 w 714"/>
                  <a:gd name="T11" fmla="*/ 2147483647 h 1104"/>
                  <a:gd name="T12" fmla="*/ 2147483647 w 714"/>
                  <a:gd name="T13" fmla="*/ 2147483647 h 1104"/>
                  <a:gd name="T14" fmla="*/ 2147483647 w 714"/>
                  <a:gd name="T15" fmla="*/ 2147483647 h 1104"/>
                  <a:gd name="T16" fmla="*/ 2147483647 w 714"/>
                  <a:gd name="T17" fmla="*/ 2147483647 h 1104"/>
                  <a:gd name="T18" fmla="*/ 2147483647 w 714"/>
                  <a:gd name="T19" fmla="*/ 2147483647 h 1104"/>
                  <a:gd name="T20" fmla="*/ 2147483647 w 714"/>
                  <a:gd name="T21" fmla="*/ 2147483647 h 1104"/>
                  <a:gd name="T22" fmla="*/ 2147483647 w 714"/>
                  <a:gd name="T23" fmla="*/ 2147483647 h 1104"/>
                  <a:gd name="T24" fmla="*/ 0 w 714"/>
                  <a:gd name="T25" fmla="*/ 2147483647 h 1104"/>
                  <a:gd name="T26" fmla="*/ 2147483647 w 714"/>
                  <a:gd name="T27" fmla="*/ 2147483647 h 1104"/>
                  <a:gd name="T28" fmla="*/ 2147483647 w 714"/>
                  <a:gd name="T29" fmla="*/ 2147483647 h 1104"/>
                  <a:gd name="T30" fmla="*/ 2147483647 w 714"/>
                  <a:gd name="T31" fmla="*/ 2147483647 h 1104"/>
                  <a:gd name="T32" fmla="*/ 2147483647 w 714"/>
                  <a:gd name="T33" fmla="*/ 2147483647 h 1104"/>
                  <a:gd name="T34" fmla="*/ 2147483647 w 714"/>
                  <a:gd name="T35" fmla="*/ 2147483647 h 1104"/>
                  <a:gd name="T36" fmla="*/ 2147483647 w 714"/>
                  <a:gd name="T37" fmla="*/ 2147483647 h 1104"/>
                  <a:gd name="T38" fmla="*/ 2147483647 w 714"/>
                  <a:gd name="T39" fmla="*/ 2147483647 h 1104"/>
                  <a:gd name="T40" fmla="*/ 2147483647 w 714"/>
                  <a:gd name="T41" fmla="*/ 2147483647 h 1104"/>
                  <a:gd name="T42" fmla="*/ 2147483647 w 714"/>
                  <a:gd name="T43" fmla="*/ 2147483647 h 1104"/>
                  <a:gd name="T44" fmla="*/ 2147483647 w 714"/>
                  <a:gd name="T45" fmla="*/ 2147483647 h 1104"/>
                  <a:gd name="T46" fmla="*/ 2147483647 w 714"/>
                  <a:gd name="T47" fmla="*/ 2147483647 h 1104"/>
                  <a:gd name="T48" fmla="*/ 2147483647 w 714"/>
                  <a:gd name="T49" fmla="*/ 2147483647 h 1104"/>
                  <a:gd name="T50" fmla="*/ 2147483647 w 714"/>
                  <a:gd name="T51" fmla="*/ 2147483647 h 1104"/>
                  <a:gd name="T52" fmla="*/ 2147483647 w 714"/>
                  <a:gd name="T53" fmla="*/ 2147483647 h 1104"/>
                  <a:gd name="T54" fmla="*/ 2147483647 w 714"/>
                  <a:gd name="T55" fmla="*/ 2147483647 h 1104"/>
                  <a:gd name="T56" fmla="*/ 2147483647 w 714"/>
                  <a:gd name="T57" fmla="*/ 2147483647 h 1104"/>
                  <a:gd name="T58" fmla="*/ 2147483647 w 714"/>
                  <a:gd name="T59" fmla="*/ 2147483647 h 1104"/>
                  <a:gd name="T60" fmla="*/ 2147483647 w 714"/>
                  <a:gd name="T61" fmla="*/ 2147483647 h 1104"/>
                  <a:gd name="T62" fmla="*/ 2147483647 w 714"/>
                  <a:gd name="T63" fmla="*/ 2147483647 h 1104"/>
                  <a:gd name="T64" fmla="*/ 2147483647 w 714"/>
                  <a:gd name="T65" fmla="*/ 2147483647 h 1104"/>
                  <a:gd name="T66" fmla="*/ 2147483647 w 714"/>
                  <a:gd name="T67" fmla="*/ 2147483647 h 1104"/>
                  <a:gd name="T68" fmla="*/ 2147483647 w 714"/>
                  <a:gd name="T69" fmla="*/ 2147483647 h 1104"/>
                  <a:gd name="T70" fmla="*/ 2147483647 w 714"/>
                  <a:gd name="T71" fmla="*/ 2147483647 h 1104"/>
                  <a:gd name="T72" fmla="*/ 2147483647 w 714"/>
                  <a:gd name="T73" fmla="*/ 2147483647 h 1104"/>
                  <a:gd name="T74" fmla="*/ 2147483647 w 714"/>
                  <a:gd name="T75" fmla="*/ 2147483647 h 1104"/>
                  <a:gd name="T76" fmla="*/ 2147483647 w 714"/>
                  <a:gd name="T77" fmla="*/ 2147483647 h 1104"/>
                  <a:gd name="T78" fmla="*/ 2147483647 w 714"/>
                  <a:gd name="T79" fmla="*/ 2147483647 h 1104"/>
                  <a:gd name="T80" fmla="*/ 2147483647 w 714"/>
                  <a:gd name="T81" fmla="*/ 2147483647 h 1104"/>
                  <a:gd name="T82" fmla="*/ 2147483647 w 714"/>
                  <a:gd name="T83" fmla="*/ 2147483647 h 1104"/>
                  <a:gd name="T84" fmla="*/ 2147483647 w 714"/>
                  <a:gd name="T85" fmla="*/ 2147483647 h 1104"/>
                  <a:gd name="T86" fmla="*/ 2147483647 w 714"/>
                  <a:gd name="T87" fmla="*/ 2147483647 h 110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14"/>
                  <a:gd name="T133" fmla="*/ 0 h 1104"/>
                  <a:gd name="T134" fmla="*/ 714 w 714"/>
                  <a:gd name="T135" fmla="*/ 1104 h 1104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14" h="1104">
                    <a:moveTo>
                      <a:pt x="108" y="114"/>
                    </a:moveTo>
                    <a:lnTo>
                      <a:pt x="120" y="126"/>
                    </a:lnTo>
                    <a:lnTo>
                      <a:pt x="120" y="138"/>
                    </a:lnTo>
                    <a:lnTo>
                      <a:pt x="126" y="150"/>
                    </a:lnTo>
                    <a:lnTo>
                      <a:pt x="132" y="156"/>
                    </a:lnTo>
                    <a:lnTo>
                      <a:pt x="138" y="168"/>
                    </a:lnTo>
                    <a:lnTo>
                      <a:pt x="144" y="174"/>
                    </a:lnTo>
                    <a:lnTo>
                      <a:pt x="156" y="198"/>
                    </a:lnTo>
                    <a:lnTo>
                      <a:pt x="162" y="204"/>
                    </a:lnTo>
                    <a:lnTo>
                      <a:pt x="162" y="210"/>
                    </a:lnTo>
                    <a:lnTo>
                      <a:pt x="186" y="210"/>
                    </a:lnTo>
                    <a:lnTo>
                      <a:pt x="192" y="222"/>
                    </a:lnTo>
                    <a:lnTo>
                      <a:pt x="198" y="228"/>
                    </a:lnTo>
                    <a:lnTo>
                      <a:pt x="204" y="240"/>
                    </a:lnTo>
                    <a:lnTo>
                      <a:pt x="240" y="258"/>
                    </a:lnTo>
                    <a:lnTo>
                      <a:pt x="312" y="282"/>
                    </a:lnTo>
                    <a:lnTo>
                      <a:pt x="336" y="288"/>
                    </a:lnTo>
                    <a:lnTo>
                      <a:pt x="348" y="294"/>
                    </a:lnTo>
                    <a:lnTo>
                      <a:pt x="366" y="300"/>
                    </a:lnTo>
                    <a:lnTo>
                      <a:pt x="378" y="312"/>
                    </a:lnTo>
                    <a:lnTo>
                      <a:pt x="414" y="330"/>
                    </a:lnTo>
                    <a:lnTo>
                      <a:pt x="486" y="324"/>
                    </a:lnTo>
                    <a:lnTo>
                      <a:pt x="276" y="570"/>
                    </a:lnTo>
                    <a:lnTo>
                      <a:pt x="192" y="570"/>
                    </a:lnTo>
                    <a:lnTo>
                      <a:pt x="186" y="576"/>
                    </a:lnTo>
                    <a:lnTo>
                      <a:pt x="174" y="576"/>
                    </a:lnTo>
                    <a:lnTo>
                      <a:pt x="162" y="582"/>
                    </a:lnTo>
                    <a:lnTo>
                      <a:pt x="156" y="588"/>
                    </a:lnTo>
                    <a:lnTo>
                      <a:pt x="144" y="594"/>
                    </a:lnTo>
                    <a:lnTo>
                      <a:pt x="144" y="606"/>
                    </a:lnTo>
                    <a:lnTo>
                      <a:pt x="126" y="624"/>
                    </a:lnTo>
                    <a:lnTo>
                      <a:pt x="102" y="624"/>
                    </a:lnTo>
                    <a:lnTo>
                      <a:pt x="90" y="630"/>
                    </a:lnTo>
                    <a:lnTo>
                      <a:pt x="78" y="630"/>
                    </a:lnTo>
                    <a:lnTo>
                      <a:pt x="66" y="642"/>
                    </a:lnTo>
                    <a:lnTo>
                      <a:pt x="66" y="654"/>
                    </a:lnTo>
                    <a:lnTo>
                      <a:pt x="60" y="660"/>
                    </a:lnTo>
                    <a:lnTo>
                      <a:pt x="42" y="696"/>
                    </a:lnTo>
                    <a:lnTo>
                      <a:pt x="0" y="738"/>
                    </a:lnTo>
                    <a:lnTo>
                      <a:pt x="0" y="1038"/>
                    </a:lnTo>
                    <a:lnTo>
                      <a:pt x="42" y="1104"/>
                    </a:lnTo>
                    <a:lnTo>
                      <a:pt x="48" y="1086"/>
                    </a:lnTo>
                    <a:lnTo>
                      <a:pt x="84" y="1032"/>
                    </a:lnTo>
                    <a:lnTo>
                      <a:pt x="96" y="1008"/>
                    </a:lnTo>
                    <a:lnTo>
                      <a:pt x="114" y="996"/>
                    </a:lnTo>
                    <a:lnTo>
                      <a:pt x="144" y="966"/>
                    </a:lnTo>
                    <a:lnTo>
                      <a:pt x="150" y="954"/>
                    </a:lnTo>
                    <a:lnTo>
                      <a:pt x="162" y="936"/>
                    </a:lnTo>
                    <a:lnTo>
                      <a:pt x="192" y="906"/>
                    </a:lnTo>
                    <a:lnTo>
                      <a:pt x="216" y="876"/>
                    </a:lnTo>
                    <a:lnTo>
                      <a:pt x="246" y="846"/>
                    </a:lnTo>
                    <a:lnTo>
                      <a:pt x="264" y="840"/>
                    </a:lnTo>
                    <a:lnTo>
                      <a:pt x="276" y="828"/>
                    </a:lnTo>
                    <a:lnTo>
                      <a:pt x="294" y="816"/>
                    </a:lnTo>
                    <a:lnTo>
                      <a:pt x="318" y="804"/>
                    </a:lnTo>
                    <a:lnTo>
                      <a:pt x="336" y="786"/>
                    </a:lnTo>
                    <a:lnTo>
                      <a:pt x="372" y="756"/>
                    </a:lnTo>
                    <a:lnTo>
                      <a:pt x="420" y="708"/>
                    </a:lnTo>
                    <a:lnTo>
                      <a:pt x="438" y="684"/>
                    </a:lnTo>
                    <a:lnTo>
                      <a:pt x="462" y="654"/>
                    </a:lnTo>
                    <a:lnTo>
                      <a:pt x="492" y="618"/>
                    </a:lnTo>
                    <a:lnTo>
                      <a:pt x="516" y="570"/>
                    </a:lnTo>
                    <a:lnTo>
                      <a:pt x="528" y="540"/>
                    </a:lnTo>
                    <a:lnTo>
                      <a:pt x="546" y="516"/>
                    </a:lnTo>
                    <a:lnTo>
                      <a:pt x="558" y="498"/>
                    </a:lnTo>
                    <a:lnTo>
                      <a:pt x="564" y="492"/>
                    </a:lnTo>
                    <a:lnTo>
                      <a:pt x="570" y="480"/>
                    </a:lnTo>
                    <a:lnTo>
                      <a:pt x="576" y="474"/>
                    </a:lnTo>
                    <a:lnTo>
                      <a:pt x="576" y="450"/>
                    </a:lnTo>
                    <a:lnTo>
                      <a:pt x="582" y="432"/>
                    </a:lnTo>
                    <a:lnTo>
                      <a:pt x="588" y="420"/>
                    </a:lnTo>
                    <a:lnTo>
                      <a:pt x="588" y="402"/>
                    </a:lnTo>
                    <a:lnTo>
                      <a:pt x="594" y="390"/>
                    </a:lnTo>
                    <a:lnTo>
                      <a:pt x="606" y="378"/>
                    </a:lnTo>
                    <a:lnTo>
                      <a:pt x="612" y="366"/>
                    </a:lnTo>
                    <a:lnTo>
                      <a:pt x="624" y="354"/>
                    </a:lnTo>
                    <a:lnTo>
                      <a:pt x="624" y="324"/>
                    </a:lnTo>
                    <a:lnTo>
                      <a:pt x="636" y="318"/>
                    </a:lnTo>
                    <a:lnTo>
                      <a:pt x="642" y="306"/>
                    </a:lnTo>
                    <a:lnTo>
                      <a:pt x="660" y="252"/>
                    </a:lnTo>
                    <a:lnTo>
                      <a:pt x="672" y="252"/>
                    </a:lnTo>
                    <a:lnTo>
                      <a:pt x="672" y="246"/>
                    </a:lnTo>
                    <a:lnTo>
                      <a:pt x="684" y="234"/>
                    </a:lnTo>
                    <a:lnTo>
                      <a:pt x="684" y="138"/>
                    </a:lnTo>
                    <a:lnTo>
                      <a:pt x="708" y="126"/>
                    </a:lnTo>
                    <a:lnTo>
                      <a:pt x="702" y="54"/>
                    </a:lnTo>
                    <a:lnTo>
                      <a:pt x="708" y="42"/>
                    </a:lnTo>
                    <a:lnTo>
                      <a:pt x="708" y="36"/>
                    </a:lnTo>
                    <a:lnTo>
                      <a:pt x="714" y="24"/>
                    </a:lnTo>
                    <a:lnTo>
                      <a:pt x="714" y="12"/>
                    </a:lnTo>
                    <a:lnTo>
                      <a:pt x="690" y="0"/>
                    </a:lnTo>
                    <a:lnTo>
                      <a:pt x="672" y="0"/>
                    </a:lnTo>
                    <a:lnTo>
                      <a:pt x="666" y="12"/>
                    </a:lnTo>
                    <a:lnTo>
                      <a:pt x="654" y="18"/>
                    </a:lnTo>
                    <a:lnTo>
                      <a:pt x="648" y="30"/>
                    </a:lnTo>
                    <a:lnTo>
                      <a:pt x="624" y="42"/>
                    </a:lnTo>
                    <a:lnTo>
                      <a:pt x="612" y="42"/>
                    </a:lnTo>
                    <a:lnTo>
                      <a:pt x="594" y="48"/>
                    </a:lnTo>
                    <a:lnTo>
                      <a:pt x="582" y="54"/>
                    </a:lnTo>
                    <a:lnTo>
                      <a:pt x="564" y="54"/>
                    </a:lnTo>
                    <a:lnTo>
                      <a:pt x="546" y="48"/>
                    </a:lnTo>
                    <a:lnTo>
                      <a:pt x="534" y="42"/>
                    </a:lnTo>
                    <a:lnTo>
                      <a:pt x="516" y="48"/>
                    </a:lnTo>
                    <a:lnTo>
                      <a:pt x="510" y="54"/>
                    </a:lnTo>
                    <a:lnTo>
                      <a:pt x="498" y="60"/>
                    </a:lnTo>
                    <a:lnTo>
                      <a:pt x="492" y="72"/>
                    </a:lnTo>
                    <a:lnTo>
                      <a:pt x="486" y="78"/>
                    </a:lnTo>
                    <a:lnTo>
                      <a:pt x="474" y="78"/>
                    </a:lnTo>
                    <a:lnTo>
                      <a:pt x="462" y="72"/>
                    </a:lnTo>
                    <a:lnTo>
                      <a:pt x="456" y="60"/>
                    </a:lnTo>
                    <a:lnTo>
                      <a:pt x="444" y="60"/>
                    </a:lnTo>
                    <a:lnTo>
                      <a:pt x="438" y="66"/>
                    </a:lnTo>
                    <a:lnTo>
                      <a:pt x="426" y="72"/>
                    </a:lnTo>
                    <a:lnTo>
                      <a:pt x="396" y="102"/>
                    </a:lnTo>
                    <a:lnTo>
                      <a:pt x="384" y="108"/>
                    </a:lnTo>
                    <a:lnTo>
                      <a:pt x="372" y="108"/>
                    </a:lnTo>
                    <a:lnTo>
                      <a:pt x="360" y="102"/>
                    </a:lnTo>
                    <a:lnTo>
                      <a:pt x="354" y="96"/>
                    </a:lnTo>
                    <a:lnTo>
                      <a:pt x="342" y="90"/>
                    </a:lnTo>
                    <a:lnTo>
                      <a:pt x="330" y="90"/>
                    </a:lnTo>
                    <a:lnTo>
                      <a:pt x="306" y="102"/>
                    </a:lnTo>
                    <a:lnTo>
                      <a:pt x="294" y="114"/>
                    </a:lnTo>
                    <a:lnTo>
                      <a:pt x="270" y="126"/>
                    </a:lnTo>
                    <a:lnTo>
                      <a:pt x="210" y="126"/>
                    </a:lnTo>
                    <a:lnTo>
                      <a:pt x="192" y="108"/>
                    </a:lnTo>
                    <a:lnTo>
                      <a:pt x="186" y="96"/>
                    </a:lnTo>
                    <a:lnTo>
                      <a:pt x="174" y="90"/>
                    </a:lnTo>
                    <a:lnTo>
                      <a:pt x="168" y="78"/>
                    </a:lnTo>
                    <a:lnTo>
                      <a:pt x="168" y="66"/>
                    </a:lnTo>
                    <a:lnTo>
                      <a:pt x="156" y="54"/>
                    </a:lnTo>
                    <a:lnTo>
                      <a:pt x="150" y="54"/>
                    </a:lnTo>
                    <a:lnTo>
                      <a:pt x="126" y="78"/>
                    </a:lnTo>
                    <a:lnTo>
                      <a:pt x="108" y="114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10" name="Sierra Leone"/>
              <p:cNvSpPr>
                <a:spLocks/>
              </p:cNvSpPr>
              <p:nvPr/>
            </p:nvSpPr>
            <p:spPr bwMode="gray">
              <a:xfrm>
                <a:off x="3838579" y="3749677"/>
                <a:ext cx="82550" cy="109539"/>
              </a:xfrm>
              <a:custGeom>
                <a:avLst/>
                <a:gdLst>
                  <a:gd name="T0" fmla="*/ 2147483647 w 210"/>
                  <a:gd name="T1" fmla="*/ 2147483647 h 270"/>
                  <a:gd name="T2" fmla="*/ 2147483647 w 210"/>
                  <a:gd name="T3" fmla="*/ 2147483647 h 270"/>
                  <a:gd name="T4" fmla="*/ 2147483647 w 210"/>
                  <a:gd name="T5" fmla="*/ 2147483647 h 270"/>
                  <a:gd name="T6" fmla="*/ 2147483647 w 210"/>
                  <a:gd name="T7" fmla="*/ 2147483647 h 270"/>
                  <a:gd name="T8" fmla="*/ 2147483647 w 210"/>
                  <a:gd name="T9" fmla="*/ 2147483647 h 270"/>
                  <a:gd name="T10" fmla="*/ 2147483647 w 210"/>
                  <a:gd name="T11" fmla="*/ 2147483647 h 270"/>
                  <a:gd name="T12" fmla="*/ 2147483647 w 210"/>
                  <a:gd name="T13" fmla="*/ 2147483647 h 270"/>
                  <a:gd name="T14" fmla="*/ 2147483647 w 210"/>
                  <a:gd name="T15" fmla="*/ 2147483647 h 270"/>
                  <a:gd name="T16" fmla="*/ 2147483647 w 210"/>
                  <a:gd name="T17" fmla="*/ 2147483647 h 270"/>
                  <a:gd name="T18" fmla="*/ 2147483647 w 210"/>
                  <a:gd name="T19" fmla="*/ 2147483647 h 270"/>
                  <a:gd name="T20" fmla="*/ 2147483647 w 210"/>
                  <a:gd name="T21" fmla="*/ 2147483647 h 270"/>
                  <a:gd name="T22" fmla="*/ 2147483647 w 210"/>
                  <a:gd name="T23" fmla="*/ 0 h 270"/>
                  <a:gd name="T24" fmla="*/ 2147483647 w 210"/>
                  <a:gd name="T25" fmla="*/ 0 h 270"/>
                  <a:gd name="T26" fmla="*/ 2147483647 w 210"/>
                  <a:gd name="T27" fmla="*/ 2147483647 h 270"/>
                  <a:gd name="T28" fmla="*/ 2147483647 w 210"/>
                  <a:gd name="T29" fmla="*/ 2147483647 h 270"/>
                  <a:gd name="T30" fmla="*/ 2147483647 w 210"/>
                  <a:gd name="T31" fmla="*/ 2147483647 h 270"/>
                  <a:gd name="T32" fmla="*/ 2147483647 w 210"/>
                  <a:gd name="T33" fmla="*/ 2147483647 h 270"/>
                  <a:gd name="T34" fmla="*/ 2147483647 w 210"/>
                  <a:gd name="T35" fmla="*/ 2147483647 h 270"/>
                  <a:gd name="T36" fmla="*/ 2147483647 w 210"/>
                  <a:gd name="T37" fmla="*/ 2147483647 h 270"/>
                  <a:gd name="T38" fmla="*/ 2147483647 w 210"/>
                  <a:gd name="T39" fmla="*/ 2147483647 h 270"/>
                  <a:gd name="T40" fmla="*/ 2147483647 w 210"/>
                  <a:gd name="T41" fmla="*/ 2147483647 h 270"/>
                  <a:gd name="T42" fmla="*/ 2147483647 w 210"/>
                  <a:gd name="T43" fmla="*/ 2147483647 h 270"/>
                  <a:gd name="T44" fmla="*/ 0 w 210"/>
                  <a:gd name="T45" fmla="*/ 2147483647 h 270"/>
                  <a:gd name="T46" fmla="*/ 2147483647 w 210"/>
                  <a:gd name="T47" fmla="*/ 2147483647 h 270"/>
                  <a:gd name="T48" fmla="*/ 2147483647 w 210"/>
                  <a:gd name="T49" fmla="*/ 2147483647 h 270"/>
                  <a:gd name="T50" fmla="*/ 0 w 210"/>
                  <a:gd name="T51" fmla="*/ 2147483647 h 270"/>
                  <a:gd name="T52" fmla="*/ 0 w 210"/>
                  <a:gd name="T53" fmla="*/ 2147483647 h 270"/>
                  <a:gd name="T54" fmla="*/ 2147483647 w 210"/>
                  <a:gd name="T55" fmla="*/ 2147483647 h 270"/>
                  <a:gd name="T56" fmla="*/ 2147483647 w 210"/>
                  <a:gd name="T57" fmla="*/ 2147483647 h 270"/>
                  <a:gd name="T58" fmla="*/ 2147483647 w 210"/>
                  <a:gd name="T59" fmla="*/ 2147483647 h 270"/>
                  <a:gd name="T60" fmla="*/ 2147483647 w 210"/>
                  <a:gd name="T61" fmla="*/ 2147483647 h 270"/>
                  <a:gd name="T62" fmla="*/ 2147483647 w 210"/>
                  <a:gd name="T63" fmla="*/ 2147483647 h 270"/>
                  <a:gd name="T64" fmla="*/ 2147483647 w 210"/>
                  <a:gd name="T65" fmla="*/ 2147483647 h 270"/>
                  <a:gd name="T66" fmla="*/ 2147483647 w 210"/>
                  <a:gd name="T67" fmla="*/ 2147483647 h 270"/>
                  <a:gd name="T68" fmla="*/ 2147483647 w 210"/>
                  <a:gd name="T69" fmla="*/ 2147483647 h 270"/>
                  <a:gd name="T70" fmla="*/ 2147483647 w 210"/>
                  <a:gd name="T71" fmla="*/ 2147483647 h 270"/>
                  <a:gd name="T72" fmla="*/ 2147483647 w 210"/>
                  <a:gd name="T73" fmla="*/ 2147483647 h 270"/>
                  <a:gd name="T74" fmla="*/ 2147483647 w 210"/>
                  <a:gd name="T75" fmla="*/ 2147483647 h 270"/>
                  <a:gd name="T76" fmla="*/ 2147483647 w 210"/>
                  <a:gd name="T77" fmla="*/ 2147483647 h 270"/>
                  <a:gd name="T78" fmla="*/ 2147483647 w 210"/>
                  <a:gd name="T79" fmla="*/ 2147483647 h 270"/>
                  <a:gd name="T80" fmla="*/ 2147483647 w 210"/>
                  <a:gd name="T81" fmla="*/ 2147483647 h 270"/>
                  <a:gd name="T82" fmla="*/ 2147483647 w 210"/>
                  <a:gd name="T83" fmla="*/ 2147483647 h 270"/>
                  <a:gd name="T84" fmla="*/ 2147483647 w 210"/>
                  <a:gd name="T85" fmla="*/ 2147483647 h 270"/>
                  <a:gd name="T86" fmla="*/ 2147483647 w 210"/>
                  <a:gd name="T87" fmla="*/ 2147483647 h 27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10"/>
                  <a:gd name="T133" fmla="*/ 0 h 270"/>
                  <a:gd name="T134" fmla="*/ 210 w 210"/>
                  <a:gd name="T135" fmla="*/ 270 h 27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10" h="270">
                    <a:moveTo>
                      <a:pt x="186" y="180"/>
                    </a:moveTo>
                    <a:lnTo>
                      <a:pt x="186" y="162"/>
                    </a:lnTo>
                    <a:lnTo>
                      <a:pt x="210" y="156"/>
                    </a:lnTo>
                    <a:lnTo>
                      <a:pt x="204" y="132"/>
                    </a:lnTo>
                    <a:lnTo>
                      <a:pt x="174" y="144"/>
                    </a:lnTo>
                    <a:lnTo>
                      <a:pt x="180" y="126"/>
                    </a:lnTo>
                    <a:lnTo>
                      <a:pt x="186" y="120"/>
                    </a:lnTo>
                    <a:lnTo>
                      <a:pt x="192" y="108"/>
                    </a:lnTo>
                    <a:lnTo>
                      <a:pt x="192" y="90"/>
                    </a:lnTo>
                    <a:lnTo>
                      <a:pt x="180" y="78"/>
                    </a:lnTo>
                    <a:lnTo>
                      <a:pt x="180" y="60"/>
                    </a:lnTo>
                    <a:lnTo>
                      <a:pt x="138" y="0"/>
                    </a:lnTo>
                    <a:lnTo>
                      <a:pt x="102" y="0"/>
                    </a:lnTo>
                    <a:lnTo>
                      <a:pt x="96" y="18"/>
                    </a:lnTo>
                    <a:lnTo>
                      <a:pt x="60" y="18"/>
                    </a:lnTo>
                    <a:lnTo>
                      <a:pt x="60" y="24"/>
                    </a:lnTo>
                    <a:lnTo>
                      <a:pt x="54" y="30"/>
                    </a:lnTo>
                    <a:lnTo>
                      <a:pt x="48" y="42"/>
                    </a:lnTo>
                    <a:lnTo>
                      <a:pt x="36" y="54"/>
                    </a:lnTo>
                    <a:lnTo>
                      <a:pt x="30" y="66"/>
                    </a:lnTo>
                    <a:lnTo>
                      <a:pt x="18" y="72"/>
                    </a:lnTo>
                    <a:lnTo>
                      <a:pt x="12" y="78"/>
                    </a:lnTo>
                    <a:lnTo>
                      <a:pt x="0" y="84"/>
                    </a:lnTo>
                    <a:lnTo>
                      <a:pt x="12" y="96"/>
                    </a:lnTo>
                    <a:lnTo>
                      <a:pt x="6" y="102"/>
                    </a:lnTo>
                    <a:lnTo>
                      <a:pt x="0" y="114"/>
                    </a:lnTo>
                    <a:lnTo>
                      <a:pt x="0" y="132"/>
                    </a:lnTo>
                    <a:lnTo>
                      <a:pt x="6" y="138"/>
                    </a:lnTo>
                    <a:lnTo>
                      <a:pt x="18" y="144"/>
                    </a:lnTo>
                    <a:lnTo>
                      <a:pt x="24" y="150"/>
                    </a:lnTo>
                    <a:lnTo>
                      <a:pt x="18" y="180"/>
                    </a:lnTo>
                    <a:lnTo>
                      <a:pt x="42" y="198"/>
                    </a:lnTo>
                    <a:lnTo>
                      <a:pt x="42" y="204"/>
                    </a:lnTo>
                    <a:lnTo>
                      <a:pt x="48" y="210"/>
                    </a:lnTo>
                    <a:lnTo>
                      <a:pt x="54" y="222"/>
                    </a:lnTo>
                    <a:lnTo>
                      <a:pt x="78" y="234"/>
                    </a:lnTo>
                    <a:lnTo>
                      <a:pt x="96" y="234"/>
                    </a:lnTo>
                    <a:lnTo>
                      <a:pt x="126" y="270"/>
                    </a:lnTo>
                    <a:lnTo>
                      <a:pt x="126" y="234"/>
                    </a:lnTo>
                    <a:lnTo>
                      <a:pt x="144" y="216"/>
                    </a:lnTo>
                    <a:lnTo>
                      <a:pt x="156" y="210"/>
                    </a:lnTo>
                    <a:lnTo>
                      <a:pt x="168" y="198"/>
                    </a:lnTo>
                    <a:lnTo>
                      <a:pt x="180" y="192"/>
                    </a:lnTo>
                    <a:lnTo>
                      <a:pt x="186" y="18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11" name="Senegal"/>
              <p:cNvSpPr>
                <a:spLocks/>
              </p:cNvSpPr>
              <p:nvPr/>
            </p:nvSpPr>
            <p:spPr bwMode="gray">
              <a:xfrm>
                <a:off x="3754442" y="3530605"/>
                <a:ext cx="166688" cy="149225"/>
              </a:xfrm>
              <a:custGeom>
                <a:avLst/>
                <a:gdLst>
                  <a:gd name="T0" fmla="*/ 2147483647 w 414"/>
                  <a:gd name="T1" fmla="*/ 2147483647 h 366"/>
                  <a:gd name="T2" fmla="*/ 2147483647 w 414"/>
                  <a:gd name="T3" fmla="*/ 2147483647 h 366"/>
                  <a:gd name="T4" fmla="*/ 2147483647 w 414"/>
                  <a:gd name="T5" fmla="*/ 2147483647 h 366"/>
                  <a:gd name="T6" fmla="*/ 2147483647 w 414"/>
                  <a:gd name="T7" fmla="*/ 2147483647 h 366"/>
                  <a:gd name="T8" fmla="*/ 2147483647 w 414"/>
                  <a:gd name="T9" fmla="*/ 2147483647 h 366"/>
                  <a:gd name="T10" fmla="*/ 2147483647 w 414"/>
                  <a:gd name="T11" fmla="*/ 2147483647 h 366"/>
                  <a:gd name="T12" fmla="*/ 2147483647 w 414"/>
                  <a:gd name="T13" fmla="*/ 2147483647 h 366"/>
                  <a:gd name="T14" fmla="*/ 2147483647 w 414"/>
                  <a:gd name="T15" fmla="*/ 2147483647 h 366"/>
                  <a:gd name="T16" fmla="*/ 2147483647 w 414"/>
                  <a:gd name="T17" fmla="*/ 2147483647 h 366"/>
                  <a:gd name="T18" fmla="*/ 2147483647 w 414"/>
                  <a:gd name="T19" fmla="*/ 2147483647 h 366"/>
                  <a:gd name="T20" fmla="*/ 2147483647 w 414"/>
                  <a:gd name="T21" fmla="*/ 2147483647 h 366"/>
                  <a:gd name="T22" fmla="*/ 2147483647 w 414"/>
                  <a:gd name="T23" fmla="*/ 2147483647 h 366"/>
                  <a:gd name="T24" fmla="*/ 2147483647 w 414"/>
                  <a:gd name="T25" fmla="*/ 2147483647 h 366"/>
                  <a:gd name="T26" fmla="*/ 2147483647 w 414"/>
                  <a:gd name="T27" fmla="*/ 2147483647 h 366"/>
                  <a:gd name="T28" fmla="*/ 2147483647 w 414"/>
                  <a:gd name="T29" fmla="*/ 0 h 366"/>
                  <a:gd name="T30" fmla="*/ 2147483647 w 414"/>
                  <a:gd name="T31" fmla="*/ 2147483647 h 366"/>
                  <a:gd name="T32" fmla="*/ 2147483647 w 414"/>
                  <a:gd name="T33" fmla="*/ 2147483647 h 366"/>
                  <a:gd name="T34" fmla="*/ 2147483647 w 414"/>
                  <a:gd name="T35" fmla="*/ 2147483647 h 366"/>
                  <a:gd name="T36" fmla="*/ 2147483647 w 414"/>
                  <a:gd name="T37" fmla="*/ 2147483647 h 366"/>
                  <a:gd name="T38" fmla="*/ 2147483647 w 414"/>
                  <a:gd name="T39" fmla="*/ 2147483647 h 366"/>
                  <a:gd name="T40" fmla="*/ 2147483647 w 414"/>
                  <a:gd name="T41" fmla="*/ 2147483647 h 366"/>
                  <a:gd name="T42" fmla="*/ 0 w 414"/>
                  <a:gd name="T43" fmla="*/ 2147483647 h 366"/>
                  <a:gd name="T44" fmla="*/ 2147483647 w 414"/>
                  <a:gd name="T45" fmla="*/ 2147483647 h 366"/>
                  <a:gd name="T46" fmla="*/ 2147483647 w 414"/>
                  <a:gd name="T47" fmla="*/ 2147483647 h 366"/>
                  <a:gd name="T48" fmla="*/ 2147483647 w 414"/>
                  <a:gd name="T49" fmla="*/ 2147483647 h 366"/>
                  <a:gd name="T50" fmla="*/ 2147483647 w 414"/>
                  <a:gd name="T51" fmla="*/ 2147483647 h 366"/>
                  <a:gd name="T52" fmla="*/ 2147483647 w 414"/>
                  <a:gd name="T53" fmla="*/ 2147483647 h 366"/>
                  <a:gd name="T54" fmla="*/ 2147483647 w 414"/>
                  <a:gd name="T55" fmla="*/ 2147483647 h 366"/>
                  <a:gd name="T56" fmla="*/ 2147483647 w 414"/>
                  <a:gd name="T57" fmla="*/ 2147483647 h 366"/>
                  <a:gd name="T58" fmla="*/ 2147483647 w 414"/>
                  <a:gd name="T59" fmla="*/ 2147483647 h 366"/>
                  <a:gd name="T60" fmla="*/ 2147483647 w 414"/>
                  <a:gd name="T61" fmla="*/ 2147483647 h 366"/>
                  <a:gd name="T62" fmla="*/ 2147483647 w 414"/>
                  <a:gd name="T63" fmla="*/ 2147483647 h 366"/>
                  <a:gd name="T64" fmla="*/ 2147483647 w 414"/>
                  <a:gd name="T65" fmla="*/ 2147483647 h 366"/>
                  <a:gd name="T66" fmla="*/ 2147483647 w 414"/>
                  <a:gd name="T67" fmla="*/ 2147483647 h 366"/>
                  <a:gd name="T68" fmla="*/ 2147483647 w 414"/>
                  <a:gd name="T69" fmla="*/ 2147483647 h 366"/>
                  <a:gd name="T70" fmla="*/ 2147483647 w 414"/>
                  <a:gd name="T71" fmla="*/ 2147483647 h 366"/>
                  <a:gd name="T72" fmla="*/ 2147483647 w 414"/>
                  <a:gd name="T73" fmla="*/ 2147483647 h 366"/>
                  <a:gd name="T74" fmla="*/ 2147483647 w 414"/>
                  <a:gd name="T75" fmla="*/ 2147483647 h 366"/>
                  <a:gd name="T76" fmla="*/ 2147483647 w 414"/>
                  <a:gd name="T77" fmla="*/ 2147483647 h 366"/>
                  <a:gd name="T78" fmla="*/ 2147483647 w 414"/>
                  <a:gd name="T79" fmla="*/ 2147483647 h 366"/>
                  <a:gd name="T80" fmla="*/ 2147483647 w 414"/>
                  <a:gd name="T81" fmla="*/ 2147483647 h 366"/>
                  <a:gd name="T82" fmla="*/ 2147483647 w 414"/>
                  <a:gd name="T83" fmla="*/ 2147483647 h 366"/>
                  <a:gd name="T84" fmla="*/ 2147483647 w 414"/>
                  <a:gd name="T85" fmla="*/ 2147483647 h 366"/>
                  <a:gd name="T86" fmla="*/ 2147483647 w 414"/>
                  <a:gd name="T87" fmla="*/ 2147483647 h 366"/>
                  <a:gd name="T88" fmla="*/ 2147483647 w 414"/>
                  <a:gd name="T89" fmla="*/ 2147483647 h 366"/>
                  <a:gd name="T90" fmla="*/ 2147483647 w 414"/>
                  <a:gd name="T91" fmla="*/ 2147483647 h 366"/>
                  <a:gd name="T92" fmla="*/ 2147483647 w 414"/>
                  <a:gd name="T93" fmla="*/ 2147483647 h 366"/>
                  <a:gd name="T94" fmla="*/ 2147483647 w 414"/>
                  <a:gd name="T95" fmla="*/ 2147483647 h 366"/>
                  <a:gd name="T96" fmla="*/ 2147483647 w 414"/>
                  <a:gd name="T97" fmla="*/ 2147483647 h 366"/>
                  <a:gd name="T98" fmla="*/ 2147483647 w 414"/>
                  <a:gd name="T99" fmla="*/ 2147483647 h 366"/>
                  <a:gd name="T100" fmla="*/ 2147483647 w 414"/>
                  <a:gd name="T101" fmla="*/ 2147483647 h 366"/>
                  <a:gd name="T102" fmla="*/ 2147483647 w 414"/>
                  <a:gd name="T103" fmla="*/ 2147483647 h 366"/>
                  <a:gd name="T104" fmla="*/ 2147483647 w 414"/>
                  <a:gd name="T105" fmla="*/ 2147483647 h 36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414"/>
                  <a:gd name="T160" fmla="*/ 0 h 366"/>
                  <a:gd name="T161" fmla="*/ 414 w 414"/>
                  <a:gd name="T162" fmla="*/ 366 h 36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414" h="366">
                    <a:moveTo>
                      <a:pt x="402" y="270"/>
                    </a:moveTo>
                    <a:lnTo>
                      <a:pt x="396" y="270"/>
                    </a:lnTo>
                    <a:lnTo>
                      <a:pt x="396" y="276"/>
                    </a:lnTo>
                    <a:lnTo>
                      <a:pt x="384" y="276"/>
                    </a:lnTo>
                    <a:lnTo>
                      <a:pt x="378" y="270"/>
                    </a:lnTo>
                    <a:lnTo>
                      <a:pt x="378" y="246"/>
                    </a:lnTo>
                    <a:lnTo>
                      <a:pt x="384" y="240"/>
                    </a:lnTo>
                    <a:lnTo>
                      <a:pt x="384" y="222"/>
                    </a:lnTo>
                    <a:lnTo>
                      <a:pt x="372" y="210"/>
                    </a:lnTo>
                    <a:lnTo>
                      <a:pt x="372" y="204"/>
                    </a:lnTo>
                    <a:lnTo>
                      <a:pt x="360" y="186"/>
                    </a:lnTo>
                    <a:lnTo>
                      <a:pt x="360" y="162"/>
                    </a:lnTo>
                    <a:lnTo>
                      <a:pt x="348" y="138"/>
                    </a:lnTo>
                    <a:lnTo>
                      <a:pt x="318" y="132"/>
                    </a:lnTo>
                    <a:lnTo>
                      <a:pt x="318" y="108"/>
                    </a:lnTo>
                    <a:lnTo>
                      <a:pt x="312" y="102"/>
                    </a:lnTo>
                    <a:lnTo>
                      <a:pt x="294" y="102"/>
                    </a:lnTo>
                    <a:lnTo>
                      <a:pt x="294" y="72"/>
                    </a:lnTo>
                    <a:lnTo>
                      <a:pt x="288" y="60"/>
                    </a:lnTo>
                    <a:lnTo>
                      <a:pt x="288" y="54"/>
                    </a:lnTo>
                    <a:lnTo>
                      <a:pt x="282" y="48"/>
                    </a:lnTo>
                    <a:lnTo>
                      <a:pt x="264" y="48"/>
                    </a:lnTo>
                    <a:lnTo>
                      <a:pt x="252" y="54"/>
                    </a:lnTo>
                    <a:lnTo>
                      <a:pt x="246" y="42"/>
                    </a:lnTo>
                    <a:lnTo>
                      <a:pt x="234" y="30"/>
                    </a:lnTo>
                    <a:lnTo>
                      <a:pt x="228" y="18"/>
                    </a:lnTo>
                    <a:lnTo>
                      <a:pt x="222" y="18"/>
                    </a:lnTo>
                    <a:lnTo>
                      <a:pt x="210" y="12"/>
                    </a:lnTo>
                    <a:lnTo>
                      <a:pt x="186" y="12"/>
                    </a:lnTo>
                    <a:lnTo>
                      <a:pt x="162" y="0"/>
                    </a:lnTo>
                    <a:lnTo>
                      <a:pt x="162" y="18"/>
                    </a:lnTo>
                    <a:lnTo>
                      <a:pt x="132" y="12"/>
                    </a:lnTo>
                    <a:lnTo>
                      <a:pt x="120" y="18"/>
                    </a:lnTo>
                    <a:lnTo>
                      <a:pt x="114" y="18"/>
                    </a:lnTo>
                    <a:lnTo>
                      <a:pt x="108" y="12"/>
                    </a:lnTo>
                    <a:lnTo>
                      <a:pt x="102" y="12"/>
                    </a:lnTo>
                    <a:lnTo>
                      <a:pt x="90" y="18"/>
                    </a:lnTo>
                    <a:lnTo>
                      <a:pt x="84" y="24"/>
                    </a:lnTo>
                    <a:lnTo>
                      <a:pt x="66" y="60"/>
                    </a:lnTo>
                    <a:lnTo>
                      <a:pt x="60" y="66"/>
                    </a:lnTo>
                    <a:lnTo>
                      <a:pt x="60" y="90"/>
                    </a:lnTo>
                    <a:lnTo>
                      <a:pt x="48" y="96"/>
                    </a:lnTo>
                    <a:lnTo>
                      <a:pt x="30" y="132"/>
                    </a:lnTo>
                    <a:lnTo>
                      <a:pt x="0" y="162"/>
                    </a:lnTo>
                    <a:lnTo>
                      <a:pt x="6" y="168"/>
                    </a:lnTo>
                    <a:lnTo>
                      <a:pt x="12" y="168"/>
                    </a:lnTo>
                    <a:lnTo>
                      <a:pt x="18" y="174"/>
                    </a:lnTo>
                    <a:lnTo>
                      <a:pt x="24" y="186"/>
                    </a:lnTo>
                    <a:lnTo>
                      <a:pt x="24" y="204"/>
                    </a:lnTo>
                    <a:lnTo>
                      <a:pt x="42" y="222"/>
                    </a:lnTo>
                    <a:lnTo>
                      <a:pt x="42" y="246"/>
                    </a:lnTo>
                    <a:lnTo>
                      <a:pt x="48" y="252"/>
                    </a:lnTo>
                    <a:lnTo>
                      <a:pt x="126" y="252"/>
                    </a:lnTo>
                    <a:lnTo>
                      <a:pt x="126" y="240"/>
                    </a:lnTo>
                    <a:lnTo>
                      <a:pt x="180" y="240"/>
                    </a:lnTo>
                    <a:lnTo>
                      <a:pt x="180" y="252"/>
                    </a:lnTo>
                    <a:lnTo>
                      <a:pt x="192" y="246"/>
                    </a:lnTo>
                    <a:lnTo>
                      <a:pt x="198" y="252"/>
                    </a:lnTo>
                    <a:lnTo>
                      <a:pt x="204" y="264"/>
                    </a:lnTo>
                    <a:lnTo>
                      <a:pt x="216" y="264"/>
                    </a:lnTo>
                    <a:lnTo>
                      <a:pt x="222" y="258"/>
                    </a:lnTo>
                    <a:lnTo>
                      <a:pt x="246" y="258"/>
                    </a:lnTo>
                    <a:lnTo>
                      <a:pt x="252" y="264"/>
                    </a:lnTo>
                    <a:lnTo>
                      <a:pt x="252" y="270"/>
                    </a:lnTo>
                    <a:lnTo>
                      <a:pt x="246" y="276"/>
                    </a:lnTo>
                    <a:lnTo>
                      <a:pt x="234" y="282"/>
                    </a:lnTo>
                    <a:lnTo>
                      <a:pt x="228" y="288"/>
                    </a:lnTo>
                    <a:lnTo>
                      <a:pt x="204" y="288"/>
                    </a:lnTo>
                    <a:lnTo>
                      <a:pt x="186" y="282"/>
                    </a:lnTo>
                    <a:lnTo>
                      <a:pt x="180" y="270"/>
                    </a:lnTo>
                    <a:lnTo>
                      <a:pt x="168" y="264"/>
                    </a:lnTo>
                    <a:lnTo>
                      <a:pt x="162" y="258"/>
                    </a:lnTo>
                    <a:lnTo>
                      <a:pt x="156" y="264"/>
                    </a:lnTo>
                    <a:lnTo>
                      <a:pt x="150" y="276"/>
                    </a:lnTo>
                    <a:lnTo>
                      <a:pt x="126" y="276"/>
                    </a:lnTo>
                    <a:lnTo>
                      <a:pt x="120" y="282"/>
                    </a:lnTo>
                    <a:lnTo>
                      <a:pt x="108" y="282"/>
                    </a:lnTo>
                    <a:lnTo>
                      <a:pt x="108" y="294"/>
                    </a:lnTo>
                    <a:lnTo>
                      <a:pt x="36" y="294"/>
                    </a:lnTo>
                    <a:lnTo>
                      <a:pt x="36" y="318"/>
                    </a:lnTo>
                    <a:lnTo>
                      <a:pt x="30" y="324"/>
                    </a:lnTo>
                    <a:lnTo>
                      <a:pt x="30" y="336"/>
                    </a:lnTo>
                    <a:lnTo>
                      <a:pt x="36" y="342"/>
                    </a:lnTo>
                    <a:lnTo>
                      <a:pt x="42" y="354"/>
                    </a:lnTo>
                    <a:lnTo>
                      <a:pt x="48" y="360"/>
                    </a:lnTo>
                    <a:lnTo>
                      <a:pt x="60" y="366"/>
                    </a:lnTo>
                    <a:lnTo>
                      <a:pt x="66" y="366"/>
                    </a:lnTo>
                    <a:lnTo>
                      <a:pt x="72" y="360"/>
                    </a:lnTo>
                    <a:lnTo>
                      <a:pt x="78" y="360"/>
                    </a:lnTo>
                    <a:lnTo>
                      <a:pt x="90" y="348"/>
                    </a:lnTo>
                    <a:lnTo>
                      <a:pt x="126" y="348"/>
                    </a:lnTo>
                    <a:lnTo>
                      <a:pt x="156" y="324"/>
                    </a:lnTo>
                    <a:lnTo>
                      <a:pt x="294" y="330"/>
                    </a:lnTo>
                    <a:lnTo>
                      <a:pt x="294" y="336"/>
                    </a:lnTo>
                    <a:lnTo>
                      <a:pt x="300" y="348"/>
                    </a:lnTo>
                    <a:lnTo>
                      <a:pt x="318" y="348"/>
                    </a:lnTo>
                    <a:lnTo>
                      <a:pt x="324" y="342"/>
                    </a:lnTo>
                    <a:lnTo>
                      <a:pt x="330" y="348"/>
                    </a:lnTo>
                    <a:lnTo>
                      <a:pt x="336" y="360"/>
                    </a:lnTo>
                    <a:lnTo>
                      <a:pt x="342" y="366"/>
                    </a:lnTo>
                    <a:lnTo>
                      <a:pt x="354" y="366"/>
                    </a:lnTo>
                    <a:lnTo>
                      <a:pt x="366" y="360"/>
                    </a:lnTo>
                    <a:lnTo>
                      <a:pt x="372" y="354"/>
                    </a:lnTo>
                    <a:lnTo>
                      <a:pt x="414" y="354"/>
                    </a:lnTo>
                    <a:lnTo>
                      <a:pt x="414" y="288"/>
                    </a:lnTo>
                    <a:lnTo>
                      <a:pt x="408" y="276"/>
                    </a:lnTo>
                    <a:lnTo>
                      <a:pt x="402" y="27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12" name="Saudi Arabia"/>
              <p:cNvSpPr>
                <a:spLocks/>
              </p:cNvSpPr>
              <p:nvPr/>
            </p:nvSpPr>
            <p:spPr bwMode="gray">
              <a:xfrm>
                <a:off x="5184784" y="3033716"/>
                <a:ext cx="598489" cy="512763"/>
              </a:xfrm>
              <a:custGeom>
                <a:avLst/>
                <a:gdLst>
                  <a:gd name="T0" fmla="*/ 2147483647 w 1488"/>
                  <a:gd name="T1" fmla="*/ 2147483647 h 1278"/>
                  <a:gd name="T2" fmla="*/ 2147483647 w 1488"/>
                  <a:gd name="T3" fmla="*/ 2147483647 h 1278"/>
                  <a:gd name="T4" fmla="*/ 2147483647 w 1488"/>
                  <a:gd name="T5" fmla="*/ 2147483647 h 1278"/>
                  <a:gd name="T6" fmla="*/ 2147483647 w 1488"/>
                  <a:gd name="T7" fmla="*/ 2147483647 h 1278"/>
                  <a:gd name="T8" fmla="*/ 2147483647 w 1488"/>
                  <a:gd name="T9" fmla="*/ 2147483647 h 1278"/>
                  <a:gd name="T10" fmla="*/ 2147483647 w 1488"/>
                  <a:gd name="T11" fmla="*/ 2147483647 h 1278"/>
                  <a:gd name="T12" fmla="*/ 2147483647 w 1488"/>
                  <a:gd name="T13" fmla="*/ 2147483647 h 1278"/>
                  <a:gd name="T14" fmla="*/ 2147483647 w 1488"/>
                  <a:gd name="T15" fmla="*/ 2147483647 h 1278"/>
                  <a:gd name="T16" fmla="*/ 2147483647 w 1488"/>
                  <a:gd name="T17" fmla="*/ 2147483647 h 1278"/>
                  <a:gd name="T18" fmla="*/ 2147483647 w 1488"/>
                  <a:gd name="T19" fmla="*/ 2147483647 h 1278"/>
                  <a:gd name="T20" fmla="*/ 2147483647 w 1488"/>
                  <a:gd name="T21" fmla="*/ 2147483647 h 1278"/>
                  <a:gd name="T22" fmla="*/ 2147483647 w 1488"/>
                  <a:gd name="T23" fmla="*/ 2147483647 h 1278"/>
                  <a:gd name="T24" fmla="*/ 2147483647 w 1488"/>
                  <a:gd name="T25" fmla="*/ 2147483647 h 1278"/>
                  <a:gd name="T26" fmla="*/ 2147483647 w 1488"/>
                  <a:gd name="T27" fmla="*/ 2147483647 h 1278"/>
                  <a:gd name="T28" fmla="*/ 2147483647 w 1488"/>
                  <a:gd name="T29" fmla="*/ 2147483647 h 1278"/>
                  <a:gd name="T30" fmla="*/ 2147483647 w 1488"/>
                  <a:gd name="T31" fmla="*/ 2147483647 h 1278"/>
                  <a:gd name="T32" fmla="*/ 2147483647 w 1488"/>
                  <a:gd name="T33" fmla="*/ 2147483647 h 1278"/>
                  <a:gd name="T34" fmla="*/ 2147483647 w 1488"/>
                  <a:gd name="T35" fmla="*/ 2147483647 h 1278"/>
                  <a:gd name="T36" fmla="*/ 2147483647 w 1488"/>
                  <a:gd name="T37" fmla="*/ 2147483647 h 1278"/>
                  <a:gd name="T38" fmla="*/ 2147483647 w 1488"/>
                  <a:gd name="T39" fmla="*/ 0 h 1278"/>
                  <a:gd name="T40" fmla="*/ 2147483647 w 1488"/>
                  <a:gd name="T41" fmla="*/ 2147483647 h 1278"/>
                  <a:gd name="T42" fmla="*/ 2147483647 w 1488"/>
                  <a:gd name="T43" fmla="*/ 2147483647 h 1278"/>
                  <a:gd name="T44" fmla="*/ 2147483647 w 1488"/>
                  <a:gd name="T45" fmla="*/ 2147483647 h 1278"/>
                  <a:gd name="T46" fmla="*/ 2147483647 w 1488"/>
                  <a:gd name="T47" fmla="*/ 2147483647 h 1278"/>
                  <a:gd name="T48" fmla="*/ 2147483647 w 1488"/>
                  <a:gd name="T49" fmla="*/ 2147483647 h 1278"/>
                  <a:gd name="T50" fmla="*/ 2147483647 w 1488"/>
                  <a:gd name="T51" fmla="*/ 2147483647 h 1278"/>
                  <a:gd name="T52" fmla="*/ 2147483647 w 1488"/>
                  <a:gd name="T53" fmla="*/ 2147483647 h 1278"/>
                  <a:gd name="T54" fmla="*/ 2147483647 w 1488"/>
                  <a:gd name="T55" fmla="*/ 2147483647 h 1278"/>
                  <a:gd name="T56" fmla="*/ 2147483647 w 1488"/>
                  <a:gd name="T57" fmla="*/ 2147483647 h 1278"/>
                  <a:gd name="T58" fmla="*/ 2147483647 w 1488"/>
                  <a:gd name="T59" fmla="*/ 2147483647 h 1278"/>
                  <a:gd name="T60" fmla="*/ 2147483647 w 1488"/>
                  <a:gd name="T61" fmla="*/ 2147483647 h 1278"/>
                  <a:gd name="T62" fmla="*/ 0 w 1488"/>
                  <a:gd name="T63" fmla="*/ 2147483647 h 1278"/>
                  <a:gd name="T64" fmla="*/ 2147483647 w 1488"/>
                  <a:gd name="T65" fmla="*/ 2147483647 h 1278"/>
                  <a:gd name="T66" fmla="*/ 2147483647 w 1488"/>
                  <a:gd name="T67" fmla="*/ 2147483647 h 1278"/>
                  <a:gd name="T68" fmla="*/ 2147483647 w 1488"/>
                  <a:gd name="T69" fmla="*/ 2147483647 h 1278"/>
                  <a:gd name="T70" fmla="*/ 2147483647 w 1488"/>
                  <a:gd name="T71" fmla="*/ 2147483647 h 1278"/>
                  <a:gd name="T72" fmla="*/ 2147483647 w 1488"/>
                  <a:gd name="T73" fmla="*/ 2147483647 h 1278"/>
                  <a:gd name="T74" fmla="*/ 2147483647 w 1488"/>
                  <a:gd name="T75" fmla="*/ 2147483647 h 1278"/>
                  <a:gd name="T76" fmla="*/ 2147483647 w 1488"/>
                  <a:gd name="T77" fmla="*/ 2147483647 h 1278"/>
                  <a:gd name="T78" fmla="*/ 2147483647 w 1488"/>
                  <a:gd name="T79" fmla="*/ 2147483647 h 1278"/>
                  <a:gd name="T80" fmla="*/ 2147483647 w 1488"/>
                  <a:gd name="T81" fmla="*/ 2147483647 h 1278"/>
                  <a:gd name="T82" fmla="*/ 2147483647 w 1488"/>
                  <a:gd name="T83" fmla="*/ 2147483647 h 1278"/>
                  <a:gd name="T84" fmla="*/ 2147483647 w 1488"/>
                  <a:gd name="T85" fmla="*/ 2147483647 h 1278"/>
                  <a:gd name="T86" fmla="*/ 2147483647 w 1488"/>
                  <a:gd name="T87" fmla="*/ 2147483647 h 1278"/>
                  <a:gd name="T88" fmla="*/ 2147483647 w 1488"/>
                  <a:gd name="T89" fmla="*/ 2147483647 h 1278"/>
                  <a:gd name="T90" fmla="*/ 2147483647 w 1488"/>
                  <a:gd name="T91" fmla="*/ 2147483647 h 1278"/>
                  <a:gd name="T92" fmla="*/ 2147483647 w 1488"/>
                  <a:gd name="T93" fmla="*/ 2147483647 h 1278"/>
                  <a:gd name="T94" fmla="*/ 2147483647 w 1488"/>
                  <a:gd name="T95" fmla="*/ 2147483647 h 1278"/>
                  <a:gd name="T96" fmla="*/ 2147483647 w 1488"/>
                  <a:gd name="T97" fmla="*/ 2147483647 h 1278"/>
                  <a:gd name="T98" fmla="*/ 2147483647 w 1488"/>
                  <a:gd name="T99" fmla="*/ 2147483647 h 1278"/>
                  <a:gd name="T100" fmla="*/ 2147483647 w 1488"/>
                  <a:gd name="T101" fmla="*/ 2147483647 h 1278"/>
                  <a:gd name="T102" fmla="*/ 2147483647 w 1488"/>
                  <a:gd name="T103" fmla="*/ 2147483647 h 1278"/>
                  <a:gd name="T104" fmla="*/ 2147483647 w 1488"/>
                  <a:gd name="T105" fmla="*/ 2147483647 h 1278"/>
                  <a:gd name="T106" fmla="*/ 2147483647 w 1488"/>
                  <a:gd name="T107" fmla="*/ 2147483647 h 1278"/>
                  <a:gd name="T108" fmla="*/ 2147483647 w 1488"/>
                  <a:gd name="T109" fmla="*/ 2147483647 h 1278"/>
                  <a:gd name="T110" fmla="*/ 2147483647 w 1488"/>
                  <a:gd name="T111" fmla="*/ 2147483647 h 1278"/>
                  <a:gd name="T112" fmla="*/ 2147483647 w 1488"/>
                  <a:gd name="T113" fmla="*/ 2147483647 h 1278"/>
                  <a:gd name="T114" fmla="*/ 2147483647 w 1488"/>
                  <a:gd name="T115" fmla="*/ 2147483647 h 1278"/>
                  <a:gd name="T116" fmla="*/ 2147483647 w 1488"/>
                  <a:gd name="T117" fmla="*/ 2147483647 h 127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488"/>
                  <a:gd name="T178" fmla="*/ 0 h 1278"/>
                  <a:gd name="T179" fmla="*/ 1488 w 1488"/>
                  <a:gd name="T180" fmla="*/ 1278 h 127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488" h="1278">
                    <a:moveTo>
                      <a:pt x="1464" y="792"/>
                    </a:moveTo>
                    <a:lnTo>
                      <a:pt x="1464" y="780"/>
                    </a:lnTo>
                    <a:lnTo>
                      <a:pt x="1458" y="774"/>
                    </a:lnTo>
                    <a:lnTo>
                      <a:pt x="1416" y="768"/>
                    </a:lnTo>
                    <a:lnTo>
                      <a:pt x="1320" y="756"/>
                    </a:lnTo>
                    <a:lnTo>
                      <a:pt x="1284" y="750"/>
                    </a:lnTo>
                    <a:lnTo>
                      <a:pt x="1266" y="750"/>
                    </a:lnTo>
                    <a:lnTo>
                      <a:pt x="1260" y="738"/>
                    </a:lnTo>
                    <a:lnTo>
                      <a:pt x="1248" y="732"/>
                    </a:lnTo>
                    <a:lnTo>
                      <a:pt x="1242" y="720"/>
                    </a:lnTo>
                    <a:lnTo>
                      <a:pt x="1218" y="696"/>
                    </a:lnTo>
                    <a:lnTo>
                      <a:pt x="1206" y="672"/>
                    </a:lnTo>
                    <a:lnTo>
                      <a:pt x="1188" y="654"/>
                    </a:lnTo>
                    <a:lnTo>
                      <a:pt x="1188" y="642"/>
                    </a:lnTo>
                    <a:lnTo>
                      <a:pt x="1182" y="636"/>
                    </a:lnTo>
                    <a:lnTo>
                      <a:pt x="1182" y="618"/>
                    </a:lnTo>
                    <a:lnTo>
                      <a:pt x="1176" y="624"/>
                    </a:lnTo>
                    <a:lnTo>
                      <a:pt x="1164" y="612"/>
                    </a:lnTo>
                    <a:lnTo>
                      <a:pt x="1146" y="612"/>
                    </a:lnTo>
                    <a:lnTo>
                      <a:pt x="1140" y="600"/>
                    </a:lnTo>
                    <a:lnTo>
                      <a:pt x="1134" y="594"/>
                    </a:lnTo>
                    <a:lnTo>
                      <a:pt x="1128" y="582"/>
                    </a:lnTo>
                    <a:lnTo>
                      <a:pt x="1122" y="564"/>
                    </a:lnTo>
                    <a:lnTo>
                      <a:pt x="1116" y="552"/>
                    </a:lnTo>
                    <a:lnTo>
                      <a:pt x="1116" y="540"/>
                    </a:lnTo>
                    <a:lnTo>
                      <a:pt x="1110" y="534"/>
                    </a:lnTo>
                    <a:lnTo>
                      <a:pt x="1098" y="528"/>
                    </a:lnTo>
                    <a:lnTo>
                      <a:pt x="1086" y="516"/>
                    </a:lnTo>
                    <a:lnTo>
                      <a:pt x="1074" y="510"/>
                    </a:lnTo>
                    <a:lnTo>
                      <a:pt x="1068" y="498"/>
                    </a:lnTo>
                    <a:lnTo>
                      <a:pt x="1068" y="462"/>
                    </a:lnTo>
                    <a:lnTo>
                      <a:pt x="1062" y="450"/>
                    </a:lnTo>
                    <a:lnTo>
                      <a:pt x="1062" y="438"/>
                    </a:lnTo>
                    <a:lnTo>
                      <a:pt x="1050" y="426"/>
                    </a:lnTo>
                    <a:lnTo>
                      <a:pt x="1002" y="402"/>
                    </a:lnTo>
                    <a:lnTo>
                      <a:pt x="996" y="396"/>
                    </a:lnTo>
                    <a:lnTo>
                      <a:pt x="990" y="384"/>
                    </a:lnTo>
                    <a:lnTo>
                      <a:pt x="990" y="360"/>
                    </a:lnTo>
                    <a:lnTo>
                      <a:pt x="972" y="342"/>
                    </a:lnTo>
                    <a:lnTo>
                      <a:pt x="966" y="330"/>
                    </a:lnTo>
                    <a:lnTo>
                      <a:pt x="960" y="324"/>
                    </a:lnTo>
                    <a:lnTo>
                      <a:pt x="960" y="300"/>
                    </a:lnTo>
                    <a:lnTo>
                      <a:pt x="954" y="300"/>
                    </a:lnTo>
                    <a:lnTo>
                      <a:pt x="948" y="294"/>
                    </a:lnTo>
                    <a:lnTo>
                      <a:pt x="882" y="294"/>
                    </a:lnTo>
                    <a:lnTo>
                      <a:pt x="876" y="288"/>
                    </a:lnTo>
                    <a:lnTo>
                      <a:pt x="876" y="252"/>
                    </a:lnTo>
                    <a:lnTo>
                      <a:pt x="852" y="246"/>
                    </a:lnTo>
                    <a:lnTo>
                      <a:pt x="804" y="246"/>
                    </a:lnTo>
                    <a:lnTo>
                      <a:pt x="750" y="240"/>
                    </a:lnTo>
                    <a:lnTo>
                      <a:pt x="684" y="240"/>
                    </a:lnTo>
                    <a:lnTo>
                      <a:pt x="492" y="96"/>
                    </a:lnTo>
                    <a:lnTo>
                      <a:pt x="480" y="90"/>
                    </a:lnTo>
                    <a:lnTo>
                      <a:pt x="474" y="84"/>
                    </a:lnTo>
                    <a:lnTo>
                      <a:pt x="426" y="60"/>
                    </a:lnTo>
                    <a:lnTo>
                      <a:pt x="414" y="48"/>
                    </a:lnTo>
                    <a:lnTo>
                      <a:pt x="402" y="42"/>
                    </a:lnTo>
                    <a:lnTo>
                      <a:pt x="372" y="12"/>
                    </a:lnTo>
                    <a:lnTo>
                      <a:pt x="306" y="12"/>
                    </a:lnTo>
                    <a:lnTo>
                      <a:pt x="294" y="0"/>
                    </a:lnTo>
                    <a:lnTo>
                      <a:pt x="288" y="6"/>
                    </a:lnTo>
                    <a:lnTo>
                      <a:pt x="276" y="12"/>
                    </a:lnTo>
                    <a:lnTo>
                      <a:pt x="270" y="12"/>
                    </a:lnTo>
                    <a:lnTo>
                      <a:pt x="264" y="18"/>
                    </a:lnTo>
                    <a:lnTo>
                      <a:pt x="252" y="24"/>
                    </a:lnTo>
                    <a:lnTo>
                      <a:pt x="210" y="24"/>
                    </a:lnTo>
                    <a:lnTo>
                      <a:pt x="198" y="48"/>
                    </a:lnTo>
                    <a:lnTo>
                      <a:pt x="132" y="48"/>
                    </a:lnTo>
                    <a:lnTo>
                      <a:pt x="120" y="54"/>
                    </a:lnTo>
                    <a:lnTo>
                      <a:pt x="108" y="54"/>
                    </a:lnTo>
                    <a:lnTo>
                      <a:pt x="108" y="60"/>
                    </a:lnTo>
                    <a:lnTo>
                      <a:pt x="132" y="60"/>
                    </a:lnTo>
                    <a:lnTo>
                      <a:pt x="144" y="66"/>
                    </a:lnTo>
                    <a:lnTo>
                      <a:pt x="156" y="66"/>
                    </a:lnTo>
                    <a:lnTo>
                      <a:pt x="180" y="90"/>
                    </a:lnTo>
                    <a:lnTo>
                      <a:pt x="192" y="114"/>
                    </a:lnTo>
                    <a:lnTo>
                      <a:pt x="198" y="120"/>
                    </a:lnTo>
                    <a:lnTo>
                      <a:pt x="198" y="132"/>
                    </a:lnTo>
                    <a:lnTo>
                      <a:pt x="192" y="138"/>
                    </a:lnTo>
                    <a:lnTo>
                      <a:pt x="192" y="150"/>
                    </a:lnTo>
                    <a:lnTo>
                      <a:pt x="186" y="156"/>
                    </a:lnTo>
                    <a:lnTo>
                      <a:pt x="180" y="168"/>
                    </a:lnTo>
                    <a:lnTo>
                      <a:pt x="174" y="174"/>
                    </a:lnTo>
                    <a:lnTo>
                      <a:pt x="162" y="180"/>
                    </a:lnTo>
                    <a:lnTo>
                      <a:pt x="150" y="180"/>
                    </a:lnTo>
                    <a:lnTo>
                      <a:pt x="138" y="186"/>
                    </a:lnTo>
                    <a:lnTo>
                      <a:pt x="132" y="186"/>
                    </a:lnTo>
                    <a:lnTo>
                      <a:pt x="120" y="198"/>
                    </a:lnTo>
                    <a:lnTo>
                      <a:pt x="120" y="210"/>
                    </a:lnTo>
                    <a:lnTo>
                      <a:pt x="108" y="234"/>
                    </a:lnTo>
                    <a:lnTo>
                      <a:pt x="96" y="246"/>
                    </a:lnTo>
                    <a:lnTo>
                      <a:pt x="60" y="246"/>
                    </a:lnTo>
                    <a:lnTo>
                      <a:pt x="36" y="234"/>
                    </a:lnTo>
                    <a:lnTo>
                      <a:pt x="6" y="234"/>
                    </a:lnTo>
                    <a:lnTo>
                      <a:pt x="6" y="264"/>
                    </a:lnTo>
                    <a:lnTo>
                      <a:pt x="0" y="306"/>
                    </a:lnTo>
                    <a:lnTo>
                      <a:pt x="0" y="348"/>
                    </a:lnTo>
                    <a:lnTo>
                      <a:pt x="6" y="372"/>
                    </a:lnTo>
                    <a:lnTo>
                      <a:pt x="24" y="378"/>
                    </a:lnTo>
                    <a:lnTo>
                      <a:pt x="36" y="390"/>
                    </a:lnTo>
                    <a:lnTo>
                      <a:pt x="54" y="390"/>
                    </a:lnTo>
                    <a:lnTo>
                      <a:pt x="72" y="408"/>
                    </a:lnTo>
                    <a:lnTo>
                      <a:pt x="90" y="438"/>
                    </a:lnTo>
                    <a:lnTo>
                      <a:pt x="102" y="474"/>
                    </a:lnTo>
                    <a:lnTo>
                      <a:pt x="120" y="504"/>
                    </a:lnTo>
                    <a:lnTo>
                      <a:pt x="132" y="516"/>
                    </a:lnTo>
                    <a:lnTo>
                      <a:pt x="150" y="528"/>
                    </a:lnTo>
                    <a:lnTo>
                      <a:pt x="162" y="540"/>
                    </a:lnTo>
                    <a:lnTo>
                      <a:pt x="174" y="558"/>
                    </a:lnTo>
                    <a:lnTo>
                      <a:pt x="180" y="570"/>
                    </a:lnTo>
                    <a:lnTo>
                      <a:pt x="186" y="594"/>
                    </a:lnTo>
                    <a:lnTo>
                      <a:pt x="192" y="612"/>
                    </a:lnTo>
                    <a:lnTo>
                      <a:pt x="198" y="636"/>
                    </a:lnTo>
                    <a:lnTo>
                      <a:pt x="210" y="648"/>
                    </a:lnTo>
                    <a:lnTo>
                      <a:pt x="234" y="660"/>
                    </a:lnTo>
                    <a:lnTo>
                      <a:pt x="264" y="660"/>
                    </a:lnTo>
                    <a:lnTo>
                      <a:pt x="282" y="666"/>
                    </a:lnTo>
                    <a:lnTo>
                      <a:pt x="294" y="678"/>
                    </a:lnTo>
                    <a:lnTo>
                      <a:pt x="312" y="708"/>
                    </a:lnTo>
                    <a:lnTo>
                      <a:pt x="330" y="756"/>
                    </a:lnTo>
                    <a:lnTo>
                      <a:pt x="336" y="804"/>
                    </a:lnTo>
                    <a:lnTo>
                      <a:pt x="342" y="840"/>
                    </a:lnTo>
                    <a:lnTo>
                      <a:pt x="348" y="870"/>
                    </a:lnTo>
                    <a:lnTo>
                      <a:pt x="366" y="906"/>
                    </a:lnTo>
                    <a:lnTo>
                      <a:pt x="384" y="924"/>
                    </a:lnTo>
                    <a:lnTo>
                      <a:pt x="390" y="936"/>
                    </a:lnTo>
                    <a:lnTo>
                      <a:pt x="414" y="936"/>
                    </a:lnTo>
                    <a:lnTo>
                      <a:pt x="438" y="948"/>
                    </a:lnTo>
                    <a:lnTo>
                      <a:pt x="456" y="972"/>
                    </a:lnTo>
                    <a:lnTo>
                      <a:pt x="480" y="1008"/>
                    </a:lnTo>
                    <a:lnTo>
                      <a:pt x="504" y="1056"/>
                    </a:lnTo>
                    <a:lnTo>
                      <a:pt x="552" y="1128"/>
                    </a:lnTo>
                    <a:lnTo>
                      <a:pt x="582" y="1170"/>
                    </a:lnTo>
                    <a:lnTo>
                      <a:pt x="606" y="1206"/>
                    </a:lnTo>
                    <a:lnTo>
                      <a:pt x="618" y="1236"/>
                    </a:lnTo>
                    <a:lnTo>
                      <a:pt x="618" y="1266"/>
                    </a:lnTo>
                    <a:lnTo>
                      <a:pt x="612" y="1278"/>
                    </a:lnTo>
                    <a:lnTo>
                      <a:pt x="624" y="1266"/>
                    </a:lnTo>
                    <a:lnTo>
                      <a:pt x="630" y="1254"/>
                    </a:lnTo>
                    <a:lnTo>
                      <a:pt x="636" y="1248"/>
                    </a:lnTo>
                    <a:lnTo>
                      <a:pt x="636" y="1200"/>
                    </a:lnTo>
                    <a:lnTo>
                      <a:pt x="642" y="1188"/>
                    </a:lnTo>
                    <a:lnTo>
                      <a:pt x="648" y="1182"/>
                    </a:lnTo>
                    <a:lnTo>
                      <a:pt x="654" y="1182"/>
                    </a:lnTo>
                    <a:lnTo>
                      <a:pt x="672" y="1200"/>
                    </a:lnTo>
                    <a:lnTo>
                      <a:pt x="696" y="1194"/>
                    </a:lnTo>
                    <a:lnTo>
                      <a:pt x="702" y="1188"/>
                    </a:lnTo>
                    <a:lnTo>
                      <a:pt x="792" y="1188"/>
                    </a:lnTo>
                    <a:lnTo>
                      <a:pt x="804" y="1194"/>
                    </a:lnTo>
                    <a:lnTo>
                      <a:pt x="810" y="1200"/>
                    </a:lnTo>
                    <a:lnTo>
                      <a:pt x="888" y="1200"/>
                    </a:lnTo>
                    <a:lnTo>
                      <a:pt x="894" y="1206"/>
                    </a:lnTo>
                    <a:lnTo>
                      <a:pt x="900" y="1218"/>
                    </a:lnTo>
                    <a:lnTo>
                      <a:pt x="912" y="1224"/>
                    </a:lnTo>
                    <a:lnTo>
                      <a:pt x="924" y="1224"/>
                    </a:lnTo>
                    <a:lnTo>
                      <a:pt x="930" y="1212"/>
                    </a:lnTo>
                    <a:lnTo>
                      <a:pt x="936" y="1206"/>
                    </a:lnTo>
                    <a:lnTo>
                      <a:pt x="936" y="1188"/>
                    </a:lnTo>
                    <a:lnTo>
                      <a:pt x="942" y="1176"/>
                    </a:lnTo>
                    <a:lnTo>
                      <a:pt x="948" y="1170"/>
                    </a:lnTo>
                    <a:lnTo>
                      <a:pt x="954" y="1158"/>
                    </a:lnTo>
                    <a:lnTo>
                      <a:pt x="966" y="1146"/>
                    </a:lnTo>
                    <a:lnTo>
                      <a:pt x="972" y="1134"/>
                    </a:lnTo>
                    <a:lnTo>
                      <a:pt x="990" y="1116"/>
                    </a:lnTo>
                    <a:lnTo>
                      <a:pt x="1020" y="1098"/>
                    </a:lnTo>
                    <a:lnTo>
                      <a:pt x="1050" y="1092"/>
                    </a:lnTo>
                    <a:lnTo>
                      <a:pt x="1068" y="1086"/>
                    </a:lnTo>
                    <a:lnTo>
                      <a:pt x="1092" y="1086"/>
                    </a:lnTo>
                    <a:lnTo>
                      <a:pt x="1140" y="1080"/>
                    </a:lnTo>
                    <a:lnTo>
                      <a:pt x="1188" y="1068"/>
                    </a:lnTo>
                    <a:lnTo>
                      <a:pt x="1230" y="1062"/>
                    </a:lnTo>
                    <a:lnTo>
                      <a:pt x="1248" y="1062"/>
                    </a:lnTo>
                    <a:lnTo>
                      <a:pt x="1452" y="990"/>
                    </a:lnTo>
                    <a:lnTo>
                      <a:pt x="1488" y="816"/>
                    </a:lnTo>
                    <a:lnTo>
                      <a:pt x="1482" y="810"/>
                    </a:lnTo>
                    <a:lnTo>
                      <a:pt x="1470" y="804"/>
                    </a:lnTo>
                    <a:lnTo>
                      <a:pt x="1464" y="798"/>
                    </a:lnTo>
                    <a:lnTo>
                      <a:pt x="1464" y="792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13" name="Rwanda"/>
              <p:cNvSpPr>
                <a:spLocks/>
              </p:cNvSpPr>
              <p:nvPr/>
            </p:nvSpPr>
            <p:spPr bwMode="gray">
              <a:xfrm>
                <a:off x="5040321" y="4110042"/>
                <a:ext cx="60325" cy="60325"/>
              </a:xfrm>
              <a:custGeom>
                <a:avLst/>
                <a:gdLst>
                  <a:gd name="T0" fmla="*/ 2147483647 w 150"/>
                  <a:gd name="T1" fmla="*/ 2147483647 h 150"/>
                  <a:gd name="T2" fmla="*/ 2147483647 w 150"/>
                  <a:gd name="T3" fmla="*/ 2147483647 h 150"/>
                  <a:gd name="T4" fmla="*/ 2147483647 w 150"/>
                  <a:gd name="T5" fmla="*/ 2147483647 h 150"/>
                  <a:gd name="T6" fmla="*/ 2147483647 w 150"/>
                  <a:gd name="T7" fmla="*/ 2147483647 h 150"/>
                  <a:gd name="T8" fmla="*/ 2147483647 w 150"/>
                  <a:gd name="T9" fmla="*/ 2147483647 h 150"/>
                  <a:gd name="T10" fmla="*/ 2147483647 w 150"/>
                  <a:gd name="T11" fmla="*/ 2147483647 h 150"/>
                  <a:gd name="T12" fmla="*/ 2147483647 w 150"/>
                  <a:gd name="T13" fmla="*/ 2147483647 h 150"/>
                  <a:gd name="T14" fmla="*/ 2147483647 w 150"/>
                  <a:gd name="T15" fmla="*/ 2147483647 h 150"/>
                  <a:gd name="T16" fmla="*/ 2147483647 w 150"/>
                  <a:gd name="T17" fmla="*/ 2147483647 h 150"/>
                  <a:gd name="T18" fmla="*/ 2147483647 w 150"/>
                  <a:gd name="T19" fmla="*/ 2147483647 h 150"/>
                  <a:gd name="T20" fmla="*/ 2147483647 w 150"/>
                  <a:gd name="T21" fmla="*/ 2147483647 h 150"/>
                  <a:gd name="T22" fmla="*/ 2147483647 w 150"/>
                  <a:gd name="T23" fmla="*/ 2147483647 h 150"/>
                  <a:gd name="T24" fmla="*/ 2147483647 w 150"/>
                  <a:gd name="T25" fmla="*/ 2147483647 h 150"/>
                  <a:gd name="T26" fmla="*/ 2147483647 w 150"/>
                  <a:gd name="T27" fmla="*/ 0 h 150"/>
                  <a:gd name="T28" fmla="*/ 2147483647 w 150"/>
                  <a:gd name="T29" fmla="*/ 2147483647 h 150"/>
                  <a:gd name="T30" fmla="*/ 2147483647 w 150"/>
                  <a:gd name="T31" fmla="*/ 2147483647 h 150"/>
                  <a:gd name="T32" fmla="*/ 2147483647 w 150"/>
                  <a:gd name="T33" fmla="*/ 2147483647 h 150"/>
                  <a:gd name="T34" fmla="*/ 2147483647 w 150"/>
                  <a:gd name="T35" fmla="*/ 2147483647 h 150"/>
                  <a:gd name="T36" fmla="*/ 2147483647 w 150"/>
                  <a:gd name="T37" fmla="*/ 2147483647 h 150"/>
                  <a:gd name="T38" fmla="*/ 2147483647 w 150"/>
                  <a:gd name="T39" fmla="*/ 2147483647 h 150"/>
                  <a:gd name="T40" fmla="*/ 2147483647 w 150"/>
                  <a:gd name="T41" fmla="*/ 2147483647 h 150"/>
                  <a:gd name="T42" fmla="*/ 2147483647 w 150"/>
                  <a:gd name="T43" fmla="*/ 2147483647 h 150"/>
                  <a:gd name="T44" fmla="*/ 2147483647 w 150"/>
                  <a:gd name="T45" fmla="*/ 2147483647 h 150"/>
                  <a:gd name="T46" fmla="*/ 2147483647 w 150"/>
                  <a:gd name="T47" fmla="*/ 2147483647 h 150"/>
                  <a:gd name="T48" fmla="*/ 2147483647 w 150"/>
                  <a:gd name="T49" fmla="*/ 2147483647 h 150"/>
                  <a:gd name="T50" fmla="*/ 2147483647 w 150"/>
                  <a:gd name="T51" fmla="*/ 2147483647 h 150"/>
                  <a:gd name="T52" fmla="*/ 2147483647 w 150"/>
                  <a:gd name="T53" fmla="*/ 2147483647 h 150"/>
                  <a:gd name="T54" fmla="*/ 2147483647 w 150"/>
                  <a:gd name="T55" fmla="*/ 2147483647 h 150"/>
                  <a:gd name="T56" fmla="*/ 2147483647 w 150"/>
                  <a:gd name="T57" fmla="*/ 2147483647 h 150"/>
                  <a:gd name="T58" fmla="*/ 2147483647 w 150"/>
                  <a:gd name="T59" fmla="*/ 2147483647 h 150"/>
                  <a:gd name="T60" fmla="*/ 0 w 150"/>
                  <a:gd name="T61" fmla="*/ 2147483647 h 150"/>
                  <a:gd name="T62" fmla="*/ 0 w 150"/>
                  <a:gd name="T63" fmla="*/ 2147483647 h 150"/>
                  <a:gd name="T64" fmla="*/ 2147483647 w 150"/>
                  <a:gd name="T65" fmla="*/ 2147483647 h 150"/>
                  <a:gd name="T66" fmla="*/ 2147483647 w 150"/>
                  <a:gd name="T67" fmla="*/ 2147483647 h 150"/>
                  <a:gd name="T68" fmla="*/ 2147483647 w 150"/>
                  <a:gd name="T69" fmla="*/ 2147483647 h 150"/>
                  <a:gd name="T70" fmla="*/ 2147483647 w 150"/>
                  <a:gd name="T71" fmla="*/ 2147483647 h 150"/>
                  <a:gd name="T72" fmla="*/ 2147483647 w 150"/>
                  <a:gd name="T73" fmla="*/ 2147483647 h 15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50"/>
                  <a:gd name="T112" fmla="*/ 0 h 150"/>
                  <a:gd name="T113" fmla="*/ 150 w 150"/>
                  <a:gd name="T114" fmla="*/ 150 h 15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50" h="150">
                    <a:moveTo>
                      <a:pt x="48" y="150"/>
                    </a:moveTo>
                    <a:lnTo>
                      <a:pt x="54" y="150"/>
                    </a:lnTo>
                    <a:lnTo>
                      <a:pt x="60" y="144"/>
                    </a:lnTo>
                    <a:lnTo>
                      <a:pt x="72" y="138"/>
                    </a:lnTo>
                    <a:lnTo>
                      <a:pt x="78" y="114"/>
                    </a:lnTo>
                    <a:lnTo>
                      <a:pt x="138" y="114"/>
                    </a:lnTo>
                    <a:lnTo>
                      <a:pt x="150" y="102"/>
                    </a:lnTo>
                    <a:lnTo>
                      <a:pt x="150" y="72"/>
                    </a:lnTo>
                    <a:lnTo>
                      <a:pt x="144" y="66"/>
                    </a:lnTo>
                    <a:lnTo>
                      <a:pt x="144" y="48"/>
                    </a:lnTo>
                    <a:lnTo>
                      <a:pt x="138" y="42"/>
                    </a:lnTo>
                    <a:lnTo>
                      <a:pt x="132" y="30"/>
                    </a:lnTo>
                    <a:lnTo>
                      <a:pt x="126" y="24"/>
                    </a:lnTo>
                    <a:lnTo>
                      <a:pt x="132" y="0"/>
                    </a:lnTo>
                    <a:lnTo>
                      <a:pt x="108" y="6"/>
                    </a:lnTo>
                    <a:lnTo>
                      <a:pt x="108" y="12"/>
                    </a:lnTo>
                    <a:lnTo>
                      <a:pt x="102" y="18"/>
                    </a:lnTo>
                    <a:lnTo>
                      <a:pt x="90" y="42"/>
                    </a:lnTo>
                    <a:lnTo>
                      <a:pt x="84" y="42"/>
                    </a:lnTo>
                    <a:lnTo>
                      <a:pt x="72" y="30"/>
                    </a:lnTo>
                    <a:lnTo>
                      <a:pt x="54" y="30"/>
                    </a:lnTo>
                    <a:lnTo>
                      <a:pt x="48" y="36"/>
                    </a:lnTo>
                    <a:lnTo>
                      <a:pt x="24" y="48"/>
                    </a:lnTo>
                    <a:lnTo>
                      <a:pt x="18" y="54"/>
                    </a:lnTo>
                    <a:lnTo>
                      <a:pt x="18" y="60"/>
                    </a:lnTo>
                    <a:lnTo>
                      <a:pt x="24" y="72"/>
                    </a:lnTo>
                    <a:lnTo>
                      <a:pt x="30" y="78"/>
                    </a:lnTo>
                    <a:lnTo>
                      <a:pt x="30" y="90"/>
                    </a:lnTo>
                    <a:lnTo>
                      <a:pt x="18" y="102"/>
                    </a:lnTo>
                    <a:lnTo>
                      <a:pt x="6" y="108"/>
                    </a:lnTo>
                    <a:lnTo>
                      <a:pt x="0" y="120"/>
                    </a:lnTo>
                    <a:lnTo>
                      <a:pt x="0" y="126"/>
                    </a:lnTo>
                    <a:lnTo>
                      <a:pt x="6" y="132"/>
                    </a:lnTo>
                    <a:lnTo>
                      <a:pt x="30" y="132"/>
                    </a:lnTo>
                    <a:lnTo>
                      <a:pt x="36" y="144"/>
                    </a:lnTo>
                    <a:lnTo>
                      <a:pt x="42" y="150"/>
                    </a:lnTo>
                    <a:lnTo>
                      <a:pt x="48" y="15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14" name="Qatar"/>
              <p:cNvSpPr>
                <a:spLocks/>
              </p:cNvSpPr>
              <p:nvPr/>
            </p:nvSpPr>
            <p:spPr bwMode="gray">
              <a:xfrm>
                <a:off x="5643570" y="3225801"/>
                <a:ext cx="25400" cy="58739"/>
              </a:xfrm>
              <a:custGeom>
                <a:avLst/>
                <a:gdLst>
                  <a:gd name="T0" fmla="*/ 2147483647 w 66"/>
                  <a:gd name="T1" fmla="*/ 2147483647 h 144"/>
                  <a:gd name="T2" fmla="*/ 2147483647 w 66"/>
                  <a:gd name="T3" fmla="*/ 2147483647 h 144"/>
                  <a:gd name="T4" fmla="*/ 2147483647 w 66"/>
                  <a:gd name="T5" fmla="*/ 2147483647 h 144"/>
                  <a:gd name="T6" fmla="*/ 2147483647 w 66"/>
                  <a:gd name="T7" fmla="*/ 2147483647 h 144"/>
                  <a:gd name="T8" fmla="*/ 2147483647 w 66"/>
                  <a:gd name="T9" fmla="*/ 2147483647 h 144"/>
                  <a:gd name="T10" fmla="*/ 2147483647 w 66"/>
                  <a:gd name="T11" fmla="*/ 2147483647 h 144"/>
                  <a:gd name="T12" fmla="*/ 2147483647 w 66"/>
                  <a:gd name="T13" fmla="*/ 2147483647 h 144"/>
                  <a:gd name="T14" fmla="*/ 2147483647 w 66"/>
                  <a:gd name="T15" fmla="*/ 2147483647 h 144"/>
                  <a:gd name="T16" fmla="*/ 2147483647 w 66"/>
                  <a:gd name="T17" fmla="*/ 2147483647 h 144"/>
                  <a:gd name="T18" fmla="*/ 2147483647 w 66"/>
                  <a:gd name="T19" fmla="*/ 0 h 144"/>
                  <a:gd name="T20" fmla="*/ 2147483647 w 66"/>
                  <a:gd name="T21" fmla="*/ 0 h 144"/>
                  <a:gd name="T22" fmla="*/ 2147483647 w 66"/>
                  <a:gd name="T23" fmla="*/ 2147483647 h 144"/>
                  <a:gd name="T24" fmla="*/ 2147483647 w 66"/>
                  <a:gd name="T25" fmla="*/ 2147483647 h 144"/>
                  <a:gd name="T26" fmla="*/ 2147483647 w 66"/>
                  <a:gd name="T27" fmla="*/ 2147483647 h 144"/>
                  <a:gd name="T28" fmla="*/ 2147483647 w 66"/>
                  <a:gd name="T29" fmla="*/ 2147483647 h 144"/>
                  <a:gd name="T30" fmla="*/ 0 w 66"/>
                  <a:gd name="T31" fmla="*/ 2147483647 h 144"/>
                  <a:gd name="T32" fmla="*/ 2147483647 w 66"/>
                  <a:gd name="T33" fmla="*/ 2147483647 h 144"/>
                  <a:gd name="T34" fmla="*/ 2147483647 w 66"/>
                  <a:gd name="T35" fmla="*/ 2147483647 h 14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66"/>
                  <a:gd name="T55" fmla="*/ 0 h 144"/>
                  <a:gd name="T56" fmla="*/ 66 w 66"/>
                  <a:gd name="T57" fmla="*/ 144 h 144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66" h="144">
                    <a:moveTo>
                      <a:pt x="24" y="132"/>
                    </a:moveTo>
                    <a:lnTo>
                      <a:pt x="36" y="144"/>
                    </a:lnTo>
                    <a:lnTo>
                      <a:pt x="48" y="132"/>
                    </a:lnTo>
                    <a:lnTo>
                      <a:pt x="54" y="114"/>
                    </a:lnTo>
                    <a:lnTo>
                      <a:pt x="60" y="102"/>
                    </a:lnTo>
                    <a:lnTo>
                      <a:pt x="66" y="84"/>
                    </a:lnTo>
                    <a:lnTo>
                      <a:pt x="66" y="30"/>
                    </a:lnTo>
                    <a:lnTo>
                      <a:pt x="54" y="18"/>
                    </a:lnTo>
                    <a:lnTo>
                      <a:pt x="48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24" y="6"/>
                    </a:lnTo>
                    <a:lnTo>
                      <a:pt x="18" y="18"/>
                    </a:lnTo>
                    <a:lnTo>
                      <a:pt x="12" y="36"/>
                    </a:lnTo>
                    <a:lnTo>
                      <a:pt x="12" y="108"/>
                    </a:lnTo>
                    <a:lnTo>
                      <a:pt x="0" y="120"/>
                    </a:lnTo>
                    <a:lnTo>
                      <a:pt x="6" y="132"/>
                    </a:lnTo>
                    <a:lnTo>
                      <a:pt x="24" y="132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15" name="Pakistan"/>
              <p:cNvSpPr>
                <a:spLocks/>
              </p:cNvSpPr>
              <p:nvPr/>
            </p:nvSpPr>
            <p:spPr bwMode="gray">
              <a:xfrm>
                <a:off x="5903923" y="2876552"/>
                <a:ext cx="423863" cy="425451"/>
              </a:xfrm>
              <a:custGeom>
                <a:avLst/>
                <a:gdLst>
                  <a:gd name="T0" fmla="*/ 2147483647 w 1050"/>
                  <a:gd name="T1" fmla="*/ 2147483647 h 1056"/>
                  <a:gd name="T2" fmla="*/ 2147483647 w 1050"/>
                  <a:gd name="T3" fmla="*/ 2147483647 h 1056"/>
                  <a:gd name="T4" fmla="*/ 2147483647 w 1050"/>
                  <a:gd name="T5" fmla="*/ 2147483647 h 1056"/>
                  <a:gd name="T6" fmla="*/ 2147483647 w 1050"/>
                  <a:gd name="T7" fmla="*/ 2147483647 h 1056"/>
                  <a:gd name="T8" fmla="*/ 2147483647 w 1050"/>
                  <a:gd name="T9" fmla="*/ 2147483647 h 1056"/>
                  <a:gd name="T10" fmla="*/ 2147483647 w 1050"/>
                  <a:gd name="T11" fmla="*/ 2147483647 h 1056"/>
                  <a:gd name="T12" fmla="*/ 2147483647 w 1050"/>
                  <a:gd name="T13" fmla="*/ 2147483647 h 1056"/>
                  <a:gd name="T14" fmla="*/ 2147483647 w 1050"/>
                  <a:gd name="T15" fmla="*/ 2147483647 h 1056"/>
                  <a:gd name="T16" fmla="*/ 2147483647 w 1050"/>
                  <a:gd name="T17" fmla="*/ 2147483647 h 1056"/>
                  <a:gd name="T18" fmla="*/ 2147483647 w 1050"/>
                  <a:gd name="T19" fmla="*/ 2147483647 h 1056"/>
                  <a:gd name="T20" fmla="*/ 2147483647 w 1050"/>
                  <a:gd name="T21" fmla="*/ 2147483647 h 1056"/>
                  <a:gd name="T22" fmla="*/ 2147483647 w 1050"/>
                  <a:gd name="T23" fmla="*/ 2147483647 h 1056"/>
                  <a:gd name="T24" fmla="*/ 2147483647 w 1050"/>
                  <a:gd name="T25" fmla="*/ 2147483647 h 1056"/>
                  <a:gd name="T26" fmla="*/ 2147483647 w 1050"/>
                  <a:gd name="T27" fmla="*/ 2147483647 h 1056"/>
                  <a:gd name="T28" fmla="*/ 2147483647 w 1050"/>
                  <a:gd name="T29" fmla="*/ 2147483647 h 1056"/>
                  <a:gd name="T30" fmla="*/ 2147483647 w 1050"/>
                  <a:gd name="T31" fmla="*/ 2147483647 h 1056"/>
                  <a:gd name="T32" fmla="*/ 2147483647 w 1050"/>
                  <a:gd name="T33" fmla="*/ 2147483647 h 1056"/>
                  <a:gd name="T34" fmla="*/ 2147483647 w 1050"/>
                  <a:gd name="T35" fmla="*/ 2147483647 h 1056"/>
                  <a:gd name="T36" fmla="*/ 2147483647 w 1050"/>
                  <a:gd name="T37" fmla="*/ 2147483647 h 1056"/>
                  <a:gd name="T38" fmla="*/ 2147483647 w 1050"/>
                  <a:gd name="T39" fmla="*/ 2147483647 h 1056"/>
                  <a:gd name="T40" fmla="*/ 2147483647 w 1050"/>
                  <a:gd name="T41" fmla="*/ 2147483647 h 1056"/>
                  <a:gd name="T42" fmla="*/ 2147483647 w 1050"/>
                  <a:gd name="T43" fmla="*/ 2147483647 h 1056"/>
                  <a:gd name="T44" fmla="*/ 0 w 1050"/>
                  <a:gd name="T45" fmla="*/ 2147483647 h 1056"/>
                  <a:gd name="T46" fmla="*/ 2147483647 w 1050"/>
                  <a:gd name="T47" fmla="*/ 2147483647 h 1056"/>
                  <a:gd name="T48" fmla="*/ 2147483647 w 1050"/>
                  <a:gd name="T49" fmla="*/ 2147483647 h 1056"/>
                  <a:gd name="T50" fmla="*/ 2147483647 w 1050"/>
                  <a:gd name="T51" fmla="*/ 2147483647 h 1056"/>
                  <a:gd name="T52" fmla="*/ 2147483647 w 1050"/>
                  <a:gd name="T53" fmla="*/ 2147483647 h 1056"/>
                  <a:gd name="T54" fmla="*/ 2147483647 w 1050"/>
                  <a:gd name="T55" fmla="*/ 2147483647 h 1056"/>
                  <a:gd name="T56" fmla="*/ 2147483647 w 1050"/>
                  <a:gd name="T57" fmla="*/ 2147483647 h 1056"/>
                  <a:gd name="T58" fmla="*/ 2147483647 w 1050"/>
                  <a:gd name="T59" fmla="*/ 2147483647 h 1056"/>
                  <a:gd name="T60" fmla="*/ 2147483647 w 1050"/>
                  <a:gd name="T61" fmla="*/ 2147483647 h 1056"/>
                  <a:gd name="T62" fmla="*/ 2147483647 w 1050"/>
                  <a:gd name="T63" fmla="*/ 2147483647 h 1056"/>
                  <a:gd name="T64" fmla="*/ 2147483647 w 1050"/>
                  <a:gd name="T65" fmla="*/ 2147483647 h 1056"/>
                  <a:gd name="T66" fmla="*/ 2147483647 w 1050"/>
                  <a:gd name="T67" fmla="*/ 2147483647 h 1056"/>
                  <a:gd name="T68" fmla="*/ 2147483647 w 1050"/>
                  <a:gd name="T69" fmla="*/ 2147483647 h 1056"/>
                  <a:gd name="T70" fmla="*/ 2147483647 w 1050"/>
                  <a:gd name="T71" fmla="*/ 2147483647 h 1056"/>
                  <a:gd name="T72" fmla="*/ 2147483647 w 1050"/>
                  <a:gd name="T73" fmla="*/ 2147483647 h 1056"/>
                  <a:gd name="T74" fmla="*/ 2147483647 w 1050"/>
                  <a:gd name="T75" fmla="*/ 2147483647 h 1056"/>
                  <a:gd name="T76" fmla="*/ 2147483647 w 1050"/>
                  <a:gd name="T77" fmla="*/ 2147483647 h 1056"/>
                  <a:gd name="T78" fmla="*/ 2147483647 w 1050"/>
                  <a:gd name="T79" fmla="*/ 2147483647 h 1056"/>
                  <a:gd name="T80" fmla="*/ 2147483647 w 1050"/>
                  <a:gd name="T81" fmla="*/ 2147483647 h 1056"/>
                  <a:gd name="T82" fmla="*/ 2147483647 w 1050"/>
                  <a:gd name="T83" fmla="*/ 2147483647 h 1056"/>
                  <a:gd name="T84" fmla="*/ 2147483647 w 1050"/>
                  <a:gd name="T85" fmla="*/ 2147483647 h 1056"/>
                  <a:gd name="T86" fmla="*/ 2147483647 w 1050"/>
                  <a:gd name="T87" fmla="*/ 2147483647 h 1056"/>
                  <a:gd name="T88" fmla="*/ 2147483647 w 1050"/>
                  <a:gd name="T89" fmla="*/ 2147483647 h 1056"/>
                  <a:gd name="T90" fmla="*/ 2147483647 w 1050"/>
                  <a:gd name="T91" fmla="*/ 2147483647 h 1056"/>
                  <a:gd name="T92" fmla="*/ 2147483647 w 1050"/>
                  <a:gd name="T93" fmla="*/ 2147483647 h 1056"/>
                  <a:gd name="T94" fmla="*/ 2147483647 w 1050"/>
                  <a:gd name="T95" fmla="*/ 2147483647 h 1056"/>
                  <a:gd name="T96" fmla="*/ 2147483647 w 1050"/>
                  <a:gd name="T97" fmla="*/ 2147483647 h 1056"/>
                  <a:gd name="T98" fmla="*/ 2147483647 w 1050"/>
                  <a:gd name="T99" fmla="*/ 2147483647 h 1056"/>
                  <a:gd name="T100" fmla="*/ 2147483647 w 1050"/>
                  <a:gd name="T101" fmla="*/ 2147483647 h 1056"/>
                  <a:gd name="T102" fmla="*/ 2147483647 w 1050"/>
                  <a:gd name="T103" fmla="*/ 2147483647 h 1056"/>
                  <a:gd name="T104" fmla="*/ 2147483647 w 1050"/>
                  <a:gd name="T105" fmla="*/ 2147483647 h 1056"/>
                  <a:gd name="T106" fmla="*/ 2147483647 w 1050"/>
                  <a:gd name="T107" fmla="*/ 2147483647 h 1056"/>
                  <a:gd name="T108" fmla="*/ 2147483647 w 1050"/>
                  <a:gd name="T109" fmla="*/ 2147483647 h 1056"/>
                  <a:gd name="T110" fmla="*/ 2147483647 w 1050"/>
                  <a:gd name="T111" fmla="*/ 2147483647 h 1056"/>
                  <a:gd name="T112" fmla="*/ 2147483647 w 1050"/>
                  <a:gd name="T113" fmla="*/ 2147483647 h 1056"/>
                  <a:gd name="T114" fmla="*/ 2147483647 w 1050"/>
                  <a:gd name="T115" fmla="*/ 2147483647 h 1056"/>
                  <a:gd name="T116" fmla="*/ 2147483647 w 1050"/>
                  <a:gd name="T117" fmla="*/ 2147483647 h 1056"/>
                  <a:gd name="T118" fmla="*/ 2147483647 w 1050"/>
                  <a:gd name="T119" fmla="*/ 2147483647 h 1056"/>
                  <a:gd name="T120" fmla="*/ 2147483647 w 1050"/>
                  <a:gd name="T121" fmla="*/ 2147483647 h 1056"/>
                  <a:gd name="T122" fmla="*/ 2147483647 w 1050"/>
                  <a:gd name="T123" fmla="*/ 2147483647 h 105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050"/>
                  <a:gd name="T187" fmla="*/ 0 h 1056"/>
                  <a:gd name="T188" fmla="*/ 1050 w 1050"/>
                  <a:gd name="T189" fmla="*/ 1056 h 105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050" h="1056">
                    <a:moveTo>
                      <a:pt x="1008" y="120"/>
                    </a:moveTo>
                    <a:lnTo>
                      <a:pt x="996" y="120"/>
                    </a:lnTo>
                    <a:lnTo>
                      <a:pt x="984" y="114"/>
                    </a:lnTo>
                    <a:lnTo>
                      <a:pt x="978" y="102"/>
                    </a:lnTo>
                    <a:lnTo>
                      <a:pt x="972" y="96"/>
                    </a:lnTo>
                    <a:lnTo>
                      <a:pt x="972" y="90"/>
                    </a:lnTo>
                    <a:lnTo>
                      <a:pt x="960" y="96"/>
                    </a:lnTo>
                    <a:lnTo>
                      <a:pt x="924" y="84"/>
                    </a:lnTo>
                    <a:lnTo>
                      <a:pt x="924" y="60"/>
                    </a:lnTo>
                    <a:lnTo>
                      <a:pt x="912" y="36"/>
                    </a:lnTo>
                    <a:lnTo>
                      <a:pt x="900" y="24"/>
                    </a:lnTo>
                    <a:lnTo>
                      <a:pt x="888" y="18"/>
                    </a:lnTo>
                    <a:lnTo>
                      <a:pt x="876" y="18"/>
                    </a:lnTo>
                    <a:lnTo>
                      <a:pt x="870" y="6"/>
                    </a:lnTo>
                    <a:lnTo>
                      <a:pt x="822" y="6"/>
                    </a:lnTo>
                    <a:lnTo>
                      <a:pt x="810" y="0"/>
                    </a:lnTo>
                    <a:lnTo>
                      <a:pt x="804" y="6"/>
                    </a:lnTo>
                    <a:lnTo>
                      <a:pt x="792" y="6"/>
                    </a:lnTo>
                    <a:lnTo>
                      <a:pt x="786" y="12"/>
                    </a:lnTo>
                    <a:lnTo>
                      <a:pt x="774" y="12"/>
                    </a:lnTo>
                    <a:lnTo>
                      <a:pt x="762" y="6"/>
                    </a:lnTo>
                    <a:lnTo>
                      <a:pt x="738" y="6"/>
                    </a:lnTo>
                    <a:lnTo>
                      <a:pt x="732" y="12"/>
                    </a:lnTo>
                    <a:lnTo>
                      <a:pt x="690" y="12"/>
                    </a:lnTo>
                    <a:lnTo>
                      <a:pt x="684" y="18"/>
                    </a:lnTo>
                    <a:lnTo>
                      <a:pt x="678" y="18"/>
                    </a:lnTo>
                    <a:lnTo>
                      <a:pt x="654" y="30"/>
                    </a:lnTo>
                    <a:lnTo>
                      <a:pt x="648" y="36"/>
                    </a:lnTo>
                    <a:lnTo>
                      <a:pt x="624" y="48"/>
                    </a:lnTo>
                    <a:lnTo>
                      <a:pt x="618" y="54"/>
                    </a:lnTo>
                    <a:lnTo>
                      <a:pt x="612" y="66"/>
                    </a:lnTo>
                    <a:lnTo>
                      <a:pt x="606" y="72"/>
                    </a:lnTo>
                    <a:lnTo>
                      <a:pt x="606" y="78"/>
                    </a:lnTo>
                    <a:lnTo>
                      <a:pt x="636" y="108"/>
                    </a:lnTo>
                    <a:lnTo>
                      <a:pt x="636" y="138"/>
                    </a:lnTo>
                    <a:lnTo>
                      <a:pt x="642" y="144"/>
                    </a:lnTo>
                    <a:lnTo>
                      <a:pt x="648" y="156"/>
                    </a:lnTo>
                    <a:lnTo>
                      <a:pt x="648" y="162"/>
                    </a:lnTo>
                    <a:lnTo>
                      <a:pt x="624" y="186"/>
                    </a:lnTo>
                    <a:lnTo>
                      <a:pt x="618" y="198"/>
                    </a:lnTo>
                    <a:lnTo>
                      <a:pt x="618" y="210"/>
                    </a:lnTo>
                    <a:lnTo>
                      <a:pt x="624" y="216"/>
                    </a:lnTo>
                    <a:lnTo>
                      <a:pt x="624" y="246"/>
                    </a:lnTo>
                    <a:lnTo>
                      <a:pt x="606" y="246"/>
                    </a:lnTo>
                    <a:lnTo>
                      <a:pt x="600" y="252"/>
                    </a:lnTo>
                    <a:lnTo>
                      <a:pt x="594" y="252"/>
                    </a:lnTo>
                    <a:lnTo>
                      <a:pt x="576" y="246"/>
                    </a:lnTo>
                    <a:lnTo>
                      <a:pt x="570" y="240"/>
                    </a:lnTo>
                    <a:lnTo>
                      <a:pt x="552" y="240"/>
                    </a:lnTo>
                    <a:lnTo>
                      <a:pt x="552" y="252"/>
                    </a:lnTo>
                    <a:lnTo>
                      <a:pt x="564" y="264"/>
                    </a:lnTo>
                    <a:lnTo>
                      <a:pt x="576" y="270"/>
                    </a:lnTo>
                    <a:lnTo>
                      <a:pt x="576" y="276"/>
                    </a:lnTo>
                    <a:lnTo>
                      <a:pt x="582" y="282"/>
                    </a:lnTo>
                    <a:lnTo>
                      <a:pt x="582" y="288"/>
                    </a:lnTo>
                    <a:lnTo>
                      <a:pt x="594" y="294"/>
                    </a:lnTo>
                    <a:lnTo>
                      <a:pt x="600" y="294"/>
                    </a:lnTo>
                    <a:lnTo>
                      <a:pt x="570" y="312"/>
                    </a:lnTo>
                    <a:lnTo>
                      <a:pt x="552" y="312"/>
                    </a:lnTo>
                    <a:lnTo>
                      <a:pt x="546" y="318"/>
                    </a:lnTo>
                    <a:lnTo>
                      <a:pt x="546" y="354"/>
                    </a:lnTo>
                    <a:lnTo>
                      <a:pt x="540" y="354"/>
                    </a:lnTo>
                    <a:lnTo>
                      <a:pt x="534" y="360"/>
                    </a:lnTo>
                    <a:lnTo>
                      <a:pt x="534" y="378"/>
                    </a:lnTo>
                    <a:lnTo>
                      <a:pt x="540" y="390"/>
                    </a:lnTo>
                    <a:lnTo>
                      <a:pt x="540" y="402"/>
                    </a:lnTo>
                    <a:lnTo>
                      <a:pt x="546" y="408"/>
                    </a:lnTo>
                    <a:lnTo>
                      <a:pt x="546" y="414"/>
                    </a:lnTo>
                    <a:lnTo>
                      <a:pt x="540" y="420"/>
                    </a:lnTo>
                    <a:lnTo>
                      <a:pt x="534" y="432"/>
                    </a:lnTo>
                    <a:lnTo>
                      <a:pt x="522" y="438"/>
                    </a:lnTo>
                    <a:lnTo>
                      <a:pt x="510" y="438"/>
                    </a:lnTo>
                    <a:lnTo>
                      <a:pt x="504" y="432"/>
                    </a:lnTo>
                    <a:lnTo>
                      <a:pt x="504" y="420"/>
                    </a:lnTo>
                    <a:lnTo>
                      <a:pt x="474" y="420"/>
                    </a:lnTo>
                    <a:lnTo>
                      <a:pt x="462" y="426"/>
                    </a:lnTo>
                    <a:lnTo>
                      <a:pt x="456" y="432"/>
                    </a:lnTo>
                    <a:lnTo>
                      <a:pt x="444" y="438"/>
                    </a:lnTo>
                    <a:lnTo>
                      <a:pt x="438" y="438"/>
                    </a:lnTo>
                    <a:lnTo>
                      <a:pt x="432" y="444"/>
                    </a:lnTo>
                    <a:lnTo>
                      <a:pt x="432" y="450"/>
                    </a:lnTo>
                    <a:lnTo>
                      <a:pt x="438" y="450"/>
                    </a:lnTo>
                    <a:lnTo>
                      <a:pt x="444" y="456"/>
                    </a:lnTo>
                    <a:lnTo>
                      <a:pt x="444" y="462"/>
                    </a:lnTo>
                    <a:lnTo>
                      <a:pt x="438" y="468"/>
                    </a:lnTo>
                    <a:lnTo>
                      <a:pt x="396" y="468"/>
                    </a:lnTo>
                    <a:lnTo>
                      <a:pt x="396" y="456"/>
                    </a:lnTo>
                    <a:lnTo>
                      <a:pt x="378" y="456"/>
                    </a:lnTo>
                    <a:lnTo>
                      <a:pt x="372" y="468"/>
                    </a:lnTo>
                    <a:lnTo>
                      <a:pt x="360" y="474"/>
                    </a:lnTo>
                    <a:lnTo>
                      <a:pt x="354" y="486"/>
                    </a:lnTo>
                    <a:lnTo>
                      <a:pt x="354" y="504"/>
                    </a:lnTo>
                    <a:lnTo>
                      <a:pt x="360" y="516"/>
                    </a:lnTo>
                    <a:lnTo>
                      <a:pt x="360" y="534"/>
                    </a:lnTo>
                    <a:lnTo>
                      <a:pt x="366" y="540"/>
                    </a:lnTo>
                    <a:lnTo>
                      <a:pt x="366" y="570"/>
                    </a:lnTo>
                    <a:lnTo>
                      <a:pt x="360" y="576"/>
                    </a:lnTo>
                    <a:lnTo>
                      <a:pt x="354" y="576"/>
                    </a:lnTo>
                    <a:lnTo>
                      <a:pt x="306" y="600"/>
                    </a:lnTo>
                    <a:lnTo>
                      <a:pt x="276" y="600"/>
                    </a:lnTo>
                    <a:lnTo>
                      <a:pt x="258" y="606"/>
                    </a:lnTo>
                    <a:lnTo>
                      <a:pt x="234" y="606"/>
                    </a:lnTo>
                    <a:lnTo>
                      <a:pt x="228" y="612"/>
                    </a:lnTo>
                    <a:lnTo>
                      <a:pt x="204" y="612"/>
                    </a:lnTo>
                    <a:lnTo>
                      <a:pt x="204" y="606"/>
                    </a:lnTo>
                    <a:lnTo>
                      <a:pt x="150" y="606"/>
                    </a:lnTo>
                    <a:lnTo>
                      <a:pt x="144" y="612"/>
                    </a:lnTo>
                    <a:lnTo>
                      <a:pt x="138" y="612"/>
                    </a:lnTo>
                    <a:lnTo>
                      <a:pt x="120" y="618"/>
                    </a:lnTo>
                    <a:lnTo>
                      <a:pt x="102" y="618"/>
                    </a:lnTo>
                    <a:lnTo>
                      <a:pt x="78" y="606"/>
                    </a:lnTo>
                    <a:lnTo>
                      <a:pt x="60" y="600"/>
                    </a:lnTo>
                    <a:lnTo>
                      <a:pt x="42" y="588"/>
                    </a:lnTo>
                    <a:lnTo>
                      <a:pt x="30" y="582"/>
                    </a:lnTo>
                    <a:lnTo>
                      <a:pt x="0" y="582"/>
                    </a:lnTo>
                    <a:lnTo>
                      <a:pt x="24" y="606"/>
                    </a:lnTo>
                    <a:lnTo>
                      <a:pt x="30" y="618"/>
                    </a:lnTo>
                    <a:lnTo>
                      <a:pt x="36" y="624"/>
                    </a:lnTo>
                    <a:lnTo>
                      <a:pt x="48" y="642"/>
                    </a:lnTo>
                    <a:lnTo>
                      <a:pt x="60" y="654"/>
                    </a:lnTo>
                    <a:lnTo>
                      <a:pt x="66" y="672"/>
                    </a:lnTo>
                    <a:lnTo>
                      <a:pt x="78" y="690"/>
                    </a:lnTo>
                    <a:lnTo>
                      <a:pt x="84" y="696"/>
                    </a:lnTo>
                    <a:lnTo>
                      <a:pt x="102" y="696"/>
                    </a:lnTo>
                    <a:lnTo>
                      <a:pt x="114" y="690"/>
                    </a:lnTo>
                    <a:lnTo>
                      <a:pt x="126" y="708"/>
                    </a:lnTo>
                    <a:lnTo>
                      <a:pt x="150" y="708"/>
                    </a:lnTo>
                    <a:lnTo>
                      <a:pt x="144" y="738"/>
                    </a:lnTo>
                    <a:lnTo>
                      <a:pt x="150" y="738"/>
                    </a:lnTo>
                    <a:lnTo>
                      <a:pt x="150" y="762"/>
                    </a:lnTo>
                    <a:lnTo>
                      <a:pt x="156" y="774"/>
                    </a:lnTo>
                    <a:lnTo>
                      <a:pt x="156" y="786"/>
                    </a:lnTo>
                    <a:lnTo>
                      <a:pt x="174" y="786"/>
                    </a:lnTo>
                    <a:lnTo>
                      <a:pt x="180" y="792"/>
                    </a:lnTo>
                    <a:lnTo>
                      <a:pt x="186" y="804"/>
                    </a:lnTo>
                    <a:lnTo>
                      <a:pt x="192" y="822"/>
                    </a:lnTo>
                    <a:lnTo>
                      <a:pt x="192" y="834"/>
                    </a:lnTo>
                    <a:lnTo>
                      <a:pt x="186" y="840"/>
                    </a:lnTo>
                    <a:lnTo>
                      <a:pt x="180" y="840"/>
                    </a:lnTo>
                    <a:lnTo>
                      <a:pt x="180" y="834"/>
                    </a:lnTo>
                    <a:lnTo>
                      <a:pt x="150" y="834"/>
                    </a:lnTo>
                    <a:lnTo>
                      <a:pt x="138" y="840"/>
                    </a:lnTo>
                    <a:lnTo>
                      <a:pt x="132" y="846"/>
                    </a:lnTo>
                    <a:lnTo>
                      <a:pt x="132" y="852"/>
                    </a:lnTo>
                    <a:lnTo>
                      <a:pt x="126" y="852"/>
                    </a:lnTo>
                    <a:lnTo>
                      <a:pt x="126" y="858"/>
                    </a:lnTo>
                    <a:lnTo>
                      <a:pt x="120" y="864"/>
                    </a:lnTo>
                    <a:lnTo>
                      <a:pt x="108" y="864"/>
                    </a:lnTo>
                    <a:lnTo>
                      <a:pt x="102" y="882"/>
                    </a:lnTo>
                    <a:lnTo>
                      <a:pt x="96" y="888"/>
                    </a:lnTo>
                    <a:lnTo>
                      <a:pt x="96" y="894"/>
                    </a:lnTo>
                    <a:lnTo>
                      <a:pt x="84" y="906"/>
                    </a:lnTo>
                    <a:lnTo>
                      <a:pt x="84" y="936"/>
                    </a:lnTo>
                    <a:lnTo>
                      <a:pt x="90" y="948"/>
                    </a:lnTo>
                    <a:lnTo>
                      <a:pt x="90" y="954"/>
                    </a:lnTo>
                    <a:lnTo>
                      <a:pt x="96" y="948"/>
                    </a:lnTo>
                    <a:lnTo>
                      <a:pt x="108" y="948"/>
                    </a:lnTo>
                    <a:lnTo>
                      <a:pt x="114" y="942"/>
                    </a:lnTo>
                    <a:lnTo>
                      <a:pt x="120" y="942"/>
                    </a:lnTo>
                    <a:lnTo>
                      <a:pt x="126" y="948"/>
                    </a:lnTo>
                    <a:lnTo>
                      <a:pt x="138" y="948"/>
                    </a:lnTo>
                    <a:lnTo>
                      <a:pt x="150" y="954"/>
                    </a:lnTo>
                    <a:lnTo>
                      <a:pt x="174" y="954"/>
                    </a:lnTo>
                    <a:lnTo>
                      <a:pt x="210" y="936"/>
                    </a:lnTo>
                    <a:lnTo>
                      <a:pt x="216" y="930"/>
                    </a:lnTo>
                    <a:lnTo>
                      <a:pt x="222" y="930"/>
                    </a:lnTo>
                    <a:lnTo>
                      <a:pt x="234" y="936"/>
                    </a:lnTo>
                    <a:lnTo>
                      <a:pt x="276" y="936"/>
                    </a:lnTo>
                    <a:lnTo>
                      <a:pt x="288" y="930"/>
                    </a:lnTo>
                    <a:lnTo>
                      <a:pt x="300" y="930"/>
                    </a:lnTo>
                    <a:lnTo>
                      <a:pt x="306" y="924"/>
                    </a:lnTo>
                    <a:lnTo>
                      <a:pt x="312" y="924"/>
                    </a:lnTo>
                    <a:lnTo>
                      <a:pt x="348" y="930"/>
                    </a:lnTo>
                    <a:lnTo>
                      <a:pt x="354" y="924"/>
                    </a:lnTo>
                    <a:lnTo>
                      <a:pt x="366" y="918"/>
                    </a:lnTo>
                    <a:lnTo>
                      <a:pt x="372" y="912"/>
                    </a:lnTo>
                    <a:lnTo>
                      <a:pt x="384" y="912"/>
                    </a:lnTo>
                    <a:lnTo>
                      <a:pt x="396" y="918"/>
                    </a:lnTo>
                    <a:lnTo>
                      <a:pt x="408" y="930"/>
                    </a:lnTo>
                    <a:lnTo>
                      <a:pt x="432" y="978"/>
                    </a:lnTo>
                    <a:lnTo>
                      <a:pt x="444" y="984"/>
                    </a:lnTo>
                    <a:lnTo>
                      <a:pt x="450" y="990"/>
                    </a:lnTo>
                    <a:lnTo>
                      <a:pt x="468" y="996"/>
                    </a:lnTo>
                    <a:lnTo>
                      <a:pt x="486" y="996"/>
                    </a:lnTo>
                    <a:lnTo>
                      <a:pt x="522" y="1008"/>
                    </a:lnTo>
                    <a:lnTo>
                      <a:pt x="540" y="1044"/>
                    </a:lnTo>
                    <a:lnTo>
                      <a:pt x="552" y="1056"/>
                    </a:lnTo>
                    <a:lnTo>
                      <a:pt x="570" y="1056"/>
                    </a:lnTo>
                    <a:lnTo>
                      <a:pt x="588" y="1050"/>
                    </a:lnTo>
                    <a:lnTo>
                      <a:pt x="582" y="1044"/>
                    </a:lnTo>
                    <a:lnTo>
                      <a:pt x="582" y="1032"/>
                    </a:lnTo>
                    <a:lnTo>
                      <a:pt x="594" y="1020"/>
                    </a:lnTo>
                    <a:lnTo>
                      <a:pt x="606" y="1020"/>
                    </a:lnTo>
                    <a:lnTo>
                      <a:pt x="618" y="1026"/>
                    </a:lnTo>
                    <a:lnTo>
                      <a:pt x="624" y="1032"/>
                    </a:lnTo>
                    <a:lnTo>
                      <a:pt x="648" y="1020"/>
                    </a:lnTo>
                    <a:lnTo>
                      <a:pt x="648" y="1026"/>
                    </a:lnTo>
                    <a:lnTo>
                      <a:pt x="654" y="1032"/>
                    </a:lnTo>
                    <a:lnTo>
                      <a:pt x="678" y="1032"/>
                    </a:lnTo>
                    <a:lnTo>
                      <a:pt x="690" y="1020"/>
                    </a:lnTo>
                    <a:lnTo>
                      <a:pt x="702" y="1014"/>
                    </a:lnTo>
                    <a:lnTo>
                      <a:pt x="708" y="1014"/>
                    </a:lnTo>
                    <a:lnTo>
                      <a:pt x="708" y="1026"/>
                    </a:lnTo>
                    <a:lnTo>
                      <a:pt x="714" y="1032"/>
                    </a:lnTo>
                    <a:lnTo>
                      <a:pt x="732" y="1032"/>
                    </a:lnTo>
                    <a:lnTo>
                      <a:pt x="738" y="1026"/>
                    </a:lnTo>
                    <a:lnTo>
                      <a:pt x="750" y="1020"/>
                    </a:lnTo>
                    <a:lnTo>
                      <a:pt x="750" y="996"/>
                    </a:lnTo>
                    <a:lnTo>
                      <a:pt x="744" y="990"/>
                    </a:lnTo>
                    <a:lnTo>
                      <a:pt x="738" y="978"/>
                    </a:lnTo>
                    <a:lnTo>
                      <a:pt x="714" y="936"/>
                    </a:lnTo>
                    <a:lnTo>
                      <a:pt x="714" y="912"/>
                    </a:lnTo>
                    <a:lnTo>
                      <a:pt x="690" y="912"/>
                    </a:lnTo>
                    <a:lnTo>
                      <a:pt x="678" y="900"/>
                    </a:lnTo>
                    <a:lnTo>
                      <a:pt x="672" y="888"/>
                    </a:lnTo>
                    <a:lnTo>
                      <a:pt x="666" y="882"/>
                    </a:lnTo>
                    <a:lnTo>
                      <a:pt x="672" y="852"/>
                    </a:lnTo>
                    <a:lnTo>
                      <a:pt x="672" y="834"/>
                    </a:lnTo>
                    <a:lnTo>
                      <a:pt x="642" y="840"/>
                    </a:lnTo>
                    <a:lnTo>
                      <a:pt x="636" y="840"/>
                    </a:lnTo>
                    <a:lnTo>
                      <a:pt x="624" y="834"/>
                    </a:lnTo>
                    <a:lnTo>
                      <a:pt x="618" y="828"/>
                    </a:lnTo>
                    <a:lnTo>
                      <a:pt x="618" y="804"/>
                    </a:lnTo>
                    <a:lnTo>
                      <a:pt x="624" y="792"/>
                    </a:lnTo>
                    <a:lnTo>
                      <a:pt x="636" y="780"/>
                    </a:lnTo>
                    <a:lnTo>
                      <a:pt x="642" y="768"/>
                    </a:lnTo>
                    <a:lnTo>
                      <a:pt x="648" y="762"/>
                    </a:lnTo>
                    <a:lnTo>
                      <a:pt x="654" y="750"/>
                    </a:lnTo>
                    <a:lnTo>
                      <a:pt x="654" y="744"/>
                    </a:lnTo>
                    <a:lnTo>
                      <a:pt x="666" y="732"/>
                    </a:lnTo>
                    <a:lnTo>
                      <a:pt x="678" y="726"/>
                    </a:lnTo>
                    <a:lnTo>
                      <a:pt x="684" y="726"/>
                    </a:lnTo>
                    <a:lnTo>
                      <a:pt x="690" y="732"/>
                    </a:lnTo>
                    <a:lnTo>
                      <a:pt x="690" y="744"/>
                    </a:lnTo>
                    <a:lnTo>
                      <a:pt x="696" y="750"/>
                    </a:lnTo>
                    <a:lnTo>
                      <a:pt x="702" y="750"/>
                    </a:lnTo>
                    <a:lnTo>
                      <a:pt x="726" y="738"/>
                    </a:lnTo>
                    <a:lnTo>
                      <a:pt x="732" y="732"/>
                    </a:lnTo>
                    <a:lnTo>
                      <a:pt x="738" y="738"/>
                    </a:lnTo>
                    <a:lnTo>
                      <a:pt x="756" y="738"/>
                    </a:lnTo>
                    <a:lnTo>
                      <a:pt x="762" y="732"/>
                    </a:lnTo>
                    <a:lnTo>
                      <a:pt x="768" y="720"/>
                    </a:lnTo>
                    <a:lnTo>
                      <a:pt x="774" y="714"/>
                    </a:lnTo>
                    <a:lnTo>
                      <a:pt x="774" y="708"/>
                    </a:lnTo>
                    <a:lnTo>
                      <a:pt x="792" y="696"/>
                    </a:lnTo>
                    <a:lnTo>
                      <a:pt x="792" y="678"/>
                    </a:lnTo>
                    <a:lnTo>
                      <a:pt x="798" y="672"/>
                    </a:lnTo>
                    <a:lnTo>
                      <a:pt x="798" y="666"/>
                    </a:lnTo>
                    <a:lnTo>
                      <a:pt x="804" y="660"/>
                    </a:lnTo>
                    <a:lnTo>
                      <a:pt x="828" y="648"/>
                    </a:lnTo>
                    <a:lnTo>
                      <a:pt x="840" y="636"/>
                    </a:lnTo>
                    <a:lnTo>
                      <a:pt x="846" y="618"/>
                    </a:lnTo>
                    <a:lnTo>
                      <a:pt x="846" y="606"/>
                    </a:lnTo>
                    <a:lnTo>
                      <a:pt x="852" y="588"/>
                    </a:lnTo>
                    <a:lnTo>
                      <a:pt x="852" y="576"/>
                    </a:lnTo>
                    <a:lnTo>
                      <a:pt x="858" y="570"/>
                    </a:lnTo>
                    <a:lnTo>
                      <a:pt x="870" y="564"/>
                    </a:lnTo>
                    <a:lnTo>
                      <a:pt x="876" y="558"/>
                    </a:lnTo>
                    <a:lnTo>
                      <a:pt x="888" y="558"/>
                    </a:lnTo>
                    <a:lnTo>
                      <a:pt x="870" y="534"/>
                    </a:lnTo>
                    <a:lnTo>
                      <a:pt x="894" y="498"/>
                    </a:lnTo>
                    <a:lnTo>
                      <a:pt x="924" y="480"/>
                    </a:lnTo>
                    <a:lnTo>
                      <a:pt x="924" y="474"/>
                    </a:lnTo>
                    <a:lnTo>
                      <a:pt x="912" y="462"/>
                    </a:lnTo>
                    <a:lnTo>
                      <a:pt x="906" y="450"/>
                    </a:lnTo>
                    <a:lnTo>
                      <a:pt x="906" y="414"/>
                    </a:lnTo>
                    <a:lnTo>
                      <a:pt x="912" y="408"/>
                    </a:lnTo>
                    <a:lnTo>
                      <a:pt x="924" y="408"/>
                    </a:lnTo>
                    <a:lnTo>
                      <a:pt x="948" y="396"/>
                    </a:lnTo>
                    <a:lnTo>
                      <a:pt x="954" y="390"/>
                    </a:lnTo>
                    <a:lnTo>
                      <a:pt x="954" y="384"/>
                    </a:lnTo>
                    <a:lnTo>
                      <a:pt x="948" y="378"/>
                    </a:lnTo>
                    <a:lnTo>
                      <a:pt x="936" y="372"/>
                    </a:lnTo>
                    <a:lnTo>
                      <a:pt x="900" y="372"/>
                    </a:lnTo>
                    <a:lnTo>
                      <a:pt x="894" y="336"/>
                    </a:lnTo>
                    <a:lnTo>
                      <a:pt x="876" y="336"/>
                    </a:lnTo>
                    <a:lnTo>
                      <a:pt x="864" y="318"/>
                    </a:lnTo>
                    <a:lnTo>
                      <a:pt x="846" y="318"/>
                    </a:lnTo>
                    <a:lnTo>
                      <a:pt x="846" y="306"/>
                    </a:lnTo>
                    <a:lnTo>
                      <a:pt x="852" y="294"/>
                    </a:lnTo>
                    <a:lnTo>
                      <a:pt x="852" y="288"/>
                    </a:lnTo>
                    <a:lnTo>
                      <a:pt x="846" y="288"/>
                    </a:lnTo>
                    <a:lnTo>
                      <a:pt x="834" y="276"/>
                    </a:lnTo>
                    <a:lnTo>
                      <a:pt x="834" y="270"/>
                    </a:lnTo>
                    <a:lnTo>
                      <a:pt x="840" y="264"/>
                    </a:lnTo>
                    <a:lnTo>
                      <a:pt x="846" y="252"/>
                    </a:lnTo>
                    <a:lnTo>
                      <a:pt x="852" y="246"/>
                    </a:lnTo>
                    <a:lnTo>
                      <a:pt x="822" y="240"/>
                    </a:lnTo>
                    <a:lnTo>
                      <a:pt x="828" y="228"/>
                    </a:lnTo>
                    <a:lnTo>
                      <a:pt x="804" y="210"/>
                    </a:lnTo>
                    <a:lnTo>
                      <a:pt x="804" y="204"/>
                    </a:lnTo>
                    <a:lnTo>
                      <a:pt x="810" y="192"/>
                    </a:lnTo>
                    <a:lnTo>
                      <a:pt x="834" y="180"/>
                    </a:lnTo>
                    <a:lnTo>
                      <a:pt x="876" y="180"/>
                    </a:lnTo>
                    <a:lnTo>
                      <a:pt x="894" y="186"/>
                    </a:lnTo>
                    <a:lnTo>
                      <a:pt x="912" y="186"/>
                    </a:lnTo>
                    <a:lnTo>
                      <a:pt x="918" y="192"/>
                    </a:lnTo>
                    <a:lnTo>
                      <a:pt x="918" y="204"/>
                    </a:lnTo>
                    <a:lnTo>
                      <a:pt x="930" y="204"/>
                    </a:lnTo>
                    <a:lnTo>
                      <a:pt x="942" y="198"/>
                    </a:lnTo>
                    <a:lnTo>
                      <a:pt x="948" y="192"/>
                    </a:lnTo>
                    <a:lnTo>
                      <a:pt x="960" y="186"/>
                    </a:lnTo>
                    <a:lnTo>
                      <a:pt x="966" y="180"/>
                    </a:lnTo>
                    <a:lnTo>
                      <a:pt x="972" y="186"/>
                    </a:lnTo>
                    <a:lnTo>
                      <a:pt x="978" y="180"/>
                    </a:lnTo>
                    <a:lnTo>
                      <a:pt x="1002" y="180"/>
                    </a:lnTo>
                    <a:lnTo>
                      <a:pt x="1002" y="162"/>
                    </a:lnTo>
                    <a:lnTo>
                      <a:pt x="1026" y="156"/>
                    </a:lnTo>
                    <a:lnTo>
                      <a:pt x="1050" y="120"/>
                    </a:lnTo>
                    <a:lnTo>
                      <a:pt x="1008" y="12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16" name="Oman"/>
              <p:cNvSpPr>
                <a:spLocks/>
              </p:cNvSpPr>
              <p:nvPr/>
            </p:nvSpPr>
            <p:spPr bwMode="gray">
              <a:xfrm>
                <a:off x="5686433" y="3265491"/>
                <a:ext cx="217488" cy="269875"/>
              </a:xfrm>
              <a:custGeom>
                <a:avLst/>
                <a:gdLst>
                  <a:gd name="T0" fmla="*/ 2147483647 w 540"/>
                  <a:gd name="T1" fmla="*/ 2147483647 h 672"/>
                  <a:gd name="T2" fmla="*/ 2147483647 w 540"/>
                  <a:gd name="T3" fmla="*/ 2147483647 h 672"/>
                  <a:gd name="T4" fmla="*/ 2147483647 w 540"/>
                  <a:gd name="T5" fmla="*/ 2147483647 h 672"/>
                  <a:gd name="T6" fmla="*/ 2147483647 w 540"/>
                  <a:gd name="T7" fmla="*/ 2147483647 h 672"/>
                  <a:gd name="T8" fmla="*/ 2147483647 w 540"/>
                  <a:gd name="T9" fmla="*/ 2147483647 h 672"/>
                  <a:gd name="T10" fmla="*/ 2147483647 w 540"/>
                  <a:gd name="T11" fmla="*/ 2147483647 h 672"/>
                  <a:gd name="T12" fmla="*/ 2147483647 w 540"/>
                  <a:gd name="T13" fmla="*/ 2147483647 h 672"/>
                  <a:gd name="T14" fmla="*/ 2147483647 w 540"/>
                  <a:gd name="T15" fmla="*/ 2147483647 h 672"/>
                  <a:gd name="T16" fmla="*/ 2147483647 w 540"/>
                  <a:gd name="T17" fmla="*/ 2147483647 h 672"/>
                  <a:gd name="T18" fmla="*/ 2147483647 w 540"/>
                  <a:gd name="T19" fmla="*/ 2147483647 h 672"/>
                  <a:gd name="T20" fmla="*/ 2147483647 w 540"/>
                  <a:gd name="T21" fmla="*/ 2147483647 h 672"/>
                  <a:gd name="T22" fmla="*/ 2147483647 w 540"/>
                  <a:gd name="T23" fmla="*/ 2147483647 h 672"/>
                  <a:gd name="T24" fmla="*/ 2147483647 w 540"/>
                  <a:gd name="T25" fmla="*/ 2147483647 h 672"/>
                  <a:gd name="T26" fmla="*/ 2147483647 w 540"/>
                  <a:gd name="T27" fmla="*/ 2147483647 h 672"/>
                  <a:gd name="T28" fmla="*/ 2147483647 w 540"/>
                  <a:gd name="T29" fmla="*/ 2147483647 h 672"/>
                  <a:gd name="T30" fmla="*/ 2147483647 w 540"/>
                  <a:gd name="T31" fmla="*/ 2147483647 h 672"/>
                  <a:gd name="T32" fmla="*/ 2147483647 w 540"/>
                  <a:gd name="T33" fmla="*/ 2147483647 h 672"/>
                  <a:gd name="T34" fmla="*/ 2147483647 w 540"/>
                  <a:gd name="T35" fmla="*/ 2147483647 h 672"/>
                  <a:gd name="T36" fmla="*/ 2147483647 w 540"/>
                  <a:gd name="T37" fmla="*/ 2147483647 h 672"/>
                  <a:gd name="T38" fmla="*/ 2147483647 w 540"/>
                  <a:gd name="T39" fmla="*/ 2147483647 h 672"/>
                  <a:gd name="T40" fmla="*/ 2147483647 w 540"/>
                  <a:gd name="T41" fmla="*/ 2147483647 h 672"/>
                  <a:gd name="T42" fmla="*/ 2147483647 w 540"/>
                  <a:gd name="T43" fmla="*/ 2147483647 h 672"/>
                  <a:gd name="T44" fmla="*/ 2147483647 w 540"/>
                  <a:gd name="T45" fmla="*/ 2147483647 h 672"/>
                  <a:gd name="T46" fmla="*/ 2147483647 w 540"/>
                  <a:gd name="T47" fmla="*/ 2147483647 h 672"/>
                  <a:gd name="T48" fmla="*/ 2147483647 w 540"/>
                  <a:gd name="T49" fmla="*/ 2147483647 h 672"/>
                  <a:gd name="T50" fmla="*/ 2147483647 w 540"/>
                  <a:gd name="T51" fmla="*/ 0 h 672"/>
                  <a:gd name="T52" fmla="*/ 2147483647 w 540"/>
                  <a:gd name="T53" fmla="*/ 2147483647 h 672"/>
                  <a:gd name="T54" fmla="*/ 2147483647 w 540"/>
                  <a:gd name="T55" fmla="*/ 2147483647 h 672"/>
                  <a:gd name="T56" fmla="*/ 2147483647 w 540"/>
                  <a:gd name="T57" fmla="*/ 2147483647 h 672"/>
                  <a:gd name="T58" fmla="*/ 2147483647 w 540"/>
                  <a:gd name="T59" fmla="*/ 2147483647 h 672"/>
                  <a:gd name="T60" fmla="*/ 2147483647 w 540"/>
                  <a:gd name="T61" fmla="*/ 2147483647 h 672"/>
                  <a:gd name="T62" fmla="*/ 2147483647 w 540"/>
                  <a:gd name="T63" fmla="*/ 2147483647 h 672"/>
                  <a:gd name="T64" fmla="*/ 2147483647 w 540"/>
                  <a:gd name="T65" fmla="*/ 2147483647 h 672"/>
                  <a:gd name="T66" fmla="*/ 2147483647 w 540"/>
                  <a:gd name="T67" fmla="*/ 2147483647 h 672"/>
                  <a:gd name="T68" fmla="*/ 2147483647 w 540"/>
                  <a:gd name="T69" fmla="*/ 2147483647 h 672"/>
                  <a:gd name="T70" fmla="*/ 2147483647 w 540"/>
                  <a:gd name="T71" fmla="*/ 2147483647 h 672"/>
                  <a:gd name="T72" fmla="*/ 2147483647 w 540"/>
                  <a:gd name="T73" fmla="*/ 2147483647 h 672"/>
                  <a:gd name="T74" fmla="*/ 2147483647 w 540"/>
                  <a:gd name="T75" fmla="*/ 2147483647 h 672"/>
                  <a:gd name="T76" fmla="*/ 2147483647 w 540"/>
                  <a:gd name="T77" fmla="*/ 2147483647 h 672"/>
                  <a:gd name="T78" fmla="*/ 2147483647 w 540"/>
                  <a:gd name="T79" fmla="*/ 2147483647 h 672"/>
                  <a:gd name="T80" fmla="*/ 2147483647 w 540"/>
                  <a:gd name="T81" fmla="*/ 2147483647 h 672"/>
                  <a:gd name="T82" fmla="*/ 2147483647 w 540"/>
                  <a:gd name="T83" fmla="*/ 2147483647 h 672"/>
                  <a:gd name="T84" fmla="*/ 2147483647 w 540"/>
                  <a:gd name="T85" fmla="*/ 2147483647 h 672"/>
                  <a:gd name="T86" fmla="*/ 2147483647 w 540"/>
                  <a:gd name="T87" fmla="*/ 2147483647 h 672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540"/>
                  <a:gd name="T133" fmla="*/ 0 h 672"/>
                  <a:gd name="T134" fmla="*/ 540 w 540"/>
                  <a:gd name="T135" fmla="*/ 672 h 672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540" h="672">
                    <a:moveTo>
                      <a:pt x="258" y="564"/>
                    </a:moveTo>
                    <a:lnTo>
                      <a:pt x="276" y="564"/>
                    </a:lnTo>
                    <a:lnTo>
                      <a:pt x="288" y="558"/>
                    </a:lnTo>
                    <a:lnTo>
                      <a:pt x="306" y="552"/>
                    </a:lnTo>
                    <a:lnTo>
                      <a:pt x="330" y="540"/>
                    </a:lnTo>
                    <a:lnTo>
                      <a:pt x="336" y="528"/>
                    </a:lnTo>
                    <a:lnTo>
                      <a:pt x="342" y="510"/>
                    </a:lnTo>
                    <a:lnTo>
                      <a:pt x="342" y="498"/>
                    </a:lnTo>
                    <a:lnTo>
                      <a:pt x="348" y="498"/>
                    </a:lnTo>
                    <a:lnTo>
                      <a:pt x="354" y="492"/>
                    </a:lnTo>
                    <a:lnTo>
                      <a:pt x="366" y="486"/>
                    </a:lnTo>
                    <a:lnTo>
                      <a:pt x="384" y="480"/>
                    </a:lnTo>
                    <a:lnTo>
                      <a:pt x="408" y="456"/>
                    </a:lnTo>
                    <a:lnTo>
                      <a:pt x="414" y="444"/>
                    </a:lnTo>
                    <a:lnTo>
                      <a:pt x="414" y="426"/>
                    </a:lnTo>
                    <a:lnTo>
                      <a:pt x="420" y="408"/>
                    </a:lnTo>
                    <a:lnTo>
                      <a:pt x="420" y="378"/>
                    </a:lnTo>
                    <a:lnTo>
                      <a:pt x="426" y="372"/>
                    </a:lnTo>
                    <a:lnTo>
                      <a:pt x="432" y="372"/>
                    </a:lnTo>
                    <a:lnTo>
                      <a:pt x="444" y="378"/>
                    </a:lnTo>
                    <a:lnTo>
                      <a:pt x="450" y="384"/>
                    </a:lnTo>
                    <a:lnTo>
                      <a:pt x="462" y="384"/>
                    </a:lnTo>
                    <a:lnTo>
                      <a:pt x="468" y="378"/>
                    </a:lnTo>
                    <a:lnTo>
                      <a:pt x="480" y="354"/>
                    </a:lnTo>
                    <a:lnTo>
                      <a:pt x="480" y="330"/>
                    </a:lnTo>
                    <a:lnTo>
                      <a:pt x="534" y="276"/>
                    </a:lnTo>
                    <a:lnTo>
                      <a:pt x="534" y="264"/>
                    </a:lnTo>
                    <a:lnTo>
                      <a:pt x="540" y="252"/>
                    </a:lnTo>
                    <a:lnTo>
                      <a:pt x="540" y="204"/>
                    </a:lnTo>
                    <a:lnTo>
                      <a:pt x="528" y="192"/>
                    </a:lnTo>
                    <a:lnTo>
                      <a:pt x="510" y="192"/>
                    </a:lnTo>
                    <a:lnTo>
                      <a:pt x="510" y="186"/>
                    </a:lnTo>
                    <a:lnTo>
                      <a:pt x="492" y="168"/>
                    </a:lnTo>
                    <a:lnTo>
                      <a:pt x="486" y="150"/>
                    </a:lnTo>
                    <a:lnTo>
                      <a:pt x="462" y="126"/>
                    </a:lnTo>
                    <a:lnTo>
                      <a:pt x="456" y="114"/>
                    </a:lnTo>
                    <a:lnTo>
                      <a:pt x="432" y="96"/>
                    </a:lnTo>
                    <a:lnTo>
                      <a:pt x="396" y="84"/>
                    </a:lnTo>
                    <a:lnTo>
                      <a:pt x="366" y="78"/>
                    </a:lnTo>
                    <a:lnTo>
                      <a:pt x="348" y="78"/>
                    </a:lnTo>
                    <a:lnTo>
                      <a:pt x="342" y="72"/>
                    </a:lnTo>
                    <a:lnTo>
                      <a:pt x="330" y="72"/>
                    </a:lnTo>
                    <a:lnTo>
                      <a:pt x="318" y="60"/>
                    </a:lnTo>
                    <a:lnTo>
                      <a:pt x="294" y="48"/>
                    </a:lnTo>
                    <a:lnTo>
                      <a:pt x="288" y="36"/>
                    </a:lnTo>
                    <a:lnTo>
                      <a:pt x="288" y="30"/>
                    </a:lnTo>
                    <a:lnTo>
                      <a:pt x="282" y="18"/>
                    </a:lnTo>
                    <a:lnTo>
                      <a:pt x="276" y="12"/>
                    </a:lnTo>
                    <a:lnTo>
                      <a:pt x="252" y="18"/>
                    </a:lnTo>
                    <a:lnTo>
                      <a:pt x="246" y="6"/>
                    </a:lnTo>
                    <a:lnTo>
                      <a:pt x="246" y="0"/>
                    </a:lnTo>
                    <a:lnTo>
                      <a:pt x="240" y="0"/>
                    </a:lnTo>
                    <a:lnTo>
                      <a:pt x="234" y="6"/>
                    </a:lnTo>
                    <a:lnTo>
                      <a:pt x="234" y="12"/>
                    </a:lnTo>
                    <a:lnTo>
                      <a:pt x="228" y="24"/>
                    </a:lnTo>
                    <a:lnTo>
                      <a:pt x="228" y="54"/>
                    </a:lnTo>
                    <a:lnTo>
                      <a:pt x="246" y="72"/>
                    </a:lnTo>
                    <a:lnTo>
                      <a:pt x="246" y="78"/>
                    </a:lnTo>
                    <a:lnTo>
                      <a:pt x="240" y="78"/>
                    </a:lnTo>
                    <a:lnTo>
                      <a:pt x="240" y="72"/>
                    </a:lnTo>
                    <a:lnTo>
                      <a:pt x="228" y="72"/>
                    </a:lnTo>
                    <a:lnTo>
                      <a:pt x="228" y="78"/>
                    </a:lnTo>
                    <a:lnTo>
                      <a:pt x="222" y="84"/>
                    </a:lnTo>
                    <a:lnTo>
                      <a:pt x="222" y="96"/>
                    </a:lnTo>
                    <a:lnTo>
                      <a:pt x="216" y="108"/>
                    </a:lnTo>
                    <a:lnTo>
                      <a:pt x="216" y="120"/>
                    </a:lnTo>
                    <a:lnTo>
                      <a:pt x="210" y="132"/>
                    </a:lnTo>
                    <a:lnTo>
                      <a:pt x="204" y="138"/>
                    </a:lnTo>
                    <a:lnTo>
                      <a:pt x="198" y="150"/>
                    </a:lnTo>
                    <a:lnTo>
                      <a:pt x="192" y="156"/>
                    </a:lnTo>
                    <a:lnTo>
                      <a:pt x="192" y="168"/>
                    </a:lnTo>
                    <a:lnTo>
                      <a:pt x="210" y="204"/>
                    </a:lnTo>
                    <a:lnTo>
                      <a:pt x="216" y="210"/>
                    </a:lnTo>
                    <a:lnTo>
                      <a:pt x="216" y="222"/>
                    </a:lnTo>
                    <a:lnTo>
                      <a:pt x="222" y="228"/>
                    </a:lnTo>
                    <a:lnTo>
                      <a:pt x="234" y="234"/>
                    </a:lnTo>
                    <a:lnTo>
                      <a:pt x="240" y="240"/>
                    </a:lnTo>
                    <a:lnTo>
                      <a:pt x="204" y="414"/>
                    </a:lnTo>
                    <a:lnTo>
                      <a:pt x="0" y="486"/>
                    </a:lnTo>
                    <a:lnTo>
                      <a:pt x="84" y="672"/>
                    </a:lnTo>
                    <a:lnTo>
                      <a:pt x="114" y="660"/>
                    </a:lnTo>
                    <a:lnTo>
                      <a:pt x="198" y="636"/>
                    </a:lnTo>
                    <a:lnTo>
                      <a:pt x="228" y="624"/>
                    </a:lnTo>
                    <a:lnTo>
                      <a:pt x="246" y="618"/>
                    </a:lnTo>
                    <a:lnTo>
                      <a:pt x="252" y="606"/>
                    </a:lnTo>
                    <a:lnTo>
                      <a:pt x="252" y="594"/>
                    </a:lnTo>
                    <a:lnTo>
                      <a:pt x="258" y="582"/>
                    </a:lnTo>
                    <a:lnTo>
                      <a:pt x="258" y="564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17" name="Nigeria"/>
              <p:cNvSpPr>
                <a:spLocks/>
              </p:cNvSpPr>
              <p:nvPr/>
            </p:nvSpPr>
            <p:spPr bwMode="gray">
              <a:xfrm>
                <a:off x="4294195" y="3627441"/>
                <a:ext cx="336551" cy="309563"/>
              </a:xfrm>
              <a:custGeom>
                <a:avLst/>
                <a:gdLst>
                  <a:gd name="T0" fmla="*/ 2147483647 w 840"/>
                  <a:gd name="T1" fmla="*/ 2147483647 h 768"/>
                  <a:gd name="T2" fmla="*/ 2147483647 w 840"/>
                  <a:gd name="T3" fmla="*/ 2147483647 h 768"/>
                  <a:gd name="T4" fmla="*/ 2147483647 w 840"/>
                  <a:gd name="T5" fmla="*/ 2147483647 h 768"/>
                  <a:gd name="T6" fmla="*/ 2147483647 w 840"/>
                  <a:gd name="T7" fmla="*/ 2147483647 h 768"/>
                  <a:gd name="T8" fmla="*/ 2147483647 w 840"/>
                  <a:gd name="T9" fmla="*/ 2147483647 h 768"/>
                  <a:gd name="T10" fmla="*/ 2147483647 w 840"/>
                  <a:gd name="T11" fmla="*/ 2147483647 h 768"/>
                  <a:gd name="T12" fmla="*/ 2147483647 w 840"/>
                  <a:gd name="T13" fmla="*/ 2147483647 h 768"/>
                  <a:gd name="T14" fmla="*/ 2147483647 w 840"/>
                  <a:gd name="T15" fmla="*/ 2147483647 h 768"/>
                  <a:gd name="T16" fmla="*/ 2147483647 w 840"/>
                  <a:gd name="T17" fmla="*/ 2147483647 h 768"/>
                  <a:gd name="T18" fmla="*/ 2147483647 w 840"/>
                  <a:gd name="T19" fmla="*/ 2147483647 h 768"/>
                  <a:gd name="T20" fmla="*/ 2147483647 w 840"/>
                  <a:gd name="T21" fmla="*/ 2147483647 h 768"/>
                  <a:gd name="T22" fmla="*/ 2147483647 w 840"/>
                  <a:gd name="T23" fmla="*/ 2147483647 h 768"/>
                  <a:gd name="T24" fmla="*/ 2147483647 w 840"/>
                  <a:gd name="T25" fmla="*/ 2147483647 h 768"/>
                  <a:gd name="T26" fmla="*/ 2147483647 w 840"/>
                  <a:gd name="T27" fmla="*/ 2147483647 h 768"/>
                  <a:gd name="T28" fmla="*/ 2147483647 w 840"/>
                  <a:gd name="T29" fmla="*/ 2147483647 h 768"/>
                  <a:gd name="T30" fmla="*/ 2147483647 w 840"/>
                  <a:gd name="T31" fmla="*/ 2147483647 h 768"/>
                  <a:gd name="T32" fmla="*/ 2147483647 w 840"/>
                  <a:gd name="T33" fmla="*/ 2147483647 h 768"/>
                  <a:gd name="T34" fmla="*/ 2147483647 w 840"/>
                  <a:gd name="T35" fmla="*/ 2147483647 h 768"/>
                  <a:gd name="T36" fmla="*/ 2147483647 w 840"/>
                  <a:gd name="T37" fmla="*/ 2147483647 h 768"/>
                  <a:gd name="T38" fmla="*/ 2147483647 w 840"/>
                  <a:gd name="T39" fmla="*/ 2147483647 h 768"/>
                  <a:gd name="T40" fmla="*/ 2147483647 w 840"/>
                  <a:gd name="T41" fmla="*/ 2147483647 h 768"/>
                  <a:gd name="T42" fmla="*/ 2147483647 w 840"/>
                  <a:gd name="T43" fmla="*/ 2147483647 h 768"/>
                  <a:gd name="T44" fmla="*/ 2147483647 w 840"/>
                  <a:gd name="T45" fmla="*/ 2147483647 h 768"/>
                  <a:gd name="T46" fmla="*/ 2147483647 w 840"/>
                  <a:gd name="T47" fmla="*/ 2147483647 h 768"/>
                  <a:gd name="T48" fmla="*/ 2147483647 w 840"/>
                  <a:gd name="T49" fmla="*/ 2147483647 h 768"/>
                  <a:gd name="T50" fmla="*/ 2147483647 w 840"/>
                  <a:gd name="T51" fmla="*/ 2147483647 h 768"/>
                  <a:gd name="T52" fmla="*/ 2147483647 w 840"/>
                  <a:gd name="T53" fmla="*/ 2147483647 h 768"/>
                  <a:gd name="T54" fmla="*/ 2147483647 w 840"/>
                  <a:gd name="T55" fmla="*/ 2147483647 h 768"/>
                  <a:gd name="T56" fmla="*/ 2147483647 w 840"/>
                  <a:gd name="T57" fmla="*/ 2147483647 h 768"/>
                  <a:gd name="T58" fmla="*/ 2147483647 w 840"/>
                  <a:gd name="T59" fmla="*/ 2147483647 h 768"/>
                  <a:gd name="T60" fmla="*/ 2147483647 w 840"/>
                  <a:gd name="T61" fmla="*/ 2147483647 h 768"/>
                  <a:gd name="T62" fmla="*/ 2147483647 w 840"/>
                  <a:gd name="T63" fmla="*/ 2147483647 h 768"/>
                  <a:gd name="T64" fmla="*/ 2147483647 w 840"/>
                  <a:gd name="T65" fmla="*/ 2147483647 h 768"/>
                  <a:gd name="T66" fmla="*/ 2147483647 w 840"/>
                  <a:gd name="T67" fmla="*/ 2147483647 h 768"/>
                  <a:gd name="T68" fmla="*/ 2147483647 w 840"/>
                  <a:gd name="T69" fmla="*/ 2147483647 h 768"/>
                  <a:gd name="T70" fmla="*/ 2147483647 w 840"/>
                  <a:gd name="T71" fmla="*/ 2147483647 h 768"/>
                  <a:gd name="T72" fmla="*/ 2147483647 w 840"/>
                  <a:gd name="T73" fmla="*/ 2147483647 h 768"/>
                  <a:gd name="T74" fmla="*/ 2147483647 w 840"/>
                  <a:gd name="T75" fmla="*/ 2147483647 h 768"/>
                  <a:gd name="T76" fmla="*/ 2147483647 w 840"/>
                  <a:gd name="T77" fmla="*/ 2147483647 h 768"/>
                  <a:gd name="T78" fmla="*/ 2147483647 w 840"/>
                  <a:gd name="T79" fmla="*/ 2147483647 h 768"/>
                  <a:gd name="T80" fmla="*/ 2147483647 w 840"/>
                  <a:gd name="T81" fmla="*/ 2147483647 h 768"/>
                  <a:gd name="T82" fmla="*/ 2147483647 w 840"/>
                  <a:gd name="T83" fmla="*/ 2147483647 h 768"/>
                  <a:gd name="T84" fmla="*/ 2147483647 w 840"/>
                  <a:gd name="T85" fmla="*/ 2147483647 h 768"/>
                  <a:gd name="T86" fmla="*/ 2147483647 w 840"/>
                  <a:gd name="T87" fmla="*/ 2147483647 h 768"/>
                  <a:gd name="T88" fmla="*/ 2147483647 w 840"/>
                  <a:gd name="T89" fmla="*/ 2147483647 h 768"/>
                  <a:gd name="T90" fmla="*/ 2147483647 w 840"/>
                  <a:gd name="T91" fmla="*/ 2147483647 h 768"/>
                  <a:gd name="T92" fmla="*/ 2147483647 w 840"/>
                  <a:gd name="T93" fmla="*/ 2147483647 h 768"/>
                  <a:gd name="T94" fmla="*/ 2147483647 w 840"/>
                  <a:gd name="T95" fmla="*/ 2147483647 h 768"/>
                  <a:gd name="T96" fmla="*/ 2147483647 w 840"/>
                  <a:gd name="T97" fmla="*/ 2147483647 h 768"/>
                  <a:gd name="T98" fmla="*/ 2147483647 w 840"/>
                  <a:gd name="T99" fmla="*/ 2147483647 h 768"/>
                  <a:gd name="T100" fmla="*/ 2147483647 w 840"/>
                  <a:gd name="T101" fmla="*/ 2147483647 h 768"/>
                  <a:gd name="T102" fmla="*/ 2147483647 w 840"/>
                  <a:gd name="T103" fmla="*/ 2147483647 h 768"/>
                  <a:gd name="T104" fmla="*/ 2147483647 w 840"/>
                  <a:gd name="T105" fmla="*/ 2147483647 h 768"/>
                  <a:gd name="T106" fmla="*/ 2147483647 w 840"/>
                  <a:gd name="T107" fmla="*/ 2147483647 h 768"/>
                  <a:gd name="T108" fmla="*/ 2147483647 w 840"/>
                  <a:gd name="T109" fmla="*/ 2147483647 h 768"/>
                  <a:gd name="T110" fmla="*/ 2147483647 w 840"/>
                  <a:gd name="T111" fmla="*/ 2147483647 h 768"/>
                  <a:gd name="T112" fmla="*/ 2147483647 w 840"/>
                  <a:gd name="T113" fmla="*/ 2147483647 h 768"/>
                  <a:gd name="T114" fmla="*/ 2147483647 w 840"/>
                  <a:gd name="T115" fmla="*/ 2147483647 h 768"/>
                  <a:gd name="T116" fmla="*/ 2147483647 w 840"/>
                  <a:gd name="T117" fmla="*/ 2147483647 h 768"/>
                  <a:gd name="T118" fmla="*/ 2147483647 w 840"/>
                  <a:gd name="T119" fmla="*/ 2147483647 h 76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840"/>
                  <a:gd name="T181" fmla="*/ 0 h 768"/>
                  <a:gd name="T182" fmla="*/ 840 w 840"/>
                  <a:gd name="T183" fmla="*/ 768 h 76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840" h="768">
                    <a:moveTo>
                      <a:pt x="420" y="738"/>
                    </a:moveTo>
                    <a:lnTo>
                      <a:pt x="420" y="732"/>
                    </a:lnTo>
                    <a:lnTo>
                      <a:pt x="426" y="726"/>
                    </a:lnTo>
                    <a:lnTo>
                      <a:pt x="426" y="714"/>
                    </a:lnTo>
                    <a:lnTo>
                      <a:pt x="432" y="702"/>
                    </a:lnTo>
                    <a:lnTo>
                      <a:pt x="432" y="648"/>
                    </a:lnTo>
                    <a:lnTo>
                      <a:pt x="498" y="594"/>
                    </a:lnTo>
                    <a:lnTo>
                      <a:pt x="498" y="588"/>
                    </a:lnTo>
                    <a:lnTo>
                      <a:pt x="504" y="582"/>
                    </a:lnTo>
                    <a:lnTo>
                      <a:pt x="516" y="558"/>
                    </a:lnTo>
                    <a:lnTo>
                      <a:pt x="522" y="552"/>
                    </a:lnTo>
                    <a:lnTo>
                      <a:pt x="528" y="552"/>
                    </a:lnTo>
                    <a:lnTo>
                      <a:pt x="534" y="558"/>
                    </a:lnTo>
                    <a:lnTo>
                      <a:pt x="546" y="564"/>
                    </a:lnTo>
                    <a:lnTo>
                      <a:pt x="552" y="564"/>
                    </a:lnTo>
                    <a:lnTo>
                      <a:pt x="558" y="558"/>
                    </a:lnTo>
                    <a:lnTo>
                      <a:pt x="558" y="546"/>
                    </a:lnTo>
                    <a:lnTo>
                      <a:pt x="552" y="540"/>
                    </a:lnTo>
                    <a:lnTo>
                      <a:pt x="564" y="540"/>
                    </a:lnTo>
                    <a:lnTo>
                      <a:pt x="570" y="552"/>
                    </a:lnTo>
                    <a:lnTo>
                      <a:pt x="582" y="564"/>
                    </a:lnTo>
                    <a:lnTo>
                      <a:pt x="588" y="576"/>
                    </a:lnTo>
                    <a:lnTo>
                      <a:pt x="588" y="582"/>
                    </a:lnTo>
                    <a:lnTo>
                      <a:pt x="594" y="594"/>
                    </a:lnTo>
                    <a:lnTo>
                      <a:pt x="600" y="600"/>
                    </a:lnTo>
                    <a:lnTo>
                      <a:pt x="606" y="600"/>
                    </a:lnTo>
                    <a:lnTo>
                      <a:pt x="624" y="582"/>
                    </a:lnTo>
                    <a:lnTo>
                      <a:pt x="624" y="570"/>
                    </a:lnTo>
                    <a:lnTo>
                      <a:pt x="630" y="558"/>
                    </a:lnTo>
                    <a:lnTo>
                      <a:pt x="642" y="552"/>
                    </a:lnTo>
                    <a:lnTo>
                      <a:pt x="648" y="546"/>
                    </a:lnTo>
                    <a:lnTo>
                      <a:pt x="648" y="516"/>
                    </a:lnTo>
                    <a:lnTo>
                      <a:pt x="672" y="486"/>
                    </a:lnTo>
                    <a:lnTo>
                      <a:pt x="684" y="438"/>
                    </a:lnTo>
                    <a:lnTo>
                      <a:pt x="696" y="432"/>
                    </a:lnTo>
                    <a:lnTo>
                      <a:pt x="702" y="426"/>
                    </a:lnTo>
                    <a:lnTo>
                      <a:pt x="714" y="420"/>
                    </a:lnTo>
                    <a:lnTo>
                      <a:pt x="720" y="414"/>
                    </a:lnTo>
                    <a:lnTo>
                      <a:pt x="720" y="402"/>
                    </a:lnTo>
                    <a:lnTo>
                      <a:pt x="726" y="384"/>
                    </a:lnTo>
                    <a:lnTo>
                      <a:pt x="726" y="354"/>
                    </a:lnTo>
                    <a:lnTo>
                      <a:pt x="744" y="354"/>
                    </a:lnTo>
                    <a:lnTo>
                      <a:pt x="750" y="348"/>
                    </a:lnTo>
                    <a:lnTo>
                      <a:pt x="756" y="330"/>
                    </a:lnTo>
                    <a:lnTo>
                      <a:pt x="756" y="300"/>
                    </a:lnTo>
                    <a:lnTo>
                      <a:pt x="762" y="294"/>
                    </a:lnTo>
                    <a:lnTo>
                      <a:pt x="768" y="264"/>
                    </a:lnTo>
                    <a:lnTo>
                      <a:pt x="774" y="252"/>
                    </a:lnTo>
                    <a:lnTo>
                      <a:pt x="786" y="240"/>
                    </a:lnTo>
                    <a:lnTo>
                      <a:pt x="786" y="234"/>
                    </a:lnTo>
                    <a:lnTo>
                      <a:pt x="792" y="228"/>
                    </a:lnTo>
                    <a:lnTo>
                      <a:pt x="792" y="222"/>
                    </a:lnTo>
                    <a:lnTo>
                      <a:pt x="798" y="216"/>
                    </a:lnTo>
                    <a:lnTo>
                      <a:pt x="798" y="210"/>
                    </a:lnTo>
                    <a:lnTo>
                      <a:pt x="810" y="210"/>
                    </a:lnTo>
                    <a:lnTo>
                      <a:pt x="822" y="204"/>
                    </a:lnTo>
                    <a:lnTo>
                      <a:pt x="840" y="186"/>
                    </a:lnTo>
                    <a:lnTo>
                      <a:pt x="840" y="174"/>
                    </a:lnTo>
                    <a:lnTo>
                      <a:pt x="834" y="168"/>
                    </a:lnTo>
                    <a:lnTo>
                      <a:pt x="834" y="162"/>
                    </a:lnTo>
                    <a:lnTo>
                      <a:pt x="840" y="156"/>
                    </a:lnTo>
                    <a:lnTo>
                      <a:pt x="840" y="126"/>
                    </a:lnTo>
                    <a:lnTo>
                      <a:pt x="810" y="126"/>
                    </a:lnTo>
                    <a:lnTo>
                      <a:pt x="810" y="120"/>
                    </a:lnTo>
                    <a:lnTo>
                      <a:pt x="804" y="108"/>
                    </a:lnTo>
                    <a:lnTo>
                      <a:pt x="804" y="60"/>
                    </a:lnTo>
                    <a:lnTo>
                      <a:pt x="774" y="12"/>
                    </a:lnTo>
                    <a:lnTo>
                      <a:pt x="756" y="12"/>
                    </a:lnTo>
                    <a:lnTo>
                      <a:pt x="750" y="18"/>
                    </a:lnTo>
                    <a:lnTo>
                      <a:pt x="750" y="24"/>
                    </a:lnTo>
                    <a:lnTo>
                      <a:pt x="744" y="30"/>
                    </a:lnTo>
                    <a:lnTo>
                      <a:pt x="744" y="36"/>
                    </a:lnTo>
                    <a:lnTo>
                      <a:pt x="720" y="36"/>
                    </a:lnTo>
                    <a:lnTo>
                      <a:pt x="714" y="42"/>
                    </a:lnTo>
                    <a:lnTo>
                      <a:pt x="702" y="48"/>
                    </a:lnTo>
                    <a:lnTo>
                      <a:pt x="696" y="54"/>
                    </a:lnTo>
                    <a:lnTo>
                      <a:pt x="684" y="60"/>
                    </a:lnTo>
                    <a:lnTo>
                      <a:pt x="654" y="60"/>
                    </a:lnTo>
                    <a:lnTo>
                      <a:pt x="648" y="54"/>
                    </a:lnTo>
                    <a:lnTo>
                      <a:pt x="636" y="48"/>
                    </a:lnTo>
                    <a:lnTo>
                      <a:pt x="600" y="36"/>
                    </a:lnTo>
                    <a:lnTo>
                      <a:pt x="546" y="36"/>
                    </a:lnTo>
                    <a:lnTo>
                      <a:pt x="528" y="42"/>
                    </a:lnTo>
                    <a:lnTo>
                      <a:pt x="516" y="54"/>
                    </a:lnTo>
                    <a:lnTo>
                      <a:pt x="504" y="60"/>
                    </a:lnTo>
                    <a:lnTo>
                      <a:pt x="492" y="84"/>
                    </a:lnTo>
                    <a:lnTo>
                      <a:pt x="486" y="90"/>
                    </a:lnTo>
                    <a:lnTo>
                      <a:pt x="480" y="90"/>
                    </a:lnTo>
                    <a:lnTo>
                      <a:pt x="468" y="84"/>
                    </a:lnTo>
                    <a:lnTo>
                      <a:pt x="438" y="84"/>
                    </a:lnTo>
                    <a:lnTo>
                      <a:pt x="414" y="72"/>
                    </a:lnTo>
                    <a:lnTo>
                      <a:pt x="402" y="60"/>
                    </a:lnTo>
                    <a:lnTo>
                      <a:pt x="390" y="54"/>
                    </a:lnTo>
                    <a:lnTo>
                      <a:pt x="384" y="48"/>
                    </a:lnTo>
                    <a:lnTo>
                      <a:pt x="372" y="42"/>
                    </a:lnTo>
                    <a:lnTo>
                      <a:pt x="360" y="42"/>
                    </a:lnTo>
                    <a:lnTo>
                      <a:pt x="336" y="54"/>
                    </a:lnTo>
                    <a:lnTo>
                      <a:pt x="324" y="66"/>
                    </a:lnTo>
                    <a:lnTo>
                      <a:pt x="312" y="72"/>
                    </a:lnTo>
                    <a:lnTo>
                      <a:pt x="306" y="72"/>
                    </a:lnTo>
                    <a:lnTo>
                      <a:pt x="294" y="66"/>
                    </a:lnTo>
                    <a:lnTo>
                      <a:pt x="288" y="60"/>
                    </a:lnTo>
                    <a:lnTo>
                      <a:pt x="288" y="54"/>
                    </a:lnTo>
                    <a:lnTo>
                      <a:pt x="282" y="48"/>
                    </a:lnTo>
                    <a:lnTo>
                      <a:pt x="282" y="42"/>
                    </a:lnTo>
                    <a:lnTo>
                      <a:pt x="258" y="18"/>
                    </a:lnTo>
                    <a:lnTo>
                      <a:pt x="222" y="18"/>
                    </a:lnTo>
                    <a:lnTo>
                      <a:pt x="222" y="12"/>
                    </a:lnTo>
                    <a:lnTo>
                      <a:pt x="210" y="0"/>
                    </a:lnTo>
                    <a:lnTo>
                      <a:pt x="198" y="0"/>
                    </a:lnTo>
                    <a:lnTo>
                      <a:pt x="186" y="6"/>
                    </a:lnTo>
                    <a:lnTo>
                      <a:pt x="180" y="6"/>
                    </a:lnTo>
                    <a:lnTo>
                      <a:pt x="180" y="12"/>
                    </a:lnTo>
                    <a:lnTo>
                      <a:pt x="126" y="12"/>
                    </a:lnTo>
                    <a:lnTo>
                      <a:pt x="102" y="36"/>
                    </a:lnTo>
                    <a:lnTo>
                      <a:pt x="102" y="60"/>
                    </a:lnTo>
                    <a:lnTo>
                      <a:pt x="96" y="78"/>
                    </a:lnTo>
                    <a:lnTo>
                      <a:pt x="90" y="90"/>
                    </a:lnTo>
                    <a:lnTo>
                      <a:pt x="84" y="96"/>
                    </a:lnTo>
                    <a:lnTo>
                      <a:pt x="78" y="108"/>
                    </a:lnTo>
                    <a:lnTo>
                      <a:pt x="72" y="114"/>
                    </a:lnTo>
                    <a:lnTo>
                      <a:pt x="66" y="114"/>
                    </a:lnTo>
                    <a:lnTo>
                      <a:pt x="66" y="168"/>
                    </a:lnTo>
                    <a:lnTo>
                      <a:pt x="60" y="180"/>
                    </a:lnTo>
                    <a:lnTo>
                      <a:pt x="60" y="186"/>
                    </a:lnTo>
                    <a:lnTo>
                      <a:pt x="54" y="192"/>
                    </a:lnTo>
                    <a:lnTo>
                      <a:pt x="66" y="216"/>
                    </a:lnTo>
                    <a:lnTo>
                      <a:pt x="72" y="222"/>
                    </a:lnTo>
                    <a:lnTo>
                      <a:pt x="78" y="234"/>
                    </a:lnTo>
                    <a:lnTo>
                      <a:pt x="78" y="246"/>
                    </a:lnTo>
                    <a:lnTo>
                      <a:pt x="84" y="252"/>
                    </a:lnTo>
                    <a:lnTo>
                      <a:pt x="84" y="264"/>
                    </a:lnTo>
                    <a:lnTo>
                      <a:pt x="78" y="270"/>
                    </a:lnTo>
                    <a:lnTo>
                      <a:pt x="72" y="270"/>
                    </a:lnTo>
                    <a:lnTo>
                      <a:pt x="60" y="276"/>
                    </a:lnTo>
                    <a:lnTo>
                      <a:pt x="60" y="318"/>
                    </a:lnTo>
                    <a:lnTo>
                      <a:pt x="48" y="324"/>
                    </a:lnTo>
                    <a:lnTo>
                      <a:pt x="42" y="336"/>
                    </a:lnTo>
                    <a:lnTo>
                      <a:pt x="36" y="342"/>
                    </a:lnTo>
                    <a:lnTo>
                      <a:pt x="36" y="372"/>
                    </a:lnTo>
                    <a:lnTo>
                      <a:pt x="24" y="396"/>
                    </a:lnTo>
                    <a:lnTo>
                      <a:pt x="6" y="396"/>
                    </a:lnTo>
                    <a:lnTo>
                      <a:pt x="0" y="426"/>
                    </a:lnTo>
                    <a:lnTo>
                      <a:pt x="6" y="462"/>
                    </a:lnTo>
                    <a:lnTo>
                      <a:pt x="0" y="492"/>
                    </a:lnTo>
                    <a:lnTo>
                      <a:pt x="0" y="606"/>
                    </a:lnTo>
                    <a:lnTo>
                      <a:pt x="6" y="612"/>
                    </a:lnTo>
                    <a:lnTo>
                      <a:pt x="30" y="612"/>
                    </a:lnTo>
                    <a:lnTo>
                      <a:pt x="54" y="600"/>
                    </a:lnTo>
                    <a:lnTo>
                      <a:pt x="60" y="594"/>
                    </a:lnTo>
                    <a:lnTo>
                      <a:pt x="66" y="600"/>
                    </a:lnTo>
                    <a:lnTo>
                      <a:pt x="108" y="600"/>
                    </a:lnTo>
                    <a:lnTo>
                      <a:pt x="126" y="606"/>
                    </a:lnTo>
                    <a:lnTo>
                      <a:pt x="138" y="618"/>
                    </a:lnTo>
                    <a:lnTo>
                      <a:pt x="150" y="636"/>
                    </a:lnTo>
                    <a:lnTo>
                      <a:pt x="156" y="648"/>
                    </a:lnTo>
                    <a:lnTo>
                      <a:pt x="168" y="660"/>
                    </a:lnTo>
                    <a:lnTo>
                      <a:pt x="186" y="660"/>
                    </a:lnTo>
                    <a:lnTo>
                      <a:pt x="180" y="666"/>
                    </a:lnTo>
                    <a:lnTo>
                      <a:pt x="180" y="678"/>
                    </a:lnTo>
                    <a:lnTo>
                      <a:pt x="174" y="684"/>
                    </a:lnTo>
                    <a:lnTo>
                      <a:pt x="186" y="684"/>
                    </a:lnTo>
                    <a:lnTo>
                      <a:pt x="198" y="678"/>
                    </a:lnTo>
                    <a:lnTo>
                      <a:pt x="198" y="684"/>
                    </a:lnTo>
                    <a:lnTo>
                      <a:pt x="192" y="690"/>
                    </a:lnTo>
                    <a:lnTo>
                      <a:pt x="186" y="702"/>
                    </a:lnTo>
                    <a:lnTo>
                      <a:pt x="186" y="714"/>
                    </a:lnTo>
                    <a:lnTo>
                      <a:pt x="204" y="750"/>
                    </a:lnTo>
                    <a:lnTo>
                      <a:pt x="216" y="762"/>
                    </a:lnTo>
                    <a:lnTo>
                      <a:pt x="234" y="768"/>
                    </a:lnTo>
                    <a:lnTo>
                      <a:pt x="270" y="768"/>
                    </a:lnTo>
                    <a:lnTo>
                      <a:pt x="276" y="762"/>
                    </a:lnTo>
                    <a:lnTo>
                      <a:pt x="282" y="762"/>
                    </a:lnTo>
                    <a:lnTo>
                      <a:pt x="288" y="738"/>
                    </a:lnTo>
                    <a:lnTo>
                      <a:pt x="312" y="750"/>
                    </a:lnTo>
                    <a:lnTo>
                      <a:pt x="336" y="744"/>
                    </a:lnTo>
                    <a:lnTo>
                      <a:pt x="354" y="756"/>
                    </a:lnTo>
                    <a:lnTo>
                      <a:pt x="396" y="756"/>
                    </a:lnTo>
                    <a:lnTo>
                      <a:pt x="396" y="732"/>
                    </a:lnTo>
                    <a:lnTo>
                      <a:pt x="420" y="732"/>
                    </a:lnTo>
                    <a:lnTo>
                      <a:pt x="420" y="738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18" name="Niger"/>
              <p:cNvSpPr>
                <a:spLocks/>
              </p:cNvSpPr>
              <p:nvPr/>
            </p:nvSpPr>
            <p:spPr bwMode="gray">
              <a:xfrm>
                <a:off x="4222755" y="3316291"/>
                <a:ext cx="447676" cy="379413"/>
              </a:xfrm>
              <a:custGeom>
                <a:avLst/>
                <a:gdLst>
                  <a:gd name="T0" fmla="*/ 2147483647 w 1110"/>
                  <a:gd name="T1" fmla="*/ 2147483647 h 942"/>
                  <a:gd name="T2" fmla="*/ 2147483647 w 1110"/>
                  <a:gd name="T3" fmla="*/ 2147483647 h 942"/>
                  <a:gd name="T4" fmla="*/ 2147483647 w 1110"/>
                  <a:gd name="T5" fmla="*/ 2147483647 h 942"/>
                  <a:gd name="T6" fmla="*/ 2147483647 w 1110"/>
                  <a:gd name="T7" fmla="*/ 2147483647 h 942"/>
                  <a:gd name="T8" fmla="*/ 2147483647 w 1110"/>
                  <a:gd name="T9" fmla="*/ 2147483647 h 942"/>
                  <a:gd name="T10" fmla="*/ 2147483647 w 1110"/>
                  <a:gd name="T11" fmla="*/ 2147483647 h 942"/>
                  <a:gd name="T12" fmla="*/ 2147483647 w 1110"/>
                  <a:gd name="T13" fmla="*/ 2147483647 h 942"/>
                  <a:gd name="T14" fmla="*/ 2147483647 w 1110"/>
                  <a:gd name="T15" fmla="*/ 2147483647 h 942"/>
                  <a:gd name="T16" fmla="*/ 2147483647 w 1110"/>
                  <a:gd name="T17" fmla="*/ 2147483647 h 942"/>
                  <a:gd name="T18" fmla="*/ 2147483647 w 1110"/>
                  <a:gd name="T19" fmla="*/ 2147483647 h 942"/>
                  <a:gd name="T20" fmla="*/ 2147483647 w 1110"/>
                  <a:gd name="T21" fmla="*/ 2147483647 h 942"/>
                  <a:gd name="T22" fmla="*/ 2147483647 w 1110"/>
                  <a:gd name="T23" fmla="*/ 2147483647 h 942"/>
                  <a:gd name="T24" fmla="*/ 2147483647 w 1110"/>
                  <a:gd name="T25" fmla="*/ 2147483647 h 942"/>
                  <a:gd name="T26" fmla="*/ 2147483647 w 1110"/>
                  <a:gd name="T27" fmla="*/ 2147483647 h 942"/>
                  <a:gd name="T28" fmla="*/ 2147483647 w 1110"/>
                  <a:gd name="T29" fmla="*/ 2147483647 h 942"/>
                  <a:gd name="T30" fmla="*/ 2147483647 w 1110"/>
                  <a:gd name="T31" fmla="*/ 2147483647 h 942"/>
                  <a:gd name="T32" fmla="*/ 2147483647 w 1110"/>
                  <a:gd name="T33" fmla="*/ 2147483647 h 942"/>
                  <a:gd name="T34" fmla="*/ 2147483647 w 1110"/>
                  <a:gd name="T35" fmla="*/ 2147483647 h 942"/>
                  <a:gd name="T36" fmla="*/ 2147483647 w 1110"/>
                  <a:gd name="T37" fmla="*/ 2147483647 h 942"/>
                  <a:gd name="T38" fmla="*/ 2147483647 w 1110"/>
                  <a:gd name="T39" fmla="*/ 2147483647 h 942"/>
                  <a:gd name="T40" fmla="*/ 2147483647 w 1110"/>
                  <a:gd name="T41" fmla="*/ 2147483647 h 942"/>
                  <a:gd name="T42" fmla="*/ 2147483647 w 1110"/>
                  <a:gd name="T43" fmla="*/ 2147483647 h 942"/>
                  <a:gd name="T44" fmla="*/ 2147483647 w 1110"/>
                  <a:gd name="T45" fmla="*/ 2147483647 h 942"/>
                  <a:gd name="T46" fmla="*/ 2147483647 w 1110"/>
                  <a:gd name="T47" fmla="*/ 2147483647 h 942"/>
                  <a:gd name="T48" fmla="*/ 2147483647 w 1110"/>
                  <a:gd name="T49" fmla="*/ 2147483647 h 942"/>
                  <a:gd name="T50" fmla="*/ 2147483647 w 1110"/>
                  <a:gd name="T51" fmla="*/ 2147483647 h 942"/>
                  <a:gd name="T52" fmla="*/ 2147483647 w 1110"/>
                  <a:gd name="T53" fmla="*/ 2147483647 h 942"/>
                  <a:gd name="T54" fmla="*/ 2147483647 w 1110"/>
                  <a:gd name="T55" fmla="*/ 2147483647 h 942"/>
                  <a:gd name="T56" fmla="*/ 2147483647 w 1110"/>
                  <a:gd name="T57" fmla="*/ 2147483647 h 942"/>
                  <a:gd name="T58" fmla="*/ 2147483647 w 1110"/>
                  <a:gd name="T59" fmla="*/ 2147483647 h 942"/>
                  <a:gd name="T60" fmla="*/ 2147483647 w 1110"/>
                  <a:gd name="T61" fmla="*/ 2147483647 h 942"/>
                  <a:gd name="T62" fmla="*/ 2147483647 w 1110"/>
                  <a:gd name="T63" fmla="*/ 2147483647 h 942"/>
                  <a:gd name="T64" fmla="*/ 2147483647 w 1110"/>
                  <a:gd name="T65" fmla="*/ 2147483647 h 942"/>
                  <a:gd name="T66" fmla="*/ 2147483647 w 1110"/>
                  <a:gd name="T67" fmla="*/ 2147483647 h 942"/>
                  <a:gd name="T68" fmla="*/ 2147483647 w 1110"/>
                  <a:gd name="T69" fmla="*/ 2147483647 h 942"/>
                  <a:gd name="T70" fmla="*/ 2147483647 w 1110"/>
                  <a:gd name="T71" fmla="*/ 2147483647 h 942"/>
                  <a:gd name="T72" fmla="*/ 2147483647 w 1110"/>
                  <a:gd name="T73" fmla="*/ 2147483647 h 942"/>
                  <a:gd name="T74" fmla="*/ 2147483647 w 1110"/>
                  <a:gd name="T75" fmla="*/ 2147483647 h 942"/>
                  <a:gd name="T76" fmla="*/ 2147483647 w 1110"/>
                  <a:gd name="T77" fmla="*/ 2147483647 h 942"/>
                  <a:gd name="T78" fmla="*/ 2147483647 w 1110"/>
                  <a:gd name="T79" fmla="*/ 2147483647 h 942"/>
                  <a:gd name="T80" fmla="*/ 2147483647 w 1110"/>
                  <a:gd name="T81" fmla="*/ 2147483647 h 942"/>
                  <a:gd name="T82" fmla="*/ 2147483647 w 1110"/>
                  <a:gd name="T83" fmla="*/ 2147483647 h 942"/>
                  <a:gd name="T84" fmla="*/ 2147483647 w 1110"/>
                  <a:gd name="T85" fmla="*/ 2147483647 h 942"/>
                  <a:gd name="T86" fmla="*/ 2147483647 w 1110"/>
                  <a:gd name="T87" fmla="*/ 2147483647 h 942"/>
                  <a:gd name="T88" fmla="*/ 2147483647 w 1110"/>
                  <a:gd name="T89" fmla="*/ 2147483647 h 942"/>
                  <a:gd name="T90" fmla="*/ 2147483647 w 1110"/>
                  <a:gd name="T91" fmla="*/ 2147483647 h 942"/>
                  <a:gd name="T92" fmla="*/ 2147483647 w 1110"/>
                  <a:gd name="T93" fmla="*/ 2147483647 h 942"/>
                  <a:gd name="T94" fmla="*/ 2147483647 w 1110"/>
                  <a:gd name="T95" fmla="*/ 2147483647 h 942"/>
                  <a:gd name="T96" fmla="*/ 2147483647 w 1110"/>
                  <a:gd name="T97" fmla="*/ 2147483647 h 942"/>
                  <a:gd name="T98" fmla="*/ 0 w 1110"/>
                  <a:gd name="T99" fmla="*/ 2147483647 h 942"/>
                  <a:gd name="T100" fmla="*/ 2147483647 w 1110"/>
                  <a:gd name="T101" fmla="*/ 2147483647 h 94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110"/>
                  <a:gd name="T154" fmla="*/ 0 h 942"/>
                  <a:gd name="T155" fmla="*/ 1110 w 1110"/>
                  <a:gd name="T156" fmla="*/ 942 h 94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110" h="942">
                    <a:moveTo>
                      <a:pt x="54" y="792"/>
                    </a:moveTo>
                    <a:lnTo>
                      <a:pt x="54" y="810"/>
                    </a:lnTo>
                    <a:lnTo>
                      <a:pt x="66" y="810"/>
                    </a:lnTo>
                    <a:lnTo>
                      <a:pt x="48" y="828"/>
                    </a:lnTo>
                    <a:lnTo>
                      <a:pt x="48" y="834"/>
                    </a:lnTo>
                    <a:lnTo>
                      <a:pt x="72" y="858"/>
                    </a:lnTo>
                    <a:lnTo>
                      <a:pt x="84" y="864"/>
                    </a:lnTo>
                    <a:lnTo>
                      <a:pt x="90" y="876"/>
                    </a:lnTo>
                    <a:lnTo>
                      <a:pt x="108" y="876"/>
                    </a:lnTo>
                    <a:lnTo>
                      <a:pt x="120" y="864"/>
                    </a:lnTo>
                    <a:lnTo>
                      <a:pt x="132" y="864"/>
                    </a:lnTo>
                    <a:lnTo>
                      <a:pt x="144" y="876"/>
                    </a:lnTo>
                    <a:lnTo>
                      <a:pt x="150" y="888"/>
                    </a:lnTo>
                    <a:lnTo>
                      <a:pt x="126" y="894"/>
                    </a:lnTo>
                    <a:lnTo>
                      <a:pt x="150" y="930"/>
                    </a:lnTo>
                    <a:lnTo>
                      <a:pt x="150" y="906"/>
                    </a:lnTo>
                    <a:lnTo>
                      <a:pt x="180" y="894"/>
                    </a:lnTo>
                    <a:lnTo>
                      <a:pt x="192" y="906"/>
                    </a:lnTo>
                    <a:lnTo>
                      <a:pt x="198" y="918"/>
                    </a:lnTo>
                    <a:lnTo>
                      <a:pt x="204" y="924"/>
                    </a:lnTo>
                    <a:lnTo>
                      <a:pt x="210" y="924"/>
                    </a:lnTo>
                    <a:lnTo>
                      <a:pt x="216" y="930"/>
                    </a:lnTo>
                    <a:lnTo>
                      <a:pt x="222" y="930"/>
                    </a:lnTo>
                    <a:lnTo>
                      <a:pt x="234" y="936"/>
                    </a:lnTo>
                    <a:lnTo>
                      <a:pt x="240" y="942"/>
                    </a:lnTo>
                    <a:lnTo>
                      <a:pt x="240" y="888"/>
                    </a:lnTo>
                    <a:lnTo>
                      <a:pt x="246" y="888"/>
                    </a:lnTo>
                    <a:lnTo>
                      <a:pt x="252" y="882"/>
                    </a:lnTo>
                    <a:lnTo>
                      <a:pt x="258" y="870"/>
                    </a:lnTo>
                    <a:lnTo>
                      <a:pt x="264" y="864"/>
                    </a:lnTo>
                    <a:lnTo>
                      <a:pt x="270" y="852"/>
                    </a:lnTo>
                    <a:lnTo>
                      <a:pt x="276" y="834"/>
                    </a:lnTo>
                    <a:lnTo>
                      <a:pt x="276" y="810"/>
                    </a:lnTo>
                    <a:lnTo>
                      <a:pt x="300" y="786"/>
                    </a:lnTo>
                    <a:lnTo>
                      <a:pt x="354" y="786"/>
                    </a:lnTo>
                    <a:lnTo>
                      <a:pt x="354" y="780"/>
                    </a:lnTo>
                    <a:lnTo>
                      <a:pt x="360" y="780"/>
                    </a:lnTo>
                    <a:lnTo>
                      <a:pt x="372" y="774"/>
                    </a:lnTo>
                    <a:lnTo>
                      <a:pt x="384" y="774"/>
                    </a:lnTo>
                    <a:lnTo>
                      <a:pt x="396" y="786"/>
                    </a:lnTo>
                    <a:lnTo>
                      <a:pt x="396" y="792"/>
                    </a:lnTo>
                    <a:lnTo>
                      <a:pt x="432" y="792"/>
                    </a:lnTo>
                    <a:lnTo>
                      <a:pt x="456" y="816"/>
                    </a:lnTo>
                    <a:lnTo>
                      <a:pt x="456" y="822"/>
                    </a:lnTo>
                    <a:lnTo>
                      <a:pt x="462" y="828"/>
                    </a:lnTo>
                    <a:lnTo>
                      <a:pt x="462" y="834"/>
                    </a:lnTo>
                    <a:lnTo>
                      <a:pt x="468" y="840"/>
                    </a:lnTo>
                    <a:lnTo>
                      <a:pt x="480" y="846"/>
                    </a:lnTo>
                    <a:lnTo>
                      <a:pt x="486" y="846"/>
                    </a:lnTo>
                    <a:lnTo>
                      <a:pt x="498" y="840"/>
                    </a:lnTo>
                    <a:lnTo>
                      <a:pt x="510" y="828"/>
                    </a:lnTo>
                    <a:lnTo>
                      <a:pt x="534" y="816"/>
                    </a:lnTo>
                    <a:lnTo>
                      <a:pt x="546" y="816"/>
                    </a:lnTo>
                    <a:lnTo>
                      <a:pt x="558" y="822"/>
                    </a:lnTo>
                    <a:lnTo>
                      <a:pt x="564" y="828"/>
                    </a:lnTo>
                    <a:lnTo>
                      <a:pt x="576" y="834"/>
                    </a:lnTo>
                    <a:lnTo>
                      <a:pt x="588" y="846"/>
                    </a:lnTo>
                    <a:lnTo>
                      <a:pt x="612" y="858"/>
                    </a:lnTo>
                    <a:lnTo>
                      <a:pt x="642" y="858"/>
                    </a:lnTo>
                    <a:lnTo>
                      <a:pt x="654" y="864"/>
                    </a:lnTo>
                    <a:lnTo>
                      <a:pt x="660" y="864"/>
                    </a:lnTo>
                    <a:lnTo>
                      <a:pt x="666" y="858"/>
                    </a:lnTo>
                    <a:lnTo>
                      <a:pt x="678" y="834"/>
                    </a:lnTo>
                    <a:lnTo>
                      <a:pt x="690" y="828"/>
                    </a:lnTo>
                    <a:lnTo>
                      <a:pt x="702" y="816"/>
                    </a:lnTo>
                    <a:lnTo>
                      <a:pt x="720" y="810"/>
                    </a:lnTo>
                    <a:lnTo>
                      <a:pt x="774" y="810"/>
                    </a:lnTo>
                    <a:lnTo>
                      <a:pt x="810" y="822"/>
                    </a:lnTo>
                    <a:lnTo>
                      <a:pt x="822" y="828"/>
                    </a:lnTo>
                    <a:lnTo>
                      <a:pt x="828" y="834"/>
                    </a:lnTo>
                    <a:lnTo>
                      <a:pt x="858" y="834"/>
                    </a:lnTo>
                    <a:lnTo>
                      <a:pt x="870" y="828"/>
                    </a:lnTo>
                    <a:lnTo>
                      <a:pt x="876" y="822"/>
                    </a:lnTo>
                    <a:lnTo>
                      <a:pt x="888" y="816"/>
                    </a:lnTo>
                    <a:lnTo>
                      <a:pt x="894" y="810"/>
                    </a:lnTo>
                    <a:lnTo>
                      <a:pt x="918" y="810"/>
                    </a:lnTo>
                    <a:lnTo>
                      <a:pt x="918" y="804"/>
                    </a:lnTo>
                    <a:lnTo>
                      <a:pt x="924" y="798"/>
                    </a:lnTo>
                    <a:lnTo>
                      <a:pt x="924" y="792"/>
                    </a:lnTo>
                    <a:lnTo>
                      <a:pt x="930" y="786"/>
                    </a:lnTo>
                    <a:lnTo>
                      <a:pt x="936" y="786"/>
                    </a:lnTo>
                    <a:lnTo>
                      <a:pt x="930" y="726"/>
                    </a:lnTo>
                    <a:lnTo>
                      <a:pt x="948" y="720"/>
                    </a:lnTo>
                    <a:lnTo>
                      <a:pt x="948" y="714"/>
                    </a:lnTo>
                    <a:lnTo>
                      <a:pt x="954" y="708"/>
                    </a:lnTo>
                    <a:lnTo>
                      <a:pt x="954" y="696"/>
                    </a:lnTo>
                    <a:lnTo>
                      <a:pt x="960" y="678"/>
                    </a:lnTo>
                    <a:lnTo>
                      <a:pt x="966" y="666"/>
                    </a:lnTo>
                    <a:lnTo>
                      <a:pt x="978" y="648"/>
                    </a:lnTo>
                    <a:lnTo>
                      <a:pt x="984" y="636"/>
                    </a:lnTo>
                    <a:lnTo>
                      <a:pt x="1002" y="618"/>
                    </a:lnTo>
                    <a:lnTo>
                      <a:pt x="1026" y="588"/>
                    </a:lnTo>
                    <a:lnTo>
                      <a:pt x="1050" y="564"/>
                    </a:lnTo>
                    <a:lnTo>
                      <a:pt x="1068" y="540"/>
                    </a:lnTo>
                    <a:lnTo>
                      <a:pt x="1074" y="534"/>
                    </a:lnTo>
                    <a:lnTo>
                      <a:pt x="1092" y="288"/>
                    </a:lnTo>
                    <a:lnTo>
                      <a:pt x="1110" y="252"/>
                    </a:lnTo>
                    <a:lnTo>
                      <a:pt x="1080" y="216"/>
                    </a:lnTo>
                    <a:lnTo>
                      <a:pt x="1074" y="192"/>
                    </a:lnTo>
                    <a:lnTo>
                      <a:pt x="1044" y="156"/>
                    </a:lnTo>
                    <a:lnTo>
                      <a:pt x="1056" y="108"/>
                    </a:lnTo>
                    <a:lnTo>
                      <a:pt x="1038" y="42"/>
                    </a:lnTo>
                    <a:lnTo>
                      <a:pt x="1020" y="48"/>
                    </a:lnTo>
                    <a:lnTo>
                      <a:pt x="1002" y="60"/>
                    </a:lnTo>
                    <a:lnTo>
                      <a:pt x="990" y="66"/>
                    </a:lnTo>
                    <a:lnTo>
                      <a:pt x="984" y="66"/>
                    </a:lnTo>
                    <a:lnTo>
                      <a:pt x="978" y="60"/>
                    </a:lnTo>
                    <a:lnTo>
                      <a:pt x="966" y="54"/>
                    </a:lnTo>
                    <a:lnTo>
                      <a:pt x="960" y="42"/>
                    </a:lnTo>
                    <a:lnTo>
                      <a:pt x="954" y="36"/>
                    </a:lnTo>
                    <a:lnTo>
                      <a:pt x="942" y="30"/>
                    </a:lnTo>
                    <a:lnTo>
                      <a:pt x="936" y="24"/>
                    </a:lnTo>
                    <a:lnTo>
                      <a:pt x="930" y="24"/>
                    </a:lnTo>
                    <a:lnTo>
                      <a:pt x="918" y="18"/>
                    </a:lnTo>
                    <a:lnTo>
                      <a:pt x="900" y="12"/>
                    </a:lnTo>
                    <a:lnTo>
                      <a:pt x="888" y="12"/>
                    </a:lnTo>
                    <a:lnTo>
                      <a:pt x="876" y="6"/>
                    </a:lnTo>
                    <a:lnTo>
                      <a:pt x="864" y="6"/>
                    </a:lnTo>
                    <a:lnTo>
                      <a:pt x="828" y="0"/>
                    </a:lnTo>
                    <a:lnTo>
                      <a:pt x="816" y="6"/>
                    </a:lnTo>
                    <a:lnTo>
                      <a:pt x="786" y="30"/>
                    </a:lnTo>
                    <a:lnTo>
                      <a:pt x="738" y="66"/>
                    </a:lnTo>
                    <a:lnTo>
                      <a:pt x="684" y="102"/>
                    </a:lnTo>
                    <a:lnTo>
                      <a:pt x="624" y="144"/>
                    </a:lnTo>
                    <a:lnTo>
                      <a:pt x="576" y="180"/>
                    </a:lnTo>
                    <a:lnTo>
                      <a:pt x="534" y="210"/>
                    </a:lnTo>
                    <a:lnTo>
                      <a:pt x="510" y="222"/>
                    </a:lnTo>
                    <a:lnTo>
                      <a:pt x="480" y="246"/>
                    </a:lnTo>
                    <a:lnTo>
                      <a:pt x="450" y="282"/>
                    </a:lnTo>
                    <a:lnTo>
                      <a:pt x="414" y="312"/>
                    </a:lnTo>
                    <a:lnTo>
                      <a:pt x="390" y="330"/>
                    </a:lnTo>
                    <a:lnTo>
                      <a:pt x="366" y="336"/>
                    </a:lnTo>
                    <a:lnTo>
                      <a:pt x="324" y="342"/>
                    </a:lnTo>
                    <a:lnTo>
                      <a:pt x="282" y="354"/>
                    </a:lnTo>
                    <a:lnTo>
                      <a:pt x="282" y="558"/>
                    </a:lnTo>
                    <a:lnTo>
                      <a:pt x="264" y="582"/>
                    </a:lnTo>
                    <a:lnTo>
                      <a:pt x="264" y="594"/>
                    </a:lnTo>
                    <a:lnTo>
                      <a:pt x="258" y="606"/>
                    </a:lnTo>
                    <a:lnTo>
                      <a:pt x="258" y="624"/>
                    </a:lnTo>
                    <a:lnTo>
                      <a:pt x="252" y="636"/>
                    </a:lnTo>
                    <a:lnTo>
                      <a:pt x="240" y="642"/>
                    </a:lnTo>
                    <a:lnTo>
                      <a:pt x="222" y="648"/>
                    </a:lnTo>
                    <a:lnTo>
                      <a:pt x="198" y="648"/>
                    </a:lnTo>
                    <a:lnTo>
                      <a:pt x="186" y="654"/>
                    </a:lnTo>
                    <a:lnTo>
                      <a:pt x="138" y="648"/>
                    </a:lnTo>
                    <a:lnTo>
                      <a:pt x="138" y="666"/>
                    </a:lnTo>
                    <a:lnTo>
                      <a:pt x="72" y="660"/>
                    </a:lnTo>
                    <a:lnTo>
                      <a:pt x="48" y="678"/>
                    </a:lnTo>
                    <a:lnTo>
                      <a:pt x="0" y="690"/>
                    </a:lnTo>
                    <a:lnTo>
                      <a:pt x="0" y="726"/>
                    </a:lnTo>
                    <a:lnTo>
                      <a:pt x="6" y="738"/>
                    </a:lnTo>
                    <a:lnTo>
                      <a:pt x="6" y="762"/>
                    </a:lnTo>
                    <a:lnTo>
                      <a:pt x="18" y="786"/>
                    </a:lnTo>
                    <a:lnTo>
                      <a:pt x="30" y="792"/>
                    </a:lnTo>
                    <a:lnTo>
                      <a:pt x="54" y="792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19" name="Namibia"/>
              <p:cNvSpPr>
                <a:spLocks/>
              </p:cNvSpPr>
              <p:nvPr/>
            </p:nvSpPr>
            <p:spPr bwMode="gray">
              <a:xfrm>
                <a:off x="4548193" y="4627568"/>
                <a:ext cx="384176" cy="392113"/>
              </a:xfrm>
              <a:custGeom>
                <a:avLst/>
                <a:gdLst>
                  <a:gd name="T0" fmla="*/ 2147483647 w 954"/>
                  <a:gd name="T1" fmla="*/ 2147483647 h 972"/>
                  <a:gd name="T2" fmla="*/ 2147483647 w 954"/>
                  <a:gd name="T3" fmla="*/ 2147483647 h 972"/>
                  <a:gd name="T4" fmla="*/ 2147483647 w 954"/>
                  <a:gd name="T5" fmla="*/ 2147483647 h 972"/>
                  <a:gd name="T6" fmla="*/ 2147483647 w 954"/>
                  <a:gd name="T7" fmla="*/ 2147483647 h 972"/>
                  <a:gd name="T8" fmla="*/ 2147483647 w 954"/>
                  <a:gd name="T9" fmla="*/ 2147483647 h 972"/>
                  <a:gd name="T10" fmla="*/ 2147483647 w 954"/>
                  <a:gd name="T11" fmla="*/ 2147483647 h 972"/>
                  <a:gd name="T12" fmla="*/ 2147483647 w 954"/>
                  <a:gd name="T13" fmla="*/ 2147483647 h 972"/>
                  <a:gd name="T14" fmla="*/ 2147483647 w 954"/>
                  <a:gd name="T15" fmla="*/ 2147483647 h 972"/>
                  <a:gd name="T16" fmla="*/ 2147483647 w 954"/>
                  <a:gd name="T17" fmla="*/ 2147483647 h 972"/>
                  <a:gd name="T18" fmla="*/ 2147483647 w 954"/>
                  <a:gd name="T19" fmla="*/ 2147483647 h 972"/>
                  <a:gd name="T20" fmla="*/ 2147483647 w 954"/>
                  <a:gd name="T21" fmla="*/ 2147483647 h 972"/>
                  <a:gd name="T22" fmla="*/ 2147483647 w 954"/>
                  <a:gd name="T23" fmla="*/ 2147483647 h 972"/>
                  <a:gd name="T24" fmla="*/ 2147483647 w 954"/>
                  <a:gd name="T25" fmla="*/ 2147483647 h 972"/>
                  <a:gd name="T26" fmla="*/ 2147483647 w 954"/>
                  <a:gd name="T27" fmla="*/ 2147483647 h 972"/>
                  <a:gd name="T28" fmla="*/ 2147483647 w 954"/>
                  <a:gd name="T29" fmla="*/ 2147483647 h 972"/>
                  <a:gd name="T30" fmla="*/ 2147483647 w 954"/>
                  <a:gd name="T31" fmla="*/ 2147483647 h 972"/>
                  <a:gd name="T32" fmla="*/ 2147483647 w 954"/>
                  <a:gd name="T33" fmla="*/ 2147483647 h 972"/>
                  <a:gd name="T34" fmla="*/ 2147483647 w 954"/>
                  <a:gd name="T35" fmla="*/ 2147483647 h 972"/>
                  <a:gd name="T36" fmla="*/ 2147483647 w 954"/>
                  <a:gd name="T37" fmla="*/ 2147483647 h 972"/>
                  <a:gd name="T38" fmla="*/ 2147483647 w 954"/>
                  <a:gd name="T39" fmla="*/ 2147483647 h 972"/>
                  <a:gd name="T40" fmla="*/ 2147483647 w 954"/>
                  <a:gd name="T41" fmla="*/ 2147483647 h 972"/>
                  <a:gd name="T42" fmla="*/ 2147483647 w 954"/>
                  <a:gd name="T43" fmla="*/ 2147483647 h 972"/>
                  <a:gd name="T44" fmla="*/ 2147483647 w 954"/>
                  <a:gd name="T45" fmla="*/ 2147483647 h 972"/>
                  <a:gd name="T46" fmla="*/ 2147483647 w 954"/>
                  <a:gd name="T47" fmla="*/ 2147483647 h 972"/>
                  <a:gd name="T48" fmla="*/ 2147483647 w 954"/>
                  <a:gd name="T49" fmla="*/ 2147483647 h 972"/>
                  <a:gd name="T50" fmla="*/ 2147483647 w 954"/>
                  <a:gd name="T51" fmla="*/ 2147483647 h 972"/>
                  <a:gd name="T52" fmla="*/ 2147483647 w 954"/>
                  <a:gd name="T53" fmla="*/ 2147483647 h 972"/>
                  <a:gd name="T54" fmla="*/ 2147483647 w 954"/>
                  <a:gd name="T55" fmla="*/ 2147483647 h 972"/>
                  <a:gd name="T56" fmla="*/ 2147483647 w 954"/>
                  <a:gd name="T57" fmla="*/ 2147483647 h 972"/>
                  <a:gd name="T58" fmla="*/ 2147483647 w 954"/>
                  <a:gd name="T59" fmla="*/ 2147483647 h 972"/>
                  <a:gd name="T60" fmla="*/ 2147483647 w 954"/>
                  <a:gd name="T61" fmla="*/ 2147483647 h 972"/>
                  <a:gd name="T62" fmla="*/ 2147483647 w 954"/>
                  <a:gd name="T63" fmla="*/ 2147483647 h 972"/>
                  <a:gd name="T64" fmla="*/ 2147483647 w 954"/>
                  <a:gd name="T65" fmla="*/ 2147483647 h 972"/>
                  <a:gd name="T66" fmla="*/ 2147483647 w 954"/>
                  <a:gd name="T67" fmla="*/ 0 h 972"/>
                  <a:gd name="T68" fmla="*/ 2147483647 w 954"/>
                  <a:gd name="T69" fmla="*/ 2147483647 h 972"/>
                  <a:gd name="T70" fmla="*/ 2147483647 w 954"/>
                  <a:gd name="T71" fmla="*/ 2147483647 h 972"/>
                  <a:gd name="T72" fmla="*/ 0 w 954"/>
                  <a:gd name="T73" fmla="*/ 2147483647 h 972"/>
                  <a:gd name="T74" fmla="*/ 2147483647 w 954"/>
                  <a:gd name="T75" fmla="*/ 2147483647 h 972"/>
                  <a:gd name="T76" fmla="*/ 2147483647 w 954"/>
                  <a:gd name="T77" fmla="*/ 2147483647 h 972"/>
                  <a:gd name="T78" fmla="*/ 2147483647 w 954"/>
                  <a:gd name="T79" fmla="*/ 2147483647 h 972"/>
                  <a:gd name="T80" fmla="*/ 2147483647 w 954"/>
                  <a:gd name="T81" fmla="*/ 2147483647 h 972"/>
                  <a:gd name="T82" fmla="*/ 2147483647 w 954"/>
                  <a:gd name="T83" fmla="*/ 2147483647 h 972"/>
                  <a:gd name="T84" fmla="*/ 2147483647 w 954"/>
                  <a:gd name="T85" fmla="*/ 2147483647 h 972"/>
                  <a:gd name="T86" fmla="*/ 2147483647 w 954"/>
                  <a:gd name="T87" fmla="*/ 2147483647 h 972"/>
                  <a:gd name="T88" fmla="*/ 2147483647 w 954"/>
                  <a:gd name="T89" fmla="*/ 2147483647 h 972"/>
                  <a:gd name="T90" fmla="*/ 2147483647 w 954"/>
                  <a:gd name="T91" fmla="*/ 2147483647 h 972"/>
                  <a:gd name="T92" fmla="*/ 2147483647 w 954"/>
                  <a:gd name="T93" fmla="*/ 2147483647 h 972"/>
                  <a:gd name="T94" fmla="*/ 2147483647 w 954"/>
                  <a:gd name="T95" fmla="*/ 2147483647 h 972"/>
                  <a:gd name="T96" fmla="*/ 2147483647 w 954"/>
                  <a:gd name="T97" fmla="*/ 2147483647 h 972"/>
                  <a:gd name="T98" fmla="*/ 2147483647 w 954"/>
                  <a:gd name="T99" fmla="*/ 2147483647 h 972"/>
                  <a:gd name="T100" fmla="*/ 2147483647 w 954"/>
                  <a:gd name="T101" fmla="*/ 2147483647 h 972"/>
                  <a:gd name="T102" fmla="*/ 2147483647 w 954"/>
                  <a:gd name="T103" fmla="*/ 2147483647 h 972"/>
                  <a:gd name="T104" fmla="*/ 2147483647 w 954"/>
                  <a:gd name="T105" fmla="*/ 2147483647 h 972"/>
                  <a:gd name="T106" fmla="*/ 2147483647 w 954"/>
                  <a:gd name="T107" fmla="*/ 2147483647 h 972"/>
                  <a:gd name="T108" fmla="*/ 2147483647 w 954"/>
                  <a:gd name="T109" fmla="*/ 2147483647 h 972"/>
                  <a:gd name="T110" fmla="*/ 2147483647 w 954"/>
                  <a:gd name="T111" fmla="*/ 2147483647 h 972"/>
                  <a:gd name="T112" fmla="*/ 2147483647 w 954"/>
                  <a:gd name="T113" fmla="*/ 2147483647 h 972"/>
                  <a:gd name="T114" fmla="*/ 2147483647 w 954"/>
                  <a:gd name="T115" fmla="*/ 2147483647 h 972"/>
                  <a:gd name="T116" fmla="*/ 2147483647 w 954"/>
                  <a:gd name="T117" fmla="*/ 2147483647 h 972"/>
                  <a:gd name="T118" fmla="*/ 2147483647 w 954"/>
                  <a:gd name="T119" fmla="*/ 2147483647 h 9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54"/>
                  <a:gd name="T181" fmla="*/ 0 h 972"/>
                  <a:gd name="T182" fmla="*/ 954 w 954"/>
                  <a:gd name="T183" fmla="*/ 972 h 97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54" h="972">
                    <a:moveTo>
                      <a:pt x="366" y="894"/>
                    </a:moveTo>
                    <a:lnTo>
                      <a:pt x="372" y="894"/>
                    </a:lnTo>
                    <a:lnTo>
                      <a:pt x="390" y="912"/>
                    </a:lnTo>
                    <a:lnTo>
                      <a:pt x="390" y="936"/>
                    </a:lnTo>
                    <a:lnTo>
                      <a:pt x="396" y="948"/>
                    </a:lnTo>
                    <a:lnTo>
                      <a:pt x="402" y="954"/>
                    </a:lnTo>
                    <a:lnTo>
                      <a:pt x="426" y="954"/>
                    </a:lnTo>
                    <a:lnTo>
                      <a:pt x="432" y="960"/>
                    </a:lnTo>
                    <a:lnTo>
                      <a:pt x="432" y="966"/>
                    </a:lnTo>
                    <a:lnTo>
                      <a:pt x="438" y="972"/>
                    </a:lnTo>
                    <a:lnTo>
                      <a:pt x="462" y="972"/>
                    </a:lnTo>
                    <a:lnTo>
                      <a:pt x="474" y="960"/>
                    </a:lnTo>
                    <a:lnTo>
                      <a:pt x="486" y="960"/>
                    </a:lnTo>
                    <a:lnTo>
                      <a:pt x="498" y="972"/>
                    </a:lnTo>
                    <a:lnTo>
                      <a:pt x="522" y="972"/>
                    </a:lnTo>
                    <a:lnTo>
                      <a:pt x="522" y="948"/>
                    </a:lnTo>
                    <a:lnTo>
                      <a:pt x="534" y="948"/>
                    </a:lnTo>
                    <a:lnTo>
                      <a:pt x="534" y="942"/>
                    </a:lnTo>
                    <a:lnTo>
                      <a:pt x="540" y="936"/>
                    </a:lnTo>
                    <a:lnTo>
                      <a:pt x="552" y="930"/>
                    </a:lnTo>
                    <a:lnTo>
                      <a:pt x="570" y="930"/>
                    </a:lnTo>
                    <a:lnTo>
                      <a:pt x="582" y="414"/>
                    </a:lnTo>
                    <a:lnTo>
                      <a:pt x="654" y="414"/>
                    </a:lnTo>
                    <a:lnTo>
                      <a:pt x="648" y="288"/>
                    </a:lnTo>
                    <a:lnTo>
                      <a:pt x="654" y="282"/>
                    </a:lnTo>
                    <a:lnTo>
                      <a:pt x="654" y="108"/>
                    </a:lnTo>
                    <a:lnTo>
                      <a:pt x="690" y="108"/>
                    </a:lnTo>
                    <a:lnTo>
                      <a:pt x="708" y="102"/>
                    </a:lnTo>
                    <a:lnTo>
                      <a:pt x="744" y="102"/>
                    </a:lnTo>
                    <a:lnTo>
                      <a:pt x="792" y="90"/>
                    </a:lnTo>
                    <a:lnTo>
                      <a:pt x="804" y="84"/>
                    </a:lnTo>
                    <a:lnTo>
                      <a:pt x="822" y="84"/>
                    </a:lnTo>
                    <a:lnTo>
                      <a:pt x="828" y="90"/>
                    </a:lnTo>
                    <a:lnTo>
                      <a:pt x="828" y="108"/>
                    </a:lnTo>
                    <a:lnTo>
                      <a:pt x="834" y="108"/>
                    </a:lnTo>
                    <a:lnTo>
                      <a:pt x="834" y="126"/>
                    </a:lnTo>
                    <a:lnTo>
                      <a:pt x="840" y="126"/>
                    </a:lnTo>
                    <a:lnTo>
                      <a:pt x="882" y="84"/>
                    </a:lnTo>
                    <a:lnTo>
                      <a:pt x="906" y="84"/>
                    </a:lnTo>
                    <a:lnTo>
                      <a:pt x="918" y="72"/>
                    </a:lnTo>
                    <a:lnTo>
                      <a:pt x="954" y="66"/>
                    </a:lnTo>
                    <a:lnTo>
                      <a:pt x="936" y="48"/>
                    </a:lnTo>
                    <a:lnTo>
                      <a:pt x="906" y="54"/>
                    </a:lnTo>
                    <a:lnTo>
                      <a:pt x="906" y="48"/>
                    </a:lnTo>
                    <a:lnTo>
                      <a:pt x="900" y="42"/>
                    </a:lnTo>
                    <a:lnTo>
                      <a:pt x="882" y="42"/>
                    </a:lnTo>
                    <a:lnTo>
                      <a:pt x="876" y="48"/>
                    </a:lnTo>
                    <a:lnTo>
                      <a:pt x="870" y="48"/>
                    </a:lnTo>
                    <a:lnTo>
                      <a:pt x="846" y="60"/>
                    </a:lnTo>
                    <a:lnTo>
                      <a:pt x="828" y="54"/>
                    </a:lnTo>
                    <a:lnTo>
                      <a:pt x="816" y="60"/>
                    </a:lnTo>
                    <a:lnTo>
                      <a:pt x="780" y="72"/>
                    </a:lnTo>
                    <a:lnTo>
                      <a:pt x="732" y="78"/>
                    </a:lnTo>
                    <a:lnTo>
                      <a:pt x="696" y="84"/>
                    </a:lnTo>
                    <a:lnTo>
                      <a:pt x="624" y="84"/>
                    </a:lnTo>
                    <a:lnTo>
                      <a:pt x="618" y="72"/>
                    </a:lnTo>
                    <a:lnTo>
                      <a:pt x="546" y="78"/>
                    </a:lnTo>
                    <a:lnTo>
                      <a:pt x="540" y="66"/>
                    </a:lnTo>
                    <a:lnTo>
                      <a:pt x="504" y="66"/>
                    </a:lnTo>
                    <a:lnTo>
                      <a:pt x="480" y="42"/>
                    </a:lnTo>
                    <a:lnTo>
                      <a:pt x="480" y="36"/>
                    </a:lnTo>
                    <a:lnTo>
                      <a:pt x="174" y="36"/>
                    </a:lnTo>
                    <a:lnTo>
                      <a:pt x="168" y="30"/>
                    </a:lnTo>
                    <a:lnTo>
                      <a:pt x="156" y="30"/>
                    </a:lnTo>
                    <a:lnTo>
                      <a:pt x="132" y="18"/>
                    </a:lnTo>
                    <a:lnTo>
                      <a:pt x="126" y="6"/>
                    </a:lnTo>
                    <a:lnTo>
                      <a:pt x="120" y="0"/>
                    </a:lnTo>
                    <a:lnTo>
                      <a:pt x="90" y="0"/>
                    </a:lnTo>
                    <a:lnTo>
                      <a:pt x="90" y="6"/>
                    </a:lnTo>
                    <a:lnTo>
                      <a:pt x="72" y="24"/>
                    </a:lnTo>
                    <a:lnTo>
                      <a:pt x="42" y="24"/>
                    </a:lnTo>
                    <a:lnTo>
                      <a:pt x="36" y="18"/>
                    </a:lnTo>
                    <a:lnTo>
                      <a:pt x="18" y="24"/>
                    </a:lnTo>
                    <a:lnTo>
                      <a:pt x="0" y="24"/>
                    </a:lnTo>
                    <a:lnTo>
                      <a:pt x="6" y="96"/>
                    </a:lnTo>
                    <a:lnTo>
                      <a:pt x="12" y="108"/>
                    </a:lnTo>
                    <a:lnTo>
                      <a:pt x="30" y="126"/>
                    </a:lnTo>
                    <a:lnTo>
                      <a:pt x="36" y="138"/>
                    </a:lnTo>
                    <a:lnTo>
                      <a:pt x="54" y="162"/>
                    </a:lnTo>
                    <a:lnTo>
                      <a:pt x="72" y="192"/>
                    </a:lnTo>
                    <a:lnTo>
                      <a:pt x="96" y="228"/>
                    </a:lnTo>
                    <a:lnTo>
                      <a:pt x="102" y="258"/>
                    </a:lnTo>
                    <a:lnTo>
                      <a:pt x="102" y="276"/>
                    </a:lnTo>
                    <a:lnTo>
                      <a:pt x="114" y="294"/>
                    </a:lnTo>
                    <a:lnTo>
                      <a:pt x="120" y="312"/>
                    </a:lnTo>
                    <a:lnTo>
                      <a:pt x="138" y="348"/>
                    </a:lnTo>
                    <a:lnTo>
                      <a:pt x="156" y="366"/>
                    </a:lnTo>
                    <a:lnTo>
                      <a:pt x="156" y="390"/>
                    </a:lnTo>
                    <a:lnTo>
                      <a:pt x="162" y="396"/>
                    </a:lnTo>
                    <a:lnTo>
                      <a:pt x="174" y="402"/>
                    </a:lnTo>
                    <a:lnTo>
                      <a:pt x="180" y="414"/>
                    </a:lnTo>
                    <a:lnTo>
                      <a:pt x="192" y="420"/>
                    </a:lnTo>
                    <a:lnTo>
                      <a:pt x="198" y="432"/>
                    </a:lnTo>
                    <a:lnTo>
                      <a:pt x="198" y="582"/>
                    </a:lnTo>
                    <a:lnTo>
                      <a:pt x="222" y="630"/>
                    </a:lnTo>
                    <a:lnTo>
                      <a:pt x="222" y="678"/>
                    </a:lnTo>
                    <a:lnTo>
                      <a:pt x="216" y="678"/>
                    </a:lnTo>
                    <a:lnTo>
                      <a:pt x="228" y="726"/>
                    </a:lnTo>
                    <a:lnTo>
                      <a:pt x="228" y="762"/>
                    </a:lnTo>
                    <a:lnTo>
                      <a:pt x="240" y="762"/>
                    </a:lnTo>
                    <a:lnTo>
                      <a:pt x="240" y="804"/>
                    </a:lnTo>
                    <a:lnTo>
                      <a:pt x="252" y="810"/>
                    </a:lnTo>
                    <a:lnTo>
                      <a:pt x="258" y="816"/>
                    </a:lnTo>
                    <a:lnTo>
                      <a:pt x="258" y="846"/>
                    </a:lnTo>
                    <a:lnTo>
                      <a:pt x="264" y="858"/>
                    </a:lnTo>
                    <a:lnTo>
                      <a:pt x="270" y="864"/>
                    </a:lnTo>
                    <a:lnTo>
                      <a:pt x="276" y="876"/>
                    </a:lnTo>
                    <a:lnTo>
                      <a:pt x="282" y="894"/>
                    </a:lnTo>
                    <a:lnTo>
                      <a:pt x="282" y="900"/>
                    </a:lnTo>
                    <a:lnTo>
                      <a:pt x="288" y="912"/>
                    </a:lnTo>
                    <a:lnTo>
                      <a:pt x="294" y="918"/>
                    </a:lnTo>
                    <a:lnTo>
                      <a:pt x="318" y="930"/>
                    </a:lnTo>
                    <a:lnTo>
                      <a:pt x="324" y="936"/>
                    </a:lnTo>
                    <a:lnTo>
                      <a:pt x="330" y="936"/>
                    </a:lnTo>
                    <a:lnTo>
                      <a:pt x="330" y="942"/>
                    </a:lnTo>
                    <a:lnTo>
                      <a:pt x="348" y="930"/>
                    </a:lnTo>
                    <a:lnTo>
                      <a:pt x="348" y="924"/>
                    </a:lnTo>
                    <a:lnTo>
                      <a:pt x="354" y="918"/>
                    </a:lnTo>
                    <a:lnTo>
                      <a:pt x="360" y="906"/>
                    </a:lnTo>
                    <a:lnTo>
                      <a:pt x="360" y="900"/>
                    </a:lnTo>
                    <a:lnTo>
                      <a:pt x="366" y="894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20" name="Mozambique"/>
              <p:cNvSpPr>
                <a:spLocks/>
              </p:cNvSpPr>
              <p:nvPr/>
            </p:nvSpPr>
            <p:spPr bwMode="gray">
              <a:xfrm>
                <a:off x="5072069" y="4418017"/>
                <a:ext cx="306388" cy="538163"/>
              </a:xfrm>
              <a:custGeom>
                <a:avLst/>
                <a:gdLst>
                  <a:gd name="T0" fmla="*/ 2147483647 w 762"/>
                  <a:gd name="T1" fmla="*/ 2147483647 h 1338"/>
                  <a:gd name="T2" fmla="*/ 2147483647 w 762"/>
                  <a:gd name="T3" fmla="*/ 2147483647 h 1338"/>
                  <a:gd name="T4" fmla="*/ 2147483647 w 762"/>
                  <a:gd name="T5" fmla="*/ 2147483647 h 1338"/>
                  <a:gd name="T6" fmla="*/ 2147483647 w 762"/>
                  <a:gd name="T7" fmla="*/ 2147483647 h 1338"/>
                  <a:gd name="T8" fmla="*/ 2147483647 w 762"/>
                  <a:gd name="T9" fmla="*/ 2147483647 h 1338"/>
                  <a:gd name="T10" fmla="*/ 2147483647 w 762"/>
                  <a:gd name="T11" fmla="*/ 2147483647 h 1338"/>
                  <a:gd name="T12" fmla="*/ 2147483647 w 762"/>
                  <a:gd name="T13" fmla="*/ 2147483647 h 1338"/>
                  <a:gd name="T14" fmla="*/ 2147483647 w 762"/>
                  <a:gd name="T15" fmla="*/ 2147483647 h 1338"/>
                  <a:gd name="T16" fmla="*/ 2147483647 w 762"/>
                  <a:gd name="T17" fmla="*/ 2147483647 h 1338"/>
                  <a:gd name="T18" fmla="*/ 2147483647 w 762"/>
                  <a:gd name="T19" fmla="*/ 2147483647 h 1338"/>
                  <a:gd name="T20" fmla="*/ 2147483647 w 762"/>
                  <a:gd name="T21" fmla="*/ 2147483647 h 1338"/>
                  <a:gd name="T22" fmla="*/ 2147483647 w 762"/>
                  <a:gd name="T23" fmla="*/ 2147483647 h 1338"/>
                  <a:gd name="T24" fmla="*/ 2147483647 w 762"/>
                  <a:gd name="T25" fmla="*/ 2147483647 h 1338"/>
                  <a:gd name="T26" fmla="*/ 2147483647 w 762"/>
                  <a:gd name="T27" fmla="*/ 2147483647 h 1338"/>
                  <a:gd name="T28" fmla="*/ 2147483647 w 762"/>
                  <a:gd name="T29" fmla="*/ 2147483647 h 1338"/>
                  <a:gd name="T30" fmla="*/ 2147483647 w 762"/>
                  <a:gd name="T31" fmla="*/ 2147483647 h 1338"/>
                  <a:gd name="T32" fmla="*/ 2147483647 w 762"/>
                  <a:gd name="T33" fmla="*/ 2147483647 h 1338"/>
                  <a:gd name="T34" fmla="*/ 2147483647 w 762"/>
                  <a:gd name="T35" fmla="*/ 2147483647 h 1338"/>
                  <a:gd name="T36" fmla="*/ 2147483647 w 762"/>
                  <a:gd name="T37" fmla="*/ 2147483647 h 1338"/>
                  <a:gd name="T38" fmla="*/ 2147483647 w 762"/>
                  <a:gd name="T39" fmla="*/ 2147483647 h 1338"/>
                  <a:gd name="T40" fmla="*/ 2147483647 w 762"/>
                  <a:gd name="T41" fmla="*/ 2147483647 h 1338"/>
                  <a:gd name="T42" fmla="*/ 2147483647 w 762"/>
                  <a:gd name="T43" fmla="*/ 2147483647 h 1338"/>
                  <a:gd name="T44" fmla="*/ 2147483647 w 762"/>
                  <a:gd name="T45" fmla="*/ 2147483647 h 1338"/>
                  <a:gd name="T46" fmla="*/ 2147483647 w 762"/>
                  <a:gd name="T47" fmla="*/ 2147483647 h 1338"/>
                  <a:gd name="T48" fmla="*/ 2147483647 w 762"/>
                  <a:gd name="T49" fmla="*/ 2147483647 h 1338"/>
                  <a:gd name="T50" fmla="*/ 2147483647 w 762"/>
                  <a:gd name="T51" fmla="*/ 2147483647 h 1338"/>
                  <a:gd name="T52" fmla="*/ 2147483647 w 762"/>
                  <a:gd name="T53" fmla="*/ 2147483647 h 1338"/>
                  <a:gd name="T54" fmla="*/ 2147483647 w 762"/>
                  <a:gd name="T55" fmla="*/ 2147483647 h 1338"/>
                  <a:gd name="T56" fmla="*/ 0 w 762"/>
                  <a:gd name="T57" fmla="*/ 2147483647 h 1338"/>
                  <a:gd name="T58" fmla="*/ 2147483647 w 762"/>
                  <a:gd name="T59" fmla="*/ 2147483647 h 1338"/>
                  <a:gd name="T60" fmla="*/ 2147483647 w 762"/>
                  <a:gd name="T61" fmla="*/ 2147483647 h 1338"/>
                  <a:gd name="T62" fmla="*/ 2147483647 w 762"/>
                  <a:gd name="T63" fmla="*/ 2147483647 h 1338"/>
                  <a:gd name="T64" fmla="*/ 2147483647 w 762"/>
                  <a:gd name="T65" fmla="*/ 2147483647 h 1338"/>
                  <a:gd name="T66" fmla="*/ 2147483647 w 762"/>
                  <a:gd name="T67" fmla="*/ 2147483647 h 1338"/>
                  <a:gd name="T68" fmla="*/ 2147483647 w 762"/>
                  <a:gd name="T69" fmla="*/ 2147483647 h 1338"/>
                  <a:gd name="T70" fmla="*/ 2147483647 w 762"/>
                  <a:gd name="T71" fmla="*/ 2147483647 h 1338"/>
                  <a:gd name="T72" fmla="*/ 2147483647 w 762"/>
                  <a:gd name="T73" fmla="*/ 2147483647 h 1338"/>
                  <a:gd name="T74" fmla="*/ 2147483647 w 762"/>
                  <a:gd name="T75" fmla="*/ 2147483647 h 1338"/>
                  <a:gd name="T76" fmla="*/ 2147483647 w 762"/>
                  <a:gd name="T77" fmla="*/ 2147483647 h 1338"/>
                  <a:gd name="T78" fmla="*/ 2147483647 w 762"/>
                  <a:gd name="T79" fmla="*/ 2147483647 h 1338"/>
                  <a:gd name="T80" fmla="*/ 2147483647 w 762"/>
                  <a:gd name="T81" fmla="*/ 2147483647 h 1338"/>
                  <a:gd name="T82" fmla="*/ 2147483647 w 762"/>
                  <a:gd name="T83" fmla="*/ 2147483647 h 1338"/>
                  <a:gd name="T84" fmla="*/ 2147483647 w 762"/>
                  <a:gd name="T85" fmla="*/ 2147483647 h 1338"/>
                  <a:gd name="T86" fmla="*/ 2147483647 w 762"/>
                  <a:gd name="T87" fmla="*/ 2147483647 h 1338"/>
                  <a:gd name="T88" fmla="*/ 2147483647 w 762"/>
                  <a:gd name="T89" fmla="*/ 2147483647 h 1338"/>
                  <a:gd name="T90" fmla="*/ 2147483647 w 762"/>
                  <a:gd name="T91" fmla="*/ 2147483647 h 1338"/>
                  <a:gd name="T92" fmla="*/ 2147483647 w 762"/>
                  <a:gd name="T93" fmla="*/ 2147483647 h 1338"/>
                  <a:gd name="T94" fmla="*/ 2147483647 w 762"/>
                  <a:gd name="T95" fmla="*/ 2147483647 h 1338"/>
                  <a:gd name="T96" fmla="*/ 2147483647 w 762"/>
                  <a:gd name="T97" fmla="*/ 2147483647 h 1338"/>
                  <a:gd name="T98" fmla="*/ 2147483647 w 762"/>
                  <a:gd name="T99" fmla="*/ 2147483647 h 1338"/>
                  <a:gd name="T100" fmla="*/ 2147483647 w 762"/>
                  <a:gd name="T101" fmla="*/ 2147483647 h 1338"/>
                  <a:gd name="T102" fmla="*/ 2147483647 w 762"/>
                  <a:gd name="T103" fmla="*/ 2147483647 h 1338"/>
                  <a:gd name="T104" fmla="*/ 2147483647 w 762"/>
                  <a:gd name="T105" fmla="*/ 2147483647 h 1338"/>
                  <a:gd name="T106" fmla="*/ 2147483647 w 762"/>
                  <a:gd name="T107" fmla="*/ 2147483647 h 1338"/>
                  <a:gd name="T108" fmla="*/ 2147483647 w 762"/>
                  <a:gd name="T109" fmla="*/ 2147483647 h 1338"/>
                  <a:gd name="T110" fmla="*/ 2147483647 w 762"/>
                  <a:gd name="T111" fmla="*/ 2147483647 h 1338"/>
                  <a:gd name="T112" fmla="*/ 2147483647 w 762"/>
                  <a:gd name="T113" fmla="*/ 2147483647 h 1338"/>
                  <a:gd name="T114" fmla="*/ 2147483647 w 762"/>
                  <a:gd name="T115" fmla="*/ 2147483647 h 1338"/>
                  <a:gd name="T116" fmla="*/ 2147483647 w 762"/>
                  <a:gd name="T117" fmla="*/ 2147483647 h 1338"/>
                  <a:gd name="T118" fmla="*/ 2147483647 w 762"/>
                  <a:gd name="T119" fmla="*/ 2147483647 h 1338"/>
                  <a:gd name="T120" fmla="*/ 2147483647 w 762"/>
                  <a:gd name="T121" fmla="*/ 2147483647 h 1338"/>
                  <a:gd name="T122" fmla="*/ 2147483647 w 762"/>
                  <a:gd name="T123" fmla="*/ 2147483647 h 133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762"/>
                  <a:gd name="T187" fmla="*/ 0 h 1338"/>
                  <a:gd name="T188" fmla="*/ 762 w 762"/>
                  <a:gd name="T189" fmla="*/ 1338 h 133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762" h="1338">
                    <a:moveTo>
                      <a:pt x="762" y="342"/>
                    </a:moveTo>
                    <a:lnTo>
                      <a:pt x="762" y="324"/>
                    </a:lnTo>
                    <a:lnTo>
                      <a:pt x="756" y="318"/>
                    </a:lnTo>
                    <a:lnTo>
                      <a:pt x="744" y="318"/>
                    </a:lnTo>
                    <a:lnTo>
                      <a:pt x="744" y="258"/>
                    </a:lnTo>
                    <a:lnTo>
                      <a:pt x="732" y="246"/>
                    </a:lnTo>
                    <a:lnTo>
                      <a:pt x="750" y="234"/>
                    </a:lnTo>
                    <a:lnTo>
                      <a:pt x="738" y="186"/>
                    </a:lnTo>
                    <a:lnTo>
                      <a:pt x="750" y="156"/>
                    </a:lnTo>
                    <a:lnTo>
                      <a:pt x="738" y="120"/>
                    </a:lnTo>
                    <a:lnTo>
                      <a:pt x="738" y="108"/>
                    </a:lnTo>
                    <a:lnTo>
                      <a:pt x="750" y="72"/>
                    </a:lnTo>
                    <a:lnTo>
                      <a:pt x="756" y="42"/>
                    </a:lnTo>
                    <a:lnTo>
                      <a:pt x="756" y="12"/>
                    </a:lnTo>
                    <a:lnTo>
                      <a:pt x="744" y="0"/>
                    </a:lnTo>
                    <a:lnTo>
                      <a:pt x="666" y="54"/>
                    </a:lnTo>
                    <a:lnTo>
                      <a:pt x="636" y="60"/>
                    </a:lnTo>
                    <a:lnTo>
                      <a:pt x="630" y="60"/>
                    </a:lnTo>
                    <a:lnTo>
                      <a:pt x="618" y="72"/>
                    </a:lnTo>
                    <a:lnTo>
                      <a:pt x="606" y="78"/>
                    </a:lnTo>
                    <a:lnTo>
                      <a:pt x="594" y="78"/>
                    </a:lnTo>
                    <a:lnTo>
                      <a:pt x="594" y="72"/>
                    </a:lnTo>
                    <a:lnTo>
                      <a:pt x="588" y="66"/>
                    </a:lnTo>
                    <a:lnTo>
                      <a:pt x="564" y="66"/>
                    </a:lnTo>
                    <a:lnTo>
                      <a:pt x="558" y="72"/>
                    </a:lnTo>
                    <a:lnTo>
                      <a:pt x="552" y="84"/>
                    </a:lnTo>
                    <a:lnTo>
                      <a:pt x="540" y="90"/>
                    </a:lnTo>
                    <a:lnTo>
                      <a:pt x="528" y="102"/>
                    </a:lnTo>
                    <a:lnTo>
                      <a:pt x="510" y="102"/>
                    </a:lnTo>
                    <a:lnTo>
                      <a:pt x="498" y="96"/>
                    </a:lnTo>
                    <a:lnTo>
                      <a:pt x="492" y="90"/>
                    </a:lnTo>
                    <a:lnTo>
                      <a:pt x="486" y="90"/>
                    </a:lnTo>
                    <a:lnTo>
                      <a:pt x="468" y="108"/>
                    </a:lnTo>
                    <a:lnTo>
                      <a:pt x="456" y="108"/>
                    </a:lnTo>
                    <a:lnTo>
                      <a:pt x="450" y="102"/>
                    </a:lnTo>
                    <a:lnTo>
                      <a:pt x="438" y="96"/>
                    </a:lnTo>
                    <a:lnTo>
                      <a:pt x="432" y="84"/>
                    </a:lnTo>
                    <a:lnTo>
                      <a:pt x="420" y="78"/>
                    </a:lnTo>
                    <a:lnTo>
                      <a:pt x="408" y="78"/>
                    </a:lnTo>
                    <a:lnTo>
                      <a:pt x="396" y="90"/>
                    </a:lnTo>
                    <a:lnTo>
                      <a:pt x="390" y="90"/>
                    </a:lnTo>
                    <a:lnTo>
                      <a:pt x="384" y="96"/>
                    </a:lnTo>
                    <a:lnTo>
                      <a:pt x="354" y="96"/>
                    </a:lnTo>
                    <a:lnTo>
                      <a:pt x="354" y="114"/>
                    </a:lnTo>
                    <a:lnTo>
                      <a:pt x="330" y="138"/>
                    </a:lnTo>
                    <a:lnTo>
                      <a:pt x="330" y="150"/>
                    </a:lnTo>
                    <a:lnTo>
                      <a:pt x="342" y="162"/>
                    </a:lnTo>
                    <a:lnTo>
                      <a:pt x="348" y="174"/>
                    </a:lnTo>
                    <a:lnTo>
                      <a:pt x="348" y="204"/>
                    </a:lnTo>
                    <a:lnTo>
                      <a:pt x="342" y="216"/>
                    </a:lnTo>
                    <a:lnTo>
                      <a:pt x="336" y="234"/>
                    </a:lnTo>
                    <a:lnTo>
                      <a:pt x="336" y="246"/>
                    </a:lnTo>
                    <a:lnTo>
                      <a:pt x="342" y="246"/>
                    </a:lnTo>
                    <a:lnTo>
                      <a:pt x="342" y="252"/>
                    </a:lnTo>
                    <a:lnTo>
                      <a:pt x="348" y="252"/>
                    </a:lnTo>
                    <a:lnTo>
                      <a:pt x="372" y="276"/>
                    </a:lnTo>
                    <a:lnTo>
                      <a:pt x="384" y="300"/>
                    </a:lnTo>
                    <a:lnTo>
                      <a:pt x="390" y="306"/>
                    </a:lnTo>
                    <a:lnTo>
                      <a:pt x="396" y="318"/>
                    </a:lnTo>
                    <a:lnTo>
                      <a:pt x="408" y="336"/>
                    </a:lnTo>
                    <a:lnTo>
                      <a:pt x="420" y="348"/>
                    </a:lnTo>
                    <a:lnTo>
                      <a:pt x="420" y="366"/>
                    </a:lnTo>
                    <a:lnTo>
                      <a:pt x="414" y="372"/>
                    </a:lnTo>
                    <a:lnTo>
                      <a:pt x="408" y="384"/>
                    </a:lnTo>
                    <a:lnTo>
                      <a:pt x="402" y="390"/>
                    </a:lnTo>
                    <a:lnTo>
                      <a:pt x="402" y="450"/>
                    </a:lnTo>
                    <a:lnTo>
                      <a:pt x="396" y="456"/>
                    </a:lnTo>
                    <a:lnTo>
                      <a:pt x="372" y="456"/>
                    </a:lnTo>
                    <a:lnTo>
                      <a:pt x="360" y="462"/>
                    </a:lnTo>
                    <a:lnTo>
                      <a:pt x="354" y="474"/>
                    </a:lnTo>
                    <a:lnTo>
                      <a:pt x="354" y="492"/>
                    </a:lnTo>
                    <a:lnTo>
                      <a:pt x="360" y="492"/>
                    </a:lnTo>
                    <a:lnTo>
                      <a:pt x="366" y="498"/>
                    </a:lnTo>
                    <a:lnTo>
                      <a:pt x="366" y="528"/>
                    </a:lnTo>
                    <a:lnTo>
                      <a:pt x="354" y="534"/>
                    </a:lnTo>
                    <a:lnTo>
                      <a:pt x="348" y="540"/>
                    </a:lnTo>
                    <a:lnTo>
                      <a:pt x="342" y="534"/>
                    </a:lnTo>
                    <a:lnTo>
                      <a:pt x="342" y="522"/>
                    </a:lnTo>
                    <a:lnTo>
                      <a:pt x="348" y="516"/>
                    </a:lnTo>
                    <a:lnTo>
                      <a:pt x="348" y="504"/>
                    </a:lnTo>
                    <a:lnTo>
                      <a:pt x="336" y="498"/>
                    </a:lnTo>
                    <a:lnTo>
                      <a:pt x="330" y="492"/>
                    </a:lnTo>
                    <a:lnTo>
                      <a:pt x="318" y="486"/>
                    </a:lnTo>
                    <a:lnTo>
                      <a:pt x="312" y="480"/>
                    </a:lnTo>
                    <a:lnTo>
                      <a:pt x="300" y="474"/>
                    </a:lnTo>
                    <a:lnTo>
                      <a:pt x="300" y="444"/>
                    </a:lnTo>
                    <a:lnTo>
                      <a:pt x="288" y="444"/>
                    </a:lnTo>
                    <a:lnTo>
                      <a:pt x="288" y="438"/>
                    </a:lnTo>
                    <a:lnTo>
                      <a:pt x="294" y="432"/>
                    </a:lnTo>
                    <a:lnTo>
                      <a:pt x="306" y="426"/>
                    </a:lnTo>
                    <a:lnTo>
                      <a:pt x="312" y="420"/>
                    </a:lnTo>
                    <a:lnTo>
                      <a:pt x="300" y="402"/>
                    </a:lnTo>
                    <a:lnTo>
                      <a:pt x="312" y="396"/>
                    </a:lnTo>
                    <a:lnTo>
                      <a:pt x="318" y="366"/>
                    </a:lnTo>
                    <a:lnTo>
                      <a:pt x="312" y="366"/>
                    </a:lnTo>
                    <a:lnTo>
                      <a:pt x="312" y="330"/>
                    </a:lnTo>
                    <a:lnTo>
                      <a:pt x="306" y="324"/>
                    </a:lnTo>
                    <a:lnTo>
                      <a:pt x="288" y="324"/>
                    </a:lnTo>
                    <a:lnTo>
                      <a:pt x="282" y="330"/>
                    </a:lnTo>
                    <a:lnTo>
                      <a:pt x="252" y="330"/>
                    </a:lnTo>
                    <a:lnTo>
                      <a:pt x="222" y="282"/>
                    </a:lnTo>
                    <a:lnTo>
                      <a:pt x="216" y="282"/>
                    </a:lnTo>
                    <a:lnTo>
                      <a:pt x="210" y="288"/>
                    </a:lnTo>
                    <a:lnTo>
                      <a:pt x="192" y="294"/>
                    </a:lnTo>
                    <a:lnTo>
                      <a:pt x="180" y="300"/>
                    </a:lnTo>
                    <a:lnTo>
                      <a:pt x="162" y="312"/>
                    </a:lnTo>
                    <a:lnTo>
                      <a:pt x="138" y="324"/>
                    </a:lnTo>
                    <a:lnTo>
                      <a:pt x="132" y="324"/>
                    </a:lnTo>
                    <a:lnTo>
                      <a:pt x="120" y="330"/>
                    </a:lnTo>
                    <a:lnTo>
                      <a:pt x="102" y="336"/>
                    </a:lnTo>
                    <a:lnTo>
                      <a:pt x="84" y="336"/>
                    </a:lnTo>
                    <a:lnTo>
                      <a:pt x="72" y="342"/>
                    </a:lnTo>
                    <a:lnTo>
                      <a:pt x="60" y="342"/>
                    </a:lnTo>
                    <a:lnTo>
                      <a:pt x="42" y="360"/>
                    </a:lnTo>
                    <a:lnTo>
                      <a:pt x="12" y="360"/>
                    </a:lnTo>
                    <a:lnTo>
                      <a:pt x="0" y="372"/>
                    </a:lnTo>
                    <a:lnTo>
                      <a:pt x="18" y="390"/>
                    </a:lnTo>
                    <a:lnTo>
                      <a:pt x="24" y="444"/>
                    </a:lnTo>
                    <a:lnTo>
                      <a:pt x="84" y="444"/>
                    </a:lnTo>
                    <a:lnTo>
                      <a:pt x="96" y="462"/>
                    </a:lnTo>
                    <a:lnTo>
                      <a:pt x="114" y="462"/>
                    </a:lnTo>
                    <a:lnTo>
                      <a:pt x="132" y="486"/>
                    </a:lnTo>
                    <a:lnTo>
                      <a:pt x="138" y="486"/>
                    </a:lnTo>
                    <a:lnTo>
                      <a:pt x="150" y="480"/>
                    </a:lnTo>
                    <a:lnTo>
                      <a:pt x="162" y="480"/>
                    </a:lnTo>
                    <a:lnTo>
                      <a:pt x="180" y="498"/>
                    </a:lnTo>
                    <a:lnTo>
                      <a:pt x="192" y="498"/>
                    </a:lnTo>
                    <a:lnTo>
                      <a:pt x="204" y="510"/>
                    </a:lnTo>
                    <a:lnTo>
                      <a:pt x="204" y="516"/>
                    </a:lnTo>
                    <a:lnTo>
                      <a:pt x="198" y="528"/>
                    </a:lnTo>
                    <a:lnTo>
                      <a:pt x="192" y="534"/>
                    </a:lnTo>
                    <a:lnTo>
                      <a:pt x="204" y="552"/>
                    </a:lnTo>
                    <a:lnTo>
                      <a:pt x="192" y="564"/>
                    </a:lnTo>
                    <a:lnTo>
                      <a:pt x="204" y="576"/>
                    </a:lnTo>
                    <a:lnTo>
                      <a:pt x="198" y="582"/>
                    </a:lnTo>
                    <a:lnTo>
                      <a:pt x="198" y="588"/>
                    </a:lnTo>
                    <a:lnTo>
                      <a:pt x="192" y="594"/>
                    </a:lnTo>
                    <a:lnTo>
                      <a:pt x="192" y="606"/>
                    </a:lnTo>
                    <a:lnTo>
                      <a:pt x="204" y="630"/>
                    </a:lnTo>
                    <a:lnTo>
                      <a:pt x="204" y="642"/>
                    </a:lnTo>
                    <a:lnTo>
                      <a:pt x="198" y="648"/>
                    </a:lnTo>
                    <a:lnTo>
                      <a:pt x="198" y="654"/>
                    </a:lnTo>
                    <a:lnTo>
                      <a:pt x="192" y="654"/>
                    </a:lnTo>
                    <a:lnTo>
                      <a:pt x="192" y="666"/>
                    </a:lnTo>
                    <a:lnTo>
                      <a:pt x="174" y="678"/>
                    </a:lnTo>
                    <a:lnTo>
                      <a:pt x="192" y="702"/>
                    </a:lnTo>
                    <a:lnTo>
                      <a:pt x="174" y="720"/>
                    </a:lnTo>
                    <a:lnTo>
                      <a:pt x="174" y="732"/>
                    </a:lnTo>
                    <a:lnTo>
                      <a:pt x="198" y="756"/>
                    </a:lnTo>
                    <a:lnTo>
                      <a:pt x="198" y="762"/>
                    </a:lnTo>
                    <a:lnTo>
                      <a:pt x="192" y="774"/>
                    </a:lnTo>
                    <a:lnTo>
                      <a:pt x="180" y="786"/>
                    </a:lnTo>
                    <a:lnTo>
                      <a:pt x="180" y="798"/>
                    </a:lnTo>
                    <a:lnTo>
                      <a:pt x="168" y="810"/>
                    </a:lnTo>
                    <a:lnTo>
                      <a:pt x="156" y="816"/>
                    </a:lnTo>
                    <a:lnTo>
                      <a:pt x="156" y="846"/>
                    </a:lnTo>
                    <a:lnTo>
                      <a:pt x="144" y="858"/>
                    </a:lnTo>
                    <a:lnTo>
                      <a:pt x="156" y="876"/>
                    </a:lnTo>
                    <a:lnTo>
                      <a:pt x="138" y="882"/>
                    </a:lnTo>
                    <a:lnTo>
                      <a:pt x="72" y="966"/>
                    </a:lnTo>
                    <a:lnTo>
                      <a:pt x="72" y="996"/>
                    </a:lnTo>
                    <a:lnTo>
                      <a:pt x="78" y="1014"/>
                    </a:lnTo>
                    <a:lnTo>
                      <a:pt x="78" y="1032"/>
                    </a:lnTo>
                    <a:lnTo>
                      <a:pt x="84" y="1044"/>
                    </a:lnTo>
                    <a:lnTo>
                      <a:pt x="84" y="1062"/>
                    </a:lnTo>
                    <a:lnTo>
                      <a:pt x="114" y="1122"/>
                    </a:lnTo>
                    <a:lnTo>
                      <a:pt x="114" y="1212"/>
                    </a:lnTo>
                    <a:lnTo>
                      <a:pt x="90" y="1248"/>
                    </a:lnTo>
                    <a:lnTo>
                      <a:pt x="114" y="1248"/>
                    </a:lnTo>
                    <a:lnTo>
                      <a:pt x="108" y="1260"/>
                    </a:lnTo>
                    <a:lnTo>
                      <a:pt x="108" y="1284"/>
                    </a:lnTo>
                    <a:lnTo>
                      <a:pt x="114" y="1290"/>
                    </a:lnTo>
                    <a:lnTo>
                      <a:pt x="120" y="1290"/>
                    </a:lnTo>
                    <a:lnTo>
                      <a:pt x="126" y="1314"/>
                    </a:lnTo>
                    <a:lnTo>
                      <a:pt x="144" y="1314"/>
                    </a:lnTo>
                    <a:lnTo>
                      <a:pt x="156" y="1326"/>
                    </a:lnTo>
                    <a:lnTo>
                      <a:pt x="162" y="1338"/>
                    </a:lnTo>
                    <a:lnTo>
                      <a:pt x="168" y="1320"/>
                    </a:lnTo>
                    <a:lnTo>
                      <a:pt x="168" y="1284"/>
                    </a:lnTo>
                    <a:lnTo>
                      <a:pt x="162" y="1272"/>
                    </a:lnTo>
                    <a:lnTo>
                      <a:pt x="156" y="1266"/>
                    </a:lnTo>
                    <a:lnTo>
                      <a:pt x="150" y="1266"/>
                    </a:lnTo>
                    <a:lnTo>
                      <a:pt x="150" y="1242"/>
                    </a:lnTo>
                    <a:lnTo>
                      <a:pt x="162" y="1230"/>
                    </a:lnTo>
                    <a:lnTo>
                      <a:pt x="222" y="1188"/>
                    </a:lnTo>
                    <a:lnTo>
                      <a:pt x="276" y="1158"/>
                    </a:lnTo>
                    <a:lnTo>
                      <a:pt x="294" y="1146"/>
                    </a:lnTo>
                    <a:lnTo>
                      <a:pt x="312" y="1140"/>
                    </a:lnTo>
                    <a:lnTo>
                      <a:pt x="330" y="1128"/>
                    </a:lnTo>
                    <a:lnTo>
                      <a:pt x="342" y="1122"/>
                    </a:lnTo>
                    <a:lnTo>
                      <a:pt x="360" y="1104"/>
                    </a:lnTo>
                    <a:lnTo>
                      <a:pt x="360" y="1080"/>
                    </a:lnTo>
                    <a:lnTo>
                      <a:pt x="354" y="1080"/>
                    </a:lnTo>
                    <a:lnTo>
                      <a:pt x="354" y="1086"/>
                    </a:lnTo>
                    <a:lnTo>
                      <a:pt x="348" y="1080"/>
                    </a:lnTo>
                    <a:lnTo>
                      <a:pt x="342" y="1080"/>
                    </a:lnTo>
                    <a:lnTo>
                      <a:pt x="342" y="1068"/>
                    </a:lnTo>
                    <a:lnTo>
                      <a:pt x="366" y="1020"/>
                    </a:lnTo>
                    <a:lnTo>
                      <a:pt x="366" y="990"/>
                    </a:lnTo>
                    <a:lnTo>
                      <a:pt x="360" y="984"/>
                    </a:lnTo>
                    <a:lnTo>
                      <a:pt x="360" y="978"/>
                    </a:lnTo>
                    <a:lnTo>
                      <a:pt x="372" y="948"/>
                    </a:lnTo>
                    <a:lnTo>
                      <a:pt x="366" y="942"/>
                    </a:lnTo>
                    <a:lnTo>
                      <a:pt x="348" y="960"/>
                    </a:lnTo>
                    <a:lnTo>
                      <a:pt x="354" y="918"/>
                    </a:lnTo>
                    <a:lnTo>
                      <a:pt x="348" y="906"/>
                    </a:lnTo>
                    <a:lnTo>
                      <a:pt x="336" y="900"/>
                    </a:lnTo>
                    <a:lnTo>
                      <a:pt x="330" y="888"/>
                    </a:lnTo>
                    <a:lnTo>
                      <a:pt x="330" y="870"/>
                    </a:lnTo>
                    <a:lnTo>
                      <a:pt x="336" y="858"/>
                    </a:lnTo>
                    <a:lnTo>
                      <a:pt x="336" y="834"/>
                    </a:lnTo>
                    <a:lnTo>
                      <a:pt x="324" y="822"/>
                    </a:lnTo>
                    <a:lnTo>
                      <a:pt x="318" y="822"/>
                    </a:lnTo>
                    <a:lnTo>
                      <a:pt x="312" y="816"/>
                    </a:lnTo>
                    <a:lnTo>
                      <a:pt x="312" y="792"/>
                    </a:lnTo>
                    <a:lnTo>
                      <a:pt x="318" y="780"/>
                    </a:lnTo>
                    <a:lnTo>
                      <a:pt x="324" y="762"/>
                    </a:lnTo>
                    <a:lnTo>
                      <a:pt x="336" y="750"/>
                    </a:lnTo>
                    <a:lnTo>
                      <a:pt x="372" y="732"/>
                    </a:lnTo>
                    <a:lnTo>
                      <a:pt x="378" y="726"/>
                    </a:lnTo>
                    <a:lnTo>
                      <a:pt x="378" y="714"/>
                    </a:lnTo>
                    <a:lnTo>
                      <a:pt x="390" y="690"/>
                    </a:lnTo>
                    <a:lnTo>
                      <a:pt x="396" y="684"/>
                    </a:lnTo>
                    <a:lnTo>
                      <a:pt x="402" y="684"/>
                    </a:lnTo>
                    <a:lnTo>
                      <a:pt x="414" y="678"/>
                    </a:lnTo>
                    <a:lnTo>
                      <a:pt x="420" y="678"/>
                    </a:lnTo>
                    <a:lnTo>
                      <a:pt x="426" y="672"/>
                    </a:lnTo>
                    <a:lnTo>
                      <a:pt x="450" y="660"/>
                    </a:lnTo>
                    <a:lnTo>
                      <a:pt x="462" y="648"/>
                    </a:lnTo>
                    <a:lnTo>
                      <a:pt x="474" y="612"/>
                    </a:lnTo>
                    <a:lnTo>
                      <a:pt x="498" y="576"/>
                    </a:lnTo>
                    <a:lnTo>
                      <a:pt x="522" y="564"/>
                    </a:lnTo>
                    <a:lnTo>
                      <a:pt x="558" y="552"/>
                    </a:lnTo>
                    <a:lnTo>
                      <a:pt x="600" y="534"/>
                    </a:lnTo>
                    <a:lnTo>
                      <a:pt x="624" y="522"/>
                    </a:lnTo>
                    <a:lnTo>
                      <a:pt x="630" y="516"/>
                    </a:lnTo>
                    <a:lnTo>
                      <a:pt x="666" y="498"/>
                    </a:lnTo>
                    <a:lnTo>
                      <a:pt x="672" y="492"/>
                    </a:lnTo>
                    <a:lnTo>
                      <a:pt x="684" y="486"/>
                    </a:lnTo>
                    <a:lnTo>
                      <a:pt x="684" y="474"/>
                    </a:lnTo>
                    <a:lnTo>
                      <a:pt x="714" y="444"/>
                    </a:lnTo>
                    <a:lnTo>
                      <a:pt x="714" y="432"/>
                    </a:lnTo>
                    <a:lnTo>
                      <a:pt x="720" y="420"/>
                    </a:lnTo>
                    <a:lnTo>
                      <a:pt x="732" y="414"/>
                    </a:lnTo>
                    <a:lnTo>
                      <a:pt x="738" y="402"/>
                    </a:lnTo>
                    <a:lnTo>
                      <a:pt x="744" y="396"/>
                    </a:lnTo>
                    <a:lnTo>
                      <a:pt x="744" y="378"/>
                    </a:lnTo>
                    <a:lnTo>
                      <a:pt x="750" y="372"/>
                    </a:lnTo>
                    <a:lnTo>
                      <a:pt x="762" y="348"/>
                    </a:lnTo>
                    <a:lnTo>
                      <a:pt x="762" y="342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21" name="Morocco"/>
              <p:cNvSpPr>
                <a:spLocks/>
              </p:cNvSpPr>
              <p:nvPr/>
            </p:nvSpPr>
            <p:spPr bwMode="gray">
              <a:xfrm>
                <a:off x="3857631" y="2914653"/>
                <a:ext cx="342901" cy="265113"/>
              </a:xfrm>
              <a:custGeom>
                <a:avLst/>
                <a:gdLst>
                  <a:gd name="T0" fmla="*/ 2147483647 w 846"/>
                  <a:gd name="T1" fmla="*/ 2147483647 h 660"/>
                  <a:gd name="T2" fmla="*/ 2147483647 w 846"/>
                  <a:gd name="T3" fmla="*/ 2147483647 h 660"/>
                  <a:gd name="T4" fmla="*/ 2147483647 w 846"/>
                  <a:gd name="T5" fmla="*/ 2147483647 h 660"/>
                  <a:gd name="T6" fmla="*/ 2147483647 w 846"/>
                  <a:gd name="T7" fmla="*/ 2147483647 h 660"/>
                  <a:gd name="T8" fmla="*/ 2147483647 w 846"/>
                  <a:gd name="T9" fmla="*/ 2147483647 h 660"/>
                  <a:gd name="T10" fmla="*/ 2147483647 w 846"/>
                  <a:gd name="T11" fmla="*/ 2147483647 h 660"/>
                  <a:gd name="T12" fmla="*/ 2147483647 w 846"/>
                  <a:gd name="T13" fmla="*/ 2147483647 h 660"/>
                  <a:gd name="T14" fmla="*/ 2147483647 w 846"/>
                  <a:gd name="T15" fmla="*/ 2147483647 h 660"/>
                  <a:gd name="T16" fmla="*/ 2147483647 w 846"/>
                  <a:gd name="T17" fmla="*/ 2147483647 h 660"/>
                  <a:gd name="T18" fmla="*/ 2147483647 w 846"/>
                  <a:gd name="T19" fmla="*/ 0 h 660"/>
                  <a:gd name="T20" fmla="*/ 2147483647 w 846"/>
                  <a:gd name="T21" fmla="*/ 2147483647 h 660"/>
                  <a:gd name="T22" fmla="*/ 2147483647 w 846"/>
                  <a:gd name="T23" fmla="*/ 2147483647 h 660"/>
                  <a:gd name="T24" fmla="*/ 2147483647 w 846"/>
                  <a:gd name="T25" fmla="*/ 2147483647 h 660"/>
                  <a:gd name="T26" fmla="*/ 2147483647 w 846"/>
                  <a:gd name="T27" fmla="*/ 2147483647 h 660"/>
                  <a:gd name="T28" fmla="*/ 2147483647 w 846"/>
                  <a:gd name="T29" fmla="*/ 2147483647 h 660"/>
                  <a:gd name="T30" fmla="*/ 2147483647 w 846"/>
                  <a:gd name="T31" fmla="*/ 2147483647 h 660"/>
                  <a:gd name="T32" fmla="*/ 2147483647 w 846"/>
                  <a:gd name="T33" fmla="*/ 2147483647 h 660"/>
                  <a:gd name="T34" fmla="*/ 2147483647 w 846"/>
                  <a:gd name="T35" fmla="*/ 2147483647 h 660"/>
                  <a:gd name="T36" fmla="*/ 2147483647 w 846"/>
                  <a:gd name="T37" fmla="*/ 2147483647 h 660"/>
                  <a:gd name="T38" fmla="*/ 2147483647 w 846"/>
                  <a:gd name="T39" fmla="*/ 2147483647 h 660"/>
                  <a:gd name="T40" fmla="*/ 2147483647 w 846"/>
                  <a:gd name="T41" fmla="*/ 2147483647 h 660"/>
                  <a:gd name="T42" fmla="*/ 2147483647 w 846"/>
                  <a:gd name="T43" fmla="*/ 2147483647 h 660"/>
                  <a:gd name="T44" fmla="*/ 2147483647 w 846"/>
                  <a:gd name="T45" fmla="*/ 2147483647 h 660"/>
                  <a:gd name="T46" fmla="*/ 2147483647 w 846"/>
                  <a:gd name="T47" fmla="*/ 2147483647 h 660"/>
                  <a:gd name="T48" fmla="*/ 2147483647 w 846"/>
                  <a:gd name="T49" fmla="*/ 2147483647 h 660"/>
                  <a:gd name="T50" fmla="*/ 2147483647 w 846"/>
                  <a:gd name="T51" fmla="*/ 2147483647 h 660"/>
                  <a:gd name="T52" fmla="*/ 2147483647 w 846"/>
                  <a:gd name="T53" fmla="*/ 2147483647 h 660"/>
                  <a:gd name="T54" fmla="*/ 2147483647 w 846"/>
                  <a:gd name="T55" fmla="*/ 2147483647 h 660"/>
                  <a:gd name="T56" fmla="*/ 2147483647 w 846"/>
                  <a:gd name="T57" fmla="*/ 2147483647 h 660"/>
                  <a:gd name="T58" fmla="*/ 2147483647 w 846"/>
                  <a:gd name="T59" fmla="*/ 2147483647 h 660"/>
                  <a:gd name="T60" fmla="*/ 2147483647 w 846"/>
                  <a:gd name="T61" fmla="*/ 2147483647 h 660"/>
                  <a:gd name="T62" fmla="*/ 2147483647 w 846"/>
                  <a:gd name="T63" fmla="*/ 2147483647 h 660"/>
                  <a:gd name="T64" fmla="*/ 2147483647 w 846"/>
                  <a:gd name="T65" fmla="*/ 2147483647 h 660"/>
                  <a:gd name="T66" fmla="*/ 2147483647 w 846"/>
                  <a:gd name="T67" fmla="*/ 2147483647 h 660"/>
                  <a:gd name="T68" fmla="*/ 2147483647 w 846"/>
                  <a:gd name="T69" fmla="*/ 2147483647 h 660"/>
                  <a:gd name="T70" fmla="*/ 2147483647 w 846"/>
                  <a:gd name="T71" fmla="*/ 2147483647 h 660"/>
                  <a:gd name="T72" fmla="*/ 2147483647 w 846"/>
                  <a:gd name="T73" fmla="*/ 2147483647 h 660"/>
                  <a:gd name="T74" fmla="*/ 2147483647 w 846"/>
                  <a:gd name="T75" fmla="*/ 2147483647 h 660"/>
                  <a:gd name="T76" fmla="*/ 2147483647 w 846"/>
                  <a:gd name="T77" fmla="*/ 2147483647 h 660"/>
                  <a:gd name="T78" fmla="*/ 2147483647 w 846"/>
                  <a:gd name="T79" fmla="*/ 2147483647 h 660"/>
                  <a:gd name="T80" fmla="*/ 2147483647 w 846"/>
                  <a:gd name="T81" fmla="*/ 2147483647 h 660"/>
                  <a:gd name="T82" fmla="*/ 2147483647 w 846"/>
                  <a:gd name="T83" fmla="*/ 2147483647 h 660"/>
                  <a:gd name="T84" fmla="*/ 2147483647 w 846"/>
                  <a:gd name="T85" fmla="*/ 2147483647 h 660"/>
                  <a:gd name="T86" fmla="*/ 2147483647 w 846"/>
                  <a:gd name="T87" fmla="*/ 2147483647 h 660"/>
                  <a:gd name="T88" fmla="*/ 2147483647 w 846"/>
                  <a:gd name="T89" fmla="*/ 2147483647 h 66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846"/>
                  <a:gd name="T136" fmla="*/ 0 h 660"/>
                  <a:gd name="T137" fmla="*/ 846 w 846"/>
                  <a:gd name="T138" fmla="*/ 660 h 66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846" h="660">
                    <a:moveTo>
                      <a:pt x="822" y="246"/>
                    </a:moveTo>
                    <a:lnTo>
                      <a:pt x="822" y="216"/>
                    </a:lnTo>
                    <a:lnTo>
                      <a:pt x="804" y="216"/>
                    </a:lnTo>
                    <a:lnTo>
                      <a:pt x="816" y="186"/>
                    </a:lnTo>
                    <a:lnTo>
                      <a:pt x="804" y="168"/>
                    </a:lnTo>
                    <a:lnTo>
                      <a:pt x="810" y="102"/>
                    </a:lnTo>
                    <a:lnTo>
                      <a:pt x="798" y="102"/>
                    </a:lnTo>
                    <a:lnTo>
                      <a:pt x="798" y="90"/>
                    </a:lnTo>
                    <a:lnTo>
                      <a:pt x="804" y="84"/>
                    </a:lnTo>
                    <a:lnTo>
                      <a:pt x="792" y="78"/>
                    </a:lnTo>
                    <a:lnTo>
                      <a:pt x="786" y="66"/>
                    </a:lnTo>
                    <a:lnTo>
                      <a:pt x="780" y="60"/>
                    </a:lnTo>
                    <a:lnTo>
                      <a:pt x="744" y="42"/>
                    </a:lnTo>
                    <a:lnTo>
                      <a:pt x="720" y="42"/>
                    </a:lnTo>
                    <a:lnTo>
                      <a:pt x="708" y="48"/>
                    </a:lnTo>
                    <a:lnTo>
                      <a:pt x="702" y="54"/>
                    </a:lnTo>
                    <a:lnTo>
                      <a:pt x="696" y="54"/>
                    </a:lnTo>
                    <a:lnTo>
                      <a:pt x="690" y="48"/>
                    </a:lnTo>
                    <a:lnTo>
                      <a:pt x="678" y="48"/>
                    </a:lnTo>
                    <a:lnTo>
                      <a:pt x="666" y="42"/>
                    </a:lnTo>
                    <a:lnTo>
                      <a:pt x="654" y="42"/>
                    </a:lnTo>
                    <a:lnTo>
                      <a:pt x="642" y="48"/>
                    </a:lnTo>
                    <a:lnTo>
                      <a:pt x="636" y="54"/>
                    </a:lnTo>
                    <a:lnTo>
                      <a:pt x="624" y="54"/>
                    </a:lnTo>
                    <a:lnTo>
                      <a:pt x="588" y="36"/>
                    </a:lnTo>
                    <a:lnTo>
                      <a:pt x="570" y="18"/>
                    </a:lnTo>
                    <a:lnTo>
                      <a:pt x="564" y="6"/>
                    </a:lnTo>
                    <a:lnTo>
                      <a:pt x="558" y="6"/>
                    </a:lnTo>
                    <a:lnTo>
                      <a:pt x="552" y="0"/>
                    </a:lnTo>
                    <a:lnTo>
                      <a:pt x="528" y="0"/>
                    </a:lnTo>
                    <a:lnTo>
                      <a:pt x="528" y="6"/>
                    </a:lnTo>
                    <a:lnTo>
                      <a:pt x="522" y="12"/>
                    </a:lnTo>
                    <a:lnTo>
                      <a:pt x="522" y="30"/>
                    </a:lnTo>
                    <a:lnTo>
                      <a:pt x="516" y="48"/>
                    </a:lnTo>
                    <a:lnTo>
                      <a:pt x="498" y="84"/>
                    </a:lnTo>
                    <a:lnTo>
                      <a:pt x="492" y="102"/>
                    </a:lnTo>
                    <a:lnTo>
                      <a:pt x="468" y="138"/>
                    </a:lnTo>
                    <a:lnTo>
                      <a:pt x="462" y="150"/>
                    </a:lnTo>
                    <a:lnTo>
                      <a:pt x="450" y="162"/>
                    </a:lnTo>
                    <a:lnTo>
                      <a:pt x="438" y="168"/>
                    </a:lnTo>
                    <a:lnTo>
                      <a:pt x="420" y="168"/>
                    </a:lnTo>
                    <a:lnTo>
                      <a:pt x="408" y="174"/>
                    </a:lnTo>
                    <a:lnTo>
                      <a:pt x="402" y="174"/>
                    </a:lnTo>
                    <a:lnTo>
                      <a:pt x="396" y="180"/>
                    </a:lnTo>
                    <a:lnTo>
                      <a:pt x="384" y="186"/>
                    </a:lnTo>
                    <a:lnTo>
                      <a:pt x="378" y="198"/>
                    </a:lnTo>
                    <a:lnTo>
                      <a:pt x="360" y="192"/>
                    </a:lnTo>
                    <a:lnTo>
                      <a:pt x="330" y="204"/>
                    </a:lnTo>
                    <a:lnTo>
                      <a:pt x="330" y="210"/>
                    </a:lnTo>
                    <a:lnTo>
                      <a:pt x="324" y="216"/>
                    </a:lnTo>
                    <a:lnTo>
                      <a:pt x="324" y="228"/>
                    </a:lnTo>
                    <a:lnTo>
                      <a:pt x="318" y="240"/>
                    </a:lnTo>
                    <a:lnTo>
                      <a:pt x="312" y="240"/>
                    </a:lnTo>
                    <a:lnTo>
                      <a:pt x="288" y="264"/>
                    </a:lnTo>
                    <a:lnTo>
                      <a:pt x="288" y="288"/>
                    </a:lnTo>
                    <a:lnTo>
                      <a:pt x="276" y="312"/>
                    </a:lnTo>
                    <a:lnTo>
                      <a:pt x="264" y="324"/>
                    </a:lnTo>
                    <a:lnTo>
                      <a:pt x="258" y="336"/>
                    </a:lnTo>
                    <a:lnTo>
                      <a:pt x="246" y="354"/>
                    </a:lnTo>
                    <a:lnTo>
                      <a:pt x="246" y="402"/>
                    </a:lnTo>
                    <a:lnTo>
                      <a:pt x="240" y="408"/>
                    </a:lnTo>
                    <a:lnTo>
                      <a:pt x="234" y="408"/>
                    </a:lnTo>
                    <a:lnTo>
                      <a:pt x="234" y="414"/>
                    </a:lnTo>
                    <a:lnTo>
                      <a:pt x="240" y="420"/>
                    </a:lnTo>
                    <a:lnTo>
                      <a:pt x="252" y="420"/>
                    </a:lnTo>
                    <a:lnTo>
                      <a:pt x="252" y="474"/>
                    </a:lnTo>
                    <a:lnTo>
                      <a:pt x="240" y="474"/>
                    </a:lnTo>
                    <a:lnTo>
                      <a:pt x="228" y="480"/>
                    </a:lnTo>
                    <a:lnTo>
                      <a:pt x="192" y="540"/>
                    </a:lnTo>
                    <a:lnTo>
                      <a:pt x="180" y="552"/>
                    </a:lnTo>
                    <a:lnTo>
                      <a:pt x="168" y="552"/>
                    </a:lnTo>
                    <a:lnTo>
                      <a:pt x="162" y="558"/>
                    </a:lnTo>
                    <a:lnTo>
                      <a:pt x="150" y="564"/>
                    </a:lnTo>
                    <a:lnTo>
                      <a:pt x="144" y="576"/>
                    </a:lnTo>
                    <a:lnTo>
                      <a:pt x="132" y="588"/>
                    </a:lnTo>
                    <a:lnTo>
                      <a:pt x="126" y="600"/>
                    </a:lnTo>
                    <a:lnTo>
                      <a:pt x="120" y="606"/>
                    </a:lnTo>
                    <a:lnTo>
                      <a:pt x="84" y="624"/>
                    </a:lnTo>
                    <a:lnTo>
                      <a:pt x="66" y="624"/>
                    </a:lnTo>
                    <a:lnTo>
                      <a:pt x="54" y="630"/>
                    </a:lnTo>
                    <a:lnTo>
                      <a:pt x="48" y="630"/>
                    </a:lnTo>
                    <a:lnTo>
                      <a:pt x="42" y="636"/>
                    </a:lnTo>
                    <a:lnTo>
                      <a:pt x="12" y="636"/>
                    </a:lnTo>
                    <a:lnTo>
                      <a:pt x="6" y="642"/>
                    </a:lnTo>
                    <a:lnTo>
                      <a:pt x="6" y="654"/>
                    </a:lnTo>
                    <a:lnTo>
                      <a:pt x="0" y="660"/>
                    </a:lnTo>
                    <a:lnTo>
                      <a:pt x="312" y="660"/>
                    </a:lnTo>
                    <a:lnTo>
                      <a:pt x="312" y="600"/>
                    </a:lnTo>
                    <a:lnTo>
                      <a:pt x="318" y="570"/>
                    </a:lnTo>
                    <a:lnTo>
                      <a:pt x="330" y="564"/>
                    </a:lnTo>
                    <a:lnTo>
                      <a:pt x="336" y="558"/>
                    </a:lnTo>
                    <a:lnTo>
                      <a:pt x="348" y="552"/>
                    </a:lnTo>
                    <a:lnTo>
                      <a:pt x="378" y="522"/>
                    </a:lnTo>
                    <a:lnTo>
                      <a:pt x="378" y="516"/>
                    </a:lnTo>
                    <a:lnTo>
                      <a:pt x="396" y="516"/>
                    </a:lnTo>
                    <a:lnTo>
                      <a:pt x="426" y="498"/>
                    </a:lnTo>
                    <a:lnTo>
                      <a:pt x="438" y="504"/>
                    </a:lnTo>
                    <a:lnTo>
                      <a:pt x="444" y="510"/>
                    </a:lnTo>
                    <a:lnTo>
                      <a:pt x="456" y="510"/>
                    </a:lnTo>
                    <a:lnTo>
                      <a:pt x="462" y="498"/>
                    </a:lnTo>
                    <a:lnTo>
                      <a:pt x="462" y="492"/>
                    </a:lnTo>
                    <a:lnTo>
                      <a:pt x="486" y="486"/>
                    </a:lnTo>
                    <a:lnTo>
                      <a:pt x="492" y="474"/>
                    </a:lnTo>
                    <a:lnTo>
                      <a:pt x="504" y="474"/>
                    </a:lnTo>
                    <a:lnTo>
                      <a:pt x="516" y="480"/>
                    </a:lnTo>
                    <a:lnTo>
                      <a:pt x="540" y="480"/>
                    </a:lnTo>
                    <a:lnTo>
                      <a:pt x="552" y="468"/>
                    </a:lnTo>
                    <a:lnTo>
                      <a:pt x="564" y="444"/>
                    </a:lnTo>
                    <a:lnTo>
                      <a:pt x="570" y="438"/>
                    </a:lnTo>
                    <a:lnTo>
                      <a:pt x="576" y="426"/>
                    </a:lnTo>
                    <a:lnTo>
                      <a:pt x="618" y="426"/>
                    </a:lnTo>
                    <a:lnTo>
                      <a:pt x="624" y="420"/>
                    </a:lnTo>
                    <a:lnTo>
                      <a:pt x="636" y="414"/>
                    </a:lnTo>
                    <a:lnTo>
                      <a:pt x="648" y="402"/>
                    </a:lnTo>
                    <a:lnTo>
                      <a:pt x="648" y="396"/>
                    </a:lnTo>
                    <a:lnTo>
                      <a:pt x="672" y="384"/>
                    </a:lnTo>
                    <a:lnTo>
                      <a:pt x="660" y="366"/>
                    </a:lnTo>
                    <a:lnTo>
                      <a:pt x="654" y="354"/>
                    </a:lnTo>
                    <a:lnTo>
                      <a:pt x="648" y="348"/>
                    </a:lnTo>
                    <a:lnTo>
                      <a:pt x="648" y="336"/>
                    </a:lnTo>
                    <a:lnTo>
                      <a:pt x="654" y="330"/>
                    </a:lnTo>
                    <a:lnTo>
                      <a:pt x="678" y="330"/>
                    </a:lnTo>
                    <a:lnTo>
                      <a:pt x="690" y="324"/>
                    </a:lnTo>
                    <a:lnTo>
                      <a:pt x="714" y="324"/>
                    </a:lnTo>
                    <a:lnTo>
                      <a:pt x="714" y="312"/>
                    </a:lnTo>
                    <a:lnTo>
                      <a:pt x="720" y="306"/>
                    </a:lnTo>
                    <a:lnTo>
                      <a:pt x="720" y="300"/>
                    </a:lnTo>
                    <a:lnTo>
                      <a:pt x="732" y="300"/>
                    </a:lnTo>
                    <a:lnTo>
                      <a:pt x="738" y="306"/>
                    </a:lnTo>
                    <a:lnTo>
                      <a:pt x="744" y="300"/>
                    </a:lnTo>
                    <a:lnTo>
                      <a:pt x="744" y="294"/>
                    </a:lnTo>
                    <a:lnTo>
                      <a:pt x="762" y="294"/>
                    </a:lnTo>
                    <a:lnTo>
                      <a:pt x="774" y="300"/>
                    </a:lnTo>
                    <a:lnTo>
                      <a:pt x="828" y="294"/>
                    </a:lnTo>
                    <a:lnTo>
                      <a:pt x="828" y="282"/>
                    </a:lnTo>
                    <a:lnTo>
                      <a:pt x="846" y="264"/>
                    </a:lnTo>
                    <a:lnTo>
                      <a:pt x="822" y="246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22" name="Mauritania"/>
              <p:cNvSpPr>
                <a:spLocks/>
              </p:cNvSpPr>
              <p:nvPr/>
            </p:nvSpPr>
            <p:spPr bwMode="gray">
              <a:xfrm>
                <a:off x="3743329" y="3194052"/>
                <a:ext cx="344488" cy="404813"/>
              </a:xfrm>
              <a:custGeom>
                <a:avLst/>
                <a:gdLst>
                  <a:gd name="T0" fmla="*/ 2147483647 w 858"/>
                  <a:gd name="T1" fmla="*/ 2147483647 h 1002"/>
                  <a:gd name="T2" fmla="*/ 2147483647 w 858"/>
                  <a:gd name="T3" fmla="*/ 2147483647 h 1002"/>
                  <a:gd name="T4" fmla="*/ 2147483647 w 858"/>
                  <a:gd name="T5" fmla="*/ 2147483647 h 1002"/>
                  <a:gd name="T6" fmla="*/ 2147483647 w 858"/>
                  <a:gd name="T7" fmla="*/ 2147483647 h 1002"/>
                  <a:gd name="T8" fmla="*/ 2147483647 w 858"/>
                  <a:gd name="T9" fmla="*/ 2147483647 h 1002"/>
                  <a:gd name="T10" fmla="*/ 2147483647 w 858"/>
                  <a:gd name="T11" fmla="*/ 2147483647 h 1002"/>
                  <a:gd name="T12" fmla="*/ 2147483647 w 858"/>
                  <a:gd name="T13" fmla="*/ 2147483647 h 1002"/>
                  <a:gd name="T14" fmla="*/ 2147483647 w 858"/>
                  <a:gd name="T15" fmla="*/ 2147483647 h 1002"/>
                  <a:gd name="T16" fmla="*/ 2147483647 w 858"/>
                  <a:gd name="T17" fmla="*/ 2147483647 h 1002"/>
                  <a:gd name="T18" fmla="*/ 2147483647 w 858"/>
                  <a:gd name="T19" fmla="*/ 2147483647 h 1002"/>
                  <a:gd name="T20" fmla="*/ 2147483647 w 858"/>
                  <a:gd name="T21" fmla="*/ 2147483647 h 1002"/>
                  <a:gd name="T22" fmla="*/ 2147483647 w 858"/>
                  <a:gd name="T23" fmla="*/ 2147483647 h 1002"/>
                  <a:gd name="T24" fmla="*/ 2147483647 w 858"/>
                  <a:gd name="T25" fmla="*/ 2147483647 h 1002"/>
                  <a:gd name="T26" fmla="*/ 2147483647 w 858"/>
                  <a:gd name="T27" fmla="*/ 2147483647 h 1002"/>
                  <a:gd name="T28" fmla="*/ 2147483647 w 858"/>
                  <a:gd name="T29" fmla="*/ 2147483647 h 1002"/>
                  <a:gd name="T30" fmla="*/ 2147483647 w 858"/>
                  <a:gd name="T31" fmla="*/ 2147483647 h 1002"/>
                  <a:gd name="T32" fmla="*/ 2147483647 w 858"/>
                  <a:gd name="T33" fmla="*/ 2147483647 h 1002"/>
                  <a:gd name="T34" fmla="*/ 2147483647 w 858"/>
                  <a:gd name="T35" fmla="*/ 2147483647 h 1002"/>
                  <a:gd name="T36" fmla="*/ 2147483647 w 858"/>
                  <a:gd name="T37" fmla="*/ 2147483647 h 1002"/>
                  <a:gd name="T38" fmla="*/ 2147483647 w 858"/>
                  <a:gd name="T39" fmla="*/ 2147483647 h 1002"/>
                  <a:gd name="T40" fmla="*/ 2147483647 w 858"/>
                  <a:gd name="T41" fmla="*/ 2147483647 h 1002"/>
                  <a:gd name="T42" fmla="*/ 2147483647 w 858"/>
                  <a:gd name="T43" fmla="*/ 2147483647 h 1002"/>
                  <a:gd name="T44" fmla="*/ 2147483647 w 858"/>
                  <a:gd name="T45" fmla="*/ 2147483647 h 1002"/>
                  <a:gd name="T46" fmla="*/ 2147483647 w 858"/>
                  <a:gd name="T47" fmla="*/ 2147483647 h 1002"/>
                  <a:gd name="T48" fmla="*/ 2147483647 w 858"/>
                  <a:gd name="T49" fmla="*/ 2147483647 h 1002"/>
                  <a:gd name="T50" fmla="*/ 2147483647 w 858"/>
                  <a:gd name="T51" fmla="*/ 2147483647 h 1002"/>
                  <a:gd name="T52" fmla="*/ 2147483647 w 858"/>
                  <a:gd name="T53" fmla="*/ 2147483647 h 1002"/>
                  <a:gd name="T54" fmla="*/ 2147483647 w 858"/>
                  <a:gd name="T55" fmla="*/ 2147483647 h 1002"/>
                  <a:gd name="T56" fmla="*/ 2147483647 w 858"/>
                  <a:gd name="T57" fmla="*/ 2147483647 h 1002"/>
                  <a:gd name="T58" fmla="*/ 2147483647 w 858"/>
                  <a:gd name="T59" fmla="*/ 2147483647 h 1002"/>
                  <a:gd name="T60" fmla="*/ 2147483647 w 858"/>
                  <a:gd name="T61" fmla="*/ 2147483647 h 1002"/>
                  <a:gd name="T62" fmla="*/ 2147483647 w 858"/>
                  <a:gd name="T63" fmla="*/ 2147483647 h 1002"/>
                  <a:gd name="T64" fmla="*/ 2147483647 w 858"/>
                  <a:gd name="T65" fmla="*/ 2147483647 h 1002"/>
                  <a:gd name="T66" fmla="*/ 2147483647 w 858"/>
                  <a:gd name="T67" fmla="*/ 2147483647 h 1002"/>
                  <a:gd name="T68" fmla="*/ 2147483647 w 858"/>
                  <a:gd name="T69" fmla="*/ 2147483647 h 1002"/>
                  <a:gd name="T70" fmla="*/ 2147483647 w 858"/>
                  <a:gd name="T71" fmla="*/ 2147483647 h 1002"/>
                  <a:gd name="T72" fmla="*/ 2147483647 w 858"/>
                  <a:gd name="T73" fmla="*/ 2147483647 h 1002"/>
                  <a:gd name="T74" fmla="*/ 2147483647 w 858"/>
                  <a:gd name="T75" fmla="*/ 2147483647 h 1002"/>
                  <a:gd name="T76" fmla="*/ 2147483647 w 858"/>
                  <a:gd name="T77" fmla="*/ 2147483647 h 1002"/>
                  <a:gd name="T78" fmla="*/ 2147483647 w 858"/>
                  <a:gd name="T79" fmla="*/ 2147483647 h 1002"/>
                  <a:gd name="T80" fmla="*/ 2147483647 w 858"/>
                  <a:gd name="T81" fmla="*/ 2147483647 h 1002"/>
                  <a:gd name="T82" fmla="*/ 2147483647 w 858"/>
                  <a:gd name="T83" fmla="*/ 2147483647 h 1002"/>
                  <a:gd name="T84" fmla="*/ 2147483647 w 858"/>
                  <a:gd name="T85" fmla="*/ 2147483647 h 1002"/>
                  <a:gd name="T86" fmla="*/ 2147483647 w 858"/>
                  <a:gd name="T87" fmla="*/ 2147483647 h 1002"/>
                  <a:gd name="T88" fmla="*/ 2147483647 w 858"/>
                  <a:gd name="T89" fmla="*/ 2147483647 h 1002"/>
                  <a:gd name="T90" fmla="*/ 2147483647 w 858"/>
                  <a:gd name="T91" fmla="*/ 2147483647 h 1002"/>
                  <a:gd name="T92" fmla="*/ 2147483647 w 858"/>
                  <a:gd name="T93" fmla="*/ 2147483647 h 1002"/>
                  <a:gd name="T94" fmla="*/ 2147483647 w 858"/>
                  <a:gd name="T95" fmla="*/ 2147483647 h 1002"/>
                  <a:gd name="T96" fmla="*/ 2147483647 w 858"/>
                  <a:gd name="T97" fmla="*/ 2147483647 h 1002"/>
                  <a:gd name="T98" fmla="*/ 0 w 858"/>
                  <a:gd name="T99" fmla="*/ 2147483647 h 100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858"/>
                  <a:gd name="T151" fmla="*/ 0 h 1002"/>
                  <a:gd name="T152" fmla="*/ 858 w 858"/>
                  <a:gd name="T153" fmla="*/ 1002 h 100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858" h="1002">
                    <a:moveTo>
                      <a:pt x="0" y="498"/>
                    </a:moveTo>
                    <a:lnTo>
                      <a:pt x="18" y="498"/>
                    </a:lnTo>
                    <a:lnTo>
                      <a:pt x="18" y="528"/>
                    </a:lnTo>
                    <a:lnTo>
                      <a:pt x="24" y="534"/>
                    </a:lnTo>
                    <a:lnTo>
                      <a:pt x="30" y="534"/>
                    </a:lnTo>
                    <a:lnTo>
                      <a:pt x="30" y="528"/>
                    </a:lnTo>
                    <a:lnTo>
                      <a:pt x="36" y="522"/>
                    </a:lnTo>
                    <a:lnTo>
                      <a:pt x="48" y="558"/>
                    </a:lnTo>
                    <a:lnTo>
                      <a:pt x="42" y="600"/>
                    </a:lnTo>
                    <a:lnTo>
                      <a:pt x="30" y="600"/>
                    </a:lnTo>
                    <a:lnTo>
                      <a:pt x="36" y="624"/>
                    </a:lnTo>
                    <a:lnTo>
                      <a:pt x="24" y="630"/>
                    </a:lnTo>
                    <a:lnTo>
                      <a:pt x="30" y="642"/>
                    </a:lnTo>
                    <a:lnTo>
                      <a:pt x="36" y="648"/>
                    </a:lnTo>
                    <a:lnTo>
                      <a:pt x="48" y="666"/>
                    </a:lnTo>
                    <a:lnTo>
                      <a:pt x="60" y="690"/>
                    </a:lnTo>
                    <a:lnTo>
                      <a:pt x="60" y="720"/>
                    </a:lnTo>
                    <a:lnTo>
                      <a:pt x="54" y="738"/>
                    </a:lnTo>
                    <a:lnTo>
                      <a:pt x="54" y="750"/>
                    </a:lnTo>
                    <a:lnTo>
                      <a:pt x="48" y="756"/>
                    </a:lnTo>
                    <a:lnTo>
                      <a:pt x="48" y="804"/>
                    </a:lnTo>
                    <a:lnTo>
                      <a:pt x="42" y="816"/>
                    </a:lnTo>
                    <a:lnTo>
                      <a:pt x="30" y="822"/>
                    </a:lnTo>
                    <a:lnTo>
                      <a:pt x="24" y="840"/>
                    </a:lnTo>
                    <a:lnTo>
                      <a:pt x="18" y="852"/>
                    </a:lnTo>
                    <a:lnTo>
                      <a:pt x="18" y="864"/>
                    </a:lnTo>
                    <a:lnTo>
                      <a:pt x="12" y="876"/>
                    </a:lnTo>
                    <a:lnTo>
                      <a:pt x="12" y="906"/>
                    </a:lnTo>
                    <a:lnTo>
                      <a:pt x="18" y="900"/>
                    </a:lnTo>
                    <a:lnTo>
                      <a:pt x="36" y="864"/>
                    </a:lnTo>
                    <a:lnTo>
                      <a:pt x="42" y="858"/>
                    </a:lnTo>
                    <a:lnTo>
                      <a:pt x="54" y="852"/>
                    </a:lnTo>
                    <a:lnTo>
                      <a:pt x="60" y="852"/>
                    </a:lnTo>
                    <a:lnTo>
                      <a:pt x="66" y="858"/>
                    </a:lnTo>
                    <a:lnTo>
                      <a:pt x="72" y="858"/>
                    </a:lnTo>
                    <a:lnTo>
                      <a:pt x="84" y="852"/>
                    </a:lnTo>
                    <a:lnTo>
                      <a:pt x="114" y="858"/>
                    </a:lnTo>
                    <a:lnTo>
                      <a:pt x="114" y="840"/>
                    </a:lnTo>
                    <a:lnTo>
                      <a:pt x="138" y="852"/>
                    </a:lnTo>
                    <a:lnTo>
                      <a:pt x="162" y="852"/>
                    </a:lnTo>
                    <a:lnTo>
                      <a:pt x="174" y="858"/>
                    </a:lnTo>
                    <a:lnTo>
                      <a:pt x="180" y="858"/>
                    </a:lnTo>
                    <a:lnTo>
                      <a:pt x="186" y="870"/>
                    </a:lnTo>
                    <a:lnTo>
                      <a:pt x="198" y="882"/>
                    </a:lnTo>
                    <a:lnTo>
                      <a:pt x="204" y="894"/>
                    </a:lnTo>
                    <a:lnTo>
                      <a:pt x="216" y="888"/>
                    </a:lnTo>
                    <a:lnTo>
                      <a:pt x="234" y="888"/>
                    </a:lnTo>
                    <a:lnTo>
                      <a:pt x="240" y="894"/>
                    </a:lnTo>
                    <a:lnTo>
                      <a:pt x="240" y="900"/>
                    </a:lnTo>
                    <a:lnTo>
                      <a:pt x="246" y="912"/>
                    </a:lnTo>
                    <a:lnTo>
                      <a:pt x="246" y="942"/>
                    </a:lnTo>
                    <a:lnTo>
                      <a:pt x="264" y="942"/>
                    </a:lnTo>
                    <a:lnTo>
                      <a:pt x="270" y="948"/>
                    </a:lnTo>
                    <a:lnTo>
                      <a:pt x="270" y="972"/>
                    </a:lnTo>
                    <a:lnTo>
                      <a:pt x="300" y="978"/>
                    </a:lnTo>
                    <a:lnTo>
                      <a:pt x="312" y="1002"/>
                    </a:lnTo>
                    <a:lnTo>
                      <a:pt x="330" y="1002"/>
                    </a:lnTo>
                    <a:lnTo>
                      <a:pt x="342" y="996"/>
                    </a:lnTo>
                    <a:lnTo>
                      <a:pt x="348" y="996"/>
                    </a:lnTo>
                    <a:lnTo>
                      <a:pt x="348" y="948"/>
                    </a:lnTo>
                    <a:lnTo>
                      <a:pt x="360" y="936"/>
                    </a:lnTo>
                    <a:lnTo>
                      <a:pt x="378" y="936"/>
                    </a:lnTo>
                    <a:lnTo>
                      <a:pt x="402" y="960"/>
                    </a:lnTo>
                    <a:lnTo>
                      <a:pt x="408" y="972"/>
                    </a:lnTo>
                    <a:lnTo>
                      <a:pt x="420" y="948"/>
                    </a:lnTo>
                    <a:lnTo>
                      <a:pt x="456" y="948"/>
                    </a:lnTo>
                    <a:lnTo>
                      <a:pt x="462" y="954"/>
                    </a:lnTo>
                    <a:lnTo>
                      <a:pt x="492" y="954"/>
                    </a:lnTo>
                    <a:lnTo>
                      <a:pt x="504" y="948"/>
                    </a:lnTo>
                    <a:lnTo>
                      <a:pt x="510" y="948"/>
                    </a:lnTo>
                    <a:lnTo>
                      <a:pt x="510" y="936"/>
                    </a:lnTo>
                    <a:lnTo>
                      <a:pt x="516" y="930"/>
                    </a:lnTo>
                    <a:lnTo>
                      <a:pt x="522" y="930"/>
                    </a:lnTo>
                    <a:lnTo>
                      <a:pt x="522" y="942"/>
                    </a:lnTo>
                    <a:lnTo>
                      <a:pt x="786" y="942"/>
                    </a:lnTo>
                    <a:lnTo>
                      <a:pt x="798" y="900"/>
                    </a:lnTo>
                    <a:lnTo>
                      <a:pt x="804" y="894"/>
                    </a:lnTo>
                    <a:lnTo>
                      <a:pt x="804" y="882"/>
                    </a:lnTo>
                    <a:lnTo>
                      <a:pt x="786" y="864"/>
                    </a:lnTo>
                    <a:lnTo>
                      <a:pt x="780" y="864"/>
                    </a:lnTo>
                    <a:lnTo>
                      <a:pt x="738" y="174"/>
                    </a:lnTo>
                    <a:lnTo>
                      <a:pt x="858" y="180"/>
                    </a:lnTo>
                    <a:lnTo>
                      <a:pt x="600" y="0"/>
                    </a:lnTo>
                    <a:lnTo>
                      <a:pt x="594" y="48"/>
                    </a:lnTo>
                    <a:lnTo>
                      <a:pt x="588" y="54"/>
                    </a:lnTo>
                    <a:lnTo>
                      <a:pt x="588" y="90"/>
                    </a:lnTo>
                    <a:lnTo>
                      <a:pt x="366" y="96"/>
                    </a:lnTo>
                    <a:lnTo>
                      <a:pt x="366" y="108"/>
                    </a:lnTo>
                    <a:lnTo>
                      <a:pt x="354" y="114"/>
                    </a:lnTo>
                    <a:lnTo>
                      <a:pt x="354" y="306"/>
                    </a:lnTo>
                    <a:lnTo>
                      <a:pt x="348" y="312"/>
                    </a:lnTo>
                    <a:lnTo>
                      <a:pt x="336" y="318"/>
                    </a:lnTo>
                    <a:lnTo>
                      <a:pt x="306" y="318"/>
                    </a:lnTo>
                    <a:lnTo>
                      <a:pt x="282" y="330"/>
                    </a:lnTo>
                    <a:lnTo>
                      <a:pt x="276" y="342"/>
                    </a:lnTo>
                    <a:lnTo>
                      <a:pt x="276" y="360"/>
                    </a:lnTo>
                    <a:lnTo>
                      <a:pt x="282" y="372"/>
                    </a:lnTo>
                    <a:lnTo>
                      <a:pt x="276" y="474"/>
                    </a:lnTo>
                    <a:lnTo>
                      <a:pt x="0" y="474"/>
                    </a:lnTo>
                    <a:lnTo>
                      <a:pt x="0" y="498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23" name="Mali"/>
              <p:cNvSpPr>
                <a:spLocks/>
              </p:cNvSpPr>
              <p:nvPr/>
            </p:nvSpPr>
            <p:spPr bwMode="gray">
              <a:xfrm>
                <a:off x="3868744" y="3265491"/>
                <a:ext cx="468313" cy="482600"/>
              </a:xfrm>
              <a:custGeom>
                <a:avLst/>
                <a:gdLst>
                  <a:gd name="T0" fmla="*/ 2147483647 w 1164"/>
                  <a:gd name="T1" fmla="*/ 2147483647 h 1200"/>
                  <a:gd name="T2" fmla="*/ 2147483647 w 1164"/>
                  <a:gd name="T3" fmla="*/ 2147483647 h 1200"/>
                  <a:gd name="T4" fmla="*/ 2147483647 w 1164"/>
                  <a:gd name="T5" fmla="*/ 2147483647 h 1200"/>
                  <a:gd name="T6" fmla="*/ 2147483647 w 1164"/>
                  <a:gd name="T7" fmla="*/ 2147483647 h 1200"/>
                  <a:gd name="T8" fmla="*/ 2147483647 w 1164"/>
                  <a:gd name="T9" fmla="*/ 2147483647 h 1200"/>
                  <a:gd name="T10" fmla="*/ 2147483647 w 1164"/>
                  <a:gd name="T11" fmla="*/ 2147483647 h 1200"/>
                  <a:gd name="T12" fmla="*/ 2147483647 w 1164"/>
                  <a:gd name="T13" fmla="*/ 2147483647 h 1200"/>
                  <a:gd name="T14" fmla="*/ 2147483647 w 1164"/>
                  <a:gd name="T15" fmla="*/ 2147483647 h 1200"/>
                  <a:gd name="T16" fmla="*/ 2147483647 w 1164"/>
                  <a:gd name="T17" fmla="*/ 2147483647 h 1200"/>
                  <a:gd name="T18" fmla="*/ 2147483647 w 1164"/>
                  <a:gd name="T19" fmla="*/ 2147483647 h 1200"/>
                  <a:gd name="T20" fmla="*/ 2147483647 w 1164"/>
                  <a:gd name="T21" fmla="*/ 2147483647 h 1200"/>
                  <a:gd name="T22" fmla="*/ 2147483647 w 1164"/>
                  <a:gd name="T23" fmla="*/ 2147483647 h 1200"/>
                  <a:gd name="T24" fmla="*/ 2147483647 w 1164"/>
                  <a:gd name="T25" fmla="*/ 2147483647 h 1200"/>
                  <a:gd name="T26" fmla="*/ 2147483647 w 1164"/>
                  <a:gd name="T27" fmla="*/ 2147483647 h 1200"/>
                  <a:gd name="T28" fmla="*/ 2147483647 w 1164"/>
                  <a:gd name="T29" fmla="*/ 2147483647 h 1200"/>
                  <a:gd name="T30" fmla="*/ 2147483647 w 1164"/>
                  <a:gd name="T31" fmla="*/ 2147483647 h 1200"/>
                  <a:gd name="T32" fmla="*/ 2147483647 w 1164"/>
                  <a:gd name="T33" fmla="*/ 2147483647 h 1200"/>
                  <a:gd name="T34" fmla="*/ 2147483647 w 1164"/>
                  <a:gd name="T35" fmla="*/ 2147483647 h 1200"/>
                  <a:gd name="T36" fmla="*/ 2147483647 w 1164"/>
                  <a:gd name="T37" fmla="*/ 2147483647 h 1200"/>
                  <a:gd name="T38" fmla="*/ 2147483647 w 1164"/>
                  <a:gd name="T39" fmla="*/ 2147483647 h 1200"/>
                  <a:gd name="T40" fmla="*/ 2147483647 w 1164"/>
                  <a:gd name="T41" fmla="*/ 2147483647 h 1200"/>
                  <a:gd name="T42" fmla="*/ 2147483647 w 1164"/>
                  <a:gd name="T43" fmla="*/ 2147483647 h 1200"/>
                  <a:gd name="T44" fmla="*/ 2147483647 w 1164"/>
                  <a:gd name="T45" fmla="*/ 2147483647 h 1200"/>
                  <a:gd name="T46" fmla="*/ 2147483647 w 1164"/>
                  <a:gd name="T47" fmla="*/ 2147483647 h 1200"/>
                  <a:gd name="T48" fmla="*/ 2147483647 w 1164"/>
                  <a:gd name="T49" fmla="*/ 2147483647 h 1200"/>
                  <a:gd name="T50" fmla="*/ 2147483647 w 1164"/>
                  <a:gd name="T51" fmla="*/ 2147483647 h 1200"/>
                  <a:gd name="T52" fmla="*/ 2147483647 w 1164"/>
                  <a:gd name="T53" fmla="*/ 2147483647 h 1200"/>
                  <a:gd name="T54" fmla="*/ 0 w 1164"/>
                  <a:gd name="T55" fmla="*/ 2147483647 h 1200"/>
                  <a:gd name="T56" fmla="*/ 2147483647 w 1164"/>
                  <a:gd name="T57" fmla="*/ 2147483647 h 1200"/>
                  <a:gd name="T58" fmla="*/ 2147483647 w 1164"/>
                  <a:gd name="T59" fmla="*/ 2147483647 h 1200"/>
                  <a:gd name="T60" fmla="*/ 2147483647 w 1164"/>
                  <a:gd name="T61" fmla="*/ 2147483647 h 1200"/>
                  <a:gd name="T62" fmla="*/ 2147483647 w 1164"/>
                  <a:gd name="T63" fmla="*/ 2147483647 h 1200"/>
                  <a:gd name="T64" fmla="*/ 2147483647 w 1164"/>
                  <a:gd name="T65" fmla="*/ 2147483647 h 1200"/>
                  <a:gd name="T66" fmla="*/ 2147483647 w 1164"/>
                  <a:gd name="T67" fmla="*/ 2147483647 h 1200"/>
                  <a:gd name="T68" fmla="*/ 2147483647 w 1164"/>
                  <a:gd name="T69" fmla="*/ 2147483647 h 1200"/>
                  <a:gd name="T70" fmla="*/ 2147483647 w 1164"/>
                  <a:gd name="T71" fmla="*/ 2147483647 h 1200"/>
                  <a:gd name="T72" fmla="*/ 2147483647 w 1164"/>
                  <a:gd name="T73" fmla="*/ 2147483647 h 1200"/>
                  <a:gd name="T74" fmla="*/ 2147483647 w 1164"/>
                  <a:gd name="T75" fmla="*/ 2147483647 h 1200"/>
                  <a:gd name="T76" fmla="*/ 2147483647 w 1164"/>
                  <a:gd name="T77" fmla="*/ 2147483647 h 1200"/>
                  <a:gd name="T78" fmla="*/ 2147483647 w 1164"/>
                  <a:gd name="T79" fmla="*/ 2147483647 h 1200"/>
                  <a:gd name="T80" fmla="*/ 2147483647 w 1164"/>
                  <a:gd name="T81" fmla="*/ 2147483647 h 1200"/>
                  <a:gd name="T82" fmla="*/ 2147483647 w 1164"/>
                  <a:gd name="T83" fmla="*/ 2147483647 h 1200"/>
                  <a:gd name="T84" fmla="*/ 2147483647 w 1164"/>
                  <a:gd name="T85" fmla="*/ 2147483647 h 1200"/>
                  <a:gd name="T86" fmla="*/ 2147483647 w 1164"/>
                  <a:gd name="T87" fmla="*/ 2147483647 h 1200"/>
                  <a:gd name="T88" fmla="*/ 2147483647 w 1164"/>
                  <a:gd name="T89" fmla="*/ 2147483647 h 1200"/>
                  <a:gd name="T90" fmla="*/ 2147483647 w 1164"/>
                  <a:gd name="T91" fmla="*/ 2147483647 h 1200"/>
                  <a:gd name="T92" fmla="*/ 2147483647 w 1164"/>
                  <a:gd name="T93" fmla="*/ 2147483647 h 1200"/>
                  <a:gd name="T94" fmla="*/ 2147483647 w 1164"/>
                  <a:gd name="T95" fmla="*/ 2147483647 h 1200"/>
                  <a:gd name="T96" fmla="*/ 2147483647 w 1164"/>
                  <a:gd name="T97" fmla="*/ 2147483647 h 1200"/>
                  <a:gd name="T98" fmla="*/ 2147483647 w 1164"/>
                  <a:gd name="T99" fmla="*/ 2147483647 h 1200"/>
                  <a:gd name="T100" fmla="*/ 2147483647 w 1164"/>
                  <a:gd name="T101" fmla="*/ 2147483647 h 1200"/>
                  <a:gd name="T102" fmla="*/ 2147483647 w 1164"/>
                  <a:gd name="T103" fmla="*/ 2147483647 h 1200"/>
                  <a:gd name="T104" fmla="*/ 2147483647 w 1164"/>
                  <a:gd name="T105" fmla="*/ 2147483647 h 1200"/>
                  <a:gd name="T106" fmla="*/ 2147483647 w 1164"/>
                  <a:gd name="T107" fmla="*/ 2147483647 h 120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164"/>
                  <a:gd name="T163" fmla="*/ 0 h 1200"/>
                  <a:gd name="T164" fmla="*/ 1164 w 1164"/>
                  <a:gd name="T165" fmla="*/ 1200 h 120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164" h="1200">
                    <a:moveTo>
                      <a:pt x="612" y="954"/>
                    </a:moveTo>
                    <a:lnTo>
                      <a:pt x="636" y="948"/>
                    </a:lnTo>
                    <a:lnTo>
                      <a:pt x="636" y="912"/>
                    </a:lnTo>
                    <a:lnTo>
                      <a:pt x="654" y="912"/>
                    </a:lnTo>
                    <a:lnTo>
                      <a:pt x="654" y="906"/>
                    </a:lnTo>
                    <a:lnTo>
                      <a:pt x="660" y="900"/>
                    </a:lnTo>
                    <a:lnTo>
                      <a:pt x="666" y="888"/>
                    </a:lnTo>
                    <a:lnTo>
                      <a:pt x="678" y="882"/>
                    </a:lnTo>
                    <a:lnTo>
                      <a:pt x="684" y="870"/>
                    </a:lnTo>
                    <a:lnTo>
                      <a:pt x="690" y="864"/>
                    </a:lnTo>
                    <a:lnTo>
                      <a:pt x="696" y="864"/>
                    </a:lnTo>
                    <a:lnTo>
                      <a:pt x="708" y="876"/>
                    </a:lnTo>
                    <a:lnTo>
                      <a:pt x="720" y="876"/>
                    </a:lnTo>
                    <a:lnTo>
                      <a:pt x="720" y="870"/>
                    </a:lnTo>
                    <a:lnTo>
                      <a:pt x="726" y="864"/>
                    </a:lnTo>
                    <a:lnTo>
                      <a:pt x="726" y="846"/>
                    </a:lnTo>
                    <a:lnTo>
                      <a:pt x="750" y="846"/>
                    </a:lnTo>
                    <a:lnTo>
                      <a:pt x="768" y="822"/>
                    </a:lnTo>
                    <a:lnTo>
                      <a:pt x="792" y="822"/>
                    </a:lnTo>
                    <a:lnTo>
                      <a:pt x="810" y="804"/>
                    </a:lnTo>
                    <a:lnTo>
                      <a:pt x="858" y="804"/>
                    </a:lnTo>
                    <a:lnTo>
                      <a:pt x="882" y="816"/>
                    </a:lnTo>
                    <a:lnTo>
                      <a:pt x="930" y="804"/>
                    </a:lnTo>
                    <a:lnTo>
                      <a:pt x="954" y="786"/>
                    </a:lnTo>
                    <a:lnTo>
                      <a:pt x="1020" y="792"/>
                    </a:lnTo>
                    <a:lnTo>
                      <a:pt x="1020" y="774"/>
                    </a:lnTo>
                    <a:lnTo>
                      <a:pt x="1068" y="780"/>
                    </a:lnTo>
                    <a:lnTo>
                      <a:pt x="1080" y="774"/>
                    </a:lnTo>
                    <a:lnTo>
                      <a:pt x="1104" y="774"/>
                    </a:lnTo>
                    <a:lnTo>
                      <a:pt x="1122" y="768"/>
                    </a:lnTo>
                    <a:lnTo>
                      <a:pt x="1134" y="762"/>
                    </a:lnTo>
                    <a:lnTo>
                      <a:pt x="1140" y="750"/>
                    </a:lnTo>
                    <a:lnTo>
                      <a:pt x="1140" y="732"/>
                    </a:lnTo>
                    <a:lnTo>
                      <a:pt x="1146" y="720"/>
                    </a:lnTo>
                    <a:lnTo>
                      <a:pt x="1146" y="708"/>
                    </a:lnTo>
                    <a:lnTo>
                      <a:pt x="1164" y="684"/>
                    </a:lnTo>
                    <a:lnTo>
                      <a:pt x="1164" y="480"/>
                    </a:lnTo>
                    <a:lnTo>
                      <a:pt x="1140" y="480"/>
                    </a:lnTo>
                    <a:lnTo>
                      <a:pt x="1134" y="486"/>
                    </a:lnTo>
                    <a:lnTo>
                      <a:pt x="1104" y="486"/>
                    </a:lnTo>
                    <a:lnTo>
                      <a:pt x="1092" y="480"/>
                    </a:lnTo>
                    <a:lnTo>
                      <a:pt x="1086" y="474"/>
                    </a:lnTo>
                    <a:lnTo>
                      <a:pt x="1086" y="468"/>
                    </a:lnTo>
                    <a:lnTo>
                      <a:pt x="1104" y="450"/>
                    </a:lnTo>
                    <a:lnTo>
                      <a:pt x="1104" y="432"/>
                    </a:lnTo>
                    <a:lnTo>
                      <a:pt x="1092" y="408"/>
                    </a:lnTo>
                    <a:lnTo>
                      <a:pt x="1080" y="402"/>
                    </a:lnTo>
                    <a:lnTo>
                      <a:pt x="1050" y="402"/>
                    </a:lnTo>
                    <a:lnTo>
                      <a:pt x="1044" y="408"/>
                    </a:lnTo>
                    <a:lnTo>
                      <a:pt x="1038" y="408"/>
                    </a:lnTo>
                    <a:lnTo>
                      <a:pt x="1032" y="378"/>
                    </a:lnTo>
                    <a:lnTo>
                      <a:pt x="996" y="378"/>
                    </a:lnTo>
                    <a:lnTo>
                      <a:pt x="984" y="366"/>
                    </a:lnTo>
                    <a:lnTo>
                      <a:pt x="984" y="348"/>
                    </a:lnTo>
                    <a:lnTo>
                      <a:pt x="978" y="342"/>
                    </a:lnTo>
                    <a:lnTo>
                      <a:pt x="954" y="342"/>
                    </a:lnTo>
                    <a:lnTo>
                      <a:pt x="954" y="318"/>
                    </a:lnTo>
                    <a:lnTo>
                      <a:pt x="546" y="6"/>
                    </a:lnTo>
                    <a:lnTo>
                      <a:pt x="426" y="0"/>
                    </a:lnTo>
                    <a:lnTo>
                      <a:pt x="468" y="690"/>
                    </a:lnTo>
                    <a:lnTo>
                      <a:pt x="474" y="690"/>
                    </a:lnTo>
                    <a:lnTo>
                      <a:pt x="492" y="708"/>
                    </a:lnTo>
                    <a:lnTo>
                      <a:pt x="492" y="720"/>
                    </a:lnTo>
                    <a:lnTo>
                      <a:pt x="486" y="726"/>
                    </a:lnTo>
                    <a:lnTo>
                      <a:pt x="474" y="768"/>
                    </a:lnTo>
                    <a:lnTo>
                      <a:pt x="210" y="768"/>
                    </a:lnTo>
                    <a:lnTo>
                      <a:pt x="210" y="756"/>
                    </a:lnTo>
                    <a:lnTo>
                      <a:pt x="204" y="756"/>
                    </a:lnTo>
                    <a:lnTo>
                      <a:pt x="198" y="762"/>
                    </a:lnTo>
                    <a:lnTo>
                      <a:pt x="198" y="774"/>
                    </a:lnTo>
                    <a:lnTo>
                      <a:pt x="192" y="774"/>
                    </a:lnTo>
                    <a:lnTo>
                      <a:pt x="180" y="780"/>
                    </a:lnTo>
                    <a:lnTo>
                      <a:pt x="150" y="780"/>
                    </a:lnTo>
                    <a:lnTo>
                      <a:pt x="144" y="774"/>
                    </a:lnTo>
                    <a:lnTo>
                      <a:pt x="108" y="774"/>
                    </a:lnTo>
                    <a:lnTo>
                      <a:pt x="96" y="798"/>
                    </a:lnTo>
                    <a:lnTo>
                      <a:pt x="90" y="786"/>
                    </a:lnTo>
                    <a:lnTo>
                      <a:pt x="66" y="762"/>
                    </a:lnTo>
                    <a:lnTo>
                      <a:pt x="48" y="762"/>
                    </a:lnTo>
                    <a:lnTo>
                      <a:pt x="36" y="774"/>
                    </a:lnTo>
                    <a:lnTo>
                      <a:pt x="36" y="822"/>
                    </a:lnTo>
                    <a:lnTo>
                      <a:pt x="30" y="822"/>
                    </a:lnTo>
                    <a:lnTo>
                      <a:pt x="18" y="828"/>
                    </a:lnTo>
                    <a:lnTo>
                      <a:pt x="0" y="828"/>
                    </a:lnTo>
                    <a:lnTo>
                      <a:pt x="0" y="852"/>
                    </a:lnTo>
                    <a:lnTo>
                      <a:pt x="12" y="870"/>
                    </a:lnTo>
                    <a:lnTo>
                      <a:pt x="12" y="876"/>
                    </a:lnTo>
                    <a:lnTo>
                      <a:pt x="24" y="888"/>
                    </a:lnTo>
                    <a:lnTo>
                      <a:pt x="24" y="906"/>
                    </a:lnTo>
                    <a:lnTo>
                      <a:pt x="18" y="912"/>
                    </a:lnTo>
                    <a:lnTo>
                      <a:pt x="18" y="936"/>
                    </a:lnTo>
                    <a:lnTo>
                      <a:pt x="24" y="942"/>
                    </a:lnTo>
                    <a:lnTo>
                      <a:pt x="36" y="942"/>
                    </a:lnTo>
                    <a:lnTo>
                      <a:pt x="36" y="936"/>
                    </a:lnTo>
                    <a:lnTo>
                      <a:pt x="42" y="936"/>
                    </a:lnTo>
                    <a:lnTo>
                      <a:pt x="48" y="942"/>
                    </a:lnTo>
                    <a:lnTo>
                      <a:pt x="54" y="954"/>
                    </a:lnTo>
                    <a:lnTo>
                      <a:pt x="54" y="1032"/>
                    </a:lnTo>
                    <a:lnTo>
                      <a:pt x="60" y="1044"/>
                    </a:lnTo>
                    <a:lnTo>
                      <a:pt x="60" y="1050"/>
                    </a:lnTo>
                    <a:lnTo>
                      <a:pt x="66" y="1056"/>
                    </a:lnTo>
                    <a:lnTo>
                      <a:pt x="72" y="1050"/>
                    </a:lnTo>
                    <a:lnTo>
                      <a:pt x="78" y="1038"/>
                    </a:lnTo>
                    <a:lnTo>
                      <a:pt x="90" y="1026"/>
                    </a:lnTo>
                    <a:lnTo>
                      <a:pt x="102" y="1038"/>
                    </a:lnTo>
                    <a:lnTo>
                      <a:pt x="108" y="1050"/>
                    </a:lnTo>
                    <a:lnTo>
                      <a:pt x="108" y="1062"/>
                    </a:lnTo>
                    <a:lnTo>
                      <a:pt x="114" y="1050"/>
                    </a:lnTo>
                    <a:lnTo>
                      <a:pt x="126" y="1038"/>
                    </a:lnTo>
                    <a:lnTo>
                      <a:pt x="132" y="1026"/>
                    </a:lnTo>
                    <a:lnTo>
                      <a:pt x="138" y="1026"/>
                    </a:lnTo>
                    <a:lnTo>
                      <a:pt x="144" y="1032"/>
                    </a:lnTo>
                    <a:lnTo>
                      <a:pt x="150" y="1032"/>
                    </a:lnTo>
                    <a:lnTo>
                      <a:pt x="162" y="1038"/>
                    </a:lnTo>
                    <a:lnTo>
                      <a:pt x="168" y="1044"/>
                    </a:lnTo>
                    <a:lnTo>
                      <a:pt x="180" y="1050"/>
                    </a:lnTo>
                    <a:lnTo>
                      <a:pt x="198" y="1032"/>
                    </a:lnTo>
                    <a:lnTo>
                      <a:pt x="198" y="1014"/>
                    </a:lnTo>
                    <a:lnTo>
                      <a:pt x="204" y="1008"/>
                    </a:lnTo>
                    <a:lnTo>
                      <a:pt x="216" y="1008"/>
                    </a:lnTo>
                    <a:lnTo>
                      <a:pt x="228" y="1014"/>
                    </a:lnTo>
                    <a:lnTo>
                      <a:pt x="228" y="1032"/>
                    </a:lnTo>
                    <a:lnTo>
                      <a:pt x="246" y="1044"/>
                    </a:lnTo>
                    <a:lnTo>
                      <a:pt x="234" y="1074"/>
                    </a:lnTo>
                    <a:lnTo>
                      <a:pt x="270" y="1092"/>
                    </a:lnTo>
                    <a:lnTo>
                      <a:pt x="246" y="1128"/>
                    </a:lnTo>
                    <a:lnTo>
                      <a:pt x="270" y="1128"/>
                    </a:lnTo>
                    <a:lnTo>
                      <a:pt x="270" y="1164"/>
                    </a:lnTo>
                    <a:lnTo>
                      <a:pt x="300" y="1194"/>
                    </a:lnTo>
                    <a:lnTo>
                      <a:pt x="312" y="1200"/>
                    </a:lnTo>
                    <a:lnTo>
                      <a:pt x="312" y="1182"/>
                    </a:lnTo>
                    <a:lnTo>
                      <a:pt x="318" y="1176"/>
                    </a:lnTo>
                    <a:lnTo>
                      <a:pt x="330" y="1176"/>
                    </a:lnTo>
                    <a:lnTo>
                      <a:pt x="348" y="1182"/>
                    </a:lnTo>
                    <a:lnTo>
                      <a:pt x="366" y="1200"/>
                    </a:lnTo>
                    <a:lnTo>
                      <a:pt x="372" y="1182"/>
                    </a:lnTo>
                    <a:lnTo>
                      <a:pt x="390" y="1182"/>
                    </a:lnTo>
                    <a:lnTo>
                      <a:pt x="396" y="1158"/>
                    </a:lnTo>
                    <a:lnTo>
                      <a:pt x="408" y="1176"/>
                    </a:lnTo>
                    <a:lnTo>
                      <a:pt x="420" y="1152"/>
                    </a:lnTo>
                    <a:lnTo>
                      <a:pt x="420" y="1188"/>
                    </a:lnTo>
                    <a:lnTo>
                      <a:pt x="444" y="1194"/>
                    </a:lnTo>
                    <a:lnTo>
                      <a:pt x="450" y="1188"/>
                    </a:lnTo>
                    <a:lnTo>
                      <a:pt x="456" y="1176"/>
                    </a:lnTo>
                    <a:lnTo>
                      <a:pt x="462" y="1170"/>
                    </a:lnTo>
                    <a:lnTo>
                      <a:pt x="474" y="1170"/>
                    </a:lnTo>
                    <a:lnTo>
                      <a:pt x="468" y="1116"/>
                    </a:lnTo>
                    <a:lnTo>
                      <a:pt x="492" y="1116"/>
                    </a:lnTo>
                    <a:lnTo>
                      <a:pt x="504" y="1092"/>
                    </a:lnTo>
                    <a:lnTo>
                      <a:pt x="480" y="1062"/>
                    </a:lnTo>
                    <a:lnTo>
                      <a:pt x="498" y="1050"/>
                    </a:lnTo>
                    <a:lnTo>
                      <a:pt x="504" y="1050"/>
                    </a:lnTo>
                    <a:lnTo>
                      <a:pt x="510" y="1044"/>
                    </a:lnTo>
                    <a:lnTo>
                      <a:pt x="546" y="1044"/>
                    </a:lnTo>
                    <a:lnTo>
                      <a:pt x="546" y="1032"/>
                    </a:lnTo>
                    <a:lnTo>
                      <a:pt x="540" y="1026"/>
                    </a:lnTo>
                    <a:lnTo>
                      <a:pt x="546" y="1026"/>
                    </a:lnTo>
                    <a:lnTo>
                      <a:pt x="552" y="1020"/>
                    </a:lnTo>
                    <a:lnTo>
                      <a:pt x="552" y="990"/>
                    </a:lnTo>
                    <a:lnTo>
                      <a:pt x="570" y="990"/>
                    </a:lnTo>
                    <a:lnTo>
                      <a:pt x="570" y="960"/>
                    </a:lnTo>
                    <a:lnTo>
                      <a:pt x="564" y="954"/>
                    </a:lnTo>
                    <a:lnTo>
                      <a:pt x="582" y="924"/>
                    </a:lnTo>
                    <a:lnTo>
                      <a:pt x="612" y="954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24" name="Malawi"/>
              <p:cNvSpPr>
                <a:spLocks/>
              </p:cNvSpPr>
              <p:nvPr/>
            </p:nvSpPr>
            <p:spPr bwMode="gray">
              <a:xfrm>
                <a:off x="5145094" y="4383092"/>
                <a:ext cx="95250" cy="252413"/>
              </a:xfrm>
              <a:custGeom>
                <a:avLst/>
                <a:gdLst>
                  <a:gd name="T0" fmla="*/ 2147483647 w 234"/>
                  <a:gd name="T1" fmla="*/ 2147483647 h 624"/>
                  <a:gd name="T2" fmla="*/ 2147483647 w 234"/>
                  <a:gd name="T3" fmla="*/ 2147483647 h 624"/>
                  <a:gd name="T4" fmla="*/ 2147483647 w 234"/>
                  <a:gd name="T5" fmla="*/ 2147483647 h 624"/>
                  <a:gd name="T6" fmla="*/ 2147483647 w 234"/>
                  <a:gd name="T7" fmla="*/ 2147483647 h 624"/>
                  <a:gd name="T8" fmla="*/ 2147483647 w 234"/>
                  <a:gd name="T9" fmla="*/ 2147483647 h 624"/>
                  <a:gd name="T10" fmla="*/ 2147483647 w 234"/>
                  <a:gd name="T11" fmla="*/ 2147483647 h 624"/>
                  <a:gd name="T12" fmla="*/ 2147483647 w 234"/>
                  <a:gd name="T13" fmla="*/ 2147483647 h 624"/>
                  <a:gd name="T14" fmla="*/ 2147483647 w 234"/>
                  <a:gd name="T15" fmla="*/ 2147483647 h 624"/>
                  <a:gd name="T16" fmla="*/ 2147483647 w 234"/>
                  <a:gd name="T17" fmla="*/ 2147483647 h 624"/>
                  <a:gd name="T18" fmla="*/ 2147483647 w 234"/>
                  <a:gd name="T19" fmla="*/ 2147483647 h 624"/>
                  <a:gd name="T20" fmla="*/ 2147483647 w 234"/>
                  <a:gd name="T21" fmla="*/ 2147483647 h 624"/>
                  <a:gd name="T22" fmla="*/ 2147483647 w 234"/>
                  <a:gd name="T23" fmla="*/ 2147483647 h 624"/>
                  <a:gd name="T24" fmla="*/ 2147483647 w 234"/>
                  <a:gd name="T25" fmla="*/ 2147483647 h 624"/>
                  <a:gd name="T26" fmla="*/ 2147483647 w 234"/>
                  <a:gd name="T27" fmla="*/ 2147483647 h 624"/>
                  <a:gd name="T28" fmla="*/ 2147483647 w 234"/>
                  <a:gd name="T29" fmla="*/ 2147483647 h 624"/>
                  <a:gd name="T30" fmla="*/ 2147483647 w 234"/>
                  <a:gd name="T31" fmla="*/ 2147483647 h 624"/>
                  <a:gd name="T32" fmla="*/ 2147483647 w 234"/>
                  <a:gd name="T33" fmla="*/ 2147483647 h 624"/>
                  <a:gd name="T34" fmla="*/ 2147483647 w 234"/>
                  <a:gd name="T35" fmla="*/ 2147483647 h 624"/>
                  <a:gd name="T36" fmla="*/ 2147483647 w 234"/>
                  <a:gd name="T37" fmla="*/ 2147483647 h 624"/>
                  <a:gd name="T38" fmla="*/ 2147483647 w 234"/>
                  <a:gd name="T39" fmla="*/ 2147483647 h 624"/>
                  <a:gd name="T40" fmla="*/ 2147483647 w 234"/>
                  <a:gd name="T41" fmla="*/ 2147483647 h 624"/>
                  <a:gd name="T42" fmla="*/ 2147483647 w 234"/>
                  <a:gd name="T43" fmla="*/ 2147483647 h 624"/>
                  <a:gd name="T44" fmla="*/ 2147483647 w 234"/>
                  <a:gd name="T45" fmla="*/ 2147483647 h 624"/>
                  <a:gd name="T46" fmla="*/ 2147483647 w 234"/>
                  <a:gd name="T47" fmla="*/ 0 h 624"/>
                  <a:gd name="T48" fmla="*/ 2147483647 w 234"/>
                  <a:gd name="T49" fmla="*/ 2147483647 h 624"/>
                  <a:gd name="T50" fmla="*/ 2147483647 w 234"/>
                  <a:gd name="T51" fmla="*/ 2147483647 h 624"/>
                  <a:gd name="T52" fmla="*/ 2147483647 w 234"/>
                  <a:gd name="T53" fmla="*/ 2147483647 h 624"/>
                  <a:gd name="T54" fmla="*/ 2147483647 w 234"/>
                  <a:gd name="T55" fmla="*/ 2147483647 h 624"/>
                  <a:gd name="T56" fmla="*/ 2147483647 w 234"/>
                  <a:gd name="T57" fmla="*/ 2147483647 h 624"/>
                  <a:gd name="T58" fmla="*/ 2147483647 w 234"/>
                  <a:gd name="T59" fmla="*/ 2147483647 h 624"/>
                  <a:gd name="T60" fmla="*/ 2147483647 w 234"/>
                  <a:gd name="T61" fmla="*/ 2147483647 h 624"/>
                  <a:gd name="T62" fmla="*/ 2147483647 w 234"/>
                  <a:gd name="T63" fmla="*/ 2147483647 h 624"/>
                  <a:gd name="T64" fmla="*/ 2147483647 w 234"/>
                  <a:gd name="T65" fmla="*/ 2147483647 h 624"/>
                  <a:gd name="T66" fmla="*/ 2147483647 w 234"/>
                  <a:gd name="T67" fmla="*/ 2147483647 h 624"/>
                  <a:gd name="T68" fmla="*/ 2147483647 w 234"/>
                  <a:gd name="T69" fmla="*/ 2147483647 h 624"/>
                  <a:gd name="T70" fmla="*/ 2147483647 w 234"/>
                  <a:gd name="T71" fmla="*/ 2147483647 h 624"/>
                  <a:gd name="T72" fmla="*/ 2147483647 w 234"/>
                  <a:gd name="T73" fmla="*/ 2147483647 h 624"/>
                  <a:gd name="T74" fmla="*/ 0 w 234"/>
                  <a:gd name="T75" fmla="*/ 2147483647 h 624"/>
                  <a:gd name="T76" fmla="*/ 2147483647 w 234"/>
                  <a:gd name="T77" fmla="*/ 2147483647 h 624"/>
                  <a:gd name="T78" fmla="*/ 2147483647 w 234"/>
                  <a:gd name="T79" fmla="*/ 2147483647 h 624"/>
                  <a:gd name="T80" fmla="*/ 2147483647 w 234"/>
                  <a:gd name="T81" fmla="*/ 2147483647 h 624"/>
                  <a:gd name="T82" fmla="*/ 2147483647 w 234"/>
                  <a:gd name="T83" fmla="*/ 2147483647 h 624"/>
                  <a:gd name="T84" fmla="*/ 2147483647 w 234"/>
                  <a:gd name="T85" fmla="*/ 2147483647 h 624"/>
                  <a:gd name="T86" fmla="*/ 2147483647 w 234"/>
                  <a:gd name="T87" fmla="*/ 2147483647 h 624"/>
                  <a:gd name="T88" fmla="*/ 2147483647 w 234"/>
                  <a:gd name="T89" fmla="*/ 2147483647 h 624"/>
                  <a:gd name="T90" fmla="*/ 2147483647 w 234"/>
                  <a:gd name="T91" fmla="*/ 2147483647 h 624"/>
                  <a:gd name="T92" fmla="*/ 2147483647 w 234"/>
                  <a:gd name="T93" fmla="*/ 2147483647 h 624"/>
                  <a:gd name="T94" fmla="*/ 2147483647 w 234"/>
                  <a:gd name="T95" fmla="*/ 2147483647 h 624"/>
                  <a:gd name="T96" fmla="*/ 2147483647 w 234"/>
                  <a:gd name="T97" fmla="*/ 2147483647 h 624"/>
                  <a:gd name="T98" fmla="*/ 2147483647 w 234"/>
                  <a:gd name="T99" fmla="*/ 2147483647 h 624"/>
                  <a:gd name="T100" fmla="*/ 2147483647 w 234"/>
                  <a:gd name="T101" fmla="*/ 2147483647 h 624"/>
                  <a:gd name="T102" fmla="*/ 2147483647 w 234"/>
                  <a:gd name="T103" fmla="*/ 2147483647 h 624"/>
                  <a:gd name="T104" fmla="*/ 2147483647 w 234"/>
                  <a:gd name="T105" fmla="*/ 2147483647 h 624"/>
                  <a:gd name="T106" fmla="*/ 2147483647 w 234"/>
                  <a:gd name="T107" fmla="*/ 2147483647 h 624"/>
                  <a:gd name="T108" fmla="*/ 2147483647 w 234"/>
                  <a:gd name="T109" fmla="*/ 2147483647 h 624"/>
                  <a:gd name="T110" fmla="*/ 2147483647 w 234"/>
                  <a:gd name="T111" fmla="*/ 2147483647 h 624"/>
                  <a:gd name="T112" fmla="*/ 2147483647 w 234"/>
                  <a:gd name="T113" fmla="*/ 2147483647 h 624"/>
                  <a:gd name="T114" fmla="*/ 2147483647 w 234"/>
                  <a:gd name="T115" fmla="*/ 2147483647 h 624"/>
                  <a:gd name="T116" fmla="*/ 2147483647 w 234"/>
                  <a:gd name="T117" fmla="*/ 2147483647 h 62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34"/>
                  <a:gd name="T178" fmla="*/ 0 h 624"/>
                  <a:gd name="T179" fmla="*/ 234 w 234"/>
                  <a:gd name="T180" fmla="*/ 624 h 62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34" h="624">
                    <a:moveTo>
                      <a:pt x="234" y="432"/>
                    </a:moveTo>
                    <a:lnTo>
                      <a:pt x="222" y="420"/>
                    </a:lnTo>
                    <a:lnTo>
                      <a:pt x="210" y="402"/>
                    </a:lnTo>
                    <a:lnTo>
                      <a:pt x="204" y="390"/>
                    </a:lnTo>
                    <a:lnTo>
                      <a:pt x="198" y="384"/>
                    </a:lnTo>
                    <a:lnTo>
                      <a:pt x="186" y="360"/>
                    </a:lnTo>
                    <a:lnTo>
                      <a:pt x="162" y="336"/>
                    </a:lnTo>
                    <a:lnTo>
                      <a:pt x="156" y="336"/>
                    </a:lnTo>
                    <a:lnTo>
                      <a:pt x="156" y="330"/>
                    </a:lnTo>
                    <a:lnTo>
                      <a:pt x="150" y="330"/>
                    </a:lnTo>
                    <a:lnTo>
                      <a:pt x="150" y="342"/>
                    </a:lnTo>
                    <a:lnTo>
                      <a:pt x="156" y="342"/>
                    </a:lnTo>
                    <a:lnTo>
                      <a:pt x="168" y="354"/>
                    </a:lnTo>
                    <a:lnTo>
                      <a:pt x="168" y="366"/>
                    </a:lnTo>
                    <a:lnTo>
                      <a:pt x="174" y="378"/>
                    </a:lnTo>
                    <a:lnTo>
                      <a:pt x="174" y="390"/>
                    </a:lnTo>
                    <a:lnTo>
                      <a:pt x="168" y="396"/>
                    </a:lnTo>
                    <a:lnTo>
                      <a:pt x="162" y="396"/>
                    </a:lnTo>
                    <a:lnTo>
                      <a:pt x="162" y="390"/>
                    </a:lnTo>
                    <a:lnTo>
                      <a:pt x="156" y="384"/>
                    </a:lnTo>
                    <a:lnTo>
                      <a:pt x="156" y="378"/>
                    </a:lnTo>
                    <a:lnTo>
                      <a:pt x="144" y="384"/>
                    </a:lnTo>
                    <a:lnTo>
                      <a:pt x="132" y="384"/>
                    </a:lnTo>
                    <a:lnTo>
                      <a:pt x="132" y="360"/>
                    </a:lnTo>
                    <a:lnTo>
                      <a:pt x="126" y="354"/>
                    </a:lnTo>
                    <a:lnTo>
                      <a:pt x="126" y="342"/>
                    </a:lnTo>
                    <a:lnTo>
                      <a:pt x="120" y="330"/>
                    </a:lnTo>
                    <a:lnTo>
                      <a:pt x="120" y="282"/>
                    </a:lnTo>
                    <a:lnTo>
                      <a:pt x="84" y="246"/>
                    </a:lnTo>
                    <a:lnTo>
                      <a:pt x="90" y="240"/>
                    </a:lnTo>
                    <a:lnTo>
                      <a:pt x="90" y="222"/>
                    </a:lnTo>
                    <a:lnTo>
                      <a:pt x="96" y="210"/>
                    </a:lnTo>
                    <a:lnTo>
                      <a:pt x="114" y="192"/>
                    </a:lnTo>
                    <a:lnTo>
                      <a:pt x="120" y="180"/>
                    </a:lnTo>
                    <a:lnTo>
                      <a:pt x="126" y="174"/>
                    </a:lnTo>
                    <a:lnTo>
                      <a:pt x="126" y="156"/>
                    </a:lnTo>
                    <a:lnTo>
                      <a:pt x="120" y="150"/>
                    </a:lnTo>
                    <a:lnTo>
                      <a:pt x="120" y="102"/>
                    </a:lnTo>
                    <a:lnTo>
                      <a:pt x="114" y="78"/>
                    </a:lnTo>
                    <a:lnTo>
                      <a:pt x="114" y="60"/>
                    </a:lnTo>
                    <a:lnTo>
                      <a:pt x="102" y="60"/>
                    </a:lnTo>
                    <a:lnTo>
                      <a:pt x="84" y="42"/>
                    </a:lnTo>
                    <a:lnTo>
                      <a:pt x="84" y="36"/>
                    </a:lnTo>
                    <a:lnTo>
                      <a:pt x="90" y="24"/>
                    </a:lnTo>
                    <a:lnTo>
                      <a:pt x="90" y="18"/>
                    </a:lnTo>
                    <a:lnTo>
                      <a:pt x="60" y="18"/>
                    </a:lnTo>
                    <a:lnTo>
                      <a:pt x="54" y="0"/>
                    </a:lnTo>
                    <a:lnTo>
                      <a:pt x="30" y="0"/>
                    </a:lnTo>
                    <a:lnTo>
                      <a:pt x="30" y="12"/>
                    </a:lnTo>
                    <a:lnTo>
                      <a:pt x="42" y="12"/>
                    </a:lnTo>
                    <a:lnTo>
                      <a:pt x="54" y="24"/>
                    </a:lnTo>
                    <a:lnTo>
                      <a:pt x="54" y="66"/>
                    </a:lnTo>
                    <a:lnTo>
                      <a:pt x="60" y="66"/>
                    </a:lnTo>
                    <a:lnTo>
                      <a:pt x="66" y="60"/>
                    </a:lnTo>
                    <a:lnTo>
                      <a:pt x="66" y="84"/>
                    </a:lnTo>
                    <a:lnTo>
                      <a:pt x="78" y="84"/>
                    </a:lnTo>
                    <a:lnTo>
                      <a:pt x="78" y="96"/>
                    </a:lnTo>
                    <a:lnTo>
                      <a:pt x="54" y="108"/>
                    </a:lnTo>
                    <a:lnTo>
                      <a:pt x="48" y="114"/>
                    </a:lnTo>
                    <a:lnTo>
                      <a:pt x="42" y="114"/>
                    </a:lnTo>
                    <a:lnTo>
                      <a:pt x="42" y="132"/>
                    </a:lnTo>
                    <a:lnTo>
                      <a:pt x="54" y="138"/>
                    </a:lnTo>
                    <a:lnTo>
                      <a:pt x="48" y="156"/>
                    </a:lnTo>
                    <a:lnTo>
                      <a:pt x="48" y="228"/>
                    </a:lnTo>
                    <a:lnTo>
                      <a:pt x="60" y="228"/>
                    </a:lnTo>
                    <a:lnTo>
                      <a:pt x="60" y="234"/>
                    </a:lnTo>
                    <a:lnTo>
                      <a:pt x="42" y="252"/>
                    </a:lnTo>
                    <a:lnTo>
                      <a:pt x="30" y="258"/>
                    </a:lnTo>
                    <a:lnTo>
                      <a:pt x="24" y="264"/>
                    </a:lnTo>
                    <a:lnTo>
                      <a:pt x="18" y="264"/>
                    </a:lnTo>
                    <a:lnTo>
                      <a:pt x="24" y="300"/>
                    </a:lnTo>
                    <a:lnTo>
                      <a:pt x="18" y="312"/>
                    </a:lnTo>
                    <a:lnTo>
                      <a:pt x="12" y="318"/>
                    </a:lnTo>
                    <a:lnTo>
                      <a:pt x="6" y="330"/>
                    </a:lnTo>
                    <a:lnTo>
                      <a:pt x="0" y="336"/>
                    </a:lnTo>
                    <a:lnTo>
                      <a:pt x="0" y="342"/>
                    </a:lnTo>
                    <a:lnTo>
                      <a:pt x="12" y="348"/>
                    </a:lnTo>
                    <a:lnTo>
                      <a:pt x="24" y="360"/>
                    </a:lnTo>
                    <a:lnTo>
                      <a:pt x="36" y="366"/>
                    </a:lnTo>
                    <a:lnTo>
                      <a:pt x="66" y="414"/>
                    </a:lnTo>
                    <a:lnTo>
                      <a:pt x="96" y="414"/>
                    </a:lnTo>
                    <a:lnTo>
                      <a:pt x="102" y="408"/>
                    </a:lnTo>
                    <a:lnTo>
                      <a:pt x="120" y="408"/>
                    </a:lnTo>
                    <a:lnTo>
                      <a:pt x="126" y="414"/>
                    </a:lnTo>
                    <a:lnTo>
                      <a:pt x="126" y="450"/>
                    </a:lnTo>
                    <a:lnTo>
                      <a:pt x="132" y="450"/>
                    </a:lnTo>
                    <a:lnTo>
                      <a:pt x="126" y="480"/>
                    </a:lnTo>
                    <a:lnTo>
                      <a:pt x="114" y="486"/>
                    </a:lnTo>
                    <a:lnTo>
                      <a:pt x="126" y="504"/>
                    </a:lnTo>
                    <a:lnTo>
                      <a:pt x="120" y="510"/>
                    </a:lnTo>
                    <a:lnTo>
                      <a:pt x="108" y="516"/>
                    </a:lnTo>
                    <a:lnTo>
                      <a:pt x="102" y="522"/>
                    </a:lnTo>
                    <a:lnTo>
                      <a:pt x="102" y="528"/>
                    </a:lnTo>
                    <a:lnTo>
                      <a:pt x="114" y="528"/>
                    </a:lnTo>
                    <a:lnTo>
                      <a:pt x="114" y="558"/>
                    </a:lnTo>
                    <a:lnTo>
                      <a:pt x="126" y="564"/>
                    </a:lnTo>
                    <a:lnTo>
                      <a:pt x="132" y="570"/>
                    </a:lnTo>
                    <a:lnTo>
                      <a:pt x="144" y="576"/>
                    </a:lnTo>
                    <a:lnTo>
                      <a:pt x="150" y="582"/>
                    </a:lnTo>
                    <a:lnTo>
                      <a:pt x="162" y="588"/>
                    </a:lnTo>
                    <a:lnTo>
                      <a:pt x="162" y="600"/>
                    </a:lnTo>
                    <a:lnTo>
                      <a:pt x="156" y="606"/>
                    </a:lnTo>
                    <a:lnTo>
                      <a:pt x="156" y="618"/>
                    </a:lnTo>
                    <a:lnTo>
                      <a:pt x="162" y="624"/>
                    </a:lnTo>
                    <a:lnTo>
                      <a:pt x="168" y="618"/>
                    </a:lnTo>
                    <a:lnTo>
                      <a:pt x="180" y="612"/>
                    </a:lnTo>
                    <a:lnTo>
                      <a:pt x="180" y="582"/>
                    </a:lnTo>
                    <a:lnTo>
                      <a:pt x="174" y="576"/>
                    </a:lnTo>
                    <a:lnTo>
                      <a:pt x="168" y="576"/>
                    </a:lnTo>
                    <a:lnTo>
                      <a:pt x="168" y="558"/>
                    </a:lnTo>
                    <a:lnTo>
                      <a:pt x="174" y="546"/>
                    </a:lnTo>
                    <a:lnTo>
                      <a:pt x="186" y="540"/>
                    </a:lnTo>
                    <a:lnTo>
                      <a:pt x="210" y="540"/>
                    </a:lnTo>
                    <a:lnTo>
                      <a:pt x="216" y="534"/>
                    </a:lnTo>
                    <a:lnTo>
                      <a:pt x="216" y="474"/>
                    </a:lnTo>
                    <a:lnTo>
                      <a:pt x="222" y="468"/>
                    </a:lnTo>
                    <a:lnTo>
                      <a:pt x="228" y="456"/>
                    </a:lnTo>
                    <a:lnTo>
                      <a:pt x="234" y="450"/>
                    </a:lnTo>
                    <a:lnTo>
                      <a:pt x="234" y="432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25" name="Madagascar"/>
              <p:cNvSpPr>
                <a:spLocks/>
              </p:cNvSpPr>
              <p:nvPr/>
            </p:nvSpPr>
            <p:spPr bwMode="gray">
              <a:xfrm>
                <a:off x="5421320" y="4475165"/>
                <a:ext cx="238125" cy="439739"/>
              </a:xfrm>
              <a:custGeom>
                <a:avLst/>
                <a:gdLst>
                  <a:gd name="T0" fmla="*/ 2147483647 w 594"/>
                  <a:gd name="T1" fmla="*/ 2147483647 h 1092"/>
                  <a:gd name="T2" fmla="*/ 2147483647 w 594"/>
                  <a:gd name="T3" fmla="*/ 2147483647 h 1092"/>
                  <a:gd name="T4" fmla="*/ 2147483647 w 594"/>
                  <a:gd name="T5" fmla="*/ 2147483647 h 1092"/>
                  <a:gd name="T6" fmla="*/ 2147483647 w 594"/>
                  <a:gd name="T7" fmla="*/ 2147483647 h 1092"/>
                  <a:gd name="T8" fmla="*/ 2147483647 w 594"/>
                  <a:gd name="T9" fmla="*/ 2147483647 h 1092"/>
                  <a:gd name="T10" fmla="*/ 2147483647 w 594"/>
                  <a:gd name="T11" fmla="*/ 2147483647 h 1092"/>
                  <a:gd name="T12" fmla="*/ 2147483647 w 594"/>
                  <a:gd name="T13" fmla="*/ 2147483647 h 1092"/>
                  <a:gd name="T14" fmla="*/ 2147483647 w 594"/>
                  <a:gd name="T15" fmla="*/ 2147483647 h 1092"/>
                  <a:gd name="T16" fmla="*/ 2147483647 w 594"/>
                  <a:gd name="T17" fmla="*/ 2147483647 h 1092"/>
                  <a:gd name="T18" fmla="*/ 2147483647 w 594"/>
                  <a:gd name="T19" fmla="*/ 2147483647 h 1092"/>
                  <a:gd name="T20" fmla="*/ 2147483647 w 594"/>
                  <a:gd name="T21" fmla="*/ 2147483647 h 1092"/>
                  <a:gd name="T22" fmla="*/ 2147483647 w 594"/>
                  <a:gd name="T23" fmla="*/ 2147483647 h 1092"/>
                  <a:gd name="T24" fmla="*/ 2147483647 w 594"/>
                  <a:gd name="T25" fmla="*/ 2147483647 h 1092"/>
                  <a:gd name="T26" fmla="*/ 2147483647 w 594"/>
                  <a:gd name="T27" fmla="*/ 2147483647 h 1092"/>
                  <a:gd name="T28" fmla="*/ 2147483647 w 594"/>
                  <a:gd name="T29" fmla="*/ 2147483647 h 1092"/>
                  <a:gd name="T30" fmla="*/ 2147483647 w 594"/>
                  <a:gd name="T31" fmla="*/ 2147483647 h 1092"/>
                  <a:gd name="T32" fmla="*/ 2147483647 w 594"/>
                  <a:gd name="T33" fmla="*/ 0 h 1092"/>
                  <a:gd name="T34" fmla="*/ 2147483647 w 594"/>
                  <a:gd name="T35" fmla="*/ 2147483647 h 1092"/>
                  <a:gd name="T36" fmla="*/ 2147483647 w 594"/>
                  <a:gd name="T37" fmla="*/ 2147483647 h 1092"/>
                  <a:gd name="T38" fmla="*/ 2147483647 w 594"/>
                  <a:gd name="T39" fmla="*/ 2147483647 h 1092"/>
                  <a:gd name="T40" fmla="*/ 2147483647 w 594"/>
                  <a:gd name="T41" fmla="*/ 2147483647 h 1092"/>
                  <a:gd name="T42" fmla="*/ 2147483647 w 594"/>
                  <a:gd name="T43" fmla="*/ 2147483647 h 1092"/>
                  <a:gd name="T44" fmla="*/ 2147483647 w 594"/>
                  <a:gd name="T45" fmla="*/ 2147483647 h 1092"/>
                  <a:gd name="T46" fmla="*/ 2147483647 w 594"/>
                  <a:gd name="T47" fmla="*/ 2147483647 h 1092"/>
                  <a:gd name="T48" fmla="*/ 2147483647 w 594"/>
                  <a:gd name="T49" fmla="*/ 2147483647 h 1092"/>
                  <a:gd name="T50" fmla="*/ 2147483647 w 594"/>
                  <a:gd name="T51" fmla="*/ 2147483647 h 1092"/>
                  <a:gd name="T52" fmla="*/ 2147483647 w 594"/>
                  <a:gd name="T53" fmla="*/ 2147483647 h 1092"/>
                  <a:gd name="T54" fmla="*/ 2147483647 w 594"/>
                  <a:gd name="T55" fmla="*/ 2147483647 h 1092"/>
                  <a:gd name="T56" fmla="*/ 2147483647 w 594"/>
                  <a:gd name="T57" fmla="*/ 2147483647 h 1092"/>
                  <a:gd name="T58" fmla="*/ 2147483647 w 594"/>
                  <a:gd name="T59" fmla="*/ 2147483647 h 1092"/>
                  <a:gd name="T60" fmla="*/ 2147483647 w 594"/>
                  <a:gd name="T61" fmla="*/ 2147483647 h 1092"/>
                  <a:gd name="T62" fmla="*/ 2147483647 w 594"/>
                  <a:gd name="T63" fmla="*/ 2147483647 h 1092"/>
                  <a:gd name="T64" fmla="*/ 2147483647 w 594"/>
                  <a:gd name="T65" fmla="*/ 2147483647 h 1092"/>
                  <a:gd name="T66" fmla="*/ 2147483647 w 594"/>
                  <a:gd name="T67" fmla="*/ 2147483647 h 1092"/>
                  <a:gd name="T68" fmla="*/ 2147483647 w 594"/>
                  <a:gd name="T69" fmla="*/ 2147483647 h 1092"/>
                  <a:gd name="T70" fmla="*/ 2147483647 w 594"/>
                  <a:gd name="T71" fmla="*/ 2147483647 h 1092"/>
                  <a:gd name="T72" fmla="*/ 2147483647 w 594"/>
                  <a:gd name="T73" fmla="*/ 2147483647 h 1092"/>
                  <a:gd name="T74" fmla="*/ 2147483647 w 594"/>
                  <a:gd name="T75" fmla="*/ 2147483647 h 1092"/>
                  <a:gd name="T76" fmla="*/ 2147483647 w 594"/>
                  <a:gd name="T77" fmla="*/ 2147483647 h 1092"/>
                  <a:gd name="T78" fmla="*/ 2147483647 w 594"/>
                  <a:gd name="T79" fmla="*/ 2147483647 h 1092"/>
                  <a:gd name="T80" fmla="*/ 2147483647 w 594"/>
                  <a:gd name="T81" fmla="*/ 2147483647 h 1092"/>
                  <a:gd name="T82" fmla="*/ 2147483647 w 594"/>
                  <a:gd name="T83" fmla="*/ 2147483647 h 1092"/>
                  <a:gd name="T84" fmla="*/ 2147483647 w 594"/>
                  <a:gd name="T85" fmla="*/ 2147483647 h 1092"/>
                  <a:gd name="T86" fmla="*/ 0 w 594"/>
                  <a:gd name="T87" fmla="*/ 2147483647 h 1092"/>
                  <a:gd name="T88" fmla="*/ 2147483647 w 594"/>
                  <a:gd name="T89" fmla="*/ 2147483647 h 1092"/>
                  <a:gd name="T90" fmla="*/ 2147483647 w 594"/>
                  <a:gd name="T91" fmla="*/ 2147483647 h 1092"/>
                  <a:gd name="T92" fmla="*/ 2147483647 w 594"/>
                  <a:gd name="T93" fmla="*/ 2147483647 h 1092"/>
                  <a:gd name="T94" fmla="*/ 2147483647 w 594"/>
                  <a:gd name="T95" fmla="*/ 2147483647 h 1092"/>
                  <a:gd name="T96" fmla="*/ 2147483647 w 594"/>
                  <a:gd name="T97" fmla="*/ 2147483647 h 1092"/>
                  <a:gd name="T98" fmla="*/ 2147483647 w 594"/>
                  <a:gd name="T99" fmla="*/ 2147483647 h 1092"/>
                  <a:gd name="T100" fmla="*/ 2147483647 w 594"/>
                  <a:gd name="T101" fmla="*/ 2147483647 h 1092"/>
                  <a:gd name="T102" fmla="*/ 2147483647 w 594"/>
                  <a:gd name="T103" fmla="*/ 2147483647 h 109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594"/>
                  <a:gd name="T157" fmla="*/ 0 h 1092"/>
                  <a:gd name="T158" fmla="*/ 594 w 594"/>
                  <a:gd name="T159" fmla="*/ 1092 h 109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594" h="1092">
                    <a:moveTo>
                      <a:pt x="120" y="330"/>
                    </a:moveTo>
                    <a:lnTo>
                      <a:pt x="144" y="324"/>
                    </a:lnTo>
                    <a:lnTo>
                      <a:pt x="192" y="324"/>
                    </a:lnTo>
                    <a:lnTo>
                      <a:pt x="192" y="300"/>
                    </a:lnTo>
                    <a:lnTo>
                      <a:pt x="252" y="312"/>
                    </a:lnTo>
                    <a:lnTo>
                      <a:pt x="270" y="282"/>
                    </a:lnTo>
                    <a:lnTo>
                      <a:pt x="312" y="288"/>
                    </a:lnTo>
                    <a:lnTo>
                      <a:pt x="312" y="258"/>
                    </a:lnTo>
                    <a:lnTo>
                      <a:pt x="324" y="228"/>
                    </a:lnTo>
                    <a:lnTo>
                      <a:pt x="324" y="258"/>
                    </a:lnTo>
                    <a:lnTo>
                      <a:pt x="336" y="276"/>
                    </a:lnTo>
                    <a:lnTo>
                      <a:pt x="348" y="240"/>
                    </a:lnTo>
                    <a:lnTo>
                      <a:pt x="348" y="210"/>
                    </a:lnTo>
                    <a:lnTo>
                      <a:pt x="354" y="192"/>
                    </a:lnTo>
                    <a:lnTo>
                      <a:pt x="354" y="186"/>
                    </a:lnTo>
                    <a:lnTo>
                      <a:pt x="360" y="186"/>
                    </a:lnTo>
                    <a:lnTo>
                      <a:pt x="372" y="198"/>
                    </a:lnTo>
                    <a:lnTo>
                      <a:pt x="372" y="204"/>
                    </a:lnTo>
                    <a:lnTo>
                      <a:pt x="378" y="204"/>
                    </a:lnTo>
                    <a:lnTo>
                      <a:pt x="402" y="180"/>
                    </a:lnTo>
                    <a:lnTo>
                      <a:pt x="396" y="168"/>
                    </a:lnTo>
                    <a:lnTo>
                      <a:pt x="396" y="150"/>
                    </a:lnTo>
                    <a:lnTo>
                      <a:pt x="390" y="138"/>
                    </a:lnTo>
                    <a:lnTo>
                      <a:pt x="402" y="126"/>
                    </a:lnTo>
                    <a:lnTo>
                      <a:pt x="414" y="126"/>
                    </a:lnTo>
                    <a:lnTo>
                      <a:pt x="420" y="132"/>
                    </a:lnTo>
                    <a:lnTo>
                      <a:pt x="426" y="132"/>
                    </a:lnTo>
                    <a:lnTo>
                      <a:pt x="432" y="126"/>
                    </a:lnTo>
                    <a:lnTo>
                      <a:pt x="438" y="114"/>
                    </a:lnTo>
                    <a:lnTo>
                      <a:pt x="450" y="102"/>
                    </a:lnTo>
                    <a:lnTo>
                      <a:pt x="456" y="90"/>
                    </a:lnTo>
                    <a:lnTo>
                      <a:pt x="462" y="72"/>
                    </a:lnTo>
                    <a:lnTo>
                      <a:pt x="462" y="42"/>
                    </a:lnTo>
                    <a:lnTo>
                      <a:pt x="492" y="0"/>
                    </a:lnTo>
                    <a:lnTo>
                      <a:pt x="546" y="60"/>
                    </a:lnTo>
                    <a:lnTo>
                      <a:pt x="546" y="90"/>
                    </a:lnTo>
                    <a:lnTo>
                      <a:pt x="552" y="96"/>
                    </a:lnTo>
                    <a:lnTo>
                      <a:pt x="558" y="114"/>
                    </a:lnTo>
                    <a:lnTo>
                      <a:pt x="576" y="150"/>
                    </a:lnTo>
                    <a:lnTo>
                      <a:pt x="582" y="156"/>
                    </a:lnTo>
                    <a:lnTo>
                      <a:pt x="582" y="162"/>
                    </a:lnTo>
                    <a:lnTo>
                      <a:pt x="564" y="216"/>
                    </a:lnTo>
                    <a:lnTo>
                      <a:pt x="594" y="276"/>
                    </a:lnTo>
                    <a:lnTo>
                      <a:pt x="594" y="288"/>
                    </a:lnTo>
                    <a:lnTo>
                      <a:pt x="588" y="294"/>
                    </a:lnTo>
                    <a:lnTo>
                      <a:pt x="576" y="294"/>
                    </a:lnTo>
                    <a:lnTo>
                      <a:pt x="564" y="288"/>
                    </a:lnTo>
                    <a:lnTo>
                      <a:pt x="558" y="282"/>
                    </a:lnTo>
                    <a:lnTo>
                      <a:pt x="552" y="282"/>
                    </a:lnTo>
                    <a:lnTo>
                      <a:pt x="522" y="288"/>
                    </a:lnTo>
                    <a:lnTo>
                      <a:pt x="528" y="330"/>
                    </a:lnTo>
                    <a:lnTo>
                      <a:pt x="522" y="336"/>
                    </a:lnTo>
                    <a:lnTo>
                      <a:pt x="516" y="348"/>
                    </a:lnTo>
                    <a:lnTo>
                      <a:pt x="504" y="354"/>
                    </a:lnTo>
                    <a:lnTo>
                      <a:pt x="486" y="390"/>
                    </a:lnTo>
                    <a:lnTo>
                      <a:pt x="486" y="402"/>
                    </a:lnTo>
                    <a:lnTo>
                      <a:pt x="492" y="414"/>
                    </a:lnTo>
                    <a:lnTo>
                      <a:pt x="504" y="450"/>
                    </a:lnTo>
                    <a:lnTo>
                      <a:pt x="498" y="468"/>
                    </a:lnTo>
                    <a:lnTo>
                      <a:pt x="486" y="510"/>
                    </a:lnTo>
                    <a:lnTo>
                      <a:pt x="462" y="570"/>
                    </a:lnTo>
                    <a:lnTo>
                      <a:pt x="432" y="642"/>
                    </a:lnTo>
                    <a:lnTo>
                      <a:pt x="390" y="720"/>
                    </a:lnTo>
                    <a:lnTo>
                      <a:pt x="324" y="852"/>
                    </a:lnTo>
                    <a:lnTo>
                      <a:pt x="312" y="894"/>
                    </a:lnTo>
                    <a:lnTo>
                      <a:pt x="306" y="912"/>
                    </a:lnTo>
                    <a:lnTo>
                      <a:pt x="306" y="948"/>
                    </a:lnTo>
                    <a:lnTo>
                      <a:pt x="294" y="984"/>
                    </a:lnTo>
                    <a:lnTo>
                      <a:pt x="276" y="1014"/>
                    </a:lnTo>
                    <a:lnTo>
                      <a:pt x="258" y="1032"/>
                    </a:lnTo>
                    <a:lnTo>
                      <a:pt x="240" y="1044"/>
                    </a:lnTo>
                    <a:lnTo>
                      <a:pt x="222" y="1062"/>
                    </a:lnTo>
                    <a:lnTo>
                      <a:pt x="216" y="1062"/>
                    </a:lnTo>
                    <a:lnTo>
                      <a:pt x="210" y="1068"/>
                    </a:lnTo>
                    <a:lnTo>
                      <a:pt x="186" y="1068"/>
                    </a:lnTo>
                    <a:lnTo>
                      <a:pt x="150" y="1086"/>
                    </a:lnTo>
                    <a:lnTo>
                      <a:pt x="114" y="1092"/>
                    </a:lnTo>
                    <a:lnTo>
                      <a:pt x="78" y="1074"/>
                    </a:lnTo>
                    <a:lnTo>
                      <a:pt x="60" y="1056"/>
                    </a:lnTo>
                    <a:lnTo>
                      <a:pt x="48" y="1038"/>
                    </a:lnTo>
                    <a:lnTo>
                      <a:pt x="36" y="1026"/>
                    </a:lnTo>
                    <a:lnTo>
                      <a:pt x="36" y="1020"/>
                    </a:lnTo>
                    <a:lnTo>
                      <a:pt x="30" y="1014"/>
                    </a:lnTo>
                    <a:lnTo>
                      <a:pt x="48" y="990"/>
                    </a:lnTo>
                    <a:lnTo>
                      <a:pt x="42" y="978"/>
                    </a:lnTo>
                    <a:lnTo>
                      <a:pt x="24" y="948"/>
                    </a:lnTo>
                    <a:lnTo>
                      <a:pt x="12" y="900"/>
                    </a:lnTo>
                    <a:lnTo>
                      <a:pt x="0" y="834"/>
                    </a:lnTo>
                    <a:lnTo>
                      <a:pt x="0" y="786"/>
                    </a:lnTo>
                    <a:lnTo>
                      <a:pt x="6" y="756"/>
                    </a:lnTo>
                    <a:lnTo>
                      <a:pt x="18" y="738"/>
                    </a:lnTo>
                    <a:lnTo>
                      <a:pt x="60" y="696"/>
                    </a:lnTo>
                    <a:lnTo>
                      <a:pt x="72" y="678"/>
                    </a:lnTo>
                    <a:lnTo>
                      <a:pt x="90" y="672"/>
                    </a:lnTo>
                    <a:lnTo>
                      <a:pt x="96" y="660"/>
                    </a:lnTo>
                    <a:lnTo>
                      <a:pt x="108" y="654"/>
                    </a:lnTo>
                    <a:lnTo>
                      <a:pt x="108" y="636"/>
                    </a:lnTo>
                    <a:lnTo>
                      <a:pt x="102" y="600"/>
                    </a:lnTo>
                    <a:lnTo>
                      <a:pt x="96" y="558"/>
                    </a:lnTo>
                    <a:lnTo>
                      <a:pt x="96" y="522"/>
                    </a:lnTo>
                    <a:lnTo>
                      <a:pt x="78" y="432"/>
                    </a:lnTo>
                    <a:lnTo>
                      <a:pt x="90" y="408"/>
                    </a:lnTo>
                    <a:lnTo>
                      <a:pt x="132" y="366"/>
                    </a:lnTo>
                    <a:lnTo>
                      <a:pt x="132" y="360"/>
                    </a:lnTo>
                    <a:lnTo>
                      <a:pt x="120" y="33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26" name="Libya"/>
              <p:cNvSpPr>
                <a:spLocks/>
              </p:cNvSpPr>
              <p:nvPr/>
            </p:nvSpPr>
            <p:spPr bwMode="gray">
              <a:xfrm>
                <a:off x="4481520" y="2998791"/>
                <a:ext cx="442913" cy="447675"/>
              </a:xfrm>
              <a:custGeom>
                <a:avLst/>
                <a:gdLst>
                  <a:gd name="T0" fmla="*/ 2147483647 w 1098"/>
                  <a:gd name="T1" fmla="*/ 2147483647 h 1110"/>
                  <a:gd name="T2" fmla="*/ 2147483647 w 1098"/>
                  <a:gd name="T3" fmla="*/ 2147483647 h 1110"/>
                  <a:gd name="T4" fmla="*/ 2147483647 w 1098"/>
                  <a:gd name="T5" fmla="*/ 2147483647 h 1110"/>
                  <a:gd name="T6" fmla="*/ 2147483647 w 1098"/>
                  <a:gd name="T7" fmla="*/ 2147483647 h 1110"/>
                  <a:gd name="T8" fmla="*/ 2147483647 w 1098"/>
                  <a:gd name="T9" fmla="*/ 2147483647 h 1110"/>
                  <a:gd name="T10" fmla="*/ 2147483647 w 1098"/>
                  <a:gd name="T11" fmla="*/ 2147483647 h 1110"/>
                  <a:gd name="T12" fmla="*/ 2147483647 w 1098"/>
                  <a:gd name="T13" fmla="*/ 2147483647 h 1110"/>
                  <a:gd name="T14" fmla="*/ 2147483647 w 1098"/>
                  <a:gd name="T15" fmla="*/ 2147483647 h 1110"/>
                  <a:gd name="T16" fmla="*/ 2147483647 w 1098"/>
                  <a:gd name="T17" fmla="*/ 2147483647 h 1110"/>
                  <a:gd name="T18" fmla="*/ 2147483647 w 1098"/>
                  <a:gd name="T19" fmla="*/ 2147483647 h 1110"/>
                  <a:gd name="T20" fmla="*/ 2147483647 w 1098"/>
                  <a:gd name="T21" fmla="*/ 2147483647 h 1110"/>
                  <a:gd name="T22" fmla="*/ 2147483647 w 1098"/>
                  <a:gd name="T23" fmla="*/ 2147483647 h 1110"/>
                  <a:gd name="T24" fmla="*/ 0 w 1098"/>
                  <a:gd name="T25" fmla="*/ 2147483647 h 1110"/>
                  <a:gd name="T26" fmla="*/ 2147483647 w 1098"/>
                  <a:gd name="T27" fmla="*/ 2147483647 h 1110"/>
                  <a:gd name="T28" fmla="*/ 2147483647 w 1098"/>
                  <a:gd name="T29" fmla="*/ 2147483647 h 1110"/>
                  <a:gd name="T30" fmla="*/ 2147483647 w 1098"/>
                  <a:gd name="T31" fmla="*/ 2147483647 h 1110"/>
                  <a:gd name="T32" fmla="*/ 2147483647 w 1098"/>
                  <a:gd name="T33" fmla="*/ 2147483647 h 1110"/>
                  <a:gd name="T34" fmla="*/ 2147483647 w 1098"/>
                  <a:gd name="T35" fmla="*/ 2147483647 h 1110"/>
                  <a:gd name="T36" fmla="*/ 2147483647 w 1098"/>
                  <a:gd name="T37" fmla="*/ 2147483647 h 1110"/>
                  <a:gd name="T38" fmla="*/ 2147483647 w 1098"/>
                  <a:gd name="T39" fmla="*/ 2147483647 h 1110"/>
                  <a:gd name="T40" fmla="*/ 2147483647 w 1098"/>
                  <a:gd name="T41" fmla="*/ 2147483647 h 1110"/>
                  <a:gd name="T42" fmla="*/ 2147483647 w 1098"/>
                  <a:gd name="T43" fmla="*/ 2147483647 h 1110"/>
                  <a:gd name="T44" fmla="*/ 2147483647 w 1098"/>
                  <a:gd name="T45" fmla="*/ 2147483647 h 1110"/>
                  <a:gd name="T46" fmla="*/ 2147483647 w 1098"/>
                  <a:gd name="T47" fmla="*/ 2147483647 h 1110"/>
                  <a:gd name="T48" fmla="*/ 2147483647 w 1098"/>
                  <a:gd name="T49" fmla="*/ 2147483647 h 1110"/>
                  <a:gd name="T50" fmla="*/ 2147483647 w 1098"/>
                  <a:gd name="T51" fmla="*/ 2147483647 h 1110"/>
                  <a:gd name="T52" fmla="*/ 2147483647 w 1098"/>
                  <a:gd name="T53" fmla="*/ 2147483647 h 1110"/>
                  <a:gd name="T54" fmla="*/ 2147483647 w 1098"/>
                  <a:gd name="T55" fmla="*/ 2147483647 h 1110"/>
                  <a:gd name="T56" fmla="*/ 2147483647 w 1098"/>
                  <a:gd name="T57" fmla="*/ 2147483647 h 1110"/>
                  <a:gd name="T58" fmla="*/ 2147483647 w 1098"/>
                  <a:gd name="T59" fmla="*/ 2147483647 h 1110"/>
                  <a:gd name="T60" fmla="*/ 2147483647 w 1098"/>
                  <a:gd name="T61" fmla="*/ 2147483647 h 1110"/>
                  <a:gd name="T62" fmla="*/ 2147483647 w 1098"/>
                  <a:gd name="T63" fmla="*/ 2147483647 h 1110"/>
                  <a:gd name="T64" fmla="*/ 2147483647 w 1098"/>
                  <a:gd name="T65" fmla="*/ 2147483647 h 1110"/>
                  <a:gd name="T66" fmla="*/ 2147483647 w 1098"/>
                  <a:gd name="T67" fmla="*/ 2147483647 h 1110"/>
                  <a:gd name="T68" fmla="*/ 2147483647 w 1098"/>
                  <a:gd name="T69" fmla="*/ 2147483647 h 1110"/>
                  <a:gd name="T70" fmla="*/ 2147483647 w 1098"/>
                  <a:gd name="T71" fmla="*/ 2147483647 h 1110"/>
                  <a:gd name="T72" fmla="*/ 2147483647 w 1098"/>
                  <a:gd name="T73" fmla="*/ 2147483647 h 1110"/>
                  <a:gd name="T74" fmla="*/ 2147483647 w 1098"/>
                  <a:gd name="T75" fmla="*/ 2147483647 h 1110"/>
                  <a:gd name="T76" fmla="*/ 2147483647 w 1098"/>
                  <a:gd name="T77" fmla="*/ 2147483647 h 1110"/>
                  <a:gd name="T78" fmla="*/ 2147483647 w 1098"/>
                  <a:gd name="T79" fmla="*/ 2147483647 h 1110"/>
                  <a:gd name="T80" fmla="*/ 2147483647 w 1098"/>
                  <a:gd name="T81" fmla="*/ 2147483647 h 1110"/>
                  <a:gd name="T82" fmla="*/ 2147483647 w 1098"/>
                  <a:gd name="T83" fmla="*/ 2147483647 h 1110"/>
                  <a:gd name="T84" fmla="*/ 2147483647 w 1098"/>
                  <a:gd name="T85" fmla="*/ 2147483647 h 1110"/>
                  <a:gd name="T86" fmla="*/ 2147483647 w 1098"/>
                  <a:gd name="T87" fmla="*/ 2147483647 h 1110"/>
                  <a:gd name="T88" fmla="*/ 2147483647 w 1098"/>
                  <a:gd name="T89" fmla="*/ 2147483647 h 1110"/>
                  <a:gd name="T90" fmla="*/ 2147483647 w 1098"/>
                  <a:gd name="T91" fmla="*/ 2147483647 h 1110"/>
                  <a:gd name="T92" fmla="*/ 2147483647 w 1098"/>
                  <a:gd name="T93" fmla="*/ 2147483647 h 1110"/>
                  <a:gd name="T94" fmla="*/ 2147483647 w 1098"/>
                  <a:gd name="T95" fmla="*/ 2147483647 h 1110"/>
                  <a:gd name="T96" fmla="*/ 2147483647 w 1098"/>
                  <a:gd name="T97" fmla="*/ 2147483647 h 1110"/>
                  <a:gd name="T98" fmla="*/ 2147483647 w 1098"/>
                  <a:gd name="T99" fmla="*/ 2147483647 h 1110"/>
                  <a:gd name="T100" fmla="*/ 2147483647 w 1098"/>
                  <a:gd name="T101" fmla="*/ 2147483647 h 1110"/>
                  <a:gd name="T102" fmla="*/ 2147483647 w 1098"/>
                  <a:gd name="T103" fmla="*/ 2147483647 h 1110"/>
                  <a:gd name="T104" fmla="*/ 2147483647 w 1098"/>
                  <a:gd name="T105" fmla="*/ 2147483647 h 1110"/>
                  <a:gd name="T106" fmla="*/ 2147483647 w 1098"/>
                  <a:gd name="T107" fmla="*/ 2147483647 h 1110"/>
                  <a:gd name="T108" fmla="*/ 2147483647 w 1098"/>
                  <a:gd name="T109" fmla="*/ 2147483647 h 1110"/>
                  <a:gd name="T110" fmla="*/ 2147483647 w 1098"/>
                  <a:gd name="T111" fmla="*/ 2147483647 h 1110"/>
                  <a:gd name="T112" fmla="*/ 2147483647 w 1098"/>
                  <a:gd name="T113" fmla="*/ 2147483647 h 111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098"/>
                  <a:gd name="T172" fmla="*/ 0 h 1110"/>
                  <a:gd name="T173" fmla="*/ 1098 w 1098"/>
                  <a:gd name="T174" fmla="*/ 1110 h 1110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098" h="1110">
                    <a:moveTo>
                      <a:pt x="156" y="60"/>
                    </a:moveTo>
                    <a:lnTo>
                      <a:pt x="150" y="66"/>
                    </a:lnTo>
                    <a:lnTo>
                      <a:pt x="126" y="78"/>
                    </a:lnTo>
                    <a:lnTo>
                      <a:pt x="114" y="78"/>
                    </a:lnTo>
                    <a:lnTo>
                      <a:pt x="102" y="84"/>
                    </a:lnTo>
                    <a:lnTo>
                      <a:pt x="96" y="90"/>
                    </a:lnTo>
                    <a:lnTo>
                      <a:pt x="90" y="102"/>
                    </a:lnTo>
                    <a:lnTo>
                      <a:pt x="84" y="108"/>
                    </a:lnTo>
                    <a:lnTo>
                      <a:pt x="78" y="120"/>
                    </a:lnTo>
                    <a:lnTo>
                      <a:pt x="72" y="120"/>
                    </a:lnTo>
                    <a:lnTo>
                      <a:pt x="54" y="138"/>
                    </a:lnTo>
                    <a:lnTo>
                      <a:pt x="54" y="156"/>
                    </a:lnTo>
                    <a:lnTo>
                      <a:pt x="66" y="180"/>
                    </a:lnTo>
                    <a:lnTo>
                      <a:pt x="66" y="204"/>
                    </a:lnTo>
                    <a:lnTo>
                      <a:pt x="36" y="234"/>
                    </a:lnTo>
                    <a:lnTo>
                      <a:pt x="30" y="234"/>
                    </a:lnTo>
                    <a:lnTo>
                      <a:pt x="24" y="240"/>
                    </a:lnTo>
                    <a:lnTo>
                      <a:pt x="12" y="246"/>
                    </a:lnTo>
                    <a:lnTo>
                      <a:pt x="6" y="246"/>
                    </a:lnTo>
                    <a:lnTo>
                      <a:pt x="0" y="252"/>
                    </a:lnTo>
                    <a:lnTo>
                      <a:pt x="12" y="270"/>
                    </a:lnTo>
                    <a:lnTo>
                      <a:pt x="36" y="330"/>
                    </a:lnTo>
                    <a:lnTo>
                      <a:pt x="48" y="354"/>
                    </a:lnTo>
                    <a:lnTo>
                      <a:pt x="48" y="360"/>
                    </a:lnTo>
                    <a:lnTo>
                      <a:pt x="42" y="372"/>
                    </a:lnTo>
                    <a:lnTo>
                      <a:pt x="42" y="402"/>
                    </a:lnTo>
                    <a:lnTo>
                      <a:pt x="36" y="408"/>
                    </a:lnTo>
                    <a:lnTo>
                      <a:pt x="36" y="414"/>
                    </a:lnTo>
                    <a:lnTo>
                      <a:pt x="42" y="432"/>
                    </a:lnTo>
                    <a:lnTo>
                      <a:pt x="30" y="456"/>
                    </a:lnTo>
                    <a:lnTo>
                      <a:pt x="36" y="510"/>
                    </a:lnTo>
                    <a:lnTo>
                      <a:pt x="36" y="516"/>
                    </a:lnTo>
                    <a:lnTo>
                      <a:pt x="42" y="522"/>
                    </a:lnTo>
                    <a:lnTo>
                      <a:pt x="42" y="534"/>
                    </a:lnTo>
                    <a:lnTo>
                      <a:pt x="36" y="546"/>
                    </a:lnTo>
                    <a:lnTo>
                      <a:pt x="30" y="552"/>
                    </a:lnTo>
                    <a:lnTo>
                      <a:pt x="18" y="558"/>
                    </a:lnTo>
                    <a:lnTo>
                      <a:pt x="6" y="558"/>
                    </a:lnTo>
                    <a:lnTo>
                      <a:pt x="0" y="564"/>
                    </a:lnTo>
                    <a:lnTo>
                      <a:pt x="0" y="570"/>
                    </a:lnTo>
                    <a:lnTo>
                      <a:pt x="6" y="582"/>
                    </a:lnTo>
                    <a:lnTo>
                      <a:pt x="18" y="594"/>
                    </a:lnTo>
                    <a:lnTo>
                      <a:pt x="24" y="612"/>
                    </a:lnTo>
                    <a:lnTo>
                      <a:pt x="36" y="624"/>
                    </a:lnTo>
                    <a:lnTo>
                      <a:pt x="42" y="636"/>
                    </a:lnTo>
                    <a:lnTo>
                      <a:pt x="48" y="642"/>
                    </a:lnTo>
                    <a:lnTo>
                      <a:pt x="48" y="684"/>
                    </a:lnTo>
                    <a:lnTo>
                      <a:pt x="72" y="708"/>
                    </a:lnTo>
                    <a:lnTo>
                      <a:pt x="96" y="696"/>
                    </a:lnTo>
                    <a:lnTo>
                      <a:pt x="102" y="696"/>
                    </a:lnTo>
                    <a:lnTo>
                      <a:pt x="138" y="714"/>
                    </a:lnTo>
                    <a:lnTo>
                      <a:pt x="150" y="714"/>
                    </a:lnTo>
                    <a:lnTo>
                      <a:pt x="162" y="726"/>
                    </a:lnTo>
                    <a:lnTo>
                      <a:pt x="162" y="732"/>
                    </a:lnTo>
                    <a:lnTo>
                      <a:pt x="168" y="744"/>
                    </a:lnTo>
                    <a:lnTo>
                      <a:pt x="174" y="762"/>
                    </a:lnTo>
                    <a:lnTo>
                      <a:pt x="180" y="774"/>
                    </a:lnTo>
                    <a:lnTo>
                      <a:pt x="186" y="780"/>
                    </a:lnTo>
                    <a:lnTo>
                      <a:pt x="186" y="786"/>
                    </a:lnTo>
                    <a:lnTo>
                      <a:pt x="222" y="792"/>
                    </a:lnTo>
                    <a:lnTo>
                      <a:pt x="234" y="792"/>
                    </a:lnTo>
                    <a:lnTo>
                      <a:pt x="246" y="798"/>
                    </a:lnTo>
                    <a:lnTo>
                      <a:pt x="258" y="798"/>
                    </a:lnTo>
                    <a:lnTo>
                      <a:pt x="276" y="804"/>
                    </a:lnTo>
                    <a:lnTo>
                      <a:pt x="288" y="810"/>
                    </a:lnTo>
                    <a:lnTo>
                      <a:pt x="294" y="810"/>
                    </a:lnTo>
                    <a:lnTo>
                      <a:pt x="300" y="816"/>
                    </a:lnTo>
                    <a:lnTo>
                      <a:pt x="312" y="822"/>
                    </a:lnTo>
                    <a:lnTo>
                      <a:pt x="318" y="828"/>
                    </a:lnTo>
                    <a:lnTo>
                      <a:pt x="324" y="840"/>
                    </a:lnTo>
                    <a:lnTo>
                      <a:pt x="336" y="846"/>
                    </a:lnTo>
                    <a:lnTo>
                      <a:pt x="342" y="852"/>
                    </a:lnTo>
                    <a:lnTo>
                      <a:pt x="360" y="846"/>
                    </a:lnTo>
                    <a:lnTo>
                      <a:pt x="396" y="828"/>
                    </a:lnTo>
                    <a:lnTo>
                      <a:pt x="456" y="792"/>
                    </a:lnTo>
                    <a:lnTo>
                      <a:pt x="468" y="786"/>
                    </a:lnTo>
                    <a:lnTo>
                      <a:pt x="1026" y="1110"/>
                    </a:lnTo>
                    <a:lnTo>
                      <a:pt x="1026" y="1062"/>
                    </a:lnTo>
                    <a:lnTo>
                      <a:pt x="1098" y="1062"/>
                    </a:lnTo>
                    <a:lnTo>
                      <a:pt x="1098" y="828"/>
                    </a:lnTo>
                    <a:lnTo>
                      <a:pt x="1092" y="750"/>
                    </a:lnTo>
                    <a:lnTo>
                      <a:pt x="1092" y="660"/>
                    </a:lnTo>
                    <a:lnTo>
                      <a:pt x="1086" y="564"/>
                    </a:lnTo>
                    <a:lnTo>
                      <a:pt x="1086" y="468"/>
                    </a:lnTo>
                    <a:lnTo>
                      <a:pt x="1080" y="390"/>
                    </a:lnTo>
                    <a:lnTo>
                      <a:pt x="1080" y="306"/>
                    </a:lnTo>
                    <a:lnTo>
                      <a:pt x="1068" y="270"/>
                    </a:lnTo>
                    <a:lnTo>
                      <a:pt x="1056" y="258"/>
                    </a:lnTo>
                    <a:lnTo>
                      <a:pt x="1050" y="246"/>
                    </a:lnTo>
                    <a:lnTo>
                      <a:pt x="1050" y="240"/>
                    </a:lnTo>
                    <a:lnTo>
                      <a:pt x="1056" y="228"/>
                    </a:lnTo>
                    <a:lnTo>
                      <a:pt x="1062" y="222"/>
                    </a:lnTo>
                    <a:lnTo>
                      <a:pt x="1068" y="210"/>
                    </a:lnTo>
                    <a:lnTo>
                      <a:pt x="1074" y="204"/>
                    </a:lnTo>
                    <a:lnTo>
                      <a:pt x="1074" y="198"/>
                    </a:lnTo>
                    <a:lnTo>
                      <a:pt x="1068" y="186"/>
                    </a:lnTo>
                    <a:lnTo>
                      <a:pt x="1056" y="180"/>
                    </a:lnTo>
                    <a:lnTo>
                      <a:pt x="1056" y="150"/>
                    </a:lnTo>
                    <a:lnTo>
                      <a:pt x="1080" y="126"/>
                    </a:lnTo>
                    <a:lnTo>
                      <a:pt x="1074" y="114"/>
                    </a:lnTo>
                    <a:lnTo>
                      <a:pt x="1074" y="96"/>
                    </a:lnTo>
                    <a:lnTo>
                      <a:pt x="1056" y="102"/>
                    </a:lnTo>
                    <a:lnTo>
                      <a:pt x="1044" y="90"/>
                    </a:lnTo>
                    <a:lnTo>
                      <a:pt x="1032" y="102"/>
                    </a:lnTo>
                    <a:lnTo>
                      <a:pt x="1026" y="102"/>
                    </a:lnTo>
                    <a:lnTo>
                      <a:pt x="1020" y="96"/>
                    </a:lnTo>
                    <a:lnTo>
                      <a:pt x="1008" y="90"/>
                    </a:lnTo>
                    <a:lnTo>
                      <a:pt x="1002" y="84"/>
                    </a:lnTo>
                    <a:lnTo>
                      <a:pt x="990" y="78"/>
                    </a:lnTo>
                    <a:lnTo>
                      <a:pt x="978" y="78"/>
                    </a:lnTo>
                    <a:lnTo>
                      <a:pt x="966" y="84"/>
                    </a:lnTo>
                    <a:lnTo>
                      <a:pt x="954" y="84"/>
                    </a:lnTo>
                    <a:lnTo>
                      <a:pt x="942" y="78"/>
                    </a:lnTo>
                    <a:lnTo>
                      <a:pt x="936" y="72"/>
                    </a:lnTo>
                    <a:lnTo>
                      <a:pt x="936" y="48"/>
                    </a:lnTo>
                    <a:lnTo>
                      <a:pt x="930" y="42"/>
                    </a:lnTo>
                    <a:lnTo>
                      <a:pt x="918" y="36"/>
                    </a:lnTo>
                    <a:lnTo>
                      <a:pt x="882" y="36"/>
                    </a:lnTo>
                    <a:lnTo>
                      <a:pt x="876" y="30"/>
                    </a:lnTo>
                    <a:lnTo>
                      <a:pt x="864" y="30"/>
                    </a:lnTo>
                    <a:lnTo>
                      <a:pt x="852" y="24"/>
                    </a:lnTo>
                    <a:lnTo>
                      <a:pt x="840" y="24"/>
                    </a:lnTo>
                    <a:lnTo>
                      <a:pt x="834" y="30"/>
                    </a:lnTo>
                    <a:lnTo>
                      <a:pt x="834" y="36"/>
                    </a:lnTo>
                    <a:lnTo>
                      <a:pt x="798" y="36"/>
                    </a:lnTo>
                    <a:lnTo>
                      <a:pt x="780" y="42"/>
                    </a:lnTo>
                    <a:lnTo>
                      <a:pt x="768" y="48"/>
                    </a:lnTo>
                    <a:lnTo>
                      <a:pt x="732" y="84"/>
                    </a:lnTo>
                    <a:lnTo>
                      <a:pt x="720" y="108"/>
                    </a:lnTo>
                    <a:lnTo>
                      <a:pt x="720" y="120"/>
                    </a:lnTo>
                    <a:lnTo>
                      <a:pt x="726" y="138"/>
                    </a:lnTo>
                    <a:lnTo>
                      <a:pt x="738" y="150"/>
                    </a:lnTo>
                    <a:lnTo>
                      <a:pt x="744" y="162"/>
                    </a:lnTo>
                    <a:lnTo>
                      <a:pt x="744" y="180"/>
                    </a:lnTo>
                    <a:lnTo>
                      <a:pt x="738" y="192"/>
                    </a:lnTo>
                    <a:lnTo>
                      <a:pt x="714" y="216"/>
                    </a:lnTo>
                    <a:lnTo>
                      <a:pt x="708" y="228"/>
                    </a:lnTo>
                    <a:lnTo>
                      <a:pt x="696" y="234"/>
                    </a:lnTo>
                    <a:lnTo>
                      <a:pt x="666" y="234"/>
                    </a:lnTo>
                    <a:lnTo>
                      <a:pt x="648" y="228"/>
                    </a:lnTo>
                    <a:lnTo>
                      <a:pt x="630" y="216"/>
                    </a:lnTo>
                    <a:lnTo>
                      <a:pt x="612" y="198"/>
                    </a:lnTo>
                    <a:lnTo>
                      <a:pt x="582" y="180"/>
                    </a:lnTo>
                    <a:lnTo>
                      <a:pt x="552" y="168"/>
                    </a:lnTo>
                    <a:lnTo>
                      <a:pt x="528" y="162"/>
                    </a:lnTo>
                    <a:lnTo>
                      <a:pt x="462" y="162"/>
                    </a:lnTo>
                    <a:lnTo>
                      <a:pt x="438" y="150"/>
                    </a:lnTo>
                    <a:lnTo>
                      <a:pt x="426" y="138"/>
                    </a:lnTo>
                    <a:lnTo>
                      <a:pt x="420" y="126"/>
                    </a:lnTo>
                    <a:lnTo>
                      <a:pt x="414" y="108"/>
                    </a:lnTo>
                    <a:lnTo>
                      <a:pt x="414" y="96"/>
                    </a:lnTo>
                    <a:lnTo>
                      <a:pt x="402" y="72"/>
                    </a:lnTo>
                    <a:lnTo>
                      <a:pt x="378" y="60"/>
                    </a:lnTo>
                    <a:lnTo>
                      <a:pt x="366" y="60"/>
                    </a:lnTo>
                    <a:lnTo>
                      <a:pt x="354" y="54"/>
                    </a:lnTo>
                    <a:lnTo>
                      <a:pt x="348" y="48"/>
                    </a:lnTo>
                    <a:lnTo>
                      <a:pt x="324" y="36"/>
                    </a:lnTo>
                    <a:lnTo>
                      <a:pt x="318" y="36"/>
                    </a:lnTo>
                    <a:lnTo>
                      <a:pt x="306" y="30"/>
                    </a:lnTo>
                    <a:lnTo>
                      <a:pt x="264" y="30"/>
                    </a:lnTo>
                    <a:lnTo>
                      <a:pt x="252" y="36"/>
                    </a:lnTo>
                    <a:lnTo>
                      <a:pt x="216" y="36"/>
                    </a:lnTo>
                    <a:lnTo>
                      <a:pt x="192" y="24"/>
                    </a:lnTo>
                    <a:lnTo>
                      <a:pt x="180" y="12"/>
                    </a:lnTo>
                    <a:lnTo>
                      <a:pt x="168" y="6"/>
                    </a:lnTo>
                    <a:lnTo>
                      <a:pt x="150" y="6"/>
                    </a:lnTo>
                    <a:lnTo>
                      <a:pt x="144" y="0"/>
                    </a:lnTo>
                    <a:lnTo>
                      <a:pt x="138" y="42"/>
                    </a:lnTo>
                    <a:lnTo>
                      <a:pt x="144" y="42"/>
                    </a:lnTo>
                    <a:lnTo>
                      <a:pt x="156" y="54"/>
                    </a:lnTo>
                    <a:lnTo>
                      <a:pt x="156" y="6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27" name="Liberia"/>
              <p:cNvSpPr>
                <a:spLocks/>
              </p:cNvSpPr>
              <p:nvPr/>
            </p:nvSpPr>
            <p:spPr bwMode="gray">
              <a:xfrm>
                <a:off x="3878269" y="3798892"/>
                <a:ext cx="125413" cy="138113"/>
              </a:xfrm>
              <a:custGeom>
                <a:avLst/>
                <a:gdLst>
                  <a:gd name="T0" fmla="*/ 2147483647 w 312"/>
                  <a:gd name="T1" fmla="*/ 2147483647 h 342"/>
                  <a:gd name="T2" fmla="*/ 2147483647 w 312"/>
                  <a:gd name="T3" fmla="*/ 2147483647 h 342"/>
                  <a:gd name="T4" fmla="*/ 2147483647 w 312"/>
                  <a:gd name="T5" fmla="*/ 2147483647 h 342"/>
                  <a:gd name="T6" fmla="*/ 2147483647 w 312"/>
                  <a:gd name="T7" fmla="*/ 2147483647 h 342"/>
                  <a:gd name="T8" fmla="*/ 2147483647 w 312"/>
                  <a:gd name="T9" fmla="*/ 2147483647 h 342"/>
                  <a:gd name="T10" fmla="*/ 2147483647 w 312"/>
                  <a:gd name="T11" fmla="*/ 2147483647 h 342"/>
                  <a:gd name="T12" fmla="*/ 2147483647 w 312"/>
                  <a:gd name="T13" fmla="*/ 2147483647 h 342"/>
                  <a:gd name="T14" fmla="*/ 2147483647 w 312"/>
                  <a:gd name="T15" fmla="*/ 2147483647 h 342"/>
                  <a:gd name="T16" fmla="*/ 2147483647 w 312"/>
                  <a:gd name="T17" fmla="*/ 2147483647 h 342"/>
                  <a:gd name="T18" fmla="*/ 2147483647 w 312"/>
                  <a:gd name="T19" fmla="*/ 2147483647 h 342"/>
                  <a:gd name="T20" fmla="*/ 2147483647 w 312"/>
                  <a:gd name="T21" fmla="*/ 2147483647 h 342"/>
                  <a:gd name="T22" fmla="*/ 2147483647 w 312"/>
                  <a:gd name="T23" fmla="*/ 2147483647 h 342"/>
                  <a:gd name="T24" fmla="*/ 2147483647 w 312"/>
                  <a:gd name="T25" fmla="*/ 2147483647 h 342"/>
                  <a:gd name="T26" fmla="*/ 2147483647 w 312"/>
                  <a:gd name="T27" fmla="*/ 2147483647 h 342"/>
                  <a:gd name="T28" fmla="*/ 2147483647 w 312"/>
                  <a:gd name="T29" fmla="*/ 2147483647 h 342"/>
                  <a:gd name="T30" fmla="*/ 2147483647 w 312"/>
                  <a:gd name="T31" fmla="*/ 2147483647 h 342"/>
                  <a:gd name="T32" fmla="*/ 2147483647 w 312"/>
                  <a:gd name="T33" fmla="*/ 2147483647 h 342"/>
                  <a:gd name="T34" fmla="*/ 2147483647 w 312"/>
                  <a:gd name="T35" fmla="*/ 2147483647 h 342"/>
                  <a:gd name="T36" fmla="*/ 2147483647 w 312"/>
                  <a:gd name="T37" fmla="*/ 2147483647 h 342"/>
                  <a:gd name="T38" fmla="*/ 2147483647 w 312"/>
                  <a:gd name="T39" fmla="*/ 2147483647 h 342"/>
                  <a:gd name="T40" fmla="*/ 2147483647 w 312"/>
                  <a:gd name="T41" fmla="*/ 2147483647 h 342"/>
                  <a:gd name="T42" fmla="*/ 2147483647 w 312"/>
                  <a:gd name="T43" fmla="*/ 2147483647 h 342"/>
                  <a:gd name="T44" fmla="*/ 2147483647 w 312"/>
                  <a:gd name="T45" fmla="*/ 2147483647 h 342"/>
                  <a:gd name="T46" fmla="*/ 2147483647 w 312"/>
                  <a:gd name="T47" fmla="*/ 2147483647 h 342"/>
                  <a:gd name="T48" fmla="*/ 2147483647 w 312"/>
                  <a:gd name="T49" fmla="*/ 2147483647 h 342"/>
                  <a:gd name="T50" fmla="*/ 2147483647 w 312"/>
                  <a:gd name="T51" fmla="*/ 0 h 342"/>
                  <a:gd name="T52" fmla="*/ 2147483647 w 312"/>
                  <a:gd name="T53" fmla="*/ 0 h 342"/>
                  <a:gd name="T54" fmla="*/ 2147483647 w 312"/>
                  <a:gd name="T55" fmla="*/ 2147483647 h 342"/>
                  <a:gd name="T56" fmla="*/ 2147483647 w 312"/>
                  <a:gd name="T57" fmla="*/ 2147483647 h 342"/>
                  <a:gd name="T58" fmla="*/ 2147483647 w 312"/>
                  <a:gd name="T59" fmla="*/ 2147483647 h 342"/>
                  <a:gd name="T60" fmla="*/ 2147483647 w 312"/>
                  <a:gd name="T61" fmla="*/ 2147483647 h 342"/>
                  <a:gd name="T62" fmla="*/ 2147483647 w 312"/>
                  <a:gd name="T63" fmla="*/ 2147483647 h 342"/>
                  <a:gd name="T64" fmla="*/ 2147483647 w 312"/>
                  <a:gd name="T65" fmla="*/ 2147483647 h 342"/>
                  <a:gd name="T66" fmla="*/ 2147483647 w 312"/>
                  <a:gd name="T67" fmla="*/ 2147483647 h 342"/>
                  <a:gd name="T68" fmla="*/ 2147483647 w 312"/>
                  <a:gd name="T69" fmla="*/ 2147483647 h 342"/>
                  <a:gd name="T70" fmla="*/ 2147483647 w 312"/>
                  <a:gd name="T71" fmla="*/ 2147483647 h 342"/>
                  <a:gd name="T72" fmla="*/ 2147483647 w 312"/>
                  <a:gd name="T73" fmla="*/ 2147483647 h 342"/>
                  <a:gd name="T74" fmla="*/ 2147483647 w 312"/>
                  <a:gd name="T75" fmla="*/ 2147483647 h 342"/>
                  <a:gd name="T76" fmla="*/ 2147483647 w 312"/>
                  <a:gd name="T77" fmla="*/ 2147483647 h 342"/>
                  <a:gd name="T78" fmla="*/ 0 w 312"/>
                  <a:gd name="T79" fmla="*/ 2147483647 h 342"/>
                  <a:gd name="T80" fmla="*/ 2147483647 w 312"/>
                  <a:gd name="T81" fmla="*/ 2147483647 h 342"/>
                  <a:gd name="T82" fmla="*/ 2147483647 w 312"/>
                  <a:gd name="T83" fmla="*/ 2147483647 h 342"/>
                  <a:gd name="T84" fmla="*/ 2147483647 w 312"/>
                  <a:gd name="T85" fmla="*/ 2147483647 h 342"/>
                  <a:gd name="T86" fmla="*/ 2147483647 w 312"/>
                  <a:gd name="T87" fmla="*/ 2147483647 h 342"/>
                  <a:gd name="T88" fmla="*/ 2147483647 w 312"/>
                  <a:gd name="T89" fmla="*/ 2147483647 h 342"/>
                  <a:gd name="T90" fmla="*/ 2147483647 w 312"/>
                  <a:gd name="T91" fmla="*/ 2147483647 h 342"/>
                  <a:gd name="T92" fmla="*/ 2147483647 w 312"/>
                  <a:gd name="T93" fmla="*/ 2147483647 h 342"/>
                  <a:gd name="T94" fmla="*/ 2147483647 w 312"/>
                  <a:gd name="T95" fmla="*/ 2147483647 h 342"/>
                  <a:gd name="T96" fmla="*/ 2147483647 w 312"/>
                  <a:gd name="T97" fmla="*/ 2147483647 h 342"/>
                  <a:gd name="T98" fmla="*/ 2147483647 w 312"/>
                  <a:gd name="T99" fmla="*/ 2147483647 h 342"/>
                  <a:gd name="T100" fmla="*/ 2147483647 w 312"/>
                  <a:gd name="T101" fmla="*/ 2147483647 h 342"/>
                  <a:gd name="T102" fmla="*/ 2147483647 w 312"/>
                  <a:gd name="T103" fmla="*/ 2147483647 h 342"/>
                  <a:gd name="T104" fmla="*/ 2147483647 w 312"/>
                  <a:gd name="T105" fmla="*/ 2147483647 h 342"/>
                  <a:gd name="T106" fmla="*/ 2147483647 w 312"/>
                  <a:gd name="T107" fmla="*/ 2147483647 h 342"/>
                  <a:gd name="T108" fmla="*/ 2147483647 w 312"/>
                  <a:gd name="T109" fmla="*/ 2147483647 h 342"/>
                  <a:gd name="T110" fmla="*/ 2147483647 w 312"/>
                  <a:gd name="T111" fmla="*/ 2147483647 h 342"/>
                  <a:gd name="T112" fmla="*/ 2147483647 w 312"/>
                  <a:gd name="T113" fmla="*/ 2147483647 h 342"/>
                  <a:gd name="T114" fmla="*/ 2147483647 w 312"/>
                  <a:gd name="T115" fmla="*/ 2147483647 h 342"/>
                  <a:gd name="T116" fmla="*/ 2147483647 w 312"/>
                  <a:gd name="T117" fmla="*/ 2147483647 h 342"/>
                  <a:gd name="T118" fmla="*/ 2147483647 w 312"/>
                  <a:gd name="T119" fmla="*/ 2147483647 h 342"/>
                  <a:gd name="T120" fmla="*/ 2147483647 w 312"/>
                  <a:gd name="T121" fmla="*/ 2147483647 h 3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12"/>
                  <a:gd name="T184" fmla="*/ 0 h 342"/>
                  <a:gd name="T185" fmla="*/ 312 w 312"/>
                  <a:gd name="T186" fmla="*/ 342 h 34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12" h="342">
                    <a:moveTo>
                      <a:pt x="312" y="252"/>
                    </a:moveTo>
                    <a:lnTo>
                      <a:pt x="312" y="240"/>
                    </a:lnTo>
                    <a:lnTo>
                      <a:pt x="282" y="210"/>
                    </a:lnTo>
                    <a:lnTo>
                      <a:pt x="282" y="180"/>
                    </a:lnTo>
                    <a:lnTo>
                      <a:pt x="246" y="186"/>
                    </a:lnTo>
                    <a:lnTo>
                      <a:pt x="246" y="174"/>
                    </a:lnTo>
                    <a:lnTo>
                      <a:pt x="228" y="174"/>
                    </a:lnTo>
                    <a:lnTo>
                      <a:pt x="222" y="168"/>
                    </a:lnTo>
                    <a:lnTo>
                      <a:pt x="228" y="156"/>
                    </a:lnTo>
                    <a:lnTo>
                      <a:pt x="240" y="150"/>
                    </a:lnTo>
                    <a:lnTo>
                      <a:pt x="246" y="132"/>
                    </a:lnTo>
                    <a:lnTo>
                      <a:pt x="246" y="108"/>
                    </a:lnTo>
                    <a:lnTo>
                      <a:pt x="228" y="72"/>
                    </a:lnTo>
                    <a:lnTo>
                      <a:pt x="222" y="72"/>
                    </a:lnTo>
                    <a:lnTo>
                      <a:pt x="216" y="78"/>
                    </a:lnTo>
                    <a:lnTo>
                      <a:pt x="210" y="90"/>
                    </a:lnTo>
                    <a:lnTo>
                      <a:pt x="210" y="102"/>
                    </a:lnTo>
                    <a:lnTo>
                      <a:pt x="198" y="114"/>
                    </a:lnTo>
                    <a:lnTo>
                      <a:pt x="192" y="114"/>
                    </a:lnTo>
                    <a:lnTo>
                      <a:pt x="180" y="102"/>
                    </a:lnTo>
                    <a:lnTo>
                      <a:pt x="180" y="96"/>
                    </a:lnTo>
                    <a:lnTo>
                      <a:pt x="168" y="96"/>
                    </a:lnTo>
                    <a:lnTo>
                      <a:pt x="168" y="36"/>
                    </a:lnTo>
                    <a:lnTo>
                      <a:pt x="162" y="18"/>
                    </a:lnTo>
                    <a:lnTo>
                      <a:pt x="150" y="6"/>
                    </a:lnTo>
                    <a:lnTo>
                      <a:pt x="138" y="0"/>
                    </a:lnTo>
                    <a:lnTo>
                      <a:pt x="132" y="0"/>
                    </a:lnTo>
                    <a:lnTo>
                      <a:pt x="126" y="6"/>
                    </a:lnTo>
                    <a:lnTo>
                      <a:pt x="126" y="18"/>
                    </a:lnTo>
                    <a:lnTo>
                      <a:pt x="102" y="12"/>
                    </a:lnTo>
                    <a:lnTo>
                      <a:pt x="108" y="36"/>
                    </a:lnTo>
                    <a:lnTo>
                      <a:pt x="84" y="42"/>
                    </a:lnTo>
                    <a:lnTo>
                      <a:pt x="84" y="60"/>
                    </a:lnTo>
                    <a:lnTo>
                      <a:pt x="78" y="72"/>
                    </a:lnTo>
                    <a:lnTo>
                      <a:pt x="66" y="78"/>
                    </a:lnTo>
                    <a:lnTo>
                      <a:pt x="54" y="90"/>
                    </a:lnTo>
                    <a:lnTo>
                      <a:pt x="42" y="96"/>
                    </a:lnTo>
                    <a:lnTo>
                      <a:pt x="24" y="114"/>
                    </a:lnTo>
                    <a:lnTo>
                      <a:pt x="24" y="150"/>
                    </a:lnTo>
                    <a:lnTo>
                      <a:pt x="0" y="126"/>
                    </a:lnTo>
                    <a:lnTo>
                      <a:pt x="36" y="162"/>
                    </a:lnTo>
                    <a:lnTo>
                      <a:pt x="60" y="162"/>
                    </a:lnTo>
                    <a:lnTo>
                      <a:pt x="72" y="192"/>
                    </a:lnTo>
                    <a:lnTo>
                      <a:pt x="102" y="192"/>
                    </a:lnTo>
                    <a:lnTo>
                      <a:pt x="108" y="198"/>
                    </a:lnTo>
                    <a:lnTo>
                      <a:pt x="120" y="222"/>
                    </a:lnTo>
                    <a:lnTo>
                      <a:pt x="132" y="240"/>
                    </a:lnTo>
                    <a:lnTo>
                      <a:pt x="150" y="252"/>
                    </a:lnTo>
                    <a:lnTo>
                      <a:pt x="162" y="270"/>
                    </a:lnTo>
                    <a:lnTo>
                      <a:pt x="180" y="282"/>
                    </a:lnTo>
                    <a:lnTo>
                      <a:pt x="198" y="288"/>
                    </a:lnTo>
                    <a:lnTo>
                      <a:pt x="210" y="294"/>
                    </a:lnTo>
                    <a:lnTo>
                      <a:pt x="228" y="300"/>
                    </a:lnTo>
                    <a:lnTo>
                      <a:pt x="258" y="330"/>
                    </a:lnTo>
                    <a:lnTo>
                      <a:pt x="294" y="342"/>
                    </a:lnTo>
                    <a:lnTo>
                      <a:pt x="300" y="342"/>
                    </a:lnTo>
                    <a:lnTo>
                      <a:pt x="300" y="294"/>
                    </a:lnTo>
                    <a:lnTo>
                      <a:pt x="306" y="288"/>
                    </a:lnTo>
                    <a:lnTo>
                      <a:pt x="306" y="276"/>
                    </a:lnTo>
                    <a:lnTo>
                      <a:pt x="312" y="264"/>
                    </a:lnTo>
                    <a:lnTo>
                      <a:pt x="312" y="252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28" name="Lesotho"/>
              <p:cNvSpPr>
                <a:spLocks/>
              </p:cNvSpPr>
              <p:nvPr/>
            </p:nvSpPr>
            <p:spPr bwMode="gray">
              <a:xfrm>
                <a:off x="4968884" y="5006979"/>
                <a:ext cx="68263" cy="65088"/>
              </a:xfrm>
              <a:custGeom>
                <a:avLst/>
                <a:gdLst>
                  <a:gd name="T0" fmla="*/ 0 w 168"/>
                  <a:gd name="T1" fmla="*/ 2147483647 h 162"/>
                  <a:gd name="T2" fmla="*/ 2147483647 w 168"/>
                  <a:gd name="T3" fmla="*/ 2147483647 h 162"/>
                  <a:gd name="T4" fmla="*/ 2147483647 w 168"/>
                  <a:gd name="T5" fmla="*/ 2147483647 h 162"/>
                  <a:gd name="T6" fmla="*/ 2147483647 w 168"/>
                  <a:gd name="T7" fmla="*/ 2147483647 h 162"/>
                  <a:gd name="T8" fmla="*/ 2147483647 w 168"/>
                  <a:gd name="T9" fmla="*/ 2147483647 h 162"/>
                  <a:gd name="T10" fmla="*/ 2147483647 w 168"/>
                  <a:gd name="T11" fmla="*/ 2147483647 h 162"/>
                  <a:gd name="T12" fmla="*/ 2147483647 w 168"/>
                  <a:gd name="T13" fmla="*/ 2147483647 h 162"/>
                  <a:gd name="T14" fmla="*/ 2147483647 w 168"/>
                  <a:gd name="T15" fmla="*/ 2147483647 h 162"/>
                  <a:gd name="T16" fmla="*/ 2147483647 w 168"/>
                  <a:gd name="T17" fmla="*/ 2147483647 h 162"/>
                  <a:gd name="T18" fmla="*/ 2147483647 w 168"/>
                  <a:gd name="T19" fmla="*/ 2147483647 h 162"/>
                  <a:gd name="T20" fmla="*/ 2147483647 w 168"/>
                  <a:gd name="T21" fmla="*/ 2147483647 h 162"/>
                  <a:gd name="T22" fmla="*/ 2147483647 w 168"/>
                  <a:gd name="T23" fmla="*/ 2147483647 h 162"/>
                  <a:gd name="T24" fmla="*/ 2147483647 w 168"/>
                  <a:gd name="T25" fmla="*/ 2147483647 h 162"/>
                  <a:gd name="T26" fmla="*/ 2147483647 w 168"/>
                  <a:gd name="T27" fmla="*/ 2147483647 h 162"/>
                  <a:gd name="T28" fmla="*/ 2147483647 w 168"/>
                  <a:gd name="T29" fmla="*/ 2147483647 h 162"/>
                  <a:gd name="T30" fmla="*/ 2147483647 w 168"/>
                  <a:gd name="T31" fmla="*/ 2147483647 h 162"/>
                  <a:gd name="T32" fmla="*/ 2147483647 w 168"/>
                  <a:gd name="T33" fmla="*/ 2147483647 h 162"/>
                  <a:gd name="T34" fmla="*/ 2147483647 w 168"/>
                  <a:gd name="T35" fmla="*/ 2147483647 h 162"/>
                  <a:gd name="T36" fmla="*/ 2147483647 w 168"/>
                  <a:gd name="T37" fmla="*/ 2147483647 h 162"/>
                  <a:gd name="T38" fmla="*/ 2147483647 w 168"/>
                  <a:gd name="T39" fmla="*/ 2147483647 h 162"/>
                  <a:gd name="T40" fmla="*/ 2147483647 w 168"/>
                  <a:gd name="T41" fmla="*/ 2147483647 h 162"/>
                  <a:gd name="T42" fmla="*/ 2147483647 w 168"/>
                  <a:gd name="T43" fmla="*/ 0 h 162"/>
                  <a:gd name="T44" fmla="*/ 2147483647 w 168"/>
                  <a:gd name="T45" fmla="*/ 0 h 162"/>
                  <a:gd name="T46" fmla="*/ 2147483647 w 168"/>
                  <a:gd name="T47" fmla="*/ 2147483647 h 162"/>
                  <a:gd name="T48" fmla="*/ 2147483647 w 168"/>
                  <a:gd name="T49" fmla="*/ 2147483647 h 162"/>
                  <a:gd name="T50" fmla="*/ 2147483647 w 168"/>
                  <a:gd name="T51" fmla="*/ 2147483647 h 162"/>
                  <a:gd name="T52" fmla="*/ 2147483647 w 168"/>
                  <a:gd name="T53" fmla="*/ 2147483647 h 162"/>
                  <a:gd name="T54" fmla="*/ 2147483647 w 168"/>
                  <a:gd name="T55" fmla="*/ 2147483647 h 162"/>
                  <a:gd name="T56" fmla="*/ 2147483647 w 168"/>
                  <a:gd name="T57" fmla="*/ 2147483647 h 162"/>
                  <a:gd name="T58" fmla="*/ 2147483647 w 168"/>
                  <a:gd name="T59" fmla="*/ 2147483647 h 162"/>
                  <a:gd name="T60" fmla="*/ 0 w 168"/>
                  <a:gd name="T61" fmla="*/ 2147483647 h 162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68"/>
                  <a:gd name="T94" fmla="*/ 0 h 162"/>
                  <a:gd name="T95" fmla="*/ 168 w 168"/>
                  <a:gd name="T96" fmla="*/ 162 h 162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68" h="162">
                    <a:moveTo>
                      <a:pt x="0" y="78"/>
                    </a:moveTo>
                    <a:lnTo>
                      <a:pt x="24" y="114"/>
                    </a:lnTo>
                    <a:lnTo>
                      <a:pt x="24" y="132"/>
                    </a:lnTo>
                    <a:lnTo>
                      <a:pt x="54" y="162"/>
                    </a:lnTo>
                    <a:lnTo>
                      <a:pt x="72" y="162"/>
                    </a:lnTo>
                    <a:lnTo>
                      <a:pt x="72" y="150"/>
                    </a:lnTo>
                    <a:lnTo>
                      <a:pt x="78" y="144"/>
                    </a:lnTo>
                    <a:lnTo>
                      <a:pt x="84" y="132"/>
                    </a:lnTo>
                    <a:lnTo>
                      <a:pt x="90" y="126"/>
                    </a:lnTo>
                    <a:lnTo>
                      <a:pt x="102" y="120"/>
                    </a:lnTo>
                    <a:lnTo>
                      <a:pt x="120" y="120"/>
                    </a:lnTo>
                    <a:lnTo>
                      <a:pt x="132" y="114"/>
                    </a:lnTo>
                    <a:lnTo>
                      <a:pt x="138" y="108"/>
                    </a:lnTo>
                    <a:lnTo>
                      <a:pt x="150" y="102"/>
                    </a:lnTo>
                    <a:lnTo>
                      <a:pt x="144" y="84"/>
                    </a:lnTo>
                    <a:lnTo>
                      <a:pt x="168" y="66"/>
                    </a:lnTo>
                    <a:lnTo>
                      <a:pt x="162" y="42"/>
                    </a:lnTo>
                    <a:lnTo>
                      <a:pt x="150" y="36"/>
                    </a:lnTo>
                    <a:lnTo>
                      <a:pt x="144" y="24"/>
                    </a:lnTo>
                    <a:lnTo>
                      <a:pt x="138" y="18"/>
                    </a:lnTo>
                    <a:lnTo>
                      <a:pt x="132" y="6"/>
                    </a:lnTo>
                    <a:lnTo>
                      <a:pt x="126" y="0"/>
                    </a:lnTo>
                    <a:lnTo>
                      <a:pt x="90" y="0"/>
                    </a:lnTo>
                    <a:lnTo>
                      <a:pt x="78" y="6"/>
                    </a:lnTo>
                    <a:lnTo>
                      <a:pt x="78" y="18"/>
                    </a:lnTo>
                    <a:lnTo>
                      <a:pt x="54" y="18"/>
                    </a:lnTo>
                    <a:lnTo>
                      <a:pt x="48" y="24"/>
                    </a:lnTo>
                    <a:lnTo>
                      <a:pt x="48" y="42"/>
                    </a:lnTo>
                    <a:lnTo>
                      <a:pt x="30" y="60"/>
                    </a:lnTo>
                    <a:lnTo>
                      <a:pt x="24" y="78"/>
                    </a:lnTo>
                    <a:lnTo>
                      <a:pt x="0" y="78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29" name="Lebanon"/>
              <p:cNvSpPr>
                <a:spLocks/>
              </p:cNvSpPr>
              <p:nvPr/>
            </p:nvSpPr>
            <p:spPr bwMode="gray">
              <a:xfrm>
                <a:off x="5176844" y="2954341"/>
                <a:ext cx="44450" cy="61913"/>
              </a:xfrm>
              <a:custGeom>
                <a:avLst/>
                <a:gdLst>
                  <a:gd name="T0" fmla="*/ 2147483647 w 108"/>
                  <a:gd name="T1" fmla="*/ 2147483647 h 156"/>
                  <a:gd name="T2" fmla="*/ 2147483647 w 108"/>
                  <a:gd name="T3" fmla="*/ 2147483647 h 156"/>
                  <a:gd name="T4" fmla="*/ 2147483647 w 108"/>
                  <a:gd name="T5" fmla="*/ 2147483647 h 156"/>
                  <a:gd name="T6" fmla="*/ 2147483647 w 108"/>
                  <a:gd name="T7" fmla="*/ 2147483647 h 156"/>
                  <a:gd name="T8" fmla="*/ 2147483647 w 108"/>
                  <a:gd name="T9" fmla="*/ 2147483647 h 156"/>
                  <a:gd name="T10" fmla="*/ 2147483647 w 108"/>
                  <a:gd name="T11" fmla="*/ 2147483647 h 156"/>
                  <a:gd name="T12" fmla="*/ 2147483647 w 108"/>
                  <a:gd name="T13" fmla="*/ 2147483647 h 156"/>
                  <a:gd name="T14" fmla="*/ 2147483647 w 108"/>
                  <a:gd name="T15" fmla="*/ 2147483647 h 156"/>
                  <a:gd name="T16" fmla="*/ 2147483647 w 108"/>
                  <a:gd name="T17" fmla="*/ 2147483647 h 156"/>
                  <a:gd name="T18" fmla="*/ 2147483647 w 108"/>
                  <a:gd name="T19" fmla="*/ 2147483647 h 156"/>
                  <a:gd name="T20" fmla="*/ 2147483647 w 108"/>
                  <a:gd name="T21" fmla="*/ 0 h 156"/>
                  <a:gd name="T22" fmla="*/ 2147483647 w 108"/>
                  <a:gd name="T23" fmla="*/ 0 h 156"/>
                  <a:gd name="T24" fmla="*/ 2147483647 w 108"/>
                  <a:gd name="T25" fmla="*/ 0 h 156"/>
                  <a:gd name="T26" fmla="*/ 2147483647 w 108"/>
                  <a:gd name="T27" fmla="*/ 2147483647 h 156"/>
                  <a:gd name="T28" fmla="*/ 2147483647 w 108"/>
                  <a:gd name="T29" fmla="*/ 2147483647 h 156"/>
                  <a:gd name="T30" fmla="*/ 2147483647 w 108"/>
                  <a:gd name="T31" fmla="*/ 2147483647 h 156"/>
                  <a:gd name="T32" fmla="*/ 2147483647 w 108"/>
                  <a:gd name="T33" fmla="*/ 2147483647 h 156"/>
                  <a:gd name="T34" fmla="*/ 2147483647 w 108"/>
                  <a:gd name="T35" fmla="*/ 2147483647 h 156"/>
                  <a:gd name="T36" fmla="*/ 2147483647 w 108"/>
                  <a:gd name="T37" fmla="*/ 2147483647 h 156"/>
                  <a:gd name="T38" fmla="*/ 2147483647 w 108"/>
                  <a:gd name="T39" fmla="*/ 2147483647 h 156"/>
                  <a:gd name="T40" fmla="*/ 2147483647 w 108"/>
                  <a:gd name="T41" fmla="*/ 2147483647 h 156"/>
                  <a:gd name="T42" fmla="*/ 0 w 108"/>
                  <a:gd name="T43" fmla="*/ 2147483647 h 156"/>
                  <a:gd name="T44" fmla="*/ 0 w 108"/>
                  <a:gd name="T45" fmla="*/ 2147483647 h 156"/>
                  <a:gd name="T46" fmla="*/ 2147483647 w 108"/>
                  <a:gd name="T47" fmla="*/ 2147483647 h 156"/>
                  <a:gd name="T48" fmla="*/ 2147483647 w 108"/>
                  <a:gd name="T49" fmla="*/ 2147483647 h 156"/>
                  <a:gd name="T50" fmla="*/ 2147483647 w 108"/>
                  <a:gd name="T51" fmla="*/ 2147483647 h 156"/>
                  <a:gd name="T52" fmla="*/ 2147483647 w 108"/>
                  <a:gd name="T53" fmla="*/ 2147483647 h 156"/>
                  <a:gd name="T54" fmla="*/ 2147483647 w 108"/>
                  <a:gd name="T55" fmla="*/ 2147483647 h 156"/>
                  <a:gd name="T56" fmla="*/ 2147483647 w 108"/>
                  <a:gd name="T57" fmla="*/ 2147483647 h 156"/>
                  <a:gd name="T58" fmla="*/ 2147483647 w 108"/>
                  <a:gd name="T59" fmla="*/ 2147483647 h 156"/>
                  <a:gd name="T60" fmla="*/ 2147483647 w 108"/>
                  <a:gd name="T61" fmla="*/ 2147483647 h 1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08"/>
                  <a:gd name="T94" fmla="*/ 0 h 156"/>
                  <a:gd name="T95" fmla="*/ 108 w 108"/>
                  <a:gd name="T96" fmla="*/ 156 h 15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08" h="156">
                    <a:moveTo>
                      <a:pt x="72" y="96"/>
                    </a:moveTo>
                    <a:lnTo>
                      <a:pt x="72" y="72"/>
                    </a:lnTo>
                    <a:lnTo>
                      <a:pt x="78" y="66"/>
                    </a:lnTo>
                    <a:lnTo>
                      <a:pt x="84" y="66"/>
                    </a:lnTo>
                    <a:lnTo>
                      <a:pt x="96" y="60"/>
                    </a:lnTo>
                    <a:lnTo>
                      <a:pt x="102" y="60"/>
                    </a:lnTo>
                    <a:lnTo>
                      <a:pt x="108" y="48"/>
                    </a:lnTo>
                    <a:lnTo>
                      <a:pt x="108" y="30"/>
                    </a:lnTo>
                    <a:lnTo>
                      <a:pt x="102" y="18"/>
                    </a:lnTo>
                    <a:lnTo>
                      <a:pt x="96" y="12"/>
                    </a:lnTo>
                    <a:lnTo>
                      <a:pt x="102" y="0"/>
                    </a:lnTo>
                    <a:lnTo>
                      <a:pt x="54" y="0"/>
                    </a:lnTo>
                    <a:lnTo>
                      <a:pt x="60" y="0"/>
                    </a:lnTo>
                    <a:lnTo>
                      <a:pt x="60" y="6"/>
                    </a:lnTo>
                    <a:lnTo>
                      <a:pt x="54" y="6"/>
                    </a:lnTo>
                    <a:lnTo>
                      <a:pt x="48" y="18"/>
                    </a:lnTo>
                    <a:lnTo>
                      <a:pt x="36" y="24"/>
                    </a:lnTo>
                    <a:lnTo>
                      <a:pt x="30" y="30"/>
                    </a:lnTo>
                    <a:lnTo>
                      <a:pt x="18" y="66"/>
                    </a:lnTo>
                    <a:lnTo>
                      <a:pt x="12" y="78"/>
                    </a:lnTo>
                    <a:lnTo>
                      <a:pt x="12" y="90"/>
                    </a:lnTo>
                    <a:lnTo>
                      <a:pt x="0" y="114"/>
                    </a:lnTo>
                    <a:lnTo>
                      <a:pt x="0" y="156"/>
                    </a:lnTo>
                    <a:lnTo>
                      <a:pt x="12" y="150"/>
                    </a:lnTo>
                    <a:lnTo>
                      <a:pt x="24" y="126"/>
                    </a:lnTo>
                    <a:lnTo>
                      <a:pt x="30" y="132"/>
                    </a:lnTo>
                    <a:lnTo>
                      <a:pt x="36" y="132"/>
                    </a:lnTo>
                    <a:lnTo>
                      <a:pt x="42" y="126"/>
                    </a:lnTo>
                    <a:lnTo>
                      <a:pt x="48" y="114"/>
                    </a:lnTo>
                    <a:lnTo>
                      <a:pt x="48" y="102"/>
                    </a:lnTo>
                    <a:lnTo>
                      <a:pt x="72" y="96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30" name="Kyrgyzstan"/>
              <p:cNvSpPr>
                <a:spLocks/>
              </p:cNvSpPr>
              <p:nvPr/>
            </p:nvSpPr>
            <p:spPr bwMode="gray">
              <a:xfrm>
                <a:off x="6067436" y="2678115"/>
                <a:ext cx="271463" cy="125413"/>
              </a:xfrm>
              <a:custGeom>
                <a:avLst/>
                <a:gdLst>
                  <a:gd name="T0" fmla="*/ 2147483647 w 672"/>
                  <a:gd name="T1" fmla="*/ 2147483647 h 312"/>
                  <a:gd name="T2" fmla="*/ 2147483647 w 672"/>
                  <a:gd name="T3" fmla="*/ 2147483647 h 312"/>
                  <a:gd name="T4" fmla="*/ 2147483647 w 672"/>
                  <a:gd name="T5" fmla="*/ 2147483647 h 312"/>
                  <a:gd name="T6" fmla="*/ 2147483647 w 672"/>
                  <a:gd name="T7" fmla="*/ 2147483647 h 312"/>
                  <a:gd name="T8" fmla="*/ 2147483647 w 672"/>
                  <a:gd name="T9" fmla="*/ 2147483647 h 312"/>
                  <a:gd name="T10" fmla="*/ 2147483647 w 672"/>
                  <a:gd name="T11" fmla="*/ 2147483647 h 312"/>
                  <a:gd name="T12" fmla="*/ 2147483647 w 672"/>
                  <a:gd name="T13" fmla="*/ 2147483647 h 312"/>
                  <a:gd name="T14" fmla="*/ 2147483647 w 672"/>
                  <a:gd name="T15" fmla="*/ 2147483647 h 312"/>
                  <a:gd name="T16" fmla="*/ 2147483647 w 672"/>
                  <a:gd name="T17" fmla="*/ 2147483647 h 312"/>
                  <a:gd name="T18" fmla="*/ 2147483647 w 672"/>
                  <a:gd name="T19" fmla="*/ 2147483647 h 312"/>
                  <a:gd name="T20" fmla="*/ 2147483647 w 672"/>
                  <a:gd name="T21" fmla="*/ 2147483647 h 312"/>
                  <a:gd name="T22" fmla="*/ 2147483647 w 672"/>
                  <a:gd name="T23" fmla="*/ 2147483647 h 312"/>
                  <a:gd name="T24" fmla="*/ 0 w 672"/>
                  <a:gd name="T25" fmla="*/ 2147483647 h 312"/>
                  <a:gd name="T26" fmla="*/ 2147483647 w 672"/>
                  <a:gd name="T27" fmla="*/ 2147483647 h 312"/>
                  <a:gd name="T28" fmla="*/ 2147483647 w 672"/>
                  <a:gd name="T29" fmla="*/ 2147483647 h 312"/>
                  <a:gd name="T30" fmla="*/ 2147483647 w 672"/>
                  <a:gd name="T31" fmla="*/ 2147483647 h 312"/>
                  <a:gd name="T32" fmla="*/ 2147483647 w 672"/>
                  <a:gd name="T33" fmla="*/ 2147483647 h 312"/>
                  <a:gd name="T34" fmla="*/ 2147483647 w 672"/>
                  <a:gd name="T35" fmla="*/ 2147483647 h 312"/>
                  <a:gd name="T36" fmla="*/ 2147483647 w 672"/>
                  <a:gd name="T37" fmla="*/ 2147483647 h 312"/>
                  <a:gd name="T38" fmla="*/ 2147483647 w 672"/>
                  <a:gd name="T39" fmla="*/ 2147483647 h 312"/>
                  <a:gd name="T40" fmla="*/ 2147483647 w 672"/>
                  <a:gd name="T41" fmla="*/ 2147483647 h 312"/>
                  <a:gd name="T42" fmla="*/ 2147483647 w 672"/>
                  <a:gd name="T43" fmla="*/ 2147483647 h 312"/>
                  <a:gd name="T44" fmla="*/ 2147483647 w 672"/>
                  <a:gd name="T45" fmla="*/ 2147483647 h 312"/>
                  <a:gd name="T46" fmla="*/ 2147483647 w 672"/>
                  <a:gd name="T47" fmla="*/ 2147483647 h 312"/>
                  <a:gd name="T48" fmla="*/ 2147483647 w 672"/>
                  <a:gd name="T49" fmla="*/ 2147483647 h 312"/>
                  <a:gd name="T50" fmla="*/ 2147483647 w 672"/>
                  <a:gd name="T51" fmla="*/ 2147483647 h 312"/>
                  <a:gd name="T52" fmla="*/ 2147483647 w 672"/>
                  <a:gd name="T53" fmla="*/ 2147483647 h 312"/>
                  <a:gd name="T54" fmla="*/ 2147483647 w 672"/>
                  <a:gd name="T55" fmla="*/ 2147483647 h 312"/>
                  <a:gd name="T56" fmla="*/ 2147483647 w 672"/>
                  <a:gd name="T57" fmla="*/ 2147483647 h 312"/>
                  <a:gd name="T58" fmla="*/ 2147483647 w 672"/>
                  <a:gd name="T59" fmla="*/ 2147483647 h 312"/>
                  <a:gd name="T60" fmla="*/ 2147483647 w 672"/>
                  <a:gd name="T61" fmla="*/ 2147483647 h 312"/>
                  <a:gd name="T62" fmla="*/ 2147483647 w 672"/>
                  <a:gd name="T63" fmla="*/ 2147483647 h 312"/>
                  <a:gd name="T64" fmla="*/ 2147483647 w 672"/>
                  <a:gd name="T65" fmla="*/ 2147483647 h 312"/>
                  <a:gd name="T66" fmla="*/ 2147483647 w 672"/>
                  <a:gd name="T67" fmla="*/ 2147483647 h 312"/>
                  <a:gd name="T68" fmla="*/ 2147483647 w 672"/>
                  <a:gd name="T69" fmla="*/ 2147483647 h 312"/>
                  <a:gd name="T70" fmla="*/ 2147483647 w 672"/>
                  <a:gd name="T71" fmla="*/ 2147483647 h 312"/>
                  <a:gd name="T72" fmla="*/ 2147483647 w 672"/>
                  <a:gd name="T73" fmla="*/ 2147483647 h 312"/>
                  <a:gd name="T74" fmla="*/ 2147483647 w 672"/>
                  <a:gd name="T75" fmla="*/ 2147483647 h 312"/>
                  <a:gd name="T76" fmla="*/ 2147483647 w 672"/>
                  <a:gd name="T77" fmla="*/ 0 h 312"/>
                  <a:gd name="T78" fmla="*/ 2147483647 w 672"/>
                  <a:gd name="T79" fmla="*/ 2147483647 h 312"/>
                  <a:gd name="T80" fmla="*/ 2147483647 w 672"/>
                  <a:gd name="T81" fmla="*/ 2147483647 h 312"/>
                  <a:gd name="T82" fmla="*/ 2147483647 w 672"/>
                  <a:gd name="T83" fmla="*/ 2147483647 h 312"/>
                  <a:gd name="T84" fmla="*/ 2147483647 w 672"/>
                  <a:gd name="T85" fmla="*/ 2147483647 h 312"/>
                  <a:gd name="T86" fmla="*/ 2147483647 w 672"/>
                  <a:gd name="T87" fmla="*/ 2147483647 h 312"/>
                  <a:gd name="T88" fmla="*/ 2147483647 w 672"/>
                  <a:gd name="T89" fmla="*/ 2147483647 h 31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672"/>
                  <a:gd name="T136" fmla="*/ 0 h 312"/>
                  <a:gd name="T137" fmla="*/ 672 w 672"/>
                  <a:gd name="T138" fmla="*/ 312 h 31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672" h="312">
                    <a:moveTo>
                      <a:pt x="36" y="132"/>
                    </a:moveTo>
                    <a:lnTo>
                      <a:pt x="66" y="144"/>
                    </a:lnTo>
                    <a:lnTo>
                      <a:pt x="78" y="156"/>
                    </a:lnTo>
                    <a:lnTo>
                      <a:pt x="114" y="156"/>
                    </a:lnTo>
                    <a:lnTo>
                      <a:pt x="114" y="144"/>
                    </a:lnTo>
                    <a:lnTo>
                      <a:pt x="126" y="144"/>
                    </a:lnTo>
                    <a:lnTo>
                      <a:pt x="126" y="132"/>
                    </a:lnTo>
                    <a:lnTo>
                      <a:pt x="144" y="156"/>
                    </a:lnTo>
                    <a:lnTo>
                      <a:pt x="162" y="156"/>
                    </a:lnTo>
                    <a:lnTo>
                      <a:pt x="168" y="174"/>
                    </a:lnTo>
                    <a:lnTo>
                      <a:pt x="192" y="174"/>
                    </a:lnTo>
                    <a:lnTo>
                      <a:pt x="198" y="186"/>
                    </a:lnTo>
                    <a:lnTo>
                      <a:pt x="204" y="186"/>
                    </a:lnTo>
                    <a:lnTo>
                      <a:pt x="216" y="180"/>
                    </a:lnTo>
                    <a:lnTo>
                      <a:pt x="228" y="180"/>
                    </a:lnTo>
                    <a:lnTo>
                      <a:pt x="228" y="192"/>
                    </a:lnTo>
                    <a:lnTo>
                      <a:pt x="216" y="204"/>
                    </a:lnTo>
                    <a:lnTo>
                      <a:pt x="204" y="210"/>
                    </a:lnTo>
                    <a:lnTo>
                      <a:pt x="192" y="210"/>
                    </a:lnTo>
                    <a:lnTo>
                      <a:pt x="192" y="216"/>
                    </a:lnTo>
                    <a:lnTo>
                      <a:pt x="174" y="222"/>
                    </a:lnTo>
                    <a:lnTo>
                      <a:pt x="156" y="240"/>
                    </a:lnTo>
                    <a:lnTo>
                      <a:pt x="150" y="240"/>
                    </a:lnTo>
                    <a:lnTo>
                      <a:pt x="144" y="234"/>
                    </a:lnTo>
                    <a:lnTo>
                      <a:pt x="138" y="234"/>
                    </a:lnTo>
                    <a:lnTo>
                      <a:pt x="132" y="228"/>
                    </a:lnTo>
                    <a:lnTo>
                      <a:pt x="114" y="228"/>
                    </a:lnTo>
                    <a:lnTo>
                      <a:pt x="102" y="234"/>
                    </a:lnTo>
                    <a:lnTo>
                      <a:pt x="96" y="234"/>
                    </a:lnTo>
                    <a:lnTo>
                      <a:pt x="96" y="246"/>
                    </a:lnTo>
                    <a:lnTo>
                      <a:pt x="90" y="252"/>
                    </a:lnTo>
                    <a:lnTo>
                      <a:pt x="84" y="252"/>
                    </a:lnTo>
                    <a:lnTo>
                      <a:pt x="72" y="246"/>
                    </a:lnTo>
                    <a:lnTo>
                      <a:pt x="36" y="234"/>
                    </a:lnTo>
                    <a:lnTo>
                      <a:pt x="24" y="234"/>
                    </a:lnTo>
                    <a:lnTo>
                      <a:pt x="18" y="240"/>
                    </a:lnTo>
                    <a:lnTo>
                      <a:pt x="18" y="252"/>
                    </a:lnTo>
                    <a:lnTo>
                      <a:pt x="12" y="258"/>
                    </a:lnTo>
                    <a:lnTo>
                      <a:pt x="0" y="264"/>
                    </a:lnTo>
                    <a:lnTo>
                      <a:pt x="0" y="276"/>
                    </a:lnTo>
                    <a:lnTo>
                      <a:pt x="6" y="282"/>
                    </a:lnTo>
                    <a:lnTo>
                      <a:pt x="6" y="288"/>
                    </a:lnTo>
                    <a:lnTo>
                      <a:pt x="12" y="294"/>
                    </a:lnTo>
                    <a:lnTo>
                      <a:pt x="24" y="288"/>
                    </a:lnTo>
                    <a:lnTo>
                      <a:pt x="36" y="288"/>
                    </a:lnTo>
                    <a:lnTo>
                      <a:pt x="42" y="282"/>
                    </a:lnTo>
                    <a:lnTo>
                      <a:pt x="60" y="282"/>
                    </a:lnTo>
                    <a:lnTo>
                      <a:pt x="72" y="288"/>
                    </a:lnTo>
                    <a:lnTo>
                      <a:pt x="96" y="288"/>
                    </a:lnTo>
                    <a:lnTo>
                      <a:pt x="108" y="300"/>
                    </a:lnTo>
                    <a:lnTo>
                      <a:pt x="126" y="300"/>
                    </a:lnTo>
                    <a:lnTo>
                      <a:pt x="132" y="294"/>
                    </a:lnTo>
                    <a:lnTo>
                      <a:pt x="144" y="288"/>
                    </a:lnTo>
                    <a:lnTo>
                      <a:pt x="150" y="282"/>
                    </a:lnTo>
                    <a:lnTo>
                      <a:pt x="180" y="312"/>
                    </a:lnTo>
                    <a:lnTo>
                      <a:pt x="192" y="306"/>
                    </a:lnTo>
                    <a:lnTo>
                      <a:pt x="198" y="306"/>
                    </a:lnTo>
                    <a:lnTo>
                      <a:pt x="198" y="312"/>
                    </a:lnTo>
                    <a:lnTo>
                      <a:pt x="210" y="312"/>
                    </a:lnTo>
                    <a:lnTo>
                      <a:pt x="222" y="306"/>
                    </a:lnTo>
                    <a:lnTo>
                      <a:pt x="228" y="300"/>
                    </a:lnTo>
                    <a:lnTo>
                      <a:pt x="270" y="300"/>
                    </a:lnTo>
                    <a:lnTo>
                      <a:pt x="282" y="288"/>
                    </a:lnTo>
                    <a:lnTo>
                      <a:pt x="300" y="294"/>
                    </a:lnTo>
                    <a:lnTo>
                      <a:pt x="318" y="294"/>
                    </a:lnTo>
                    <a:lnTo>
                      <a:pt x="318" y="282"/>
                    </a:lnTo>
                    <a:lnTo>
                      <a:pt x="312" y="270"/>
                    </a:lnTo>
                    <a:lnTo>
                      <a:pt x="300" y="264"/>
                    </a:lnTo>
                    <a:lnTo>
                      <a:pt x="300" y="258"/>
                    </a:lnTo>
                    <a:lnTo>
                      <a:pt x="306" y="252"/>
                    </a:lnTo>
                    <a:lnTo>
                      <a:pt x="318" y="246"/>
                    </a:lnTo>
                    <a:lnTo>
                      <a:pt x="330" y="246"/>
                    </a:lnTo>
                    <a:lnTo>
                      <a:pt x="336" y="240"/>
                    </a:lnTo>
                    <a:lnTo>
                      <a:pt x="348" y="234"/>
                    </a:lnTo>
                    <a:lnTo>
                      <a:pt x="348" y="216"/>
                    </a:lnTo>
                    <a:lnTo>
                      <a:pt x="372" y="216"/>
                    </a:lnTo>
                    <a:lnTo>
                      <a:pt x="384" y="204"/>
                    </a:lnTo>
                    <a:lnTo>
                      <a:pt x="396" y="204"/>
                    </a:lnTo>
                    <a:lnTo>
                      <a:pt x="402" y="210"/>
                    </a:lnTo>
                    <a:lnTo>
                      <a:pt x="408" y="222"/>
                    </a:lnTo>
                    <a:lnTo>
                      <a:pt x="414" y="228"/>
                    </a:lnTo>
                    <a:lnTo>
                      <a:pt x="426" y="222"/>
                    </a:lnTo>
                    <a:lnTo>
                      <a:pt x="456" y="228"/>
                    </a:lnTo>
                    <a:lnTo>
                      <a:pt x="462" y="222"/>
                    </a:lnTo>
                    <a:lnTo>
                      <a:pt x="462" y="198"/>
                    </a:lnTo>
                    <a:lnTo>
                      <a:pt x="468" y="186"/>
                    </a:lnTo>
                    <a:lnTo>
                      <a:pt x="486" y="168"/>
                    </a:lnTo>
                    <a:lnTo>
                      <a:pt x="516" y="168"/>
                    </a:lnTo>
                    <a:lnTo>
                      <a:pt x="534" y="174"/>
                    </a:lnTo>
                    <a:lnTo>
                      <a:pt x="552" y="174"/>
                    </a:lnTo>
                    <a:lnTo>
                      <a:pt x="558" y="168"/>
                    </a:lnTo>
                    <a:lnTo>
                      <a:pt x="564" y="156"/>
                    </a:lnTo>
                    <a:lnTo>
                      <a:pt x="564" y="138"/>
                    </a:lnTo>
                    <a:lnTo>
                      <a:pt x="570" y="132"/>
                    </a:lnTo>
                    <a:lnTo>
                      <a:pt x="582" y="126"/>
                    </a:lnTo>
                    <a:lnTo>
                      <a:pt x="594" y="114"/>
                    </a:lnTo>
                    <a:lnTo>
                      <a:pt x="642" y="96"/>
                    </a:lnTo>
                    <a:lnTo>
                      <a:pt x="666" y="96"/>
                    </a:lnTo>
                    <a:lnTo>
                      <a:pt x="672" y="90"/>
                    </a:lnTo>
                    <a:lnTo>
                      <a:pt x="672" y="78"/>
                    </a:lnTo>
                    <a:lnTo>
                      <a:pt x="660" y="66"/>
                    </a:lnTo>
                    <a:lnTo>
                      <a:pt x="642" y="60"/>
                    </a:lnTo>
                    <a:lnTo>
                      <a:pt x="600" y="60"/>
                    </a:lnTo>
                    <a:lnTo>
                      <a:pt x="576" y="30"/>
                    </a:lnTo>
                    <a:lnTo>
                      <a:pt x="558" y="30"/>
                    </a:lnTo>
                    <a:lnTo>
                      <a:pt x="546" y="18"/>
                    </a:lnTo>
                    <a:lnTo>
                      <a:pt x="498" y="24"/>
                    </a:lnTo>
                    <a:lnTo>
                      <a:pt x="486" y="24"/>
                    </a:lnTo>
                    <a:lnTo>
                      <a:pt x="474" y="18"/>
                    </a:lnTo>
                    <a:lnTo>
                      <a:pt x="354" y="18"/>
                    </a:lnTo>
                    <a:lnTo>
                      <a:pt x="336" y="24"/>
                    </a:lnTo>
                    <a:lnTo>
                      <a:pt x="318" y="24"/>
                    </a:lnTo>
                    <a:lnTo>
                      <a:pt x="306" y="18"/>
                    </a:lnTo>
                    <a:lnTo>
                      <a:pt x="282" y="18"/>
                    </a:lnTo>
                    <a:lnTo>
                      <a:pt x="276" y="6"/>
                    </a:lnTo>
                    <a:lnTo>
                      <a:pt x="264" y="0"/>
                    </a:lnTo>
                    <a:lnTo>
                      <a:pt x="222" y="0"/>
                    </a:lnTo>
                    <a:lnTo>
                      <a:pt x="216" y="6"/>
                    </a:lnTo>
                    <a:lnTo>
                      <a:pt x="216" y="36"/>
                    </a:lnTo>
                    <a:lnTo>
                      <a:pt x="222" y="48"/>
                    </a:lnTo>
                    <a:lnTo>
                      <a:pt x="222" y="60"/>
                    </a:lnTo>
                    <a:lnTo>
                      <a:pt x="204" y="54"/>
                    </a:lnTo>
                    <a:lnTo>
                      <a:pt x="174" y="54"/>
                    </a:lnTo>
                    <a:lnTo>
                      <a:pt x="138" y="36"/>
                    </a:lnTo>
                    <a:lnTo>
                      <a:pt x="120" y="30"/>
                    </a:lnTo>
                    <a:lnTo>
                      <a:pt x="108" y="24"/>
                    </a:lnTo>
                    <a:lnTo>
                      <a:pt x="78" y="24"/>
                    </a:lnTo>
                    <a:lnTo>
                      <a:pt x="60" y="42"/>
                    </a:lnTo>
                    <a:lnTo>
                      <a:pt x="54" y="54"/>
                    </a:lnTo>
                    <a:lnTo>
                      <a:pt x="54" y="72"/>
                    </a:lnTo>
                    <a:lnTo>
                      <a:pt x="72" y="72"/>
                    </a:lnTo>
                    <a:lnTo>
                      <a:pt x="78" y="78"/>
                    </a:lnTo>
                    <a:lnTo>
                      <a:pt x="84" y="78"/>
                    </a:lnTo>
                    <a:lnTo>
                      <a:pt x="84" y="84"/>
                    </a:lnTo>
                    <a:lnTo>
                      <a:pt x="36" y="132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31" name="Kuwait"/>
              <p:cNvSpPr>
                <a:spLocks/>
              </p:cNvSpPr>
              <p:nvPr/>
            </p:nvSpPr>
            <p:spPr bwMode="gray">
              <a:xfrm>
                <a:off x="5510222" y="3103566"/>
                <a:ext cx="55563" cy="47625"/>
              </a:xfrm>
              <a:custGeom>
                <a:avLst/>
                <a:gdLst>
                  <a:gd name="T0" fmla="*/ 2147483647 w 138"/>
                  <a:gd name="T1" fmla="*/ 0 h 120"/>
                  <a:gd name="T2" fmla="*/ 2147483647 w 138"/>
                  <a:gd name="T3" fmla="*/ 0 h 120"/>
                  <a:gd name="T4" fmla="*/ 2147483647 w 138"/>
                  <a:gd name="T5" fmla="*/ 2147483647 h 120"/>
                  <a:gd name="T6" fmla="*/ 2147483647 w 138"/>
                  <a:gd name="T7" fmla="*/ 2147483647 h 120"/>
                  <a:gd name="T8" fmla="*/ 2147483647 w 138"/>
                  <a:gd name="T9" fmla="*/ 2147483647 h 120"/>
                  <a:gd name="T10" fmla="*/ 2147483647 w 138"/>
                  <a:gd name="T11" fmla="*/ 2147483647 h 120"/>
                  <a:gd name="T12" fmla="*/ 0 w 138"/>
                  <a:gd name="T13" fmla="*/ 2147483647 h 120"/>
                  <a:gd name="T14" fmla="*/ 2147483647 w 138"/>
                  <a:gd name="T15" fmla="*/ 2147483647 h 120"/>
                  <a:gd name="T16" fmla="*/ 2147483647 w 138"/>
                  <a:gd name="T17" fmla="*/ 2147483647 h 120"/>
                  <a:gd name="T18" fmla="*/ 2147483647 w 138"/>
                  <a:gd name="T19" fmla="*/ 2147483647 h 120"/>
                  <a:gd name="T20" fmla="*/ 2147483647 w 138"/>
                  <a:gd name="T21" fmla="*/ 2147483647 h 120"/>
                  <a:gd name="T22" fmla="*/ 2147483647 w 138"/>
                  <a:gd name="T23" fmla="*/ 2147483647 h 120"/>
                  <a:gd name="T24" fmla="*/ 2147483647 w 138"/>
                  <a:gd name="T25" fmla="*/ 2147483647 h 120"/>
                  <a:gd name="T26" fmla="*/ 2147483647 w 138"/>
                  <a:gd name="T27" fmla="*/ 2147483647 h 120"/>
                  <a:gd name="T28" fmla="*/ 2147483647 w 138"/>
                  <a:gd name="T29" fmla="*/ 2147483647 h 120"/>
                  <a:gd name="T30" fmla="*/ 2147483647 w 138"/>
                  <a:gd name="T31" fmla="*/ 2147483647 h 120"/>
                  <a:gd name="T32" fmla="*/ 2147483647 w 138"/>
                  <a:gd name="T33" fmla="*/ 2147483647 h 120"/>
                  <a:gd name="T34" fmla="*/ 2147483647 w 138"/>
                  <a:gd name="T35" fmla="*/ 2147483647 h 120"/>
                  <a:gd name="T36" fmla="*/ 2147483647 w 138"/>
                  <a:gd name="T37" fmla="*/ 2147483647 h 120"/>
                  <a:gd name="T38" fmla="*/ 2147483647 w 138"/>
                  <a:gd name="T39" fmla="*/ 2147483647 h 120"/>
                  <a:gd name="T40" fmla="*/ 2147483647 w 138"/>
                  <a:gd name="T41" fmla="*/ 2147483647 h 120"/>
                  <a:gd name="T42" fmla="*/ 2147483647 w 138"/>
                  <a:gd name="T43" fmla="*/ 2147483647 h 120"/>
                  <a:gd name="T44" fmla="*/ 2147483647 w 138"/>
                  <a:gd name="T45" fmla="*/ 2147483647 h 120"/>
                  <a:gd name="T46" fmla="*/ 2147483647 w 138"/>
                  <a:gd name="T47" fmla="*/ 2147483647 h 120"/>
                  <a:gd name="T48" fmla="*/ 2147483647 w 138"/>
                  <a:gd name="T49" fmla="*/ 0 h 120"/>
                  <a:gd name="T50" fmla="*/ 2147483647 w 138"/>
                  <a:gd name="T51" fmla="*/ 0 h 12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38"/>
                  <a:gd name="T79" fmla="*/ 0 h 120"/>
                  <a:gd name="T80" fmla="*/ 138 w 138"/>
                  <a:gd name="T81" fmla="*/ 120 h 120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38" h="120">
                    <a:moveTo>
                      <a:pt x="54" y="0"/>
                    </a:moveTo>
                    <a:lnTo>
                      <a:pt x="36" y="0"/>
                    </a:lnTo>
                    <a:lnTo>
                      <a:pt x="30" y="12"/>
                    </a:lnTo>
                    <a:lnTo>
                      <a:pt x="24" y="18"/>
                    </a:lnTo>
                    <a:lnTo>
                      <a:pt x="24" y="30"/>
                    </a:lnTo>
                    <a:lnTo>
                      <a:pt x="6" y="66"/>
                    </a:lnTo>
                    <a:lnTo>
                      <a:pt x="0" y="72"/>
                    </a:lnTo>
                    <a:lnTo>
                      <a:pt x="42" y="72"/>
                    </a:lnTo>
                    <a:lnTo>
                      <a:pt x="60" y="78"/>
                    </a:lnTo>
                    <a:lnTo>
                      <a:pt x="66" y="78"/>
                    </a:lnTo>
                    <a:lnTo>
                      <a:pt x="66" y="114"/>
                    </a:lnTo>
                    <a:lnTo>
                      <a:pt x="72" y="120"/>
                    </a:lnTo>
                    <a:lnTo>
                      <a:pt x="138" y="120"/>
                    </a:lnTo>
                    <a:lnTo>
                      <a:pt x="126" y="114"/>
                    </a:lnTo>
                    <a:lnTo>
                      <a:pt x="114" y="102"/>
                    </a:lnTo>
                    <a:lnTo>
                      <a:pt x="102" y="78"/>
                    </a:lnTo>
                    <a:lnTo>
                      <a:pt x="102" y="66"/>
                    </a:lnTo>
                    <a:lnTo>
                      <a:pt x="90" y="60"/>
                    </a:lnTo>
                    <a:lnTo>
                      <a:pt x="84" y="36"/>
                    </a:lnTo>
                    <a:lnTo>
                      <a:pt x="120" y="36"/>
                    </a:lnTo>
                    <a:lnTo>
                      <a:pt x="120" y="18"/>
                    </a:lnTo>
                    <a:lnTo>
                      <a:pt x="114" y="12"/>
                    </a:lnTo>
                    <a:lnTo>
                      <a:pt x="90" y="12"/>
                    </a:lnTo>
                    <a:lnTo>
                      <a:pt x="90" y="18"/>
                    </a:lnTo>
                    <a:lnTo>
                      <a:pt x="84" y="0"/>
                    </a:lnTo>
                    <a:lnTo>
                      <a:pt x="54" y="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32" name="Kenya"/>
              <p:cNvSpPr>
                <a:spLocks/>
              </p:cNvSpPr>
              <p:nvPr/>
            </p:nvSpPr>
            <p:spPr bwMode="gray">
              <a:xfrm>
                <a:off x="5189546" y="3924305"/>
                <a:ext cx="227013" cy="307975"/>
              </a:xfrm>
              <a:custGeom>
                <a:avLst/>
                <a:gdLst>
                  <a:gd name="T0" fmla="*/ 2147483647 w 564"/>
                  <a:gd name="T1" fmla="*/ 2147483647 h 762"/>
                  <a:gd name="T2" fmla="*/ 2147483647 w 564"/>
                  <a:gd name="T3" fmla="*/ 2147483647 h 762"/>
                  <a:gd name="T4" fmla="*/ 2147483647 w 564"/>
                  <a:gd name="T5" fmla="*/ 2147483647 h 762"/>
                  <a:gd name="T6" fmla="*/ 2147483647 w 564"/>
                  <a:gd name="T7" fmla="*/ 2147483647 h 762"/>
                  <a:gd name="T8" fmla="*/ 2147483647 w 564"/>
                  <a:gd name="T9" fmla="*/ 2147483647 h 762"/>
                  <a:gd name="T10" fmla="*/ 2147483647 w 564"/>
                  <a:gd name="T11" fmla="*/ 2147483647 h 762"/>
                  <a:gd name="T12" fmla="*/ 2147483647 w 564"/>
                  <a:gd name="T13" fmla="*/ 2147483647 h 762"/>
                  <a:gd name="T14" fmla="*/ 2147483647 w 564"/>
                  <a:gd name="T15" fmla="*/ 2147483647 h 762"/>
                  <a:gd name="T16" fmla="*/ 2147483647 w 564"/>
                  <a:gd name="T17" fmla="*/ 2147483647 h 762"/>
                  <a:gd name="T18" fmla="*/ 2147483647 w 564"/>
                  <a:gd name="T19" fmla="*/ 2147483647 h 762"/>
                  <a:gd name="T20" fmla="*/ 2147483647 w 564"/>
                  <a:gd name="T21" fmla="*/ 2147483647 h 762"/>
                  <a:gd name="T22" fmla="*/ 2147483647 w 564"/>
                  <a:gd name="T23" fmla="*/ 2147483647 h 762"/>
                  <a:gd name="T24" fmla="*/ 2147483647 w 564"/>
                  <a:gd name="T25" fmla="*/ 0 h 762"/>
                  <a:gd name="T26" fmla="*/ 2147483647 w 564"/>
                  <a:gd name="T27" fmla="*/ 2147483647 h 762"/>
                  <a:gd name="T28" fmla="*/ 2147483647 w 564"/>
                  <a:gd name="T29" fmla="*/ 2147483647 h 762"/>
                  <a:gd name="T30" fmla="*/ 2147483647 w 564"/>
                  <a:gd name="T31" fmla="*/ 2147483647 h 762"/>
                  <a:gd name="T32" fmla="*/ 2147483647 w 564"/>
                  <a:gd name="T33" fmla="*/ 2147483647 h 762"/>
                  <a:gd name="T34" fmla="*/ 2147483647 w 564"/>
                  <a:gd name="T35" fmla="*/ 2147483647 h 762"/>
                  <a:gd name="T36" fmla="*/ 2147483647 w 564"/>
                  <a:gd name="T37" fmla="*/ 2147483647 h 762"/>
                  <a:gd name="T38" fmla="*/ 2147483647 w 564"/>
                  <a:gd name="T39" fmla="*/ 2147483647 h 762"/>
                  <a:gd name="T40" fmla="*/ 2147483647 w 564"/>
                  <a:gd name="T41" fmla="*/ 2147483647 h 762"/>
                  <a:gd name="T42" fmla="*/ 2147483647 w 564"/>
                  <a:gd name="T43" fmla="*/ 2147483647 h 762"/>
                  <a:gd name="T44" fmla="*/ 2147483647 w 564"/>
                  <a:gd name="T45" fmla="*/ 2147483647 h 762"/>
                  <a:gd name="T46" fmla="*/ 2147483647 w 564"/>
                  <a:gd name="T47" fmla="*/ 2147483647 h 762"/>
                  <a:gd name="T48" fmla="*/ 2147483647 w 564"/>
                  <a:gd name="T49" fmla="*/ 2147483647 h 762"/>
                  <a:gd name="T50" fmla="*/ 2147483647 w 564"/>
                  <a:gd name="T51" fmla="*/ 2147483647 h 762"/>
                  <a:gd name="T52" fmla="*/ 2147483647 w 564"/>
                  <a:gd name="T53" fmla="*/ 2147483647 h 762"/>
                  <a:gd name="T54" fmla="*/ 2147483647 w 564"/>
                  <a:gd name="T55" fmla="*/ 2147483647 h 762"/>
                  <a:gd name="T56" fmla="*/ 2147483647 w 564"/>
                  <a:gd name="T57" fmla="*/ 2147483647 h 762"/>
                  <a:gd name="T58" fmla="*/ 0 w 564"/>
                  <a:gd name="T59" fmla="*/ 2147483647 h 762"/>
                  <a:gd name="T60" fmla="*/ 2147483647 w 564"/>
                  <a:gd name="T61" fmla="*/ 2147483647 h 762"/>
                  <a:gd name="T62" fmla="*/ 2147483647 w 564"/>
                  <a:gd name="T63" fmla="*/ 2147483647 h 762"/>
                  <a:gd name="T64" fmla="*/ 2147483647 w 564"/>
                  <a:gd name="T65" fmla="*/ 2147483647 h 762"/>
                  <a:gd name="T66" fmla="*/ 2147483647 w 564"/>
                  <a:gd name="T67" fmla="*/ 2147483647 h 762"/>
                  <a:gd name="T68" fmla="*/ 2147483647 w 564"/>
                  <a:gd name="T69" fmla="*/ 2147483647 h 762"/>
                  <a:gd name="T70" fmla="*/ 0 w 564"/>
                  <a:gd name="T71" fmla="*/ 2147483647 h 762"/>
                  <a:gd name="T72" fmla="*/ 2147483647 w 564"/>
                  <a:gd name="T73" fmla="*/ 2147483647 h 762"/>
                  <a:gd name="T74" fmla="*/ 2147483647 w 564"/>
                  <a:gd name="T75" fmla="*/ 2147483647 h 762"/>
                  <a:gd name="T76" fmla="*/ 2147483647 w 564"/>
                  <a:gd name="T77" fmla="*/ 2147483647 h 762"/>
                  <a:gd name="T78" fmla="*/ 2147483647 w 564"/>
                  <a:gd name="T79" fmla="*/ 2147483647 h 762"/>
                  <a:gd name="T80" fmla="*/ 2147483647 w 564"/>
                  <a:gd name="T81" fmla="*/ 2147483647 h 762"/>
                  <a:gd name="T82" fmla="*/ 2147483647 w 564"/>
                  <a:gd name="T83" fmla="*/ 2147483647 h 762"/>
                  <a:gd name="T84" fmla="*/ 2147483647 w 564"/>
                  <a:gd name="T85" fmla="*/ 2147483647 h 762"/>
                  <a:gd name="T86" fmla="*/ 2147483647 w 564"/>
                  <a:gd name="T87" fmla="*/ 2147483647 h 762"/>
                  <a:gd name="T88" fmla="*/ 2147483647 w 564"/>
                  <a:gd name="T89" fmla="*/ 2147483647 h 762"/>
                  <a:gd name="T90" fmla="*/ 2147483647 w 564"/>
                  <a:gd name="T91" fmla="*/ 2147483647 h 762"/>
                  <a:gd name="T92" fmla="*/ 2147483647 w 564"/>
                  <a:gd name="T93" fmla="*/ 2147483647 h 762"/>
                  <a:gd name="T94" fmla="*/ 2147483647 w 564"/>
                  <a:gd name="T95" fmla="*/ 2147483647 h 762"/>
                  <a:gd name="T96" fmla="*/ 2147483647 w 564"/>
                  <a:gd name="T97" fmla="*/ 2147483647 h 762"/>
                  <a:gd name="T98" fmla="*/ 2147483647 w 564"/>
                  <a:gd name="T99" fmla="*/ 2147483647 h 762"/>
                  <a:gd name="T100" fmla="*/ 2147483647 w 564"/>
                  <a:gd name="T101" fmla="*/ 2147483647 h 76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564"/>
                  <a:gd name="T154" fmla="*/ 0 h 762"/>
                  <a:gd name="T155" fmla="*/ 564 w 564"/>
                  <a:gd name="T156" fmla="*/ 762 h 76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564" h="762">
                    <a:moveTo>
                      <a:pt x="498" y="150"/>
                    </a:moveTo>
                    <a:lnTo>
                      <a:pt x="540" y="108"/>
                    </a:lnTo>
                    <a:lnTo>
                      <a:pt x="558" y="72"/>
                    </a:lnTo>
                    <a:lnTo>
                      <a:pt x="564" y="66"/>
                    </a:lnTo>
                    <a:lnTo>
                      <a:pt x="564" y="60"/>
                    </a:lnTo>
                    <a:lnTo>
                      <a:pt x="540" y="54"/>
                    </a:lnTo>
                    <a:lnTo>
                      <a:pt x="534" y="60"/>
                    </a:lnTo>
                    <a:lnTo>
                      <a:pt x="504" y="60"/>
                    </a:lnTo>
                    <a:lnTo>
                      <a:pt x="480" y="30"/>
                    </a:lnTo>
                    <a:lnTo>
                      <a:pt x="462" y="48"/>
                    </a:lnTo>
                    <a:lnTo>
                      <a:pt x="456" y="48"/>
                    </a:lnTo>
                    <a:lnTo>
                      <a:pt x="450" y="54"/>
                    </a:lnTo>
                    <a:lnTo>
                      <a:pt x="438" y="60"/>
                    </a:lnTo>
                    <a:lnTo>
                      <a:pt x="426" y="60"/>
                    </a:lnTo>
                    <a:lnTo>
                      <a:pt x="414" y="72"/>
                    </a:lnTo>
                    <a:lnTo>
                      <a:pt x="414" y="84"/>
                    </a:lnTo>
                    <a:lnTo>
                      <a:pt x="390" y="102"/>
                    </a:lnTo>
                    <a:lnTo>
                      <a:pt x="378" y="96"/>
                    </a:lnTo>
                    <a:lnTo>
                      <a:pt x="372" y="96"/>
                    </a:lnTo>
                    <a:lnTo>
                      <a:pt x="360" y="90"/>
                    </a:lnTo>
                    <a:lnTo>
                      <a:pt x="330" y="90"/>
                    </a:lnTo>
                    <a:lnTo>
                      <a:pt x="318" y="84"/>
                    </a:lnTo>
                    <a:lnTo>
                      <a:pt x="288" y="84"/>
                    </a:lnTo>
                    <a:lnTo>
                      <a:pt x="210" y="24"/>
                    </a:lnTo>
                    <a:lnTo>
                      <a:pt x="138" y="18"/>
                    </a:lnTo>
                    <a:lnTo>
                      <a:pt x="132" y="0"/>
                    </a:lnTo>
                    <a:lnTo>
                      <a:pt x="108" y="12"/>
                    </a:lnTo>
                    <a:lnTo>
                      <a:pt x="18" y="12"/>
                    </a:lnTo>
                    <a:lnTo>
                      <a:pt x="0" y="42"/>
                    </a:lnTo>
                    <a:lnTo>
                      <a:pt x="6" y="48"/>
                    </a:lnTo>
                    <a:lnTo>
                      <a:pt x="12" y="60"/>
                    </a:lnTo>
                    <a:lnTo>
                      <a:pt x="12" y="84"/>
                    </a:lnTo>
                    <a:lnTo>
                      <a:pt x="18" y="84"/>
                    </a:lnTo>
                    <a:lnTo>
                      <a:pt x="24" y="90"/>
                    </a:lnTo>
                    <a:lnTo>
                      <a:pt x="24" y="84"/>
                    </a:lnTo>
                    <a:lnTo>
                      <a:pt x="30" y="84"/>
                    </a:lnTo>
                    <a:lnTo>
                      <a:pt x="30" y="96"/>
                    </a:lnTo>
                    <a:lnTo>
                      <a:pt x="24" y="102"/>
                    </a:lnTo>
                    <a:lnTo>
                      <a:pt x="24" y="108"/>
                    </a:lnTo>
                    <a:lnTo>
                      <a:pt x="42" y="126"/>
                    </a:lnTo>
                    <a:lnTo>
                      <a:pt x="36" y="132"/>
                    </a:lnTo>
                    <a:lnTo>
                      <a:pt x="72" y="174"/>
                    </a:lnTo>
                    <a:lnTo>
                      <a:pt x="66" y="180"/>
                    </a:lnTo>
                    <a:lnTo>
                      <a:pt x="60" y="180"/>
                    </a:lnTo>
                    <a:lnTo>
                      <a:pt x="54" y="186"/>
                    </a:lnTo>
                    <a:lnTo>
                      <a:pt x="54" y="192"/>
                    </a:lnTo>
                    <a:lnTo>
                      <a:pt x="66" y="216"/>
                    </a:lnTo>
                    <a:lnTo>
                      <a:pt x="72" y="222"/>
                    </a:lnTo>
                    <a:lnTo>
                      <a:pt x="78" y="234"/>
                    </a:lnTo>
                    <a:lnTo>
                      <a:pt x="78" y="246"/>
                    </a:lnTo>
                    <a:lnTo>
                      <a:pt x="66" y="258"/>
                    </a:lnTo>
                    <a:lnTo>
                      <a:pt x="60" y="282"/>
                    </a:lnTo>
                    <a:lnTo>
                      <a:pt x="42" y="282"/>
                    </a:lnTo>
                    <a:lnTo>
                      <a:pt x="36" y="288"/>
                    </a:lnTo>
                    <a:lnTo>
                      <a:pt x="36" y="312"/>
                    </a:lnTo>
                    <a:lnTo>
                      <a:pt x="18" y="324"/>
                    </a:lnTo>
                    <a:lnTo>
                      <a:pt x="12" y="342"/>
                    </a:lnTo>
                    <a:lnTo>
                      <a:pt x="6" y="348"/>
                    </a:lnTo>
                    <a:lnTo>
                      <a:pt x="0" y="360"/>
                    </a:lnTo>
                    <a:lnTo>
                      <a:pt x="0" y="384"/>
                    </a:lnTo>
                    <a:lnTo>
                      <a:pt x="18" y="402"/>
                    </a:lnTo>
                    <a:lnTo>
                      <a:pt x="30" y="402"/>
                    </a:lnTo>
                    <a:lnTo>
                      <a:pt x="30" y="390"/>
                    </a:lnTo>
                    <a:lnTo>
                      <a:pt x="54" y="390"/>
                    </a:lnTo>
                    <a:lnTo>
                      <a:pt x="60" y="408"/>
                    </a:lnTo>
                    <a:lnTo>
                      <a:pt x="42" y="408"/>
                    </a:lnTo>
                    <a:lnTo>
                      <a:pt x="30" y="420"/>
                    </a:lnTo>
                    <a:lnTo>
                      <a:pt x="24" y="414"/>
                    </a:lnTo>
                    <a:lnTo>
                      <a:pt x="18" y="414"/>
                    </a:lnTo>
                    <a:lnTo>
                      <a:pt x="6" y="420"/>
                    </a:lnTo>
                    <a:lnTo>
                      <a:pt x="0" y="432"/>
                    </a:lnTo>
                    <a:lnTo>
                      <a:pt x="0" y="438"/>
                    </a:lnTo>
                    <a:lnTo>
                      <a:pt x="12" y="450"/>
                    </a:lnTo>
                    <a:lnTo>
                      <a:pt x="6" y="468"/>
                    </a:lnTo>
                    <a:lnTo>
                      <a:pt x="258" y="624"/>
                    </a:lnTo>
                    <a:lnTo>
                      <a:pt x="270" y="636"/>
                    </a:lnTo>
                    <a:lnTo>
                      <a:pt x="270" y="642"/>
                    </a:lnTo>
                    <a:lnTo>
                      <a:pt x="264" y="648"/>
                    </a:lnTo>
                    <a:lnTo>
                      <a:pt x="258" y="648"/>
                    </a:lnTo>
                    <a:lnTo>
                      <a:pt x="252" y="654"/>
                    </a:lnTo>
                    <a:lnTo>
                      <a:pt x="366" y="762"/>
                    </a:lnTo>
                    <a:lnTo>
                      <a:pt x="384" y="756"/>
                    </a:lnTo>
                    <a:lnTo>
                      <a:pt x="414" y="690"/>
                    </a:lnTo>
                    <a:lnTo>
                      <a:pt x="414" y="660"/>
                    </a:lnTo>
                    <a:lnTo>
                      <a:pt x="426" y="648"/>
                    </a:lnTo>
                    <a:lnTo>
                      <a:pt x="432" y="648"/>
                    </a:lnTo>
                    <a:lnTo>
                      <a:pt x="444" y="636"/>
                    </a:lnTo>
                    <a:lnTo>
                      <a:pt x="444" y="624"/>
                    </a:lnTo>
                    <a:lnTo>
                      <a:pt x="438" y="618"/>
                    </a:lnTo>
                    <a:lnTo>
                      <a:pt x="438" y="600"/>
                    </a:lnTo>
                    <a:lnTo>
                      <a:pt x="444" y="594"/>
                    </a:lnTo>
                    <a:lnTo>
                      <a:pt x="456" y="588"/>
                    </a:lnTo>
                    <a:lnTo>
                      <a:pt x="468" y="588"/>
                    </a:lnTo>
                    <a:lnTo>
                      <a:pt x="474" y="582"/>
                    </a:lnTo>
                    <a:lnTo>
                      <a:pt x="480" y="582"/>
                    </a:lnTo>
                    <a:lnTo>
                      <a:pt x="486" y="540"/>
                    </a:lnTo>
                    <a:lnTo>
                      <a:pt x="516" y="540"/>
                    </a:lnTo>
                    <a:lnTo>
                      <a:pt x="528" y="534"/>
                    </a:lnTo>
                    <a:lnTo>
                      <a:pt x="534" y="522"/>
                    </a:lnTo>
                    <a:lnTo>
                      <a:pt x="540" y="516"/>
                    </a:lnTo>
                    <a:lnTo>
                      <a:pt x="498" y="450"/>
                    </a:lnTo>
                    <a:lnTo>
                      <a:pt x="498" y="15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33" name="Kazakhstan"/>
              <p:cNvSpPr>
                <a:spLocks noEditPoints="1"/>
              </p:cNvSpPr>
              <p:nvPr/>
            </p:nvSpPr>
            <p:spPr bwMode="gray">
              <a:xfrm>
                <a:off x="5421321" y="2293939"/>
                <a:ext cx="1011239" cy="469900"/>
              </a:xfrm>
              <a:custGeom>
                <a:avLst/>
                <a:gdLst>
                  <a:gd name="T0" fmla="*/ 2147483647 w 2514"/>
                  <a:gd name="T1" fmla="*/ 2147483647 h 1164"/>
                  <a:gd name="T2" fmla="*/ 2147483647 w 2514"/>
                  <a:gd name="T3" fmla="*/ 2147483647 h 1164"/>
                  <a:gd name="T4" fmla="*/ 2147483647 w 2514"/>
                  <a:gd name="T5" fmla="*/ 2147483647 h 1164"/>
                  <a:gd name="T6" fmla="*/ 2147483647 w 2514"/>
                  <a:gd name="T7" fmla="*/ 2147483647 h 1164"/>
                  <a:gd name="T8" fmla="*/ 2147483647 w 2514"/>
                  <a:gd name="T9" fmla="*/ 2147483647 h 1164"/>
                  <a:gd name="T10" fmla="*/ 2147483647 w 2514"/>
                  <a:gd name="T11" fmla="*/ 2147483647 h 1164"/>
                  <a:gd name="T12" fmla="*/ 2147483647 w 2514"/>
                  <a:gd name="T13" fmla="*/ 2147483647 h 1164"/>
                  <a:gd name="T14" fmla="*/ 2147483647 w 2514"/>
                  <a:gd name="T15" fmla="*/ 2147483647 h 1164"/>
                  <a:gd name="T16" fmla="*/ 2147483647 w 2514"/>
                  <a:gd name="T17" fmla="*/ 2147483647 h 1164"/>
                  <a:gd name="T18" fmla="*/ 2147483647 w 2514"/>
                  <a:gd name="T19" fmla="*/ 2147483647 h 1164"/>
                  <a:gd name="T20" fmla="*/ 2147483647 w 2514"/>
                  <a:gd name="T21" fmla="*/ 2147483647 h 1164"/>
                  <a:gd name="T22" fmla="*/ 2147483647 w 2514"/>
                  <a:gd name="T23" fmla="*/ 2147483647 h 1164"/>
                  <a:gd name="T24" fmla="*/ 2147483647 w 2514"/>
                  <a:gd name="T25" fmla="*/ 2147483647 h 1164"/>
                  <a:gd name="T26" fmla="*/ 2147483647 w 2514"/>
                  <a:gd name="T27" fmla="*/ 2147483647 h 1164"/>
                  <a:gd name="T28" fmla="*/ 2147483647 w 2514"/>
                  <a:gd name="T29" fmla="*/ 2147483647 h 1164"/>
                  <a:gd name="T30" fmla="*/ 2147483647 w 2514"/>
                  <a:gd name="T31" fmla="*/ 2147483647 h 1164"/>
                  <a:gd name="T32" fmla="*/ 2147483647 w 2514"/>
                  <a:gd name="T33" fmla="*/ 2147483647 h 1164"/>
                  <a:gd name="T34" fmla="*/ 2147483647 w 2514"/>
                  <a:gd name="T35" fmla="*/ 2147483647 h 1164"/>
                  <a:gd name="T36" fmla="*/ 2147483647 w 2514"/>
                  <a:gd name="T37" fmla="*/ 2147483647 h 1164"/>
                  <a:gd name="T38" fmla="*/ 2147483647 w 2514"/>
                  <a:gd name="T39" fmla="*/ 2147483647 h 1164"/>
                  <a:gd name="T40" fmla="*/ 2147483647 w 2514"/>
                  <a:gd name="T41" fmla="*/ 2147483647 h 1164"/>
                  <a:gd name="T42" fmla="*/ 2147483647 w 2514"/>
                  <a:gd name="T43" fmla="*/ 2147483647 h 1164"/>
                  <a:gd name="T44" fmla="*/ 2147483647 w 2514"/>
                  <a:gd name="T45" fmla="*/ 2147483647 h 1164"/>
                  <a:gd name="T46" fmla="*/ 2147483647 w 2514"/>
                  <a:gd name="T47" fmla="*/ 2147483647 h 1164"/>
                  <a:gd name="T48" fmla="*/ 2147483647 w 2514"/>
                  <a:gd name="T49" fmla="*/ 2147483647 h 1164"/>
                  <a:gd name="T50" fmla="*/ 2147483647 w 2514"/>
                  <a:gd name="T51" fmla="*/ 2147483647 h 1164"/>
                  <a:gd name="T52" fmla="*/ 2147483647 w 2514"/>
                  <a:gd name="T53" fmla="*/ 2147483647 h 1164"/>
                  <a:gd name="T54" fmla="*/ 2147483647 w 2514"/>
                  <a:gd name="T55" fmla="*/ 2147483647 h 1164"/>
                  <a:gd name="T56" fmla="*/ 2147483647 w 2514"/>
                  <a:gd name="T57" fmla="*/ 2147483647 h 1164"/>
                  <a:gd name="T58" fmla="*/ 2147483647 w 2514"/>
                  <a:gd name="T59" fmla="*/ 2147483647 h 1164"/>
                  <a:gd name="T60" fmla="*/ 2147483647 w 2514"/>
                  <a:gd name="T61" fmla="*/ 2147483647 h 1164"/>
                  <a:gd name="T62" fmla="*/ 2147483647 w 2514"/>
                  <a:gd name="T63" fmla="*/ 2147483647 h 1164"/>
                  <a:gd name="T64" fmla="*/ 2147483647 w 2514"/>
                  <a:gd name="T65" fmla="*/ 2147483647 h 1164"/>
                  <a:gd name="T66" fmla="*/ 2147483647 w 2514"/>
                  <a:gd name="T67" fmla="*/ 2147483647 h 1164"/>
                  <a:gd name="T68" fmla="*/ 2147483647 w 2514"/>
                  <a:gd name="T69" fmla="*/ 2147483647 h 1164"/>
                  <a:gd name="T70" fmla="*/ 2147483647 w 2514"/>
                  <a:gd name="T71" fmla="*/ 2147483647 h 1164"/>
                  <a:gd name="T72" fmla="*/ 2147483647 w 2514"/>
                  <a:gd name="T73" fmla="*/ 2147483647 h 1164"/>
                  <a:gd name="T74" fmla="*/ 2147483647 w 2514"/>
                  <a:gd name="T75" fmla="*/ 2147483647 h 1164"/>
                  <a:gd name="T76" fmla="*/ 2147483647 w 2514"/>
                  <a:gd name="T77" fmla="*/ 2147483647 h 1164"/>
                  <a:gd name="T78" fmla="*/ 2147483647 w 2514"/>
                  <a:gd name="T79" fmla="*/ 2147483647 h 1164"/>
                  <a:gd name="T80" fmla="*/ 2147483647 w 2514"/>
                  <a:gd name="T81" fmla="*/ 2147483647 h 1164"/>
                  <a:gd name="T82" fmla="*/ 2147483647 w 2514"/>
                  <a:gd name="T83" fmla="*/ 2147483647 h 1164"/>
                  <a:gd name="T84" fmla="*/ 2147483647 w 2514"/>
                  <a:gd name="T85" fmla="*/ 2147483647 h 1164"/>
                  <a:gd name="T86" fmla="*/ 2147483647 w 2514"/>
                  <a:gd name="T87" fmla="*/ 2147483647 h 1164"/>
                  <a:gd name="T88" fmla="*/ 2147483647 w 2514"/>
                  <a:gd name="T89" fmla="*/ 2147483647 h 1164"/>
                  <a:gd name="T90" fmla="*/ 2147483647 w 2514"/>
                  <a:gd name="T91" fmla="*/ 2147483647 h 1164"/>
                  <a:gd name="T92" fmla="*/ 2147483647 w 2514"/>
                  <a:gd name="T93" fmla="*/ 2147483647 h 1164"/>
                  <a:gd name="T94" fmla="*/ 2147483647 w 2514"/>
                  <a:gd name="T95" fmla="*/ 2147483647 h 1164"/>
                  <a:gd name="T96" fmla="*/ 2147483647 w 2514"/>
                  <a:gd name="T97" fmla="*/ 2147483647 h 1164"/>
                  <a:gd name="T98" fmla="*/ 2147483647 w 2514"/>
                  <a:gd name="T99" fmla="*/ 2147483647 h 1164"/>
                  <a:gd name="T100" fmla="*/ 2147483647 w 2514"/>
                  <a:gd name="T101" fmla="*/ 2147483647 h 1164"/>
                  <a:gd name="T102" fmla="*/ 2147483647 w 2514"/>
                  <a:gd name="T103" fmla="*/ 2147483647 h 1164"/>
                  <a:gd name="T104" fmla="*/ 2147483647 w 2514"/>
                  <a:gd name="T105" fmla="*/ 2147483647 h 1164"/>
                  <a:gd name="T106" fmla="*/ 2147483647 w 2514"/>
                  <a:gd name="T107" fmla="*/ 2147483647 h 1164"/>
                  <a:gd name="T108" fmla="*/ 2147483647 w 2514"/>
                  <a:gd name="T109" fmla="*/ 2147483647 h 1164"/>
                  <a:gd name="T110" fmla="*/ 2147483647 w 2514"/>
                  <a:gd name="T111" fmla="*/ 2147483647 h 1164"/>
                  <a:gd name="T112" fmla="*/ 2147483647 w 2514"/>
                  <a:gd name="T113" fmla="*/ 2147483647 h 1164"/>
                  <a:gd name="T114" fmla="*/ 2147483647 w 2514"/>
                  <a:gd name="T115" fmla="*/ 2147483647 h 1164"/>
                  <a:gd name="T116" fmla="*/ 2147483647 w 2514"/>
                  <a:gd name="T117" fmla="*/ 2147483647 h 1164"/>
                  <a:gd name="T118" fmla="*/ 2147483647 w 2514"/>
                  <a:gd name="T119" fmla="*/ 2147483647 h 1164"/>
                  <a:gd name="T120" fmla="*/ 2147483647 w 2514"/>
                  <a:gd name="T121" fmla="*/ 2147483647 h 1164"/>
                  <a:gd name="T122" fmla="*/ 2147483647 w 2514"/>
                  <a:gd name="T123" fmla="*/ 2147483647 h 116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514"/>
                  <a:gd name="T187" fmla="*/ 0 h 1164"/>
                  <a:gd name="T188" fmla="*/ 2514 w 2514"/>
                  <a:gd name="T189" fmla="*/ 1164 h 116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514" h="1164">
                    <a:moveTo>
                      <a:pt x="852" y="756"/>
                    </a:moveTo>
                    <a:lnTo>
                      <a:pt x="840" y="744"/>
                    </a:lnTo>
                    <a:lnTo>
                      <a:pt x="822" y="768"/>
                    </a:lnTo>
                    <a:lnTo>
                      <a:pt x="816" y="780"/>
                    </a:lnTo>
                    <a:lnTo>
                      <a:pt x="870" y="804"/>
                    </a:lnTo>
                    <a:lnTo>
                      <a:pt x="870" y="786"/>
                    </a:lnTo>
                    <a:lnTo>
                      <a:pt x="864" y="780"/>
                    </a:lnTo>
                    <a:lnTo>
                      <a:pt x="858" y="768"/>
                    </a:lnTo>
                    <a:lnTo>
                      <a:pt x="858" y="762"/>
                    </a:lnTo>
                    <a:lnTo>
                      <a:pt x="852" y="756"/>
                    </a:lnTo>
                    <a:close/>
                    <a:moveTo>
                      <a:pt x="2484" y="492"/>
                    </a:moveTo>
                    <a:lnTo>
                      <a:pt x="2484" y="486"/>
                    </a:lnTo>
                    <a:lnTo>
                      <a:pt x="2514" y="486"/>
                    </a:lnTo>
                    <a:lnTo>
                      <a:pt x="2478" y="444"/>
                    </a:lnTo>
                    <a:lnTo>
                      <a:pt x="2454" y="420"/>
                    </a:lnTo>
                    <a:lnTo>
                      <a:pt x="2442" y="456"/>
                    </a:lnTo>
                    <a:lnTo>
                      <a:pt x="2370" y="450"/>
                    </a:lnTo>
                    <a:lnTo>
                      <a:pt x="2370" y="444"/>
                    </a:lnTo>
                    <a:lnTo>
                      <a:pt x="2364" y="438"/>
                    </a:lnTo>
                    <a:lnTo>
                      <a:pt x="2358" y="426"/>
                    </a:lnTo>
                    <a:lnTo>
                      <a:pt x="2352" y="420"/>
                    </a:lnTo>
                    <a:lnTo>
                      <a:pt x="2346" y="408"/>
                    </a:lnTo>
                    <a:lnTo>
                      <a:pt x="2346" y="402"/>
                    </a:lnTo>
                    <a:lnTo>
                      <a:pt x="2340" y="402"/>
                    </a:lnTo>
                    <a:lnTo>
                      <a:pt x="2328" y="396"/>
                    </a:lnTo>
                    <a:lnTo>
                      <a:pt x="2316" y="396"/>
                    </a:lnTo>
                    <a:lnTo>
                      <a:pt x="2304" y="390"/>
                    </a:lnTo>
                    <a:lnTo>
                      <a:pt x="2292" y="390"/>
                    </a:lnTo>
                    <a:lnTo>
                      <a:pt x="2286" y="378"/>
                    </a:lnTo>
                    <a:lnTo>
                      <a:pt x="2274" y="372"/>
                    </a:lnTo>
                    <a:lnTo>
                      <a:pt x="2250" y="348"/>
                    </a:lnTo>
                    <a:lnTo>
                      <a:pt x="2226" y="336"/>
                    </a:lnTo>
                    <a:lnTo>
                      <a:pt x="2208" y="336"/>
                    </a:lnTo>
                    <a:lnTo>
                      <a:pt x="2196" y="342"/>
                    </a:lnTo>
                    <a:lnTo>
                      <a:pt x="2178" y="348"/>
                    </a:lnTo>
                    <a:lnTo>
                      <a:pt x="2166" y="354"/>
                    </a:lnTo>
                    <a:lnTo>
                      <a:pt x="2160" y="366"/>
                    </a:lnTo>
                    <a:lnTo>
                      <a:pt x="2136" y="366"/>
                    </a:lnTo>
                    <a:lnTo>
                      <a:pt x="2124" y="360"/>
                    </a:lnTo>
                    <a:lnTo>
                      <a:pt x="2118" y="348"/>
                    </a:lnTo>
                    <a:lnTo>
                      <a:pt x="2106" y="342"/>
                    </a:lnTo>
                    <a:lnTo>
                      <a:pt x="2076" y="342"/>
                    </a:lnTo>
                    <a:lnTo>
                      <a:pt x="2076" y="336"/>
                    </a:lnTo>
                    <a:lnTo>
                      <a:pt x="2070" y="330"/>
                    </a:lnTo>
                    <a:lnTo>
                      <a:pt x="2070" y="318"/>
                    </a:lnTo>
                    <a:lnTo>
                      <a:pt x="2064" y="312"/>
                    </a:lnTo>
                    <a:lnTo>
                      <a:pt x="2052" y="312"/>
                    </a:lnTo>
                    <a:lnTo>
                      <a:pt x="2052" y="318"/>
                    </a:lnTo>
                    <a:lnTo>
                      <a:pt x="2046" y="324"/>
                    </a:lnTo>
                    <a:lnTo>
                      <a:pt x="2046" y="336"/>
                    </a:lnTo>
                    <a:lnTo>
                      <a:pt x="2034" y="348"/>
                    </a:lnTo>
                    <a:lnTo>
                      <a:pt x="2022" y="354"/>
                    </a:lnTo>
                    <a:lnTo>
                      <a:pt x="2010" y="354"/>
                    </a:lnTo>
                    <a:lnTo>
                      <a:pt x="1998" y="348"/>
                    </a:lnTo>
                    <a:lnTo>
                      <a:pt x="1986" y="336"/>
                    </a:lnTo>
                    <a:lnTo>
                      <a:pt x="1974" y="318"/>
                    </a:lnTo>
                    <a:lnTo>
                      <a:pt x="1938" y="282"/>
                    </a:lnTo>
                    <a:lnTo>
                      <a:pt x="1920" y="258"/>
                    </a:lnTo>
                    <a:lnTo>
                      <a:pt x="1848" y="198"/>
                    </a:lnTo>
                    <a:lnTo>
                      <a:pt x="1818" y="168"/>
                    </a:lnTo>
                    <a:lnTo>
                      <a:pt x="1800" y="156"/>
                    </a:lnTo>
                    <a:lnTo>
                      <a:pt x="1788" y="150"/>
                    </a:lnTo>
                    <a:lnTo>
                      <a:pt x="1758" y="132"/>
                    </a:lnTo>
                    <a:lnTo>
                      <a:pt x="1728" y="120"/>
                    </a:lnTo>
                    <a:lnTo>
                      <a:pt x="1692" y="102"/>
                    </a:lnTo>
                    <a:lnTo>
                      <a:pt x="1698" y="102"/>
                    </a:lnTo>
                    <a:lnTo>
                      <a:pt x="1710" y="90"/>
                    </a:lnTo>
                    <a:lnTo>
                      <a:pt x="1710" y="72"/>
                    </a:lnTo>
                    <a:lnTo>
                      <a:pt x="1704" y="66"/>
                    </a:lnTo>
                    <a:lnTo>
                      <a:pt x="1698" y="66"/>
                    </a:lnTo>
                    <a:lnTo>
                      <a:pt x="1680" y="84"/>
                    </a:lnTo>
                    <a:lnTo>
                      <a:pt x="1644" y="96"/>
                    </a:lnTo>
                    <a:lnTo>
                      <a:pt x="1632" y="114"/>
                    </a:lnTo>
                    <a:lnTo>
                      <a:pt x="1620" y="114"/>
                    </a:lnTo>
                    <a:lnTo>
                      <a:pt x="1608" y="120"/>
                    </a:lnTo>
                    <a:lnTo>
                      <a:pt x="1602" y="126"/>
                    </a:lnTo>
                    <a:lnTo>
                      <a:pt x="1602" y="144"/>
                    </a:lnTo>
                    <a:lnTo>
                      <a:pt x="1590" y="156"/>
                    </a:lnTo>
                    <a:lnTo>
                      <a:pt x="1578" y="150"/>
                    </a:lnTo>
                    <a:lnTo>
                      <a:pt x="1572" y="144"/>
                    </a:lnTo>
                    <a:lnTo>
                      <a:pt x="1560" y="138"/>
                    </a:lnTo>
                    <a:lnTo>
                      <a:pt x="1554" y="132"/>
                    </a:lnTo>
                    <a:lnTo>
                      <a:pt x="1548" y="132"/>
                    </a:lnTo>
                    <a:lnTo>
                      <a:pt x="1542" y="138"/>
                    </a:lnTo>
                    <a:lnTo>
                      <a:pt x="1536" y="138"/>
                    </a:lnTo>
                    <a:lnTo>
                      <a:pt x="1530" y="144"/>
                    </a:lnTo>
                    <a:lnTo>
                      <a:pt x="1524" y="144"/>
                    </a:lnTo>
                    <a:lnTo>
                      <a:pt x="1524" y="138"/>
                    </a:lnTo>
                    <a:lnTo>
                      <a:pt x="1530" y="132"/>
                    </a:lnTo>
                    <a:lnTo>
                      <a:pt x="1530" y="108"/>
                    </a:lnTo>
                    <a:lnTo>
                      <a:pt x="1518" y="102"/>
                    </a:lnTo>
                    <a:lnTo>
                      <a:pt x="1512" y="102"/>
                    </a:lnTo>
                    <a:lnTo>
                      <a:pt x="1506" y="108"/>
                    </a:lnTo>
                    <a:lnTo>
                      <a:pt x="1482" y="96"/>
                    </a:lnTo>
                    <a:lnTo>
                      <a:pt x="1458" y="108"/>
                    </a:lnTo>
                    <a:lnTo>
                      <a:pt x="1434" y="72"/>
                    </a:lnTo>
                    <a:lnTo>
                      <a:pt x="1422" y="90"/>
                    </a:lnTo>
                    <a:lnTo>
                      <a:pt x="1404" y="90"/>
                    </a:lnTo>
                    <a:lnTo>
                      <a:pt x="1392" y="96"/>
                    </a:lnTo>
                    <a:lnTo>
                      <a:pt x="1374" y="96"/>
                    </a:lnTo>
                    <a:lnTo>
                      <a:pt x="1368" y="90"/>
                    </a:lnTo>
                    <a:lnTo>
                      <a:pt x="1368" y="48"/>
                    </a:lnTo>
                    <a:lnTo>
                      <a:pt x="1362" y="42"/>
                    </a:lnTo>
                    <a:lnTo>
                      <a:pt x="1350" y="42"/>
                    </a:lnTo>
                    <a:lnTo>
                      <a:pt x="1344" y="36"/>
                    </a:lnTo>
                    <a:lnTo>
                      <a:pt x="1338" y="24"/>
                    </a:lnTo>
                    <a:lnTo>
                      <a:pt x="1320" y="6"/>
                    </a:lnTo>
                    <a:lnTo>
                      <a:pt x="1314" y="6"/>
                    </a:lnTo>
                    <a:lnTo>
                      <a:pt x="1302" y="18"/>
                    </a:lnTo>
                    <a:lnTo>
                      <a:pt x="1290" y="18"/>
                    </a:lnTo>
                    <a:lnTo>
                      <a:pt x="1278" y="6"/>
                    </a:lnTo>
                    <a:lnTo>
                      <a:pt x="1260" y="6"/>
                    </a:lnTo>
                    <a:lnTo>
                      <a:pt x="1242" y="0"/>
                    </a:lnTo>
                    <a:lnTo>
                      <a:pt x="1218" y="0"/>
                    </a:lnTo>
                    <a:lnTo>
                      <a:pt x="1200" y="6"/>
                    </a:lnTo>
                    <a:lnTo>
                      <a:pt x="1188" y="12"/>
                    </a:lnTo>
                    <a:lnTo>
                      <a:pt x="1176" y="24"/>
                    </a:lnTo>
                    <a:lnTo>
                      <a:pt x="1176" y="36"/>
                    </a:lnTo>
                    <a:lnTo>
                      <a:pt x="1164" y="36"/>
                    </a:lnTo>
                    <a:lnTo>
                      <a:pt x="1110" y="54"/>
                    </a:lnTo>
                    <a:lnTo>
                      <a:pt x="1020" y="54"/>
                    </a:lnTo>
                    <a:lnTo>
                      <a:pt x="1014" y="60"/>
                    </a:lnTo>
                    <a:lnTo>
                      <a:pt x="1014" y="78"/>
                    </a:lnTo>
                    <a:lnTo>
                      <a:pt x="948" y="78"/>
                    </a:lnTo>
                    <a:lnTo>
                      <a:pt x="942" y="96"/>
                    </a:lnTo>
                    <a:lnTo>
                      <a:pt x="888" y="96"/>
                    </a:lnTo>
                    <a:lnTo>
                      <a:pt x="828" y="102"/>
                    </a:lnTo>
                    <a:lnTo>
                      <a:pt x="792" y="114"/>
                    </a:lnTo>
                    <a:lnTo>
                      <a:pt x="780" y="126"/>
                    </a:lnTo>
                    <a:lnTo>
                      <a:pt x="780" y="132"/>
                    </a:lnTo>
                    <a:lnTo>
                      <a:pt x="786" y="138"/>
                    </a:lnTo>
                    <a:lnTo>
                      <a:pt x="786" y="144"/>
                    </a:lnTo>
                    <a:lnTo>
                      <a:pt x="810" y="144"/>
                    </a:lnTo>
                    <a:lnTo>
                      <a:pt x="798" y="162"/>
                    </a:lnTo>
                    <a:lnTo>
                      <a:pt x="810" y="162"/>
                    </a:lnTo>
                    <a:lnTo>
                      <a:pt x="834" y="174"/>
                    </a:lnTo>
                    <a:lnTo>
                      <a:pt x="846" y="174"/>
                    </a:lnTo>
                    <a:lnTo>
                      <a:pt x="858" y="186"/>
                    </a:lnTo>
                    <a:lnTo>
                      <a:pt x="804" y="186"/>
                    </a:lnTo>
                    <a:lnTo>
                      <a:pt x="792" y="198"/>
                    </a:lnTo>
                    <a:lnTo>
                      <a:pt x="798" y="204"/>
                    </a:lnTo>
                    <a:lnTo>
                      <a:pt x="804" y="216"/>
                    </a:lnTo>
                    <a:lnTo>
                      <a:pt x="810" y="222"/>
                    </a:lnTo>
                    <a:lnTo>
                      <a:pt x="810" y="234"/>
                    </a:lnTo>
                    <a:lnTo>
                      <a:pt x="798" y="246"/>
                    </a:lnTo>
                    <a:lnTo>
                      <a:pt x="786" y="246"/>
                    </a:lnTo>
                    <a:lnTo>
                      <a:pt x="774" y="252"/>
                    </a:lnTo>
                    <a:lnTo>
                      <a:pt x="762" y="252"/>
                    </a:lnTo>
                    <a:lnTo>
                      <a:pt x="792" y="282"/>
                    </a:lnTo>
                    <a:lnTo>
                      <a:pt x="816" y="282"/>
                    </a:lnTo>
                    <a:lnTo>
                      <a:pt x="834" y="288"/>
                    </a:lnTo>
                    <a:lnTo>
                      <a:pt x="846" y="294"/>
                    </a:lnTo>
                    <a:lnTo>
                      <a:pt x="870" y="318"/>
                    </a:lnTo>
                    <a:lnTo>
                      <a:pt x="876" y="336"/>
                    </a:lnTo>
                    <a:lnTo>
                      <a:pt x="876" y="348"/>
                    </a:lnTo>
                    <a:lnTo>
                      <a:pt x="870" y="360"/>
                    </a:lnTo>
                    <a:lnTo>
                      <a:pt x="864" y="366"/>
                    </a:lnTo>
                    <a:lnTo>
                      <a:pt x="828" y="366"/>
                    </a:lnTo>
                    <a:lnTo>
                      <a:pt x="816" y="360"/>
                    </a:lnTo>
                    <a:lnTo>
                      <a:pt x="810" y="354"/>
                    </a:lnTo>
                    <a:lnTo>
                      <a:pt x="798" y="354"/>
                    </a:lnTo>
                    <a:lnTo>
                      <a:pt x="792" y="348"/>
                    </a:lnTo>
                    <a:lnTo>
                      <a:pt x="780" y="372"/>
                    </a:lnTo>
                    <a:lnTo>
                      <a:pt x="768" y="372"/>
                    </a:lnTo>
                    <a:lnTo>
                      <a:pt x="756" y="366"/>
                    </a:lnTo>
                    <a:lnTo>
                      <a:pt x="732" y="366"/>
                    </a:lnTo>
                    <a:lnTo>
                      <a:pt x="708" y="354"/>
                    </a:lnTo>
                    <a:lnTo>
                      <a:pt x="702" y="342"/>
                    </a:lnTo>
                    <a:lnTo>
                      <a:pt x="690" y="336"/>
                    </a:lnTo>
                    <a:lnTo>
                      <a:pt x="684" y="330"/>
                    </a:lnTo>
                    <a:lnTo>
                      <a:pt x="672" y="330"/>
                    </a:lnTo>
                    <a:lnTo>
                      <a:pt x="666" y="336"/>
                    </a:lnTo>
                    <a:lnTo>
                      <a:pt x="654" y="342"/>
                    </a:lnTo>
                    <a:lnTo>
                      <a:pt x="636" y="348"/>
                    </a:lnTo>
                    <a:lnTo>
                      <a:pt x="624" y="348"/>
                    </a:lnTo>
                    <a:lnTo>
                      <a:pt x="588" y="330"/>
                    </a:lnTo>
                    <a:lnTo>
                      <a:pt x="582" y="330"/>
                    </a:lnTo>
                    <a:lnTo>
                      <a:pt x="570" y="336"/>
                    </a:lnTo>
                    <a:lnTo>
                      <a:pt x="558" y="348"/>
                    </a:lnTo>
                    <a:lnTo>
                      <a:pt x="546" y="354"/>
                    </a:lnTo>
                    <a:lnTo>
                      <a:pt x="540" y="366"/>
                    </a:lnTo>
                    <a:lnTo>
                      <a:pt x="534" y="372"/>
                    </a:lnTo>
                    <a:lnTo>
                      <a:pt x="462" y="336"/>
                    </a:lnTo>
                    <a:lnTo>
                      <a:pt x="450" y="336"/>
                    </a:lnTo>
                    <a:lnTo>
                      <a:pt x="450" y="342"/>
                    </a:lnTo>
                    <a:lnTo>
                      <a:pt x="462" y="354"/>
                    </a:lnTo>
                    <a:lnTo>
                      <a:pt x="462" y="372"/>
                    </a:lnTo>
                    <a:lnTo>
                      <a:pt x="450" y="372"/>
                    </a:lnTo>
                    <a:lnTo>
                      <a:pt x="438" y="360"/>
                    </a:lnTo>
                    <a:lnTo>
                      <a:pt x="438" y="354"/>
                    </a:lnTo>
                    <a:lnTo>
                      <a:pt x="426" y="324"/>
                    </a:lnTo>
                    <a:lnTo>
                      <a:pt x="390" y="324"/>
                    </a:lnTo>
                    <a:lnTo>
                      <a:pt x="384" y="312"/>
                    </a:lnTo>
                    <a:lnTo>
                      <a:pt x="384" y="306"/>
                    </a:lnTo>
                    <a:lnTo>
                      <a:pt x="378" y="300"/>
                    </a:lnTo>
                    <a:lnTo>
                      <a:pt x="318" y="300"/>
                    </a:lnTo>
                    <a:lnTo>
                      <a:pt x="312" y="288"/>
                    </a:lnTo>
                    <a:lnTo>
                      <a:pt x="306" y="282"/>
                    </a:lnTo>
                    <a:lnTo>
                      <a:pt x="288" y="282"/>
                    </a:lnTo>
                    <a:lnTo>
                      <a:pt x="276" y="288"/>
                    </a:lnTo>
                    <a:lnTo>
                      <a:pt x="264" y="300"/>
                    </a:lnTo>
                    <a:lnTo>
                      <a:pt x="234" y="300"/>
                    </a:lnTo>
                    <a:lnTo>
                      <a:pt x="228" y="294"/>
                    </a:lnTo>
                    <a:lnTo>
                      <a:pt x="228" y="288"/>
                    </a:lnTo>
                    <a:lnTo>
                      <a:pt x="222" y="288"/>
                    </a:lnTo>
                    <a:lnTo>
                      <a:pt x="210" y="282"/>
                    </a:lnTo>
                    <a:lnTo>
                      <a:pt x="180" y="282"/>
                    </a:lnTo>
                    <a:lnTo>
                      <a:pt x="180" y="288"/>
                    </a:lnTo>
                    <a:lnTo>
                      <a:pt x="186" y="294"/>
                    </a:lnTo>
                    <a:lnTo>
                      <a:pt x="186" y="312"/>
                    </a:lnTo>
                    <a:lnTo>
                      <a:pt x="174" y="324"/>
                    </a:lnTo>
                    <a:lnTo>
                      <a:pt x="162" y="330"/>
                    </a:lnTo>
                    <a:lnTo>
                      <a:pt x="150" y="330"/>
                    </a:lnTo>
                    <a:lnTo>
                      <a:pt x="138" y="336"/>
                    </a:lnTo>
                    <a:lnTo>
                      <a:pt x="132" y="336"/>
                    </a:lnTo>
                    <a:lnTo>
                      <a:pt x="132" y="360"/>
                    </a:lnTo>
                    <a:lnTo>
                      <a:pt x="102" y="372"/>
                    </a:lnTo>
                    <a:lnTo>
                      <a:pt x="114" y="384"/>
                    </a:lnTo>
                    <a:lnTo>
                      <a:pt x="120" y="396"/>
                    </a:lnTo>
                    <a:lnTo>
                      <a:pt x="114" y="402"/>
                    </a:lnTo>
                    <a:lnTo>
                      <a:pt x="108" y="414"/>
                    </a:lnTo>
                    <a:lnTo>
                      <a:pt x="102" y="420"/>
                    </a:lnTo>
                    <a:lnTo>
                      <a:pt x="90" y="420"/>
                    </a:lnTo>
                    <a:lnTo>
                      <a:pt x="78" y="414"/>
                    </a:lnTo>
                    <a:lnTo>
                      <a:pt x="72" y="402"/>
                    </a:lnTo>
                    <a:lnTo>
                      <a:pt x="60" y="396"/>
                    </a:lnTo>
                    <a:lnTo>
                      <a:pt x="48" y="384"/>
                    </a:lnTo>
                    <a:lnTo>
                      <a:pt x="36" y="378"/>
                    </a:lnTo>
                    <a:lnTo>
                      <a:pt x="24" y="378"/>
                    </a:lnTo>
                    <a:lnTo>
                      <a:pt x="18" y="384"/>
                    </a:lnTo>
                    <a:lnTo>
                      <a:pt x="18" y="396"/>
                    </a:lnTo>
                    <a:lnTo>
                      <a:pt x="24" y="402"/>
                    </a:lnTo>
                    <a:lnTo>
                      <a:pt x="24" y="426"/>
                    </a:lnTo>
                    <a:lnTo>
                      <a:pt x="0" y="426"/>
                    </a:lnTo>
                    <a:lnTo>
                      <a:pt x="6" y="462"/>
                    </a:lnTo>
                    <a:lnTo>
                      <a:pt x="12" y="468"/>
                    </a:lnTo>
                    <a:lnTo>
                      <a:pt x="12" y="492"/>
                    </a:lnTo>
                    <a:lnTo>
                      <a:pt x="0" y="516"/>
                    </a:lnTo>
                    <a:lnTo>
                      <a:pt x="0" y="546"/>
                    </a:lnTo>
                    <a:lnTo>
                      <a:pt x="6" y="546"/>
                    </a:lnTo>
                    <a:lnTo>
                      <a:pt x="12" y="552"/>
                    </a:lnTo>
                    <a:lnTo>
                      <a:pt x="36" y="552"/>
                    </a:lnTo>
                    <a:lnTo>
                      <a:pt x="42" y="558"/>
                    </a:lnTo>
                    <a:lnTo>
                      <a:pt x="42" y="588"/>
                    </a:lnTo>
                    <a:lnTo>
                      <a:pt x="48" y="594"/>
                    </a:lnTo>
                    <a:lnTo>
                      <a:pt x="90" y="594"/>
                    </a:lnTo>
                    <a:lnTo>
                      <a:pt x="102" y="588"/>
                    </a:lnTo>
                    <a:lnTo>
                      <a:pt x="114" y="588"/>
                    </a:lnTo>
                    <a:lnTo>
                      <a:pt x="162" y="636"/>
                    </a:lnTo>
                    <a:lnTo>
                      <a:pt x="168" y="648"/>
                    </a:lnTo>
                    <a:lnTo>
                      <a:pt x="180" y="660"/>
                    </a:lnTo>
                    <a:lnTo>
                      <a:pt x="180" y="672"/>
                    </a:lnTo>
                    <a:lnTo>
                      <a:pt x="144" y="672"/>
                    </a:lnTo>
                    <a:lnTo>
                      <a:pt x="144" y="678"/>
                    </a:lnTo>
                    <a:lnTo>
                      <a:pt x="156" y="690"/>
                    </a:lnTo>
                    <a:lnTo>
                      <a:pt x="174" y="696"/>
                    </a:lnTo>
                    <a:lnTo>
                      <a:pt x="186" y="696"/>
                    </a:lnTo>
                    <a:lnTo>
                      <a:pt x="192" y="702"/>
                    </a:lnTo>
                    <a:lnTo>
                      <a:pt x="198" y="702"/>
                    </a:lnTo>
                    <a:lnTo>
                      <a:pt x="204" y="690"/>
                    </a:lnTo>
                    <a:lnTo>
                      <a:pt x="222" y="690"/>
                    </a:lnTo>
                    <a:lnTo>
                      <a:pt x="228" y="684"/>
                    </a:lnTo>
                    <a:lnTo>
                      <a:pt x="246" y="672"/>
                    </a:lnTo>
                    <a:lnTo>
                      <a:pt x="306" y="648"/>
                    </a:lnTo>
                    <a:lnTo>
                      <a:pt x="324" y="642"/>
                    </a:lnTo>
                    <a:lnTo>
                      <a:pt x="336" y="648"/>
                    </a:lnTo>
                    <a:lnTo>
                      <a:pt x="342" y="654"/>
                    </a:lnTo>
                    <a:lnTo>
                      <a:pt x="360" y="666"/>
                    </a:lnTo>
                    <a:lnTo>
                      <a:pt x="366" y="672"/>
                    </a:lnTo>
                    <a:lnTo>
                      <a:pt x="384" y="672"/>
                    </a:lnTo>
                    <a:lnTo>
                      <a:pt x="390" y="666"/>
                    </a:lnTo>
                    <a:lnTo>
                      <a:pt x="402" y="666"/>
                    </a:lnTo>
                    <a:lnTo>
                      <a:pt x="408" y="660"/>
                    </a:lnTo>
                    <a:lnTo>
                      <a:pt x="414" y="666"/>
                    </a:lnTo>
                    <a:lnTo>
                      <a:pt x="426" y="672"/>
                    </a:lnTo>
                    <a:lnTo>
                      <a:pt x="450" y="696"/>
                    </a:lnTo>
                    <a:lnTo>
                      <a:pt x="450" y="726"/>
                    </a:lnTo>
                    <a:lnTo>
                      <a:pt x="444" y="732"/>
                    </a:lnTo>
                    <a:lnTo>
                      <a:pt x="444" y="738"/>
                    </a:lnTo>
                    <a:lnTo>
                      <a:pt x="438" y="744"/>
                    </a:lnTo>
                    <a:lnTo>
                      <a:pt x="438" y="750"/>
                    </a:lnTo>
                    <a:lnTo>
                      <a:pt x="444" y="756"/>
                    </a:lnTo>
                    <a:lnTo>
                      <a:pt x="450" y="768"/>
                    </a:lnTo>
                    <a:lnTo>
                      <a:pt x="462" y="774"/>
                    </a:lnTo>
                    <a:lnTo>
                      <a:pt x="474" y="786"/>
                    </a:lnTo>
                    <a:lnTo>
                      <a:pt x="486" y="786"/>
                    </a:lnTo>
                    <a:lnTo>
                      <a:pt x="504" y="768"/>
                    </a:lnTo>
                    <a:lnTo>
                      <a:pt x="516" y="762"/>
                    </a:lnTo>
                    <a:lnTo>
                      <a:pt x="528" y="762"/>
                    </a:lnTo>
                    <a:lnTo>
                      <a:pt x="528" y="792"/>
                    </a:lnTo>
                    <a:lnTo>
                      <a:pt x="546" y="810"/>
                    </a:lnTo>
                    <a:lnTo>
                      <a:pt x="510" y="816"/>
                    </a:lnTo>
                    <a:lnTo>
                      <a:pt x="510" y="828"/>
                    </a:lnTo>
                    <a:lnTo>
                      <a:pt x="504" y="834"/>
                    </a:lnTo>
                    <a:lnTo>
                      <a:pt x="498" y="834"/>
                    </a:lnTo>
                    <a:lnTo>
                      <a:pt x="486" y="822"/>
                    </a:lnTo>
                    <a:lnTo>
                      <a:pt x="486" y="816"/>
                    </a:lnTo>
                    <a:lnTo>
                      <a:pt x="498" y="804"/>
                    </a:lnTo>
                    <a:lnTo>
                      <a:pt x="504" y="804"/>
                    </a:lnTo>
                    <a:lnTo>
                      <a:pt x="510" y="798"/>
                    </a:lnTo>
                    <a:lnTo>
                      <a:pt x="480" y="798"/>
                    </a:lnTo>
                    <a:lnTo>
                      <a:pt x="462" y="792"/>
                    </a:lnTo>
                    <a:lnTo>
                      <a:pt x="450" y="792"/>
                    </a:lnTo>
                    <a:lnTo>
                      <a:pt x="432" y="786"/>
                    </a:lnTo>
                    <a:lnTo>
                      <a:pt x="408" y="786"/>
                    </a:lnTo>
                    <a:lnTo>
                      <a:pt x="390" y="780"/>
                    </a:lnTo>
                    <a:lnTo>
                      <a:pt x="372" y="780"/>
                    </a:lnTo>
                    <a:lnTo>
                      <a:pt x="360" y="774"/>
                    </a:lnTo>
                    <a:lnTo>
                      <a:pt x="348" y="774"/>
                    </a:lnTo>
                    <a:lnTo>
                      <a:pt x="360" y="804"/>
                    </a:lnTo>
                    <a:lnTo>
                      <a:pt x="342" y="804"/>
                    </a:lnTo>
                    <a:lnTo>
                      <a:pt x="330" y="816"/>
                    </a:lnTo>
                    <a:lnTo>
                      <a:pt x="330" y="822"/>
                    </a:lnTo>
                    <a:lnTo>
                      <a:pt x="336" y="828"/>
                    </a:lnTo>
                    <a:lnTo>
                      <a:pt x="348" y="834"/>
                    </a:lnTo>
                    <a:lnTo>
                      <a:pt x="354" y="840"/>
                    </a:lnTo>
                    <a:lnTo>
                      <a:pt x="366" y="840"/>
                    </a:lnTo>
                    <a:lnTo>
                      <a:pt x="372" y="846"/>
                    </a:lnTo>
                    <a:lnTo>
                      <a:pt x="372" y="852"/>
                    </a:lnTo>
                    <a:lnTo>
                      <a:pt x="360" y="852"/>
                    </a:lnTo>
                    <a:lnTo>
                      <a:pt x="348" y="846"/>
                    </a:lnTo>
                    <a:lnTo>
                      <a:pt x="336" y="846"/>
                    </a:lnTo>
                    <a:lnTo>
                      <a:pt x="324" y="840"/>
                    </a:lnTo>
                    <a:lnTo>
                      <a:pt x="306" y="834"/>
                    </a:lnTo>
                    <a:lnTo>
                      <a:pt x="300" y="834"/>
                    </a:lnTo>
                    <a:lnTo>
                      <a:pt x="294" y="840"/>
                    </a:lnTo>
                    <a:lnTo>
                      <a:pt x="294" y="846"/>
                    </a:lnTo>
                    <a:lnTo>
                      <a:pt x="306" y="858"/>
                    </a:lnTo>
                    <a:lnTo>
                      <a:pt x="318" y="864"/>
                    </a:lnTo>
                    <a:lnTo>
                      <a:pt x="324" y="870"/>
                    </a:lnTo>
                    <a:lnTo>
                      <a:pt x="336" y="870"/>
                    </a:lnTo>
                    <a:lnTo>
                      <a:pt x="336" y="882"/>
                    </a:lnTo>
                    <a:lnTo>
                      <a:pt x="342" y="894"/>
                    </a:lnTo>
                    <a:lnTo>
                      <a:pt x="366" y="918"/>
                    </a:lnTo>
                    <a:lnTo>
                      <a:pt x="372" y="930"/>
                    </a:lnTo>
                    <a:lnTo>
                      <a:pt x="372" y="954"/>
                    </a:lnTo>
                    <a:lnTo>
                      <a:pt x="408" y="960"/>
                    </a:lnTo>
                    <a:lnTo>
                      <a:pt x="414" y="978"/>
                    </a:lnTo>
                    <a:lnTo>
                      <a:pt x="444" y="978"/>
                    </a:lnTo>
                    <a:lnTo>
                      <a:pt x="480" y="996"/>
                    </a:lnTo>
                    <a:lnTo>
                      <a:pt x="486" y="1002"/>
                    </a:lnTo>
                    <a:lnTo>
                      <a:pt x="486" y="1014"/>
                    </a:lnTo>
                    <a:lnTo>
                      <a:pt x="480" y="1020"/>
                    </a:lnTo>
                    <a:lnTo>
                      <a:pt x="468" y="1026"/>
                    </a:lnTo>
                    <a:lnTo>
                      <a:pt x="462" y="1038"/>
                    </a:lnTo>
                    <a:lnTo>
                      <a:pt x="462" y="1056"/>
                    </a:lnTo>
                    <a:lnTo>
                      <a:pt x="468" y="1062"/>
                    </a:lnTo>
                    <a:lnTo>
                      <a:pt x="492" y="1062"/>
                    </a:lnTo>
                    <a:lnTo>
                      <a:pt x="498" y="1056"/>
                    </a:lnTo>
                    <a:lnTo>
                      <a:pt x="504" y="1038"/>
                    </a:lnTo>
                    <a:lnTo>
                      <a:pt x="510" y="1026"/>
                    </a:lnTo>
                    <a:lnTo>
                      <a:pt x="516" y="1020"/>
                    </a:lnTo>
                    <a:lnTo>
                      <a:pt x="528" y="1020"/>
                    </a:lnTo>
                    <a:lnTo>
                      <a:pt x="546" y="1026"/>
                    </a:lnTo>
                    <a:lnTo>
                      <a:pt x="546" y="1020"/>
                    </a:lnTo>
                    <a:lnTo>
                      <a:pt x="552" y="1014"/>
                    </a:lnTo>
                    <a:lnTo>
                      <a:pt x="570" y="1014"/>
                    </a:lnTo>
                    <a:lnTo>
                      <a:pt x="594" y="1026"/>
                    </a:lnTo>
                    <a:lnTo>
                      <a:pt x="606" y="1026"/>
                    </a:lnTo>
                    <a:lnTo>
                      <a:pt x="618" y="1038"/>
                    </a:lnTo>
                    <a:lnTo>
                      <a:pt x="630" y="1044"/>
                    </a:lnTo>
                    <a:lnTo>
                      <a:pt x="636" y="1056"/>
                    </a:lnTo>
                    <a:lnTo>
                      <a:pt x="642" y="1062"/>
                    </a:lnTo>
                    <a:lnTo>
                      <a:pt x="648" y="1074"/>
                    </a:lnTo>
                    <a:lnTo>
                      <a:pt x="672" y="1098"/>
                    </a:lnTo>
                    <a:lnTo>
                      <a:pt x="684" y="1104"/>
                    </a:lnTo>
                    <a:lnTo>
                      <a:pt x="690" y="1110"/>
                    </a:lnTo>
                    <a:lnTo>
                      <a:pt x="696" y="1104"/>
                    </a:lnTo>
                    <a:lnTo>
                      <a:pt x="696" y="1098"/>
                    </a:lnTo>
                    <a:lnTo>
                      <a:pt x="702" y="1092"/>
                    </a:lnTo>
                    <a:lnTo>
                      <a:pt x="654" y="810"/>
                    </a:lnTo>
                    <a:lnTo>
                      <a:pt x="798" y="768"/>
                    </a:lnTo>
                    <a:lnTo>
                      <a:pt x="804" y="774"/>
                    </a:lnTo>
                    <a:lnTo>
                      <a:pt x="804" y="762"/>
                    </a:lnTo>
                    <a:lnTo>
                      <a:pt x="810" y="756"/>
                    </a:lnTo>
                    <a:lnTo>
                      <a:pt x="810" y="750"/>
                    </a:lnTo>
                    <a:lnTo>
                      <a:pt x="816" y="738"/>
                    </a:lnTo>
                    <a:lnTo>
                      <a:pt x="816" y="732"/>
                    </a:lnTo>
                    <a:lnTo>
                      <a:pt x="822" y="726"/>
                    </a:lnTo>
                    <a:lnTo>
                      <a:pt x="846" y="726"/>
                    </a:lnTo>
                    <a:lnTo>
                      <a:pt x="852" y="750"/>
                    </a:lnTo>
                    <a:lnTo>
                      <a:pt x="864" y="744"/>
                    </a:lnTo>
                    <a:lnTo>
                      <a:pt x="870" y="744"/>
                    </a:lnTo>
                    <a:lnTo>
                      <a:pt x="876" y="738"/>
                    </a:lnTo>
                    <a:lnTo>
                      <a:pt x="876" y="732"/>
                    </a:lnTo>
                    <a:lnTo>
                      <a:pt x="852" y="708"/>
                    </a:lnTo>
                    <a:lnTo>
                      <a:pt x="870" y="708"/>
                    </a:lnTo>
                    <a:lnTo>
                      <a:pt x="882" y="720"/>
                    </a:lnTo>
                    <a:lnTo>
                      <a:pt x="936" y="720"/>
                    </a:lnTo>
                    <a:lnTo>
                      <a:pt x="924" y="708"/>
                    </a:lnTo>
                    <a:lnTo>
                      <a:pt x="918" y="708"/>
                    </a:lnTo>
                    <a:lnTo>
                      <a:pt x="906" y="696"/>
                    </a:lnTo>
                    <a:lnTo>
                      <a:pt x="882" y="696"/>
                    </a:lnTo>
                    <a:lnTo>
                      <a:pt x="876" y="690"/>
                    </a:lnTo>
                    <a:lnTo>
                      <a:pt x="876" y="684"/>
                    </a:lnTo>
                    <a:lnTo>
                      <a:pt x="882" y="678"/>
                    </a:lnTo>
                    <a:lnTo>
                      <a:pt x="906" y="678"/>
                    </a:lnTo>
                    <a:lnTo>
                      <a:pt x="924" y="666"/>
                    </a:lnTo>
                    <a:lnTo>
                      <a:pt x="930" y="672"/>
                    </a:lnTo>
                    <a:lnTo>
                      <a:pt x="936" y="684"/>
                    </a:lnTo>
                    <a:lnTo>
                      <a:pt x="942" y="690"/>
                    </a:lnTo>
                    <a:lnTo>
                      <a:pt x="948" y="690"/>
                    </a:lnTo>
                    <a:lnTo>
                      <a:pt x="954" y="684"/>
                    </a:lnTo>
                    <a:lnTo>
                      <a:pt x="960" y="690"/>
                    </a:lnTo>
                    <a:lnTo>
                      <a:pt x="966" y="702"/>
                    </a:lnTo>
                    <a:lnTo>
                      <a:pt x="966" y="708"/>
                    </a:lnTo>
                    <a:lnTo>
                      <a:pt x="960" y="714"/>
                    </a:lnTo>
                    <a:lnTo>
                      <a:pt x="954" y="714"/>
                    </a:lnTo>
                    <a:lnTo>
                      <a:pt x="942" y="720"/>
                    </a:lnTo>
                    <a:lnTo>
                      <a:pt x="924" y="738"/>
                    </a:lnTo>
                    <a:lnTo>
                      <a:pt x="888" y="738"/>
                    </a:lnTo>
                    <a:lnTo>
                      <a:pt x="882" y="744"/>
                    </a:lnTo>
                    <a:lnTo>
                      <a:pt x="882" y="756"/>
                    </a:lnTo>
                    <a:lnTo>
                      <a:pt x="888" y="762"/>
                    </a:lnTo>
                    <a:lnTo>
                      <a:pt x="900" y="762"/>
                    </a:lnTo>
                    <a:lnTo>
                      <a:pt x="906" y="768"/>
                    </a:lnTo>
                    <a:lnTo>
                      <a:pt x="918" y="768"/>
                    </a:lnTo>
                    <a:lnTo>
                      <a:pt x="918" y="786"/>
                    </a:lnTo>
                    <a:lnTo>
                      <a:pt x="912" y="798"/>
                    </a:lnTo>
                    <a:lnTo>
                      <a:pt x="912" y="816"/>
                    </a:lnTo>
                    <a:lnTo>
                      <a:pt x="918" y="822"/>
                    </a:lnTo>
                    <a:lnTo>
                      <a:pt x="984" y="858"/>
                    </a:lnTo>
                    <a:lnTo>
                      <a:pt x="1062" y="930"/>
                    </a:lnTo>
                    <a:lnTo>
                      <a:pt x="1068" y="930"/>
                    </a:lnTo>
                    <a:lnTo>
                      <a:pt x="1074" y="924"/>
                    </a:lnTo>
                    <a:lnTo>
                      <a:pt x="1110" y="924"/>
                    </a:lnTo>
                    <a:lnTo>
                      <a:pt x="1128" y="918"/>
                    </a:lnTo>
                    <a:lnTo>
                      <a:pt x="1188" y="918"/>
                    </a:lnTo>
                    <a:lnTo>
                      <a:pt x="1206" y="924"/>
                    </a:lnTo>
                    <a:lnTo>
                      <a:pt x="1224" y="924"/>
                    </a:lnTo>
                    <a:lnTo>
                      <a:pt x="1230" y="918"/>
                    </a:lnTo>
                    <a:lnTo>
                      <a:pt x="1254" y="906"/>
                    </a:lnTo>
                    <a:lnTo>
                      <a:pt x="1266" y="906"/>
                    </a:lnTo>
                    <a:lnTo>
                      <a:pt x="1272" y="918"/>
                    </a:lnTo>
                    <a:lnTo>
                      <a:pt x="1290" y="936"/>
                    </a:lnTo>
                    <a:lnTo>
                      <a:pt x="1296" y="954"/>
                    </a:lnTo>
                    <a:lnTo>
                      <a:pt x="1308" y="960"/>
                    </a:lnTo>
                    <a:lnTo>
                      <a:pt x="1314" y="972"/>
                    </a:lnTo>
                    <a:lnTo>
                      <a:pt x="1344" y="972"/>
                    </a:lnTo>
                    <a:lnTo>
                      <a:pt x="1344" y="984"/>
                    </a:lnTo>
                    <a:lnTo>
                      <a:pt x="1350" y="1002"/>
                    </a:lnTo>
                    <a:lnTo>
                      <a:pt x="1350" y="1044"/>
                    </a:lnTo>
                    <a:lnTo>
                      <a:pt x="1356" y="1050"/>
                    </a:lnTo>
                    <a:lnTo>
                      <a:pt x="1362" y="1050"/>
                    </a:lnTo>
                    <a:lnTo>
                      <a:pt x="1368" y="1044"/>
                    </a:lnTo>
                    <a:lnTo>
                      <a:pt x="1380" y="1044"/>
                    </a:lnTo>
                    <a:lnTo>
                      <a:pt x="1386" y="1050"/>
                    </a:lnTo>
                    <a:lnTo>
                      <a:pt x="1416" y="1110"/>
                    </a:lnTo>
                    <a:lnTo>
                      <a:pt x="1494" y="1110"/>
                    </a:lnTo>
                    <a:lnTo>
                      <a:pt x="1512" y="1116"/>
                    </a:lnTo>
                    <a:lnTo>
                      <a:pt x="1512" y="1134"/>
                    </a:lnTo>
                    <a:lnTo>
                      <a:pt x="1506" y="1140"/>
                    </a:lnTo>
                    <a:lnTo>
                      <a:pt x="1506" y="1152"/>
                    </a:lnTo>
                    <a:lnTo>
                      <a:pt x="1512" y="1152"/>
                    </a:lnTo>
                    <a:lnTo>
                      <a:pt x="1524" y="1158"/>
                    </a:lnTo>
                    <a:lnTo>
                      <a:pt x="1536" y="1158"/>
                    </a:lnTo>
                    <a:lnTo>
                      <a:pt x="1542" y="1164"/>
                    </a:lnTo>
                    <a:lnTo>
                      <a:pt x="1542" y="1152"/>
                    </a:lnTo>
                    <a:lnTo>
                      <a:pt x="1536" y="1146"/>
                    </a:lnTo>
                    <a:lnTo>
                      <a:pt x="1536" y="1134"/>
                    </a:lnTo>
                    <a:lnTo>
                      <a:pt x="1548" y="1122"/>
                    </a:lnTo>
                    <a:lnTo>
                      <a:pt x="1560" y="1116"/>
                    </a:lnTo>
                    <a:lnTo>
                      <a:pt x="1566" y="1110"/>
                    </a:lnTo>
                    <a:lnTo>
                      <a:pt x="1572" y="1110"/>
                    </a:lnTo>
                    <a:lnTo>
                      <a:pt x="1572" y="1092"/>
                    </a:lnTo>
                    <a:lnTo>
                      <a:pt x="1584" y="1080"/>
                    </a:lnTo>
                    <a:lnTo>
                      <a:pt x="1596" y="1074"/>
                    </a:lnTo>
                    <a:lnTo>
                      <a:pt x="1608" y="1074"/>
                    </a:lnTo>
                    <a:lnTo>
                      <a:pt x="1614" y="1068"/>
                    </a:lnTo>
                    <a:lnTo>
                      <a:pt x="1620" y="1068"/>
                    </a:lnTo>
                    <a:lnTo>
                      <a:pt x="1632" y="1044"/>
                    </a:lnTo>
                    <a:lnTo>
                      <a:pt x="1656" y="1044"/>
                    </a:lnTo>
                    <a:lnTo>
                      <a:pt x="1686" y="1026"/>
                    </a:lnTo>
                    <a:lnTo>
                      <a:pt x="1662" y="1026"/>
                    </a:lnTo>
                    <a:lnTo>
                      <a:pt x="1662" y="1008"/>
                    </a:lnTo>
                    <a:lnTo>
                      <a:pt x="1668" y="996"/>
                    </a:lnTo>
                    <a:lnTo>
                      <a:pt x="1686" y="978"/>
                    </a:lnTo>
                    <a:lnTo>
                      <a:pt x="1716" y="978"/>
                    </a:lnTo>
                    <a:lnTo>
                      <a:pt x="1728" y="984"/>
                    </a:lnTo>
                    <a:lnTo>
                      <a:pt x="1746" y="990"/>
                    </a:lnTo>
                    <a:lnTo>
                      <a:pt x="1782" y="1008"/>
                    </a:lnTo>
                    <a:lnTo>
                      <a:pt x="1812" y="1008"/>
                    </a:lnTo>
                    <a:lnTo>
                      <a:pt x="1830" y="1014"/>
                    </a:lnTo>
                    <a:lnTo>
                      <a:pt x="1830" y="1002"/>
                    </a:lnTo>
                    <a:lnTo>
                      <a:pt x="1824" y="990"/>
                    </a:lnTo>
                    <a:lnTo>
                      <a:pt x="1824" y="960"/>
                    </a:lnTo>
                    <a:lnTo>
                      <a:pt x="1830" y="954"/>
                    </a:lnTo>
                    <a:lnTo>
                      <a:pt x="1872" y="954"/>
                    </a:lnTo>
                    <a:lnTo>
                      <a:pt x="1884" y="960"/>
                    </a:lnTo>
                    <a:lnTo>
                      <a:pt x="1890" y="972"/>
                    </a:lnTo>
                    <a:lnTo>
                      <a:pt x="1914" y="972"/>
                    </a:lnTo>
                    <a:lnTo>
                      <a:pt x="1926" y="978"/>
                    </a:lnTo>
                    <a:lnTo>
                      <a:pt x="1944" y="978"/>
                    </a:lnTo>
                    <a:lnTo>
                      <a:pt x="1962" y="972"/>
                    </a:lnTo>
                    <a:lnTo>
                      <a:pt x="2082" y="972"/>
                    </a:lnTo>
                    <a:lnTo>
                      <a:pt x="2094" y="978"/>
                    </a:lnTo>
                    <a:lnTo>
                      <a:pt x="2106" y="978"/>
                    </a:lnTo>
                    <a:lnTo>
                      <a:pt x="2154" y="972"/>
                    </a:lnTo>
                    <a:lnTo>
                      <a:pt x="2166" y="984"/>
                    </a:lnTo>
                    <a:lnTo>
                      <a:pt x="2184" y="984"/>
                    </a:lnTo>
                    <a:lnTo>
                      <a:pt x="2208" y="1014"/>
                    </a:lnTo>
                    <a:lnTo>
                      <a:pt x="2250" y="1014"/>
                    </a:lnTo>
                    <a:lnTo>
                      <a:pt x="2268" y="1020"/>
                    </a:lnTo>
                    <a:lnTo>
                      <a:pt x="2262" y="1014"/>
                    </a:lnTo>
                    <a:lnTo>
                      <a:pt x="2262" y="1002"/>
                    </a:lnTo>
                    <a:lnTo>
                      <a:pt x="2256" y="996"/>
                    </a:lnTo>
                    <a:lnTo>
                      <a:pt x="2256" y="984"/>
                    </a:lnTo>
                    <a:lnTo>
                      <a:pt x="2280" y="984"/>
                    </a:lnTo>
                    <a:lnTo>
                      <a:pt x="2262" y="966"/>
                    </a:lnTo>
                    <a:lnTo>
                      <a:pt x="2262" y="960"/>
                    </a:lnTo>
                    <a:lnTo>
                      <a:pt x="2268" y="954"/>
                    </a:lnTo>
                    <a:lnTo>
                      <a:pt x="2286" y="954"/>
                    </a:lnTo>
                    <a:lnTo>
                      <a:pt x="2286" y="942"/>
                    </a:lnTo>
                    <a:lnTo>
                      <a:pt x="2274" y="936"/>
                    </a:lnTo>
                    <a:lnTo>
                      <a:pt x="2268" y="924"/>
                    </a:lnTo>
                    <a:lnTo>
                      <a:pt x="2226" y="882"/>
                    </a:lnTo>
                    <a:lnTo>
                      <a:pt x="2214" y="858"/>
                    </a:lnTo>
                    <a:lnTo>
                      <a:pt x="2214" y="828"/>
                    </a:lnTo>
                    <a:lnTo>
                      <a:pt x="2196" y="828"/>
                    </a:lnTo>
                    <a:lnTo>
                      <a:pt x="2184" y="822"/>
                    </a:lnTo>
                    <a:lnTo>
                      <a:pt x="2178" y="816"/>
                    </a:lnTo>
                    <a:lnTo>
                      <a:pt x="2178" y="810"/>
                    </a:lnTo>
                    <a:lnTo>
                      <a:pt x="2184" y="804"/>
                    </a:lnTo>
                    <a:lnTo>
                      <a:pt x="2196" y="798"/>
                    </a:lnTo>
                    <a:lnTo>
                      <a:pt x="2208" y="798"/>
                    </a:lnTo>
                    <a:lnTo>
                      <a:pt x="2220" y="792"/>
                    </a:lnTo>
                    <a:lnTo>
                      <a:pt x="2232" y="792"/>
                    </a:lnTo>
                    <a:lnTo>
                      <a:pt x="2268" y="774"/>
                    </a:lnTo>
                    <a:lnTo>
                      <a:pt x="2280" y="774"/>
                    </a:lnTo>
                    <a:lnTo>
                      <a:pt x="2286" y="780"/>
                    </a:lnTo>
                    <a:lnTo>
                      <a:pt x="2292" y="792"/>
                    </a:lnTo>
                    <a:lnTo>
                      <a:pt x="2298" y="798"/>
                    </a:lnTo>
                    <a:lnTo>
                      <a:pt x="2316" y="786"/>
                    </a:lnTo>
                    <a:lnTo>
                      <a:pt x="2328" y="798"/>
                    </a:lnTo>
                    <a:lnTo>
                      <a:pt x="2334" y="798"/>
                    </a:lnTo>
                    <a:lnTo>
                      <a:pt x="2340" y="792"/>
                    </a:lnTo>
                    <a:lnTo>
                      <a:pt x="2340" y="780"/>
                    </a:lnTo>
                    <a:lnTo>
                      <a:pt x="2334" y="774"/>
                    </a:lnTo>
                    <a:lnTo>
                      <a:pt x="2328" y="774"/>
                    </a:lnTo>
                    <a:lnTo>
                      <a:pt x="2322" y="768"/>
                    </a:lnTo>
                    <a:lnTo>
                      <a:pt x="2316" y="768"/>
                    </a:lnTo>
                    <a:lnTo>
                      <a:pt x="2316" y="630"/>
                    </a:lnTo>
                    <a:lnTo>
                      <a:pt x="2328" y="630"/>
                    </a:lnTo>
                    <a:lnTo>
                      <a:pt x="2340" y="636"/>
                    </a:lnTo>
                    <a:lnTo>
                      <a:pt x="2352" y="636"/>
                    </a:lnTo>
                    <a:lnTo>
                      <a:pt x="2376" y="648"/>
                    </a:lnTo>
                    <a:lnTo>
                      <a:pt x="2424" y="648"/>
                    </a:lnTo>
                    <a:lnTo>
                      <a:pt x="2436" y="660"/>
                    </a:lnTo>
                    <a:lnTo>
                      <a:pt x="2454" y="642"/>
                    </a:lnTo>
                    <a:lnTo>
                      <a:pt x="2472" y="642"/>
                    </a:lnTo>
                    <a:lnTo>
                      <a:pt x="2478" y="636"/>
                    </a:lnTo>
                    <a:lnTo>
                      <a:pt x="2478" y="618"/>
                    </a:lnTo>
                    <a:lnTo>
                      <a:pt x="2466" y="594"/>
                    </a:lnTo>
                    <a:lnTo>
                      <a:pt x="2454" y="582"/>
                    </a:lnTo>
                    <a:lnTo>
                      <a:pt x="2442" y="558"/>
                    </a:lnTo>
                    <a:lnTo>
                      <a:pt x="2442" y="540"/>
                    </a:lnTo>
                    <a:lnTo>
                      <a:pt x="2454" y="528"/>
                    </a:lnTo>
                    <a:lnTo>
                      <a:pt x="2496" y="528"/>
                    </a:lnTo>
                    <a:lnTo>
                      <a:pt x="2502" y="522"/>
                    </a:lnTo>
                    <a:lnTo>
                      <a:pt x="2502" y="510"/>
                    </a:lnTo>
                    <a:lnTo>
                      <a:pt x="2484" y="492"/>
                    </a:lnTo>
                    <a:close/>
                    <a:moveTo>
                      <a:pt x="2082" y="696"/>
                    </a:moveTo>
                    <a:lnTo>
                      <a:pt x="2046" y="696"/>
                    </a:lnTo>
                    <a:lnTo>
                      <a:pt x="2046" y="702"/>
                    </a:lnTo>
                    <a:lnTo>
                      <a:pt x="2040" y="708"/>
                    </a:lnTo>
                    <a:lnTo>
                      <a:pt x="2028" y="708"/>
                    </a:lnTo>
                    <a:lnTo>
                      <a:pt x="2022" y="702"/>
                    </a:lnTo>
                    <a:lnTo>
                      <a:pt x="2010" y="696"/>
                    </a:lnTo>
                    <a:lnTo>
                      <a:pt x="1980" y="702"/>
                    </a:lnTo>
                    <a:lnTo>
                      <a:pt x="1950" y="696"/>
                    </a:lnTo>
                    <a:lnTo>
                      <a:pt x="1932" y="696"/>
                    </a:lnTo>
                    <a:lnTo>
                      <a:pt x="1908" y="690"/>
                    </a:lnTo>
                    <a:lnTo>
                      <a:pt x="1860" y="690"/>
                    </a:lnTo>
                    <a:lnTo>
                      <a:pt x="1854" y="684"/>
                    </a:lnTo>
                    <a:lnTo>
                      <a:pt x="1854" y="678"/>
                    </a:lnTo>
                    <a:lnTo>
                      <a:pt x="1836" y="696"/>
                    </a:lnTo>
                    <a:lnTo>
                      <a:pt x="1830" y="696"/>
                    </a:lnTo>
                    <a:lnTo>
                      <a:pt x="1824" y="708"/>
                    </a:lnTo>
                    <a:lnTo>
                      <a:pt x="1824" y="714"/>
                    </a:lnTo>
                    <a:lnTo>
                      <a:pt x="1818" y="726"/>
                    </a:lnTo>
                    <a:lnTo>
                      <a:pt x="1812" y="732"/>
                    </a:lnTo>
                    <a:lnTo>
                      <a:pt x="1794" y="732"/>
                    </a:lnTo>
                    <a:lnTo>
                      <a:pt x="1800" y="762"/>
                    </a:lnTo>
                    <a:lnTo>
                      <a:pt x="1788" y="768"/>
                    </a:lnTo>
                    <a:lnTo>
                      <a:pt x="1806" y="786"/>
                    </a:lnTo>
                    <a:lnTo>
                      <a:pt x="1800" y="810"/>
                    </a:lnTo>
                    <a:lnTo>
                      <a:pt x="1794" y="810"/>
                    </a:lnTo>
                    <a:lnTo>
                      <a:pt x="1788" y="798"/>
                    </a:lnTo>
                    <a:lnTo>
                      <a:pt x="1776" y="792"/>
                    </a:lnTo>
                    <a:lnTo>
                      <a:pt x="1770" y="780"/>
                    </a:lnTo>
                    <a:lnTo>
                      <a:pt x="1758" y="774"/>
                    </a:lnTo>
                    <a:lnTo>
                      <a:pt x="1752" y="762"/>
                    </a:lnTo>
                    <a:lnTo>
                      <a:pt x="1752" y="750"/>
                    </a:lnTo>
                    <a:lnTo>
                      <a:pt x="1746" y="732"/>
                    </a:lnTo>
                    <a:lnTo>
                      <a:pt x="1746" y="720"/>
                    </a:lnTo>
                    <a:lnTo>
                      <a:pt x="1764" y="702"/>
                    </a:lnTo>
                    <a:lnTo>
                      <a:pt x="1776" y="702"/>
                    </a:lnTo>
                    <a:lnTo>
                      <a:pt x="1782" y="696"/>
                    </a:lnTo>
                    <a:lnTo>
                      <a:pt x="1788" y="684"/>
                    </a:lnTo>
                    <a:lnTo>
                      <a:pt x="1788" y="678"/>
                    </a:lnTo>
                    <a:lnTo>
                      <a:pt x="1800" y="666"/>
                    </a:lnTo>
                    <a:lnTo>
                      <a:pt x="1818" y="666"/>
                    </a:lnTo>
                    <a:lnTo>
                      <a:pt x="1830" y="672"/>
                    </a:lnTo>
                    <a:lnTo>
                      <a:pt x="1848" y="672"/>
                    </a:lnTo>
                    <a:lnTo>
                      <a:pt x="1854" y="666"/>
                    </a:lnTo>
                    <a:lnTo>
                      <a:pt x="1896" y="666"/>
                    </a:lnTo>
                    <a:lnTo>
                      <a:pt x="1908" y="672"/>
                    </a:lnTo>
                    <a:lnTo>
                      <a:pt x="1914" y="678"/>
                    </a:lnTo>
                    <a:lnTo>
                      <a:pt x="1932" y="678"/>
                    </a:lnTo>
                    <a:lnTo>
                      <a:pt x="1944" y="684"/>
                    </a:lnTo>
                    <a:lnTo>
                      <a:pt x="1974" y="684"/>
                    </a:lnTo>
                    <a:lnTo>
                      <a:pt x="1986" y="672"/>
                    </a:lnTo>
                    <a:lnTo>
                      <a:pt x="2028" y="672"/>
                    </a:lnTo>
                    <a:lnTo>
                      <a:pt x="2034" y="678"/>
                    </a:lnTo>
                    <a:lnTo>
                      <a:pt x="2046" y="678"/>
                    </a:lnTo>
                    <a:lnTo>
                      <a:pt x="2052" y="672"/>
                    </a:lnTo>
                    <a:lnTo>
                      <a:pt x="2064" y="666"/>
                    </a:lnTo>
                    <a:lnTo>
                      <a:pt x="2088" y="666"/>
                    </a:lnTo>
                    <a:lnTo>
                      <a:pt x="2088" y="684"/>
                    </a:lnTo>
                    <a:lnTo>
                      <a:pt x="2082" y="690"/>
                    </a:lnTo>
                    <a:lnTo>
                      <a:pt x="2082" y="696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34" name="Jordan"/>
              <p:cNvSpPr>
                <a:spLocks/>
              </p:cNvSpPr>
              <p:nvPr/>
            </p:nvSpPr>
            <p:spPr bwMode="gray">
              <a:xfrm>
                <a:off x="5189545" y="2997203"/>
                <a:ext cx="112713" cy="136525"/>
              </a:xfrm>
              <a:custGeom>
                <a:avLst/>
                <a:gdLst>
                  <a:gd name="T0" fmla="*/ 2147483647 w 282"/>
                  <a:gd name="T1" fmla="*/ 2147483647 h 336"/>
                  <a:gd name="T2" fmla="*/ 2147483647 w 282"/>
                  <a:gd name="T3" fmla="*/ 2147483647 h 336"/>
                  <a:gd name="T4" fmla="*/ 2147483647 w 282"/>
                  <a:gd name="T5" fmla="*/ 0 h 336"/>
                  <a:gd name="T6" fmla="*/ 2147483647 w 282"/>
                  <a:gd name="T7" fmla="*/ 2147483647 h 336"/>
                  <a:gd name="T8" fmla="*/ 2147483647 w 282"/>
                  <a:gd name="T9" fmla="*/ 2147483647 h 336"/>
                  <a:gd name="T10" fmla="*/ 2147483647 w 282"/>
                  <a:gd name="T11" fmla="*/ 2147483647 h 336"/>
                  <a:gd name="T12" fmla="*/ 2147483647 w 282"/>
                  <a:gd name="T13" fmla="*/ 2147483647 h 336"/>
                  <a:gd name="T14" fmla="*/ 2147483647 w 282"/>
                  <a:gd name="T15" fmla="*/ 2147483647 h 336"/>
                  <a:gd name="T16" fmla="*/ 2147483647 w 282"/>
                  <a:gd name="T17" fmla="*/ 2147483647 h 336"/>
                  <a:gd name="T18" fmla="*/ 2147483647 w 282"/>
                  <a:gd name="T19" fmla="*/ 2147483647 h 336"/>
                  <a:gd name="T20" fmla="*/ 2147483647 w 282"/>
                  <a:gd name="T21" fmla="*/ 2147483647 h 336"/>
                  <a:gd name="T22" fmla="*/ 2147483647 w 282"/>
                  <a:gd name="T23" fmla="*/ 2147483647 h 336"/>
                  <a:gd name="T24" fmla="*/ 2147483647 w 282"/>
                  <a:gd name="T25" fmla="*/ 2147483647 h 336"/>
                  <a:gd name="T26" fmla="*/ 2147483647 w 282"/>
                  <a:gd name="T27" fmla="*/ 2147483647 h 336"/>
                  <a:gd name="T28" fmla="*/ 2147483647 w 282"/>
                  <a:gd name="T29" fmla="*/ 2147483647 h 336"/>
                  <a:gd name="T30" fmla="*/ 2147483647 w 282"/>
                  <a:gd name="T31" fmla="*/ 2147483647 h 336"/>
                  <a:gd name="T32" fmla="*/ 2147483647 w 282"/>
                  <a:gd name="T33" fmla="*/ 2147483647 h 336"/>
                  <a:gd name="T34" fmla="*/ 2147483647 w 282"/>
                  <a:gd name="T35" fmla="*/ 2147483647 h 336"/>
                  <a:gd name="T36" fmla="*/ 2147483647 w 282"/>
                  <a:gd name="T37" fmla="*/ 2147483647 h 336"/>
                  <a:gd name="T38" fmla="*/ 2147483647 w 282"/>
                  <a:gd name="T39" fmla="*/ 2147483647 h 336"/>
                  <a:gd name="T40" fmla="*/ 2147483647 w 282"/>
                  <a:gd name="T41" fmla="*/ 2147483647 h 336"/>
                  <a:gd name="T42" fmla="*/ 2147483647 w 282"/>
                  <a:gd name="T43" fmla="*/ 2147483647 h 336"/>
                  <a:gd name="T44" fmla="*/ 2147483647 w 282"/>
                  <a:gd name="T45" fmla="*/ 2147483647 h 336"/>
                  <a:gd name="T46" fmla="*/ 0 w 282"/>
                  <a:gd name="T47" fmla="*/ 2147483647 h 336"/>
                  <a:gd name="T48" fmla="*/ 0 w 282"/>
                  <a:gd name="T49" fmla="*/ 2147483647 h 336"/>
                  <a:gd name="T50" fmla="*/ 2147483647 w 282"/>
                  <a:gd name="T51" fmla="*/ 2147483647 h 336"/>
                  <a:gd name="T52" fmla="*/ 2147483647 w 282"/>
                  <a:gd name="T53" fmla="*/ 2147483647 h 336"/>
                  <a:gd name="T54" fmla="*/ 2147483647 w 282"/>
                  <a:gd name="T55" fmla="*/ 2147483647 h 336"/>
                  <a:gd name="T56" fmla="*/ 2147483647 w 282"/>
                  <a:gd name="T57" fmla="*/ 2147483647 h 336"/>
                  <a:gd name="T58" fmla="*/ 2147483647 w 282"/>
                  <a:gd name="T59" fmla="*/ 2147483647 h 336"/>
                  <a:gd name="T60" fmla="*/ 2147483647 w 282"/>
                  <a:gd name="T61" fmla="*/ 2147483647 h 336"/>
                  <a:gd name="T62" fmla="*/ 2147483647 w 282"/>
                  <a:gd name="T63" fmla="*/ 2147483647 h 336"/>
                  <a:gd name="T64" fmla="*/ 2147483647 w 282"/>
                  <a:gd name="T65" fmla="*/ 2147483647 h 336"/>
                  <a:gd name="T66" fmla="*/ 2147483647 w 282"/>
                  <a:gd name="T67" fmla="*/ 2147483647 h 336"/>
                  <a:gd name="T68" fmla="*/ 2147483647 w 282"/>
                  <a:gd name="T69" fmla="*/ 2147483647 h 336"/>
                  <a:gd name="T70" fmla="*/ 2147483647 w 282"/>
                  <a:gd name="T71" fmla="*/ 2147483647 h 336"/>
                  <a:gd name="T72" fmla="*/ 2147483647 w 282"/>
                  <a:gd name="T73" fmla="*/ 2147483647 h 336"/>
                  <a:gd name="T74" fmla="*/ 2147483647 w 282"/>
                  <a:gd name="T75" fmla="*/ 2147483647 h 336"/>
                  <a:gd name="T76" fmla="*/ 2147483647 w 282"/>
                  <a:gd name="T77" fmla="*/ 2147483647 h 336"/>
                  <a:gd name="T78" fmla="*/ 2147483647 w 282"/>
                  <a:gd name="T79" fmla="*/ 2147483647 h 336"/>
                  <a:gd name="T80" fmla="*/ 2147483647 w 282"/>
                  <a:gd name="T81" fmla="*/ 2147483647 h 336"/>
                  <a:gd name="T82" fmla="*/ 2147483647 w 282"/>
                  <a:gd name="T83" fmla="*/ 2147483647 h 336"/>
                  <a:gd name="T84" fmla="*/ 2147483647 w 282"/>
                  <a:gd name="T85" fmla="*/ 2147483647 h 336"/>
                  <a:gd name="T86" fmla="*/ 2147483647 w 282"/>
                  <a:gd name="T87" fmla="*/ 2147483647 h 336"/>
                  <a:gd name="T88" fmla="*/ 2147483647 w 282"/>
                  <a:gd name="T89" fmla="*/ 2147483647 h 336"/>
                  <a:gd name="T90" fmla="*/ 2147483647 w 282"/>
                  <a:gd name="T91" fmla="*/ 2147483647 h 336"/>
                  <a:gd name="T92" fmla="*/ 2147483647 w 282"/>
                  <a:gd name="T93" fmla="*/ 2147483647 h 336"/>
                  <a:gd name="T94" fmla="*/ 2147483647 w 282"/>
                  <a:gd name="T95" fmla="*/ 2147483647 h 336"/>
                  <a:gd name="T96" fmla="*/ 2147483647 w 282"/>
                  <a:gd name="T97" fmla="*/ 2147483647 h 336"/>
                  <a:gd name="T98" fmla="*/ 2147483647 w 282"/>
                  <a:gd name="T99" fmla="*/ 2147483647 h 336"/>
                  <a:gd name="T100" fmla="*/ 2147483647 w 282"/>
                  <a:gd name="T101" fmla="*/ 2147483647 h 336"/>
                  <a:gd name="T102" fmla="*/ 2147483647 w 282"/>
                  <a:gd name="T103" fmla="*/ 2147483647 h 336"/>
                  <a:gd name="T104" fmla="*/ 2147483647 w 282"/>
                  <a:gd name="T105" fmla="*/ 2147483647 h 336"/>
                  <a:gd name="T106" fmla="*/ 2147483647 w 282"/>
                  <a:gd name="T107" fmla="*/ 2147483647 h 336"/>
                  <a:gd name="T108" fmla="*/ 2147483647 w 282"/>
                  <a:gd name="T109" fmla="*/ 2147483647 h 336"/>
                  <a:gd name="T110" fmla="*/ 2147483647 w 282"/>
                  <a:gd name="T111" fmla="*/ 2147483647 h 336"/>
                  <a:gd name="T112" fmla="*/ 2147483647 w 282"/>
                  <a:gd name="T113" fmla="*/ 2147483647 h 336"/>
                  <a:gd name="T114" fmla="*/ 2147483647 w 282"/>
                  <a:gd name="T115" fmla="*/ 2147483647 h 336"/>
                  <a:gd name="T116" fmla="*/ 2147483647 w 282"/>
                  <a:gd name="T117" fmla="*/ 2147483647 h 336"/>
                  <a:gd name="T118" fmla="*/ 2147483647 w 282"/>
                  <a:gd name="T119" fmla="*/ 2147483647 h 336"/>
                  <a:gd name="T120" fmla="*/ 2147483647 w 282"/>
                  <a:gd name="T121" fmla="*/ 2147483647 h 336"/>
                  <a:gd name="T122" fmla="*/ 2147483647 w 282"/>
                  <a:gd name="T123" fmla="*/ 2147483647 h 3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82"/>
                  <a:gd name="T187" fmla="*/ 0 h 336"/>
                  <a:gd name="T188" fmla="*/ 282 w 282"/>
                  <a:gd name="T189" fmla="*/ 336 h 3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82" h="336">
                    <a:moveTo>
                      <a:pt x="258" y="60"/>
                    </a:moveTo>
                    <a:lnTo>
                      <a:pt x="258" y="42"/>
                    </a:lnTo>
                    <a:lnTo>
                      <a:pt x="234" y="0"/>
                    </a:lnTo>
                    <a:lnTo>
                      <a:pt x="222" y="6"/>
                    </a:lnTo>
                    <a:lnTo>
                      <a:pt x="198" y="30"/>
                    </a:lnTo>
                    <a:lnTo>
                      <a:pt x="138" y="78"/>
                    </a:lnTo>
                    <a:lnTo>
                      <a:pt x="114" y="84"/>
                    </a:lnTo>
                    <a:lnTo>
                      <a:pt x="96" y="84"/>
                    </a:lnTo>
                    <a:lnTo>
                      <a:pt x="84" y="78"/>
                    </a:lnTo>
                    <a:lnTo>
                      <a:pt x="72" y="66"/>
                    </a:lnTo>
                    <a:lnTo>
                      <a:pt x="36" y="48"/>
                    </a:lnTo>
                    <a:lnTo>
                      <a:pt x="30" y="48"/>
                    </a:lnTo>
                    <a:lnTo>
                      <a:pt x="24" y="66"/>
                    </a:lnTo>
                    <a:lnTo>
                      <a:pt x="30" y="138"/>
                    </a:lnTo>
                    <a:lnTo>
                      <a:pt x="18" y="150"/>
                    </a:lnTo>
                    <a:lnTo>
                      <a:pt x="18" y="162"/>
                    </a:lnTo>
                    <a:lnTo>
                      <a:pt x="30" y="174"/>
                    </a:lnTo>
                    <a:lnTo>
                      <a:pt x="30" y="186"/>
                    </a:lnTo>
                    <a:lnTo>
                      <a:pt x="24" y="198"/>
                    </a:lnTo>
                    <a:lnTo>
                      <a:pt x="18" y="204"/>
                    </a:lnTo>
                    <a:lnTo>
                      <a:pt x="12" y="216"/>
                    </a:lnTo>
                    <a:lnTo>
                      <a:pt x="6" y="222"/>
                    </a:lnTo>
                    <a:lnTo>
                      <a:pt x="6" y="282"/>
                    </a:lnTo>
                    <a:lnTo>
                      <a:pt x="0" y="294"/>
                    </a:lnTo>
                    <a:lnTo>
                      <a:pt x="0" y="312"/>
                    </a:lnTo>
                    <a:lnTo>
                      <a:pt x="6" y="324"/>
                    </a:lnTo>
                    <a:lnTo>
                      <a:pt x="24" y="324"/>
                    </a:lnTo>
                    <a:lnTo>
                      <a:pt x="48" y="336"/>
                    </a:lnTo>
                    <a:lnTo>
                      <a:pt x="84" y="336"/>
                    </a:lnTo>
                    <a:lnTo>
                      <a:pt x="96" y="324"/>
                    </a:lnTo>
                    <a:lnTo>
                      <a:pt x="108" y="300"/>
                    </a:lnTo>
                    <a:lnTo>
                      <a:pt x="108" y="288"/>
                    </a:lnTo>
                    <a:lnTo>
                      <a:pt x="120" y="276"/>
                    </a:lnTo>
                    <a:lnTo>
                      <a:pt x="126" y="276"/>
                    </a:lnTo>
                    <a:lnTo>
                      <a:pt x="138" y="270"/>
                    </a:lnTo>
                    <a:lnTo>
                      <a:pt x="150" y="270"/>
                    </a:lnTo>
                    <a:lnTo>
                      <a:pt x="162" y="264"/>
                    </a:lnTo>
                    <a:lnTo>
                      <a:pt x="168" y="258"/>
                    </a:lnTo>
                    <a:lnTo>
                      <a:pt x="174" y="246"/>
                    </a:lnTo>
                    <a:lnTo>
                      <a:pt x="180" y="240"/>
                    </a:lnTo>
                    <a:lnTo>
                      <a:pt x="180" y="228"/>
                    </a:lnTo>
                    <a:lnTo>
                      <a:pt x="186" y="222"/>
                    </a:lnTo>
                    <a:lnTo>
                      <a:pt x="186" y="210"/>
                    </a:lnTo>
                    <a:lnTo>
                      <a:pt x="180" y="204"/>
                    </a:lnTo>
                    <a:lnTo>
                      <a:pt x="168" y="180"/>
                    </a:lnTo>
                    <a:lnTo>
                      <a:pt x="144" y="156"/>
                    </a:lnTo>
                    <a:lnTo>
                      <a:pt x="132" y="156"/>
                    </a:lnTo>
                    <a:lnTo>
                      <a:pt x="120" y="150"/>
                    </a:lnTo>
                    <a:lnTo>
                      <a:pt x="96" y="150"/>
                    </a:lnTo>
                    <a:lnTo>
                      <a:pt x="96" y="144"/>
                    </a:lnTo>
                    <a:lnTo>
                      <a:pt x="108" y="144"/>
                    </a:lnTo>
                    <a:lnTo>
                      <a:pt x="120" y="138"/>
                    </a:lnTo>
                    <a:lnTo>
                      <a:pt x="186" y="138"/>
                    </a:lnTo>
                    <a:lnTo>
                      <a:pt x="198" y="114"/>
                    </a:lnTo>
                    <a:lnTo>
                      <a:pt x="240" y="114"/>
                    </a:lnTo>
                    <a:lnTo>
                      <a:pt x="252" y="108"/>
                    </a:lnTo>
                    <a:lnTo>
                      <a:pt x="258" y="102"/>
                    </a:lnTo>
                    <a:lnTo>
                      <a:pt x="264" y="102"/>
                    </a:lnTo>
                    <a:lnTo>
                      <a:pt x="276" y="96"/>
                    </a:lnTo>
                    <a:lnTo>
                      <a:pt x="282" y="90"/>
                    </a:lnTo>
                    <a:lnTo>
                      <a:pt x="282" y="78"/>
                    </a:lnTo>
                    <a:lnTo>
                      <a:pt x="258" y="6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35" name="Israel"/>
              <p:cNvSpPr>
                <a:spLocks/>
              </p:cNvSpPr>
              <p:nvPr/>
            </p:nvSpPr>
            <p:spPr bwMode="gray">
              <a:xfrm>
                <a:off x="5165734" y="2992442"/>
                <a:ext cx="41275" cy="130175"/>
              </a:xfrm>
              <a:custGeom>
                <a:avLst/>
                <a:gdLst>
                  <a:gd name="T0" fmla="*/ 0 w 102"/>
                  <a:gd name="T1" fmla="*/ 2147483647 h 324"/>
                  <a:gd name="T2" fmla="*/ 2147483647 w 102"/>
                  <a:gd name="T3" fmla="*/ 2147483647 h 324"/>
                  <a:gd name="T4" fmla="*/ 2147483647 w 102"/>
                  <a:gd name="T5" fmla="*/ 2147483647 h 324"/>
                  <a:gd name="T6" fmla="*/ 2147483647 w 102"/>
                  <a:gd name="T7" fmla="*/ 2147483647 h 324"/>
                  <a:gd name="T8" fmla="*/ 2147483647 w 102"/>
                  <a:gd name="T9" fmla="*/ 2147483647 h 324"/>
                  <a:gd name="T10" fmla="*/ 2147483647 w 102"/>
                  <a:gd name="T11" fmla="*/ 2147483647 h 324"/>
                  <a:gd name="T12" fmla="*/ 2147483647 w 102"/>
                  <a:gd name="T13" fmla="*/ 2147483647 h 324"/>
                  <a:gd name="T14" fmla="*/ 2147483647 w 102"/>
                  <a:gd name="T15" fmla="*/ 2147483647 h 324"/>
                  <a:gd name="T16" fmla="*/ 2147483647 w 102"/>
                  <a:gd name="T17" fmla="*/ 2147483647 h 324"/>
                  <a:gd name="T18" fmla="*/ 2147483647 w 102"/>
                  <a:gd name="T19" fmla="*/ 2147483647 h 324"/>
                  <a:gd name="T20" fmla="*/ 2147483647 w 102"/>
                  <a:gd name="T21" fmla="*/ 2147483647 h 324"/>
                  <a:gd name="T22" fmla="*/ 2147483647 w 102"/>
                  <a:gd name="T23" fmla="*/ 2147483647 h 324"/>
                  <a:gd name="T24" fmla="*/ 2147483647 w 102"/>
                  <a:gd name="T25" fmla="*/ 2147483647 h 324"/>
                  <a:gd name="T26" fmla="*/ 2147483647 w 102"/>
                  <a:gd name="T27" fmla="*/ 2147483647 h 324"/>
                  <a:gd name="T28" fmla="*/ 2147483647 w 102"/>
                  <a:gd name="T29" fmla="*/ 2147483647 h 324"/>
                  <a:gd name="T30" fmla="*/ 2147483647 w 102"/>
                  <a:gd name="T31" fmla="*/ 2147483647 h 324"/>
                  <a:gd name="T32" fmla="*/ 2147483647 w 102"/>
                  <a:gd name="T33" fmla="*/ 2147483647 h 324"/>
                  <a:gd name="T34" fmla="*/ 2147483647 w 102"/>
                  <a:gd name="T35" fmla="*/ 2147483647 h 324"/>
                  <a:gd name="T36" fmla="*/ 2147483647 w 102"/>
                  <a:gd name="T37" fmla="*/ 2147483647 h 324"/>
                  <a:gd name="T38" fmla="*/ 2147483647 w 102"/>
                  <a:gd name="T39" fmla="*/ 2147483647 h 324"/>
                  <a:gd name="T40" fmla="*/ 2147483647 w 102"/>
                  <a:gd name="T41" fmla="*/ 2147483647 h 324"/>
                  <a:gd name="T42" fmla="*/ 2147483647 w 102"/>
                  <a:gd name="T43" fmla="*/ 2147483647 h 324"/>
                  <a:gd name="T44" fmla="*/ 2147483647 w 102"/>
                  <a:gd name="T45" fmla="*/ 2147483647 h 324"/>
                  <a:gd name="T46" fmla="*/ 2147483647 w 102"/>
                  <a:gd name="T47" fmla="*/ 2147483647 h 324"/>
                  <a:gd name="T48" fmla="*/ 2147483647 w 102"/>
                  <a:gd name="T49" fmla="*/ 0 h 324"/>
                  <a:gd name="T50" fmla="*/ 2147483647 w 102"/>
                  <a:gd name="T51" fmla="*/ 2147483647 h 324"/>
                  <a:gd name="T52" fmla="*/ 2147483647 w 102"/>
                  <a:gd name="T53" fmla="*/ 2147483647 h 324"/>
                  <a:gd name="T54" fmla="*/ 2147483647 w 102"/>
                  <a:gd name="T55" fmla="*/ 2147483647 h 324"/>
                  <a:gd name="T56" fmla="*/ 2147483647 w 102"/>
                  <a:gd name="T57" fmla="*/ 2147483647 h 324"/>
                  <a:gd name="T58" fmla="*/ 2147483647 w 102"/>
                  <a:gd name="T59" fmla="*/ 2147483647 h 324"/>
                  <a:gd name="T60" fmla="*/ 2147483647 w 102"/>
                  <a:gd name="T61" fmla="*/ 2147483647 h 324"/>
                  <a:gd name="T62" fmla="*/ 2147483647 w 102"/>
                  <a:gd name="T63" fmla="*/ 2147483647 h 324"/>
                  <a:gd name="T64" fmla="*/ 2147483647 w 102"/>
                  <a:gd name="T65" fmla="*/ 2147483647 h 324"/>
                  <a:gd name="T66" fmla="*/ 2147483647 w 102"/>
                  <a:gd name="T67" fmla="*/ 2147483647 h 324"/>
                  <a:gd name="T68" fmla="*/ 2147483647 w 102"/>
                  <a:gd name="T69" fmla="*/ 2147483647 h 324"/>
                  <a:gd name="T70" fmla="*/ 2147483647 w 102"/>
                  <a:gd name="T71" fmla="*/ 2147483647 h 324"/>
                  <a:gd name="T72" fmla="*/ 2147483647 w 102"/>
                  <a:gd name="T73" fmla="*/ 2147483647 h 324"/>
                  <a:gd name="T74" fmla="*/ 2147483647 w 102"/>
                  <a:gd name="T75" fmla="*/ 2147483647 h 324"/>
                  <a:gd name="T76" fmla="*/ 2147483647 w 102"/>
                  <a:gd name="T77" fmla="*/ 2147483647 h 324"/>
                  <a:gd name="T78" fmla="*/ 0 w 102"/>
                  <a:gd name="T79" fmla="*/ 2147483647 h 324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02"/>
                  <a:gd name="T121" fmla="*/ 0 h 324"/>
                  <a:gd name="T122" fmla="*/ 102 w 102"/>
                  <a:gd name="T123" fmla="*/ 324 h 324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02" h="324">
                    <a:moveTo>
                      <a:pt x="0" y="168"/>
                    </a:moveTo>
                    <a:lnTo>
                      <a:pt x="54" y="312"/>
                    </a:lnTo>
                    <a:lnTo>
                      <a:pt x="60" y="324"/>
                    </a:lnTo>
                    <a:lnTo>
                      <a:pt x="60" y="306"/>
                    </a:lnTo>
                    <a:lnTo>
                      <a:pt x="66" y="294"/>
                    </a:lnTo>
                    <a:lnTo>
                      <a:pt x="66" y="234"/>
                    </a:lnTo>
                    <a:lnTo>
                      <a:pt x="72" y="228"/>
                    </a:lnTo>
                    <a:lnTo>
                      <a:pt x="78" y="216"/>
                    </a:lnTo>
                    <a:lnTo>
                      <a:pt x="84" y="210"/>
                    </a:lnTo>
                    <a:lnTo>
                      <a:pt x="90" y="198"/>
                    </a:lnTo>
                    <a:lnTo>
                      <a:pt x="90" y="186"/>
                    </a:lnTo>
                    <a:lnTo>
                      <a:pt x="78" y="174"/>
                    </a:lnTo>
                    <a:lnTo>
                      <a:pt x="78" y="162"/>
                    </a:lnTo>
                    <a:lnTo>
                      <a:pt x="72" y="156"/>
                    </a:lnTo>
                    <a:lnTo>
                      <a:pt x="66" y="162"/>
                    </a:lnTo>
                    <a:lnTo>
                      <a:pt x="66" y="168"/>
                    </a:lnTo>
                    <a:lnTo>
                      <a:pt x="60" y="168"/>
                    </a:lnTo>
                    <a:lnTo>
                      <a:pt x="54" y="174"/>
                    </a:lnTo>
                    <a:lnTo>
                      <a:pt x="48" y="168"/>
                    </a:lnTo>
                    <a:lnTo>
                      <a:pt x="48" y="96"/>
                    </a:lnTo>
                    <a:lnTo>
                      <a:pt x="66" y="78"/>
                    </a:lnTo>
                    <a:lnTo>
                      <a:pt x="84" y="78"/>
                    </a:lnTo>
                    <a:lnTo>
                      <a:pt x="90" y="60"/>
                    </a:lnTo>
                    <a:lnTo>
                      <a:pt x="84" y="18"/>
                    </a:lnTo>
                    <a:lnTo>
                      <a:pt x="102" y="0"/>
                    </a:lnTo>
                    <a:lnTo>
                      <a:pt x="78" y="6"/>
                    </a:lnTo>
                    <a:lnTo>
                      <a:pt x="78" y="18"/>
                    </a:lnTo>
                    <a:lnTo>
                      <a:pt x="72" y="30"/>
                    </a:lnTo>
                    <a:lnTo>
                      <a:pt x="66" y="36"/>
                    </a:lnTo>
                    <a:lnTo>
                      <a:pt x="60" y="36"/>
                    </a:lnTo>
                    <a:lnTo>
                      <a:pt x="54" y="30"/>
                    </a:lnTo>
                    <a:lnTo>
                      <a:pt x="42" y="54"/>
                    </a:lnTo>
                    <a:lnTo>
                      <a:pt x="30" y="60"/>
                    </a:lnTo>
                    <a:lnTo>
                      <a:pt x="36" y="72"/>
                    </a:lnTo>
                    <a:lnTo>
                      <a:pt x="36" y="84"/>
                    </a:lnTo>
                    <a:lnTo>
                      <a:pt x="42" y="90"/>
                    </a:lnTo>
                    <a:lnTo>
                      <a:pt x="42" y="96"/>
                    </a:lnTo>
                    <a:lnTo>
                      <a:pt x="18" y="138"/>
                    </a:lnTo>
                    <a:lnTo>
                      <a:pt x="18" y="156"/>
                    </a:lnTo>
                    <a:lnTo>
                      <a:pt x="0" y="168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36" name="Iraq"/>
              <p:cNvSpPr>
                <a:spLocks/>
              </p:cNvSpPr>
              <p:nvPr/>
            </p:nvSpPr>
            <p:spPr bwMode="gray">
              <a:xfrm>
                <a:off x="5284795" y="2867027"/>
                <a:ext cx="274638" cy="266700"/>
              </a:xfrm>
              <a:custGeom>
                <a:avLst/>
                <a:gdLst>
                  <a:gd name="T0" fmla="*/ 2147483647 w 684"/>
                  <a:gd name="T1" fmla="*/ 2147483647 h 660"/>
                  <a:gd name="T2" fmla="*/ 2147483647 w 684"/>
                  <a:gd name="T3" fmla="*/ 2147483647 h 660"/>
                  <a:gd name="T4" fmla="*/ 2147483647 w 684"/>
                  <a:gd name="T5" fmla="*/ 2147483647 h 660"/>
                  <a:gd name="T6" fmla="*/ 2147483647 w 684"/>
                  <a:gd name="T7" fmla="*/ 2147483647 h 660"/>
                  <a:gd name="T8" fmla="*/ 2147483647 w 684"/>
                  <a:gd name="T9" fmla="*/ 2147483647 h 660"/>
                  <a:gd name="T10" fmla="*/ 2147483647 w 684"/>
                  <a:gd name="T11" fmla="*/ 2147483647 h 660"/>
                  <a:gd name="T12" fmla="*/ 2147483647 w 684"/>
                  <a:gd name="T13" fmla="*/ 2147483647 h 660"/>
                  <a:gd name="T14" fmla="*/ 2147483647 w 684"/>
                  <a:gd name="T15" fmla="*/ 2147483647 h 660"/>
                  <a:gd name="T16" fmla="*/ 2147483647 w 684"/>
                  <a:gd name="T17" fmla="*/ 2147483647 h 660"/>
                  <a:gd name="T18" fmla="*/ 2147483647 w 684"/>
                  <a:gd name="T19" fmla="*/ 2147483647 h 660"/>
                  <a:gd name="T20" fmla="*/ 2147483647 w 684"/>
                  <a:gd name="T21" fmla="*/ 2147483647 h 660"/>
                  <a:gd name="T22" fmla="*/ 2147483647 w 684"/>
                  <a:gd name="T23" fmla="*/ 2147483647 h 660"/>
                  <a:gd name="T24" fmla="*/ 2147483647 w 684"/>
                  <a:gd name="T25" fmla="*/ 2147483647 h 660"/>
                  <a:gd name="T26" fmla="*/ 2147483647 w 684"/>
                  <a:gd name="T27" fmla="*/ 2147483647 h 660"/>
                  <a:gd name="T28" fmla="*/ 2147483647 w 684"/>
                  <a:gd name="T29" fmla="*/ 2147483647 h 660"/>
                  <a:gd name="T30" fmla="*/ 2147483647 w 684"/>
                  <a:gd name="T31" fmla="*/ 2147483647 h 660"/>
                  <a:gd name="T32" fmla="*/ 2147483647 w 684"/>
                  <a:gd name="T33" fmla="*/ 2147483647 h 660"/>
                  <a:gd name="T34" fmla="*/ 2147483647 w 684"/>
                  <a:gd name="T35" fmla="*/ 2147483647 h 660"/>
                  <a:gd name="T36" fmla="*/ 2147483647 w 684"/>
                  <a:gd name="T37" fmla="*/ 2147483647 h 660"/>
                  <a:gd name="T38" fmla="*/ 2147483647 w 684"/>
                  <a:gd name="T39" fmla="*/ 2147483647 h 660"/>
                  <a:gd name="T40" fmla="*/ 2147483647 w 684"/>
                  <a:gd name="T41" fmla="*/ 2147483647 h 660"/>
                  <a:gd name="T42" fmla="*/ 2147483647 w 684"/>
                  <a:gd name="T43" fmla="*/ 2147483647 h 660"/>
                  <a:gd name="T44" fmla="*/ 2147483647 w 684"/>
                  <a:gd name="T45" fmla="*/ 2147483647 h 660"/>
                  <a:gd name="T46" fmla="*/ 2147483647 w 684"/>
                  <a:gd name="T47" fmla="*/ 2147483647 h 660"/>
                  <a:gd name="T48" fmla="*/ 2147483647 w 684"/>
                  <a:gd name="T49" fmla="*/ 2147483647 h 660"/>
                  <a:gd name="T50" fmla="*/ 2147483647 w 684"/>
                  <a:gd name="T51" fmla="*/ 2147483647 h 660"/>
                  <a:gd name="T52" fmla="*/ 2147483647 w 684"/>
                  <a:gd name="T53" fmla="*/ 0 h 660"/>
                  <a:gd name="T54" fmla="*/ 2147483647 w 684"/>
                  <a:gd name="T55" fmla="*/ 2147483647 h 660"/>
                  <a:gd name="T56" fmla="*/ 2147483647 w 684"/>
                  <a:gd name="T57" fmla="*/ 2147483647 h 660"/>
                  <a:gd name="T58" fmla="*/ 2147483647 w 684"/>
                  <a:gd name="T59" fmla="*/ 0 h 660"/>
                  <a:gd name="T60" fmla="*/ 2147483647 w 684"/>
                  <a:gd name="T61" fmla="*/ 2147483647 h 660"/>
                  <a:gd name="T62" fmla="*/ 2147483647 w 684"/>
                  <a:gd name="T63" fmla="*/ 2147483647 h 660"/>
                  <a:gd name="T64" fmla="*/ 2147483647 w 684"/>
                  <a:gd name="T65" fmla="*/ 2147483647 h 660"/>
                  <a:gd name="T66" fmla="*/ 2147483647 w 684"/>
                  <a:gd name="T67" fmla="*/ 2147483647 h 660"/>
                  <a:gd name="T68" fmla="*/ 2147483647 w 684"/>
                  <a:gd name="T69" fmla="*/ 2147483647 h 660"/>
                  <a:gd name="T70" fmla="*/ 2147483647 w 684"/>
                  <a:gd name="T71" fmla="*/ 2147483647 h 660"/>
                  <a:gd name="T72" fmla="*/ 2147483647 w 684"/>
                  <a:gd name="T73" fmla="*/ 2147483647 h 660"/>
                  <a:gd name="T74" fmla="*/ 2147483647 w 684"/>
                  <a:gd name="T75" fmla="*/ 2147483647 h 660"/>
                  <a:gd name="T76" fmla="*/ 2147483647 w 684"/>
                  <a:gd name="T77" fmla="*/ 2147483647 h 660"/>
                  <a:gd name="T78" fmla="*/ 2147483647 w 684"/>
                  <a:gd name="T79" fmla="*/ 2147483647 h 660"/>
                  <a:gd name="T80" fmla="*/ 2147483647 w 684"/>
                  <a:gd name="T81" fmla="*/ 2147483647 h 660"/>
                  <a:gd name="T82" fmla="*/ 2147483647 w 684"/>
                  <a:gd name="T83" fmla="*/ 2147483647 h 660"/>
                  <a:gd name="T84" fmla="*/ 2147483647 w 684"/>
                  <a:gd name="T85" fmla="*/ 2147483647 h 660"/>
                  <a:gd name="T86" fmla="*/ 0 w 684"/>
                  <a:gd name="T87" fmla="*/ 2147483647 h 660"/>
                  <a:gd name="T88" fmla="*/ 2147483647 w 684"/>
                  <a:gd name="T89" fmla="*/ 2147483647 h 660"/>
                  <a:gd name="T90" fmla="*/ 2147483647 w 684"/>
                  <a:gd name="T91" fmla="*/ 2147483647 h 660"/>
                  <a:gd name="T92" fmla="*/ 2147483647 w 684"/>
                  <a:gd name="T93" fmla="*/ 2147483647 h 660"/>
                  <a:gd name="T94" fmla="*/ 2147483647 w 684"/>
                  <a:gd name="T95" fmla="*/ 2147483647 h 660"/>
                  <a:gd name="T96" fmla="*/ 2147483647 w 684"/>
                  <a:gd name="T97" fmla="*/ 2147483647 h 660"/>
                  <a:gd name="T98" fmla="*/ 2147483647 w 684"/>
                  <a:gd name="T99" fmla="*/ 2147483647 h 660"/>
                  <a:gd name="T100" fmla="*/ 2147483647 w 684"/>
                  <a:gd name="T101" fmla="*/ 2147483647 h 660"/>
                  <a:gd name="T102" fmla="*/ 2147483647 w 684"/>
                  <a:gd name="T103" fmla="*/ 2147483647 h 660"/>
                  <a:gd name="T104" fmla="*/ 2147483647 w 684"/>
                  <a:gd name="T105" fmla="*/ 2147483647 h 660"/>
                  <a:gd name="T106" fmla="*/ 2147483647 w 684"/>
                  <a:gd name="T107" fmla="*/ 2147483647 h 660"/>
                  <a:gd name="T108" fmla="*/ 2147483647 w 684"/>
                  <a:gd name="T109" fmla="*/ 2147483647 h 660"/>
                  <a:gd name="T110" fmla="*/ 2147483647 w 684"/>
                  <a:gd name="T111" fmla="*/ 2147483647 h 660"/>
                  <a:gd name="T112" fmla="*/ 2147483647 w 684"/>
                  <a:gd name="T113" fmla="*/ 2147483647 h 660"/>
                  <a:gd name="T114" fmla="*/ 2147483647 w 684"/>
                  <a:gd name="T115" fmla="*/ 2147483647 h 66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684"/>
                  <a:gd name="T175" fmla="*/ 0 h 660"/>
                  <a:gd name="T176" fmla="*/ 684 w 684"/>
                  <a:gd name="T177" fmla="*/ 660 h 66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684" h="660">
                    <a:moveTo>
                      <a:pt x="678" y="564"/>
                    </a:moveTo>
                    <a:lnTo>
                      <a:pt x="666" y="552"/>
                    </a:lnTo>
                    <a:lnTo>
                      <a:pt x="654" y="546"/>
                    </a:lnTo>
                    <a:lnTo>
                      <a:pt x="648" y="516"/>
                    </a:lnTo>
                    <a:lnTo>
                      <a:pt x="642" y="516"/>
                    </a:lnTo>
                    <a:lnTo>
                      <a:pt x="636" y="510"/>
                    </a:lnTo>
                    <a:lnTo>
                      <a:pt x="624" y="504"/>
                    </a:lnTo>
                    <a:lnTo>
                      <a:pt x="618" y="498"/>
                    </a:lnTo>
                    <a:lnTo>
                      <a:pt x="618" y="462"/>
                    </a:lnTo>
                    <a:lnTo>
                      <a:pt x="624" y="450"/>
                    </a:lnTo>
                    <a:lnTo>
                      <a:pt x="624" y="438"/>
                    </a:lnTo>
                    <a:lnTo>
                      <a:pt x="594" y="402"/>
                    </a:lnTo>
                    <a:lnTo>
                      <a:pt x="588" y="390"/>
                    </a:lnTo>
                    <a:lnTo>
                      <a:pt x="582" y="384"/>
                    </a:lnTo>
                    <a:lnTo>
                      <a:pt x="564" y="384"/>
                    </a:lnTo>
                    <a:lnTo>
                      <a:pt x="546" y="366"/>
                    </a:lnTo>
                    <a:lnTo>
                      <a:pt x="534" y="360"/>
                    </a:lnTo>
                    <a:lnTo>
                      <a:pt x="528" y="354"/>
                    </a:lnTo>
                    <a:lnTo>
                      <a:pt x="504" y="354"/>
                    </a:lnTo>
                    <a:lnTo>
                      <a:pt x="504" y="312"/>
                    </a:lnTo>
                    <a:lnTo>
                      <a:pt x="498" y="312"/>
                    </a:lnTo>
                    <a:lnTo>
                      <a:pt x="492" y="306"/>
                    </a:lnTo>
                    <a:lnTo>
                      <a:pt x="468" y="294"/>
                    </a:lnTo>
                    <a:lnTo>
                      <a:pt x="456" y="282"/>
                    </a:lnTo>
                    <a:lnTo>
                      <a:pt x="444" y="276"/>
                    </a:lnTo>
                    <a:lnTo>
                      <a:pt x="438" y="270"/>
                    </a:lnTo>
                    <a:lnTo>
                      <a:pt x="438" y="264"/>
                    </a:lnTo>
                    <a:lnTo>
                      <a:pt x="444" y="252"/>
                    </a:lnTo>
                    <a:lnTo>
                      <a:pt x="450" y="246"/>
                    </a:lnTo>
                    <a:lnTo>
                      <a:pt x="438" y="234"/>
                    </a:lnTo>
                    <a:lnTo>
                      <a:pt x="438" y="228"/>
                    </a:lnTo>
                    <a:lnTo>
                      <a:pt x="450" y="216"/>
                    </a:lnTo>
                    <a:lnTo>
                      <a:pt x="462" y="216"/>
                    </a:lnTo>
                    <a:lnTo>
                      <a:pt x="462" y="186"/>
                    </a:lnTo>
                    <a:lnTo>
                      <a:pt x="468" y="186"/>
                    </a:lnTo>
                    <a:lnTo>
                      <a:pt x="480" y="174"/>
                    </a:lnTo>
                    <a:lnTo>
                      <a:pt x="480" y="168"/>
                    </a:lnTo>
                    <a:lnTo>
                      <a:pt x="474" y="156"/>
                    </a:lnTo>
                    <a:lnTo>
                      <a:pt x="462" y="144"/>
                    </a:lnTo>
                    <a:lnTo>
                      <a:pt x="462" y="138"/>
                    </a:lnTo>
                    <a:lnTo>
                      <a:pt x="480" y="120"/>
                    </a:lnTo>
                    <a:lnTo>
                      <a:pt x="480" y="114"/>
                    </a:lnTo>
                    <a:lnTo>
                      <a:pt x="468" y="114"/>
                    </a:lnTo>
                    <a:lnTo>
                      <a:pt x="456" y="120"/>
                    </a:lnTo>
                    <a:lnTo>
                      <a:pt x="450" y="126"/>
                    </a:lnTo>
                    <a:lnTo>
                      <a:pt x="438" y="108"/>
                    </a:lnTo>
                    <a:lnTo>
                      <a:pt x="414" y="102"/>
                    </a:lnTo>
                    <a:lnTo>
                      <a:pt x="414" y="84"/>
                    </a:lnTo>
                    <a:lnTo>
                      <a:pt x="402" y="72"/>
                    </a:lnTo>
                    <a:lnTo>
                      <a:pt x="378" y="24"/>
                    </a:lnTo>
                    <a:lnTo>
                      <a:pt x="378" y="12"/>
                    </a:lnTo>
                    <a:lnTo>
                      <a:pt x="336" y="24"/>
                    </a:lnTo>
                    <a:lnTo>
                      <a:pt x="336" y="6"/>
                    </a:lnTo>
                    <a:lnTo>
                      <a:pt x="330" y="0"/>
                    </a:lnTo>
                    <a:lnTo>
                      <a:pt x="306" y="0"/>
                    </a:lnTo>
                    <a:lnTo>
                      <a:pt x="306" y="6"/>
                    </a:lnTo>
                    <a:lnTo>
                      <a:pt x="300" y="12"/>
                    </a:lnTo>
                    <a:lnTo>
                      <a:pt x="288" y="12"/>
                    </a:lnTo>
                    <a:lnTo>
                      <a:pt x="276" y="0"/>
                    </a:lnTo>
                    <a:lnTo>
                      <a:pt x="234" y="0"/>
                    </a:lnTo>
                    <a:lnTo>
                      <a:pt x="234" y="12"/>
                    </a:lnTo>
                    <a:lnTo>
                      <a:pt x="228" y="18"/>
                    </a:lnTo>
                    <a:lnTo>
                      <a:pt x="216" y="24"/>
                    </a:lnTo>
                    <a:lnTo>
                      <a:pt x="204" y="36"/>
                    </a:lnTo>
                    <a:lnTo>
                      <a:pt x="198" y="48"/>
                    </a:lnTo>
                    <a:lnTo>
                      <a:pt x="192" y="54"/>
                    </a:lnTo>
                    <a:lnTo>
                      <a:pt x="180" y="54"/>
                    </a:lnTo>
                    <a:lnTo>
                      <a:pt x="168" y="60"/>
                    </a:lnTo>
                    <a:lnTo>
                      <a:pt x="156" y="60"/>
                    </a:lnTo>
                    <a:lnTo>
                      <a:pt x="150" y="66"/>
                    </a:lnTo>
                    <a:lnTo>
                      <a:pt x="144" y="78"/>
                    </a:lnTo>
                    <a:lnTo>
                      <a:pt x="144" y="90"/>
                    </a:lnTo>
                    <a:lnTo>
                      <a:pt x="150" y="102"/>
                    </a:lnTo>
                    <a:lnTo>
                      <a:pt x="156" y="108"/>
                    </a:lnTo>
                    <a:lnTo>
                      <a:pt x="156" y="120"/>
                    </a:lnTo>
                    <a:lnTo>
                      <a:pt x="162" y="132"/>
                    </a:lnTo>
                    <a:lnTo>
                      <a:pt x="162" y="162"/>
                    </a:lnTo>
                    <a:lnTo>
                      <a:pt x="156" y="174"/>
                    </a:lnTo>
                    <a:lnTo>
                      <a:pt x="150" y="192"/>
                    </a:lnTo>
                    <a:lnTo>
                      <a:pt x="150" y="198"/>
                    </a:lnTo>
                    <a:lnTo>
                      <a:pt x="168" y="216"/>
                    </a:lnTo>
                    <a:lnTo>
                      <a:pt x="168" y="222"/>
                    </a:lnTo>
                    <a:lnTo>
                      <a:pt x="162" y="228"/>
                    </a:lnTo>
                    <a:lnTo>
                      <a:pt x="138" y="240"/>
                    </a:lnTo>
                    <a:lnTo>
                      <a:pt x="78" y="264"/>
                    </a:lnTo>
                    <a:lnTo>
                      <a:pt x="66" y="270"/>
                    </a:lnTo>
                    <a:lnTo>
                      <a:pt x="6" y="318"/>
                    </a:lnTo>
                    <a:lnTo>
                      <a:pt x="0" y="318"/>
                    </a:lnTo>
                    <a:lnTo>
                      <a:pt x="0" y="324"/>
                    </a:lnTo>
                    <a:lnTo>
                      <a:pt x="24" y="366"/>
                    </a:lnTo>
                    <a:lnTo>
                      <a:pt x="24" y="384"/>
                    </a:lnTo>
                    <a:lnTo>
                      <a:pt x="48" y="402"/>
                    </a:lnTo>
                    <a:lnTo>
                      <a:pt x="48" y="414"/>
                    </a:lnTo>
                    <a:lnTo>
                      <a:pt x="60" y="426"/>
                    </a:lnTo>
                    <a:lnTo>
                      <a:pt x="126" y="426"/>
                    </a:lnTo>
                    <a:lnTo>
                      <a:pt x="156" y="456"/>
                    </a:lnTo>
                    <a:lnTo>
                      <a:pt x="168" y="462"/>
                    </a:lnTo>
                    <a:lnTo>
                      <a:pt x="180" y="474"/>
                    </a:lnTo>
                    <a:lnTo>
                      <a:pt x="228" y="498"/>
                    </a:lnTo>
                    <a:lnTo>
                      <a:pt x="234" y="504"/>
                    </a:lnTo>
                    <a:lnTo>
                      <a:pt x="246" y="510"/>
                    </a:lnTo>
                    <a:lnTo>
                      <a:pt x="438" y="654"/>
                    </a:lnTo>
                    <a:lnTo>
                      <a:pt x="522" y="654"/>
                    </a:lnTo>
                    <a:lnTo>
                      <a:pt x="570" y="660"/>
                    </a:lnTo>
                    <a:lnTo>
                      <a:pt x="564" y="660"/>
                    </a:lnTo>
                    <a:lnTo>
                      <a:pt x="570" y="654"/>
                    </a:lnTo>
                    <a:lnTo>
                      <a:pt x="588" y="618"/>
                    </a:lnTo>
                    <a:lnTo>
                      <a:pt x="588" y="606"/>
                    </a:lnTo>
                    <a:lnTo>
                      <a:pt x="594" y="600"/>
                    </a:lnTo>
                    <a:lnTo>
                      <a:pt x="600" y="588"/>
                    </a:lnTo>
                    <a:lnTo>
                      <a:pt x="648" y="588"/>
                    </a:lnTo>
                    <a:lnTo>
                      <a:pt x="654" y="594"/>
                    </a:lnTo>
                    <a:lnTo>
                      <a:pt x="678" y="582"/>
                    </a:lnTo>
                    <a:lnTo>
                      <a:pt x="684" y="576"/>
                    </a:lnTo>
                    <a:lnTo>
                      <a:pt x="678" y="570"/>
                    </a:lnTo>
                    <a:lnTo>
                      <a:pt x="678" y="564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37" name="Iran"/>
              <p:cNvSpPr>
                <a:spLocks/>
              </p:cNvSpPr>
              <p:nvPr/>
            </p:nvSpPr>
            <p:spPr bwMode="gray">
              <a:xfrm>
                <a:off x="5402272" y="2786065"/>
                <a:ext cx="579439" cy="476251"/>
              </a:xfrm>
              <a:custGeom>
                <a:avLst/>
                <a:gdLst>
                  <a:gd name="T0" fmla="*/ 2147483647 w 1440"/>
                  <a:gd name="T1" fmla="*/ 2147483647 h 1182"/>
                  <a:gd name="T2" fmla="*/ 2147483647 w 1440"/>
                  <a:gd name="T3" fmla="*/ 2147483647 h 1182"/>
                  <a:gd name="T4" fmla="*/ 2147483647 w 1440"/>
                  <a:gd name="T5" fmla="*/ 2147483647 h 1182"/>
                  <a:gd name="T6" fmla="*/ 2147483647 w 1440"/>
                  <a:gd name="T7" fmla="*/ 2147483647 h 1182"/>
                  <a:gd name="T8" fmla="*/ 2147483647 w 1440"/>
                  <a:gd name="T9" fmla="*/ 2147483647 h 1182"/>
                  <a:gd name="T10" fmla="*/ 2147483647 w 1440"/>
                  <a:gd name="T11" fmla="*/ 2147483647 h 1182"/>
                  <a:gd name="T12" fmla="*/ 2147483647 w 1440"/>
                  <a:gd name="T13" fmla="*/ 2147483647 h 1182"/>
                  <a:gd name="T14" fmla="*/ 2147483647 w 1440"/>
                  <a:gd name="T15" fmla="*/ 2147483647 h 1182"/>
                  <a:gd name="T16" fmla="*/ 2147483647 w 1440"/>
                  <a:gd name="T17" fmla="*/ 2147483647 h 1182"/>
                  <a:gd name="T18" fmla="*/ 2147483647 w 1440"/>
                  <a:gd name="T19" fmla="*/ 2147483647 h 1182"/>
                  <a:gd name="T20" fmla="*/ 2147483647 w 1440"/>
                  <a:gd name="T21" fmla="*/ 2147483647 h 1182"/>
                  <a:gd name="T22" fmla="*/ 2147483647 w 1440"/>
                  <a:gd name="T23" fmla="*/ 2147483647 h 1182"/>
                  <a:gd name="T24" fmla="*/ 2147483647 w 1440"/>
                  <a:gd name="T25" fmla="*/ 2147483647 h 1182"/>
                  <a:gd name="T26" fmla="*/ 2147483647 w 1440"/>
                  <a:gd name="T27" fmla="*/ 2147483647 h 1182"/>
                  <a:gd name="T28" fmla="*/ 2147483647 w 1440"/>
                  <a:gd name="T29" fmla="*/ 2147483647 h 1182"/>
                  <a:gd name="T30" fmla="*/ 2147483647 w 1440"/>
                  <a:gd name="T31" fmla="*/ 2147483647 h 1182"/>
                  <a:gd name="T32" fmla="*/ 2147483647 w 1440"/>
                  <a:gd name="T33" fmla="*/ 2147483647 h 1182"/>
                  <a:gd name="T34" fmla="*/ 2147483647 w 1440"/>
                  <a:gd name="T35" fmla="*/ 2147483647 h 1182"/>
                  <a:gd name="T36" fmla="*/ 2147483647 w 1440"/>
                  <a:gd name="T37" fmla="*/ 2147483647 h 1182"/>
                  <a:gd name="T38" fmla="*/ 2147483647 w 1440"/>
                  <a:gd name="T39" fmla="*/ 2147483647 h 1182"/>
                  <a:gd name="T40" fmla="*/ 2147483647 w 1440"/>
                  <a:gd name="T41" fmla="*/ 2147483647 h 1182"/>
                  <a:gd name="T42" fmla="*/ 2147483647 w 1440"/>
                  <a:gd name="T43" fmla="*/ 2147483647 h 1182"/>
                  <a:gd name="T44" fmla="*/ 2147483647 w 1440"/>
                  <a:gd name="T45" fmla="*/ 2147483647 h 1182"/>
                  <a:gd name="T46" fmla="*/ 2147483647 w 1440"/>
                  <a:gd name="T47" fmla="*/ 2147483647 h 1182"/>
                  <a:gd name="T48" fmla="*/ 2147483647 w 1440"/>
                  <a:gd name="T49" fmla="*/ 2147483647 h 1182"/>
                  <a:gd name="T50" fmla="*/ 2147483647 w 1440"/>
                  <a:gd name="T51" fmla="*/ 2147483647 h 1182"/>
                  <a:gd name="T52" fmla="*/ 2147483647 w 1440"/>
                  <a:gd name="T53" fmla="*/ 2147483647 h 1182"/>
                  <a:gd name="T54" fmla="*/ 2147483647 w 1440"/>
                  <a:gd name="T55" fmla="*/ 2147483647 h 1182"/>
                  <a:gd name="T56" fmla="*/ 2147483647 w 1440"/>
                  <a:gd name="T57" fmla="*/ 2147483647 h 1182"/>
                  <a:gd name="T58" fmla="*/ 2147483647 w 1440"/>
                  <a:gd name="T59" fmla="*/ 2147483647 h 1182"/>
                  <a:gd name="T60" fmla="*/ 2147483647 w 1440"/>
                  <a:gd name="T61" fmla="*/ 0 h 1182"/>
                  <a:gd name="T62" fmla="*/ 2147483647 w 1440"/>
                  <a:gd name="T63" fmla="*/ 2147483647 h 1182"/>
                  <a:gd name="T64" fmla="*/ 2147483647 w 1440"/>
                  <a:gd name="T65" fmla="*/ 2147483647 h 1182"/>
                  <a:gd name="T66" fmla="*/ 2147483647 w 1440"/>
                  <a:gd name="T67" fmla="*/ 2147483647 h 1182"/>
                  <a:gd name="T68" fmla="*/ 2147483647 w 1440"/>
                  <a:gd name="T69" fmla="*/ 2147483647 h 1182"/>
                  <a:gd name="T70" fmla="*/ 2147483647 w 1440"/>
                  <a:gd name="T71" fmla="*/ 2147483647 h 1182"/>
                  <a:gd name="T72" fmla="*/ 2147483647 w 1440"/>
                  <a:gd name="T73" fmla="*/ 2147483647 h 1182"/>
                  <a:gd name="T74" fmla="*/ 2147483647 w 1440"/>
                  <a:gd name="T75" fmla="*/ 2147483647 h 1182"/>
                  <a:gd name="T76" fmla="*/ 2147483647 w 1440"/>
                  <a:gd name="T77" fmla="*/ 2147483647 h 1182"/>
                  <a:gd name="T78" fmla="*/ 2147483647 w 1440"/>
                  <a:gd name="T79" fmla="*/ 2147483647 h 1182"/>
                  <a:gd name="T80" fmla="*/ 2147483647 w 1440"/>
                  <a:gd name="T81" fmla="*/ 2147483647 h 1182"/>
                  <a:gd name="T82" fmla="*/ 2147483647 w 1440"/>
                  <a:gd name="T83" fmla="*/ 2147483647 h 1182"/>
                  <a:gd name="T84" fmla="*/ 2147483647 w 1440"/>
                  <a:gd name="T85" fmla="*/ 2147483647 h 1182"/>
                  <a:gd name="T86" fmla="*/ 2147483647 w 1440"/>
                  <a:gd name="T87" fmla="*/ 2147483647 h 1182"/>
                  <a:gd name="T88" fmla="*/ 2147483647 w 1440"/>
                  <a:gd name="T89" fmla="*/ 2147483647 h 1182"/>
                  <a:gd name="T90" fmla="*/ 2147483647 w 1440"/>
                  <a:gd name="T91" fmla="*/ 2147483647 h 1182"/>
                  <a:gd name="T92" fmla="*/ 2147483647 w 1440"/>
                  <a:gd name="T93" fmla="*/ 2147483647 h 1182"/>
                  <a:gd name="T94" fmla="*/ 2147483647 w 1440"/>
                  <a:gd name="T95" fmla="*/ 2147483647 h 1182"/>
                  <a:gd name="T96" fmla="*/ 2147483647 w 1440"/>
                  <a:gd name="T97" fmla="*/ 2147483647 h 1182"/>
                  <a:gd name="T98" fmla="*/ 2147483647 w 1440"/>
                  <a:gd name="T99" fmla="*/ 2147483647 h 1182"/>
                  <a:gd name="T100" fmla="*/ 2147483647 w 1440"/>
                  <a:gd name="T101" fmla="*/ 2147483647 h 1182"/>
                  <a:gd name="T102" fmla="*/ 2147483647 w 1440"/>
                  <a:gd name="T103" fmla="*/ 2147483647 h 1182"/>
                  <a:gd name="T104" fmla="*/ 2147483647 w 1440"/>
                  <a:gd name="T105" fmla="*/ 2147483647 h 1182"/>
                  <a:gd name="T106" fmla="*/ 2147483647 w 1440"/>
                  <a:gd name="T107" fmla="*/ 2147483647 h 1182"/>
                  <a:gd name="T108" fmla="*/ 2147483647 w 1440"/>
                  <a:gd name="T109" fmla="*/ 2147483647 h 1182"/>
                  <a:gd name="T110" fmla="*/ 2147483647 w 1440"/>
                  <a:gd name="T111" fmla="*/ 2147483647 h 118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440"/>
                  <a:gd name="T169" fmla="*/ 0 h 1182"/>
                  <a:gd name="T170" fmla="*/ 1440 w 1440"/>
                  <a:gd name="T171" fmla="*/ 1182 h 118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440" h="1182">
                    <a:moveTo>
                      <a:pt x="1338" y="1176"/>
                    </a:moveTo>
                    <a:lnTo>
                      <a:pt x="1338" y="1170"/>
                    </a:lnTo>
                    <a:lnTo>
                      <a:pt x="1332" y="1158"/>
                    </a:lnTo>
                    <a:lnTo>
                      <a:pt x="1332" y="1128"/>
                    </a:lnTo>
                    <a:lnTo>
                      <a:pt x="1344" y="1116"/>
                    </a:lnTo>
                    <a:lnTo>
                      <a:pt x="1344" y="1110"/>
                    </a:lnTo>
                    <a:lnTo>
                      <a:pt x="1350" y="1104"/>
                    </a:lnTo>
                    <a:lnTo>
                      <a:pt x="1356" y="1086"/>
                    </a:lnTo>
                    <a:lnTo>
                      <a:pt x="1368" y="1086"/>
                    </a:lnTo>
                    <a:lnTo>
                      <a:pt x="1374" y="1080"/>
                    </a:lnTo>
                    <a:lnTo>
                      <a:pt x="1374" y="1074"/>
                    </a:lnTo>
                    <a:lnTo>
                      <a:pt x="1380" y="1074"/>
                    </a:lnTo>
                    <a:lnTo>
                      <a:pt x="1380" y="1068"/>
                    </a:lnTo>
                    <a:lnTo>
                      <a:pt x="1386" y="1062"/>
                    </a:lnTo>
                    <a:lnTo>
                      <a:pt x="1398" y="1056"/>
                    </a:lnTo>
                    <a:lnTo>
                      <a:pt x="1428" y="1056"/>
                    </a:lnTo>
                    <a:lnTo>
                      <a:pt x="1428" y="1062"/>
                    </a:lnTo>
                    <a:lnTo>
                      <a:pt x="1434" y="1062"/>
                    </a:lnTo>
                    <a:lnTo>
                      <a:pt x="1440" y="1056"/>
                    </a:lnTo>
                    <a:lnTo>
                      <a:pt x="1440" y="1044"/>
                    </a:lnTo>
                    <a:lnTo>
                      <a:pt x="1434" y="1026"/>
                    </a:lnTo>
                    <a:lnTo>
                      <a:pt x="1428" y="1014"/>
                    </a:lnTo>
                    <a:lnTo>
                      <a:pt x="1422" y="1008"/>
                    </a:lnTo>
                    <a:lnTo>
                      <a:pt x="1404" y="1008"/>
                    </a:lnTo>
                    <a:lnTo>
                      <a:pt x="1404" y="996"/>
                    </a:lnTo>
                    <a:lnTo>
                      <a:pt x="1398" y="984"/>
                    </a:lnTo>
                    <a:lnTo>
                      <a:pt x="1398" y="960"/>
                    </a:lnTo>
                    <a:lnTo>
                      <a:pt x="1392" y="960"/>
                    </a:lnTo>
                    <a:lnTo>
                      <a:pt x="1398" y="930"/>
                    </a:lnTo>
                    <a:lnTo>
                      <a:pt x="1374" y="930"/>
                    </a:lnTo>
                    <a:lnTo>
                      <a:pt x="1362" y="912"/>
                    </a:lnTo>
                    <a:lnTo>
                      <a:pt x="1350" y="918"/>
                    </a:lnTo>
                    <a:lnTo>
                      <a:pt x="1332" y="918"/>
                    </a:lnTo>
                    <a:lnTo>
                      <a:pt x="1326" y="912"/>
                    </a:lnTo>
                    <a:lnTo>
                      <a:pt x="1314" y="894"/>
                    </a:lnTo>
                    <a:lnTo>
                      <a:pt x="1308" y="876"/>
                    </a:lnTo>
                    <a:lnTo>
                      <a:pt x="1296" y="864"/>
                    </a:lnTo>
                    <a:lnTo>
                      <a:pt x="1284" y="846"/>
                    </a:lnTo>
                    <a:lnTo>
                      <a:pt x="1278" y="840"/>
                    </a:lnTo>
                    <a:lnTo>
                      <a:pt x="1272" y="828"/>
                    </a:lnTo>
                    <a:lnTo>
                      <a:pt x="1248" y="804"/>
                    </a:lnTo>
                    <a:lnTo>
                      <a:pt x="1242" y="804"/>
                    </a:lnTo>
                    <a:lnTo>
                      <a:pt x="1242" y="792"/>
                    </a:lnTo>
                    <a:lnTo>
                      <a:pt x="1260" y="774"/>
                    </a:lnTo>
                    <a:lnTo>
                      <a:pt x="1266" y="762"/>
                    </a:lnTo>
                    <a:lnTo>
                      <a:pt x="1272" y="756"/>
                    </a:lnTo>
                    <a:lnTo>
                      <a:pt x="1296" y="708"/>
                    </a:lnTo>
                    <a:lnTo>
                      <a:pt x="1284" y="684"/>
                    </a:lnTo>
                    <a:lnTo>
                      <a:pt x="1278" y="678"/>
                    </a:lnTo>
                    <a:lnTo>
                      <a:pt x="1242" y="678"/>
                    </a:lnTo>
                    <a:lnTo>
                      <a:pt x="1230" y="672"/>
                    </a:lnTo>
                    <a:lnTo>
                      <a:pt x="1224" y="672"/>
                    </a:lnTo>
                    <a:lnTo>
                      <a:pt x="1218" y="666"/>
                    </a:lnTo>
                    <a:lnTo>
                      <a:pt x="1218" y="612"/>
                    </a:lnTo>
                    <a:lnTo>
                      <a:pt x="1212" y="606"/>
                    </a:lnTo>
                    <a:lnTo>
                      <a:pt x="1200" y="582"/>
                    </a:lnTo>
                    <a:lnTo>
                      <a:pt x="1188" y="564"/>
                    </a:lnTo>
                    <a:lnTo>
                      <a:pt x="1176" y="540"/>
                    </a:lnTo>
                    <a:lnTo>
                      <a:pt x="1182" y="528"/>
                    </a:lnTo>
                    <a:lnTo>
                      <a:pt x="1200" y="510"/>
                    </a:lnTo>
                    <a:lnTo>
                      <a:pt x="1200" y="504"/>
                    </a:lnTo>
                    <a:lnTo>
                      <a:pt x="1194" y="498"/>
                    </a:lnTo>
                    <a:lnTo>
                      <a:pt x="1170" y="498"/>
                    </a:lnTo>
                    <a:lnTo>
                      <a:pt x="1170" y="468"/>
                    </a:lnTo>
                    <a:lnTo>
                      <a:pt x="1158" y="456"/>
                    </a:lnTo>
                    <a:lnTo>
                      <a:pt x="1158" y="450"/>
                    </a:lnTo>
                    <a:lnTo>
                      <a:pt x="1164" y="444"/>
                    </a:lnTo>
                    <a:lnTo>
                      <a:pt x="1176" y="438"/>
                    </a:lnTo>
                    <a:lnTo>
                      <a:pt x="1182" y="432"/>
                    </a:lnTo>
                    <a:lnTo>
                      <a:pt x="1188" y="432"/>
                    </a:lnTo>
                    <a:lnTo>
                      <a:pt x="1176" y="414"/>
                    </a:lnTo>
                    <a:lnTo>
                      <a:pt x="1200" y="408"/>
                    </a:lnTo>
                    <a:lnTo>
                      <a:pt x="1200" y="402"/>
                    </a:lnTo>
                    <a:lnTo>
                      <a:pt x="1194" y="396"/>
                    </a:lnTo>
                    <a:lnTo>
                      <a:pt x="1194" y="372"/>
                    </a:lnTo>
                    <a:lnTo>
                      <a:pt x="1188" y="360"/>
                    </a:lnTo>
                    <a:lnTo>
                      <a:pt x="1188" y="354"/>
                    </a:lnTo>
                    <a:lnTo>
                      <a:pt x="1194" y="342"/>
                    </a:lnTo>
                    <a:lnTo>
                      <a:pt x="1200" y="336"/>
                    </a:lnTo>
                    <a:lnTo>
                      <a:pt x="1188" y="306"/>
                    </a:lnTo>
                    <a:lnTo>
                      <a:pt x="1194" y="282"/>
                    </a:lnTo>
                    <a:lnTo>
                      <a:pt x="1182" y="282"/>
                    </a:lnTo>
                    <a:lnTo>
                      <a:pt x="1182" y="246"/>
                    </a:lnTo>
                    <a:lnTo>
                      <a:pt x="1116" y="252"/>
                    </a:lnTo>
                    <a:lnTo>
                      <a:pt x="1110" y="246"/>
                    </a:lnTo>
                    <a:lnTo>
                      <a:pt x="1104" y="234"/>
                    </a:lnTo>
                    <a:lnTo>
                      <a:pt x="1092" y="228"/>
                    </a:lnTo>
                    <a:lnTo>
                      <a:pt x="1080" y="216"/>
                    </a:lnTo>
                    <a:lnTo>
                      <a:pt x="1068" y="216"/>
                    </a:lnTo>
                    <a:lnTo>
                      <a:pt x="1062" y="210"/>
                    </a:lnTo>
                    <a:lnTo>
                      <a:pt x="1056" y="210"/>
                    </a:lnTo>
                    <a:lnTo>
                      <a:pt x="1050" y="204"/>
                    </a:lnTo>
                    <a:lnTo>
                      <a:pt x="1044" y="192"/>
                    </a:lnTo>
                    <a:lnTo>
                      <a:pt x="1044" y="186"/>
                    </a:lnTo>
                    <a:lnTo>
                      <a:pt x="1038" y="180"/>
                    </a:lnTo>
                    <a:lnTo>
                      <a:pt x="1032" y="180"/>
                    </a:lnTo>
                    <a:lnTo>
                      <a:pt x="1020" y="174"/>
                    </a:lnTo>
                    <a:lnTo>
                      <a:pt x="1002" y="174"/>
                    </a:lnTo>
                    <a:lnTo>
                      <a:pt x="990" y="168"/>
                    </a:lnTo>
                    <a:lnTo>
                      <a:pt x="972" y="168"/>
                    </a:lnTo>
                    <a:lnTo>
                      <a:pt x="972" y="174"/>
                    </a:lnTo>
                    <a:lnTo>
                      <a:pt x="960" y="168"/>
                    </a:lnTo>
                    <a:lnTo>
                      <a:pt x="954" y="162"/>
                    </a:lnTo>
                    <a:lnTo>
                      <a:pt x="942" y="156"/>
                    </a:lnTo>
                    <a:lnTo>
                      <a:pt x="936" y="150"/>
                    </a:lnTo>
                    <a:lnTo>
                      <a:pt x="906" y="150"/>
                    </a:lnTo>
                    <a:lnTo>
                      <a:pt x="906" y="138"/>
                    </a:lnTo>
                    <a:lnTo>
                      <a:pt x="894" y="126"/>
                    </a:lnTo>
                    <a:lnTo>
                      <a:pt x="834" y="126"/>
                    </a:lnTo>
                    <a:lnTo>
                      <a:pt x="834" y="132"/>
                    </a:lnTo>
                    <a:lnTo>
                      <a:pt x="828" y="138"/>
                    </a:lnTo>
                    <a:lnTo>
                      <a:pt x="816" y="132"/>
                    </a:lnTo>
                    <a:lnTo>
                      <a:pt x="780" y="132"/>
                    </a:lnTo>
                    <a:lnTo>
                      <a:pt x="768" y="138"/>
                    </a:lnTo>
                    <a:lnTo>
                      <a:pt x="750" y="156"/>
                    </a:lnTo>
                    <a:lnTo>
                      <a:pt x="738" y="162"/>
                    </a:lnTo>
                    <a:lnTo>
                      <a:pt x="732" y="168"/>
                    </a:lnTo>
                    <a:lnTo>
                      <a:pt x="732" y="180"/>
                    </a:lnTo>
                    <a:lnTo>
                      <a:pt x="720" y="186"/>
                    </a:lnTo>
                    <a:lnTo>
                      <a:pt x="708" y="198"/>
                    </a:lnTo>
                    <a:lnTo>
                      <a:pt x="678" y="198"/>
                    </a:lnTo>
                    <a:lnTo>
                      <a:pt x="690" y="210"/>
                    </a:lnTo>
                    <a:lnTo>
                      <a:pt x="690" y="222"/>
                    </a:lnTo>
                    <a:lnTo>
                      <a:pt x="696" y="228"/>
                    </a:lnTo>
                    <a:lnTo>
                      <a:pt x="696" y="234"/>
                    </a:lnTo>
                    <a:lnTo>
                      <a:pt x="690" y="240"/>
                    </a:lnTo>
                    <a:lnTo>
                      <a:pt x="678" y="240"/>
                    </a:lnTo>
                    <a:lnTo>
                      <a:pt x="666" y="234"/>
                    </a:lnTo>
                    <a:lnTo>
                      <a:pt x="660" y="228"/>
                    </a:lnTo>
                    <a:lnTo>
                      <a:pt x="654" y="228"/>
                    </a:lnTo>
                    <a:lnTo>
                      <a:pt x="648" y="234"/>
                    </a:lnTo>
                    <a:lnTo>
                      <a:pt x="624" y="234"/>
                    </a:lnTo>
                    <a:lnTo>
                      <a:pt x="612" y="240"/>
                    </a:lnTo>
                    <a:lnTo>
                      <a:pt x="600" y="240"/>
                    </a:lnTo>
                    <a:lnTo>
                      <a:pt x="582" y="246"/>
                    </a:lnTo>
                    <a:lnTo>
                      <a:pt x="558" y="258"/>
                    </a:lnTo>
                    <a:lnTo>
                      <a:pt x="546" y="252"/>
                    </a:lnTo>
                    <a:lnTo>
                      <a:pt x="534" y="252"/>
                    </a:lnTo>
                    <a:lnTo>
                      <a:pt x="522" y="246"/>
                    </a:lnTo>
                    <a:lnTo>
                      <a:pt x="498" y="246"/>
                    </a:lnTo>
                    <a:lnTo>
                      <a:pt x="480" y="240"/>
                    </a:lnTo>
                    <a:lnTo>
                      <a:pt x="468" y="228"/>
                    </a:lnTo>
                    <a:lnTo>
                      <a:pt x="456" y="222"/>
                    </a:lnTo>
                    <a:lnTo>
                      <a:pt x="444" y="210"/>
                    </a:lnTo>
                    <a:lnTo>
                      <a:pt x="438" y="198"/>
                    </a:lnTo>
                    <a:lnTo>
                      <a:pt x="432" y="192"/>
                    </a:lnTo>
                    <a:lnTo>
                      <a:pt x="432" y="186"/>
                    </a:lnTo>
                    <a:lnTo>
                      <a:pt x="378" y="186"/>
                    </a:lnTo>
                    <a:lnTo>
                      <a:pt x="354" y="162"/>
                    </a:lnTo>
                    <a:lnTo>
                      <a:pt x="336" y="126"/>
                    </a:lnTo>
                    <a:lnTo>
                      <a:pt x="330" y="120"/>
                    </a:lnTo>
                    <a:lnTo>
                      <a:pt x="330" y="114"/>
                    </a:lnTo>
                    <a:lnTo>
                      <a:pt x="312" y="114"/>
                    </a:lnTo>
                    <a:lnTo>
                      <a:pt x="312" y="108"/>
                    </a:lnTo>
                    <a:lnTo>
                      <a:pt x="306" y="102"/>
                    </a:lnTo>
                    <a:lnTo>
                      <a:pt x="300" y="102"/>
                    </a:lnTo>
                    <a:lnTo>
                      <a:pt x="294" y="96"/>
                    </a:lnTo>
                    <a:lnTo>
                      <a:pt x="282" y="90"/>
                    </a:lnTo>
                    <a:lnTo>
                      <a:pt x="270" y="78"/>
                    </a:lnTo>
                    <a:lnTo>
                      <a:pt x="270" y="72"/>
                    </a:lnTo>
                    <a:lnTo>
                      <a:pt x="282" y="72"/>
                    </a:lnTo>
                    <a:lnTo>
                      <a:pt x="288" y="66"/>
                    </a:lnTo>
                    <a:lnTo>
                      <a:pt x="288" y="60"/>
                    </a:lnTo>
                    <a:lnTo>
                      <a:pt x="282" y="54"/>
                    </a:lnTo>
                    <a:lnTo>
                      <a:pt x="276" y="54"/>
                    </a:lnTo>
                    <a:lnTo>
                      <a:pt x="276" y="42"/>
                    </a:lnTo>
                    <a:lnTo>
                      <a:pt x="282" y="36"/>
                    </a:lnTo>
                    <a:lnTo>
                      <a:pt x="282" y="18"/>
                    </a:lnTo>
                    <a:lnTo>
                      <a:pt x="276" y="12"/>
                    </a:lnTo>
                    <a:lnTo>
                      <a:pt x="270" y="0"/>
                    </a:lnTo>
                    <a:lnTo>
                      <a:pt x="258" y="0"/>
                    </a:lnTo>
                    <a:lnTo>
                      <a:pt x="246" y="6"/>
                    </a:lnTo>
                    <a:lnTo>
                      <a:pt x="234" y="18"/>
                    </a:lnTo>
                    <a:lnTo>
                      <a:pt x="222" y="24"/>
                    </a:lnTo>
                    <a:lnTo>
                      <a:pt x="204" y="36"/>
                    </a:lnTo>
                    <a:lnTo>
                      <a:pt x="192" y="48"/>
                    </a:lnTo>
                    <a:lnTo>
                      <a:pt x="192" y="54"/>
                    </a:lnTo>
                    <a:lnTo>
                      <a:pt x="186" y="60"/>
                    </a:lnTo>
                    <a:lnTo>
                      <a:pt x="180" y="72"/>
                    </a:lnTo>
                    <a:lnTo>
                      <a:pt x="132" y="72"/>
                    </a:lnTo>
                    <a:lnTo>
                      <a:pt x="96" y="60"/>
                    </a:lnTo>
                    <a:lnTo>
                      <a:pt x="84" y="54"/>
                    </a:lnTo>
                    <a:lnTo>
                      <a:pt x="66" y="36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48" y="0"/>
                    </a:lnTo>
                    <a:lnTo>
                      <a:pt x="42" y="0"/>
                    </a:lnTo>
                    <a:lnTo>
                      <a:pt x="24" y="18"/>
                    </a:lnTo>
                    <a:lnTo>
                      <a:pt x="24" y="30"/>
                    </a:lnTo>
                    <a:lnTo>
                      <a:pt x="0" y="30"/>
                    </a:lnTo>
                    <a:lnTo>
                      <a:pt x="18" y="54"/>
                    </a:lnTo>
                    <a:lnTo>
                      <a:pt x="18" y="84"/>
                    </a:lnTo>
                    <a:lnTo>
                      <a:pt x="30" y="96"/>
                    </a:lnTo>
                    <a:lnTo>
                      <a:pt x="30" y="108"/>
                    </a:lnTo>
                    <a:lnTo>
                      <a:pt x="36" y="114"/>
                    </a:lnTo>
                    <a:lnTo>
                      <a:pt x="42" y="114"/>
                    </a:lnTo>
                    <a:lnTo>
                      <a:pt x="36" y="120"/>
                    </a:lnTo>
                    <a:lnTo>
                      <a:pt x="36" y="126"/>
                    </a:lnTo>
                    <a:lnTo>
                      <a:pt x="30" y="138"/>
                    </a:lnTo>
                    <a:lnTo>
                      <a:pt x="24" y="144"/>
                    </a:lnTo>
                    <a:lnTo>
                      <a:pt x="60" y="162"/>
                    </a:lnTo>
                    <a:lnTo>
                      <a:pt x="60" y="192"/>
                    </a:lnTo>
                    <a:lnTo>
                      <a:pt x="84" y="198"/>
                    </a:lnTo>
                    <a:lnTo>
                      <a:pt x="84" y="210"/>
                    </a:lnTo>
                    <a:lnTo>
                      <a:pt x="96" y="246"/>
                    </a:lnTo>
                    <a:lnTo>
                      <a:pt x="108" y="270"/>
                    </a:lnTo>
                    <a:lnTo>
                      <a:pt x="120" y="282"/>
                    </a:lnTo>
                    <a:lnTo>
                      <a:pt x="120" y="300"/>
                    </a:lnTo>
                    <a:lnTo>
                      <a:pt x="144" y="306"/>
                    </a:lnTo>
                    <a:lnTo>
                      <a:pt x="156" y="324"/>
                    </a:lnTo>
                    <a:lnTo>
                      <a:pt x="162" y="318"/>
                    </a:lnTo>
                    <a:lnTo>
                      <a:pt x="174" y="312"/>
                    </a:lnTo>
                    <a:lnTo>
                      <a:pt x="186" y="312"/>
                    </a:lnTo>
                    <a:lnTo>
                      <a:pt x="186" y="318"/>
                    </a:lnTo>
                    <a:lnTo>
                      <a:pt x="168" y="336"/>
                    </a:lnTo>
                    <a:lnTo>
                      <a:pt x="168" y="342"/>
                    </a:lnTo>
                    <a:lnTo>
                      <a:pt x="180" y="354"/>
                    </a:lnTo>
                    <a:lnTo>
                      <a:pt x="186" y="366"/>
                    </a:lnTo>
                    <a:lnTo>
                      <a:pt x="186" y="372"/>
                    </a:lnTo>
                    <a:lnTo>
                      <a:pt x="174" y="384"/>
                    </a:lnTo>
                    <a:lnTo>
                      <a:pt x="168" y="384"/>
                    </a:lnTo>
                    <a:lnTo>
                      <a:pt x="168" y="414"/>
                    </a:lnTo>
                    <a:lnTo>
                      <a:pt x="156" y="414"/>
                    </a:lnTo>
                    <a:lnTo>
                      <a:pt x="144" y="426"/>
                    </a:lnTo>
                    <a:lnTo>
                      <a:pt x="144" y="432"/>
                    </a:lnTo>
                    <a:lnTo>
                      <a:pt x="156" y="444"/>
                    </a:lnTo>
                    <a:lnTo>
                      <a:pt x="150" y="450"/>
                    </a:lnTo>
                    <a:lnTo>
                      <a:pt x="144" y="462"/>
                    </a:lnTo>
                    <a:lnTo>
                      <a:pt x="144" y="468"/>
                    </a:lnTo>
                    <a:lnTo>
                      <a:pt x="150" y="474"/>
                    </a:lnTo>
                    <a:lnTo>
                      <a:pt x="162" y="480"/>
                    </a:lnTo>
                    <a:lnTo>
                      <a:pt x="174" y="492"/>
                    </a:lnTo>
                    <a:lnTo>
                      <a:pt x="198" y="504"/>
                    </a:lnTo>
                    <a:lnTo>
                      <a:pt x="204" y="510"/>
                    </a:lnTo>
                    <a:lnTo>
                      <a:pt x="210" y="510"/>
                    </a:lnTo>
                    <a:lnTo>
                      <a:pt x="210" y="552"/>
                    </a:lnTo>
                    <a:lnTo>
                      <a:pt x="234" y="552"/>
                    </a:lnTo>
                    <a:lnTo>
                      <a:pt x="240" y="558"/>
                    </a:lnTo>
                    <a:lnTo>
                      <a:pt x="252" y="564"/>
                    </a:lnTo>
                    <a:lnTo>
                      <a:pt x="270" y="582"/>
                    </a:lnTo>
                    <a:lnTo>
                      <a:pt x="288" y="582"/>
                    </a:lnTo>
                    <a:lnTo>
                      <a:pt x="294" y="588"/>
                    </a:lnTo>
                    <a:lnTo>
                      <a:pt x="300" y="600"/>
                    </a:lnTo>
                    <a:lnTo>
                      <a:pt x="330" y="636"/>
                    </a:lnTo>
                    <a:lnTo>
                      <a:pt x="330" y="648"/>
                    </a:lnTo>
                    <a:lnTo>
                      <a:pt x="324" y="660"/>
                    </a:lnTo>
                    <a:lnTo>
                      <a:pt x="324" y="696"/>
                    </a:lnTo>
                    <a:lnTo>
                      <a:pt x="330" y="702"/>
                    </a:lnTo>
                    <a:lnTo>
                      <a:pt x="342" y="708"/>
                    </a:lnTo>
                    <a:lnTo>
                      <a:pt x="348" y="714"/>
                    </a:lnTo>
                    <a:lnTo>
                      <a:pt x="354" y="714"/>
                    </a:lnTo>
                    <a:lnTo>
                      <a:pt x="360" y="744"/>
                    </a:lnTo>
                    <a:lnTo>
                      <a:pt x="372" y="750"/>
                    </a:lnTo>
                    <a:lnTo>
                      <a:pt x="384" y="762"/>
                    </a:lnTo>
                    <a:lnTo>
                      <a:pt x="384" y="768"/>
                    </a:lnTo>
                    <a:lnTo>
                      <a:pt x="390" y="774"/>
                    </a:lnTo>
                    <a:lnTo>
                      <a:pt x="402" y="780"/>
                    </a:lnTo>
                    <a:lnTo>
                      <a:pt x="408" y="786"/>
                    </a:lnTo>
                    <a:lnTo>
                      <a:pt x="420" y="792"/>
                    </a:lnTo>
                    <a:lnTo>
                      <a:pt x="426" y="786"/>
                    </a:lnTo>
                    <a:lnTo>
                      <a:pt x="426" y="774"/>
                    </a:lnTo>
                    <a:lnTo>
                      <a:pt x="420" y="768"/>
                    </a:lnTo>
                    <a:lnTo>
                      <a:pt x="420" y="762"/>
                    </a:lnTo>
                    <a:lnTo>
                      <a:pt x="426" y="756"/>
                    </a:lnTo>
                    <a:lnTo>
                      <a:pt x="438" y="750"/>
                    </a:lnTo>
                    <a:lnTo>
                      <a:pt x="444" y="756"/>
                    </a:lnTo>
                    <a:lnTo>
                      <a:pt x="450" y="756"/>
                    </a:lnTo>
                    <a:lnTo>
                      <a:pt x="450" y="768"/>
                    </a:lnTo>
                    <a:lnTo>
                      <a:pt x="456" y="780"/>
                    </a:lnTo>
                    <a:lnTo>
                      <a:pt x="474" y="780"/>
                    </a:lnTo>
                    <a:lnTo>
                      <a:pt x="474" y="786"/>
                    </a:lnTo>
                    <a:lnTo>
                      <a:pt x="474" y="780"/>
                    </a:lnTo>
                    <a:lnTo>
                      <a:pt x="480" y="780"/>
                    </a:lnTo>
                    <a:lnTo>
                      <a:pt x="480" y="768"/>
                    </a:lnTo>
                    <a:lnTo>
                      <a:pt x="504" y="768"/>
                    </a:lnTo>
                    <a:lnTo>
                      <a:pt x="504" y="804"/>
                    </a:lnTo>
                    <a:lnTo>
                      <a:pt x="510" y="810"/>
                    </a:lnTo>
                    <a:lnTo>
                      <a:pt x="516" y="810"/>
                    </a:lnTo>
                    <a:lnTo>
                      <a:pt x="528" y="816"/>
                    </a:lnTo>
                    <a:lnTo>
                      <a:pt x="540" y="828"/>
                    </a:lnTo>
                    <a:lnTo>
                      <a:pt x="540" y="846"/>
                    </a:lnTo>
                    <a:lnTo>
                      <a:pt x="552" y="858"/>
                    </a:lnTo>
                    <a:lnTo>
                      <a:pt x="558" y="870"/>
                    </a:lnTo>
                    <a:lnTo>
                      <a:pt x="564" y="876"/>
                    </a:lnTo>
                    <a:lnTo>
                      <a:pt x="570" y="876"/>
                    </a:lnTo>
                    <a:lnTo>
                      <a:pt x="582" y="894"/>
                    </a:lnTo>
                    <a:lnTo>
                      <a:pt x="582" y="906"/>
                    </a:lnTo>
                    <a:lnTo>
                      <a:pt x="594" y="930"/>
                    </a:lnTo>
                    <a:lnTo>
                      <a:pt x="600" y="936"/>
                    </a:lnTo>
                    <a:lnTo>
                      <a:pt x="606" y="936"/>
                    </a:lnTo>
                    <a:lnTo>
                      <a:pt x="612" y="942"/>
                    </a:lnTo>
                    <a:lnTo>
                      <a:pt x="618" y="954"/>
                    </a:lnTo>
                    <a:lnTo>
                      <a:pt x="618" y="960"/>
                    </a:lnTo>
                    <a:lnTo>
                      <a:pt x="648" y="960"/>
                    </a:lnTo>
                    <a:lnTo>
                      <a:pt x="666" y="984"/>
                    </a:lnTo>
                    <a:lnTo>
                      <a:pt x="684" y="978"/>
                    </a:lnTo>
                    <a:lnTo>
                      <a:pt x="702" y="978"/>
                    </a:lnTo>
                    <a:lnTo>
                      <a:pt x="720" y="996"/>
                    </a:lnTo>
                    <a:lnTo>
                      <a:pt x="738" y="1008"/>
                    </a:lnTo>
                    <a:lnTo>
                      <a:pt x="756" y="1026"/>
                    </a:lnTo>
                    <a:lnTo>
                      <a:pt x="792" y="1050"/>
                    </a:lnTo>
                    <a:lnTo>
                      <a:pt x="810" y="1050"/>
                    </a:lnTo>
                    <a:lnTo>
                      <a:pt x="822" y="1056"/>
                    </a:lnTo>
                    <a:lnTo>
                      <a:pt x="834" y="1068"/>
                    </a:lnTo>
                    <a:lnTo>
                      <a:pt x="852" y="1068"/>
                    </a:lnTo>
                    <a:lnTo>
                      <a:pt x="876" y="1056"/>
                    </a:lnTo>
                    <a:lnTo>
                      <a:pt x="876" y="1050"/>
                    </a:lnTo>
                    <a:lnTo>
                      <a:pt x="900" y="1056"/>
                    </a:lnTo>
                    <a:lnTo>
                      <a:pt x="912" y="1032"/>
                    </a:lnTo>
                    <a:lnTo>
                      <a:pt x="930" y="1032"/>
                    </a:lnTo>
                    <a:lnTo>
                      <a:pt x="954" y="1008"/>
                    </a:lnTo>
                    <a:lnTo>
                      <a:pt x="966" y="1020"/>
                    </a:lnTo>
                    <a:lnTo>
                      <a:pt x="972" y="1014"/>
                    </a:lnTo>
                    <a:lnTo>
                      <a:pt x="984" y="1014"/>
                    </a:lnTo>
                    <a:lnTo>
                      <a:pt x="1002" y="1032"/>
                    </a:lnTo>
                    <a:lnTo>
                      <a:pt x="1014" y="1050"/>
                    </a:lnTo>
                    <a:lnTo>
                      <a:pt x="1020" y="1068"/>
                    </a:lnTo>
                    <a:lnTo>
                      <a:pt x="1032" y="1080"/>
                    </a:lnTo>
                    <a:lnTo>
                      <a:pt x="1032" y="1098"/>
                    </a:lnTo>
                    <a:lnTo>
                      <a:pt x="1038" y="1110"/>
                    </a:lnTo>
                    <a:lnTo>
                      <a:pt x="1044" y="1116"/>
                    </a:lnTo>
                    <a:lnTo>
                      <a:pt x="1056" y="1122"/>
                    </a:lnTo>
                    <a:lnTo>
                      <a:pt x="1080" y="1122"/>
                    </a:lnTo>
                    <a:lnTo>
                      <a:pt x="1080" y="1128"/>
                    </a:lnTo>
                    <a:lnTo>
                      <a:pt x="1086" y="1134"/>
                    </a:lnTo>
                    <a:lnTo>
                      <a:pt x="1098" y="1140"/>
                    </a:lnTo>
                    <a:lnTo>
                      <a:pt x="1164" y="1140"/>
                    </a:lnTo>
                    <a:lnTo>
                      <a:pt x="1176" y="1146"/>
                    </a:lnTo>
                    <a:lnTo>
                      <a:pt x="1200" y="1170"/>
                    </a:lnTo>
                    <a:lnTo>
                      <a:pt x="1212" y="1170"/>
                    </a:lnTo>
                    <a:lnTo>
                      <a:pt x="1224" y="1164"/>
                    </a:lnTo>
                    <a:lnTo>
                      <a:pt x="1230" y="1164"/>
                    </a:lnTo>
                    <a:lnTo>
                      <a:pt x="1242" y="1158"/>
                    </a:lnTo>
                    <a:lnTo>
                      <a:pt x="1248" y="1158"/>
                    </a:lnTo>
                    <a:lnTo>
                      <a:pt x="1254" y="1164"/>
                    </a:lnTo>
                    <a:lnTo>
                      <a:pt x="1278" y="1176"/>
                    </a:lnTo>
                    <a:lnTo>
                      <a:pt x="1296" y="1182"/>
                    </a:lnTo>
                    <a:lnTo>
                      <a:pt x="1326" y="1182"/>
                    </a:lnTo>
                    <a:lnTo>
                      <a:pt x="1338" y="1176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38" name="Guinea"/>
              <p:cNvSpPr>
                <a:spLocks/>
              </p:cNvSpPr>
              <p:nvPr/>
            </p:nvSpPr>
            <p:spPr bwMode="gray">
              <a:xfrm>
                <a:off x="3789367" y="3667128"/>
                <a:ext cx="209550" cy="177800"/>
              </a:xfrm>
              <a:custGeom>
                <a:avLst/>
                <a:gdLst>
                  <a:gd name="T0" fmla="*/ 2147483647 w 522"/>
                  <a:gd name="T1" fmla="*/ 2147483647 h 444"/>
                  <a:gd name="T2" fmla="*/ 2147483647 w 522"/>
                  <a:gd name="T3" fmla="*/ 2147483647 h 444"/>
                  <a:gd name="T4" fmla="*/ 2147483647 w 522"/>
                  <a:gd name="T5" fmla="*/ 2147483647 h 444"/>
                  <a:gd name="T6" fmla="*/ 2147483647 w 522"/>
                  <a:gd name="T7" fmla="*/ 2147483647 h 444"/>
                  <a:gd name="T8" fmla="*/ 2147483647 w 522"/>
                  <a:gd name="T9" fmla="*/ 2147483647 h 444"/>
                  <a:gd name="T10" fmla="*/ 2147483647 w 522"/>
                  <a:gd name="T11" fmla="*/ 2147483647 h 444"/>
                  <a:gd name="T12" fmla="*/ 2147483647 w 522"/>
                  <a:gd name="T13" fmla="*/ 2147483647 h 444"/>
                  <a:gd name="T14" fmla="*/ 2147483647 w 522"/>
                  <a:gd name="T15" fmla="*/ 2147483647 h 444"/>
                  <a:gd name="T16" fmla="*/ 2147483647 w 522"/>
                  <a:gd name="T17" fmla="*/ 2147483647 h 444"/>
                  <a:gd name="T18" fmla="*/ 2147483647 w 522"/>
                  <a:gd name="T19" fmla="*/ 2147483647 h 444"/>
                  <a:gd name="T20" fmla="*/ 2147483647 w 522"/>
                  <a:gd name="T21" fmla="*/ 2147483647 h 444"/>
                  <a:gd name="T22" fmla="*/ 2147483647 w 522"/>
                  <a:gd name="T23" fmla="*/ 2147483647 h 444"/>
                  <a:gd name="T24" fmla="*/ 2147483647 w 522"/>
                  <a:gd name="T25" fmla="*/ 2147483647 h 444"/>
                  <a:gd name="T26" fmla="*/ 2147483647 w 522"/>
                  <a:gd name="T27" fmla="*/ 2147483647 h 444"/>
                  <a:gd name="T28" fmla="*/ 2147483647 w 522"/>
                  <a:gd name="T29" fmla="*/ 2147483647 h 444"/>
                  <a:gd name="T30" fmla="*/ 2147483647 w 522"/>
                  <a:gd name="T31" fmla="*/ 2147483647 h 444"/>
                  <a:gd name="T32" fmla="*/ 2147483647 w 522"/>
                  <a:gd name="T33" fmla="*/ 2147483647 h 444"/>
                  <a:gd name="T34" fmla="*/ 2147483647 w 522"/>
                  <a:gd name="T35" fmla="*/ 2147483647 h 444"/>
                  <a:gd name="T36" fmla="*/ 2147483647 w 522"/>
                  <a:gd name="T37" fmla="*/ 2147483647 h 444"/>
                  <a:gd name="T38" fmla="*/ 2147483647 w 522"/>
                  <a:gd name="T39" fmla="*/ 2147483647 h 444"/>
                  <a:gd name="T40" fmla="*/ 2147483647 w 522"/>
                  <a:gd name="T41" fmla="*/ 2147483647 h 444"/>
                  <a:gd name="T42" fmla="*/ 2147483647 w 522"/>
                  <a:gd name="T43" fmla="*/ 2147483647 h 444"/>
                  <a:gd name="T44" fmla="*/ 2147483647 w 522"/>
                  <a:gd name="T45" fmla="*/ 2147483647 h 444"/>
                  <a:gd name="T46" fmla="*/ 2147483647 w 522"/>
                  <a:gd name="T47" fmla="*/ 2147483647 h 444"/>
                  <a:gd name="T48" fmla="*/ 2147483647 w 522"/>
                  <a:gd name="T49" fmla="*/ 2147483647 h 444"/>
                  <a:gd name="T50" fmla="*/ 2147483647 w 522"/>
                  <a:gd name="T51" fmla="*/ 2147483647 h 444"/>
                  <a:gd name="T52" fmla="*/ 2147483647 w 522"/>
                  <a:gd name="T53" fmla="*/ 2147483647 h 444"/>
                  <a:gd name="T54" fmla="*/ 2147483647 w 522"/>
                  <a:gd name="T55" fmla="*/ 2147483647 h 444"/>
                  <a:gd name="T56" fmla="*/ 2147483647 w 522"/>
                  <a:gd name="T57" fmla="*/ 2147483647 h 444"/>
                  <a:gd name="T58" fmla="*/ 2147483647 w 522"/>
                  <a:gd name="T59" fmla="*/ 2147483647 h 444"/>
                  <a:gd name="T60" fmla="*/ 2147483647 w 522"/>
                  <a:gd name="T61" fmla="*/ 2147483647 h 444"/>
                  <a:gd name="T62" fmla="*/ 2147483647 w 522"/>
                  <a:gd name="T63" fmla="*/ 2147483647 h 444"/>
                  <a:gd name="T64" fmla="*/ 2147483647 w 522"/>
                  <a:gd name="T65" fmla="*/ 2147483647 h 444"/>
                  <a:gd name="T66" fmla="*/ 2147483647 w 522"/>
                  <a:gd name="T67" fmla="*/ 2147483647 h 444"/>
                  <a:gd name="T68" fmla="*/ 2147483647 w 522"/>
                  <a:gd name="T69" fmla="*/ 2147483647 h 444"/>
                  <a:gd name="T70" fmla="*/ 2147483647 w 522"/>
                  <a:gd name="T71" fmla="*/ 2147483647 h 444"/>
                  <a:gd name="T72" fmla="*/ 2147483647 w 522"/>
                  <a:gd name="T73" fmla="*/ 2147483647 h 444"/>
                  <a:gd name="T74" fmla="*/ 2147483647 w 522"/>
                  <a:gd name="T75" fmla="*/ 2147483647 h 444"/>
                  <a:gd name="T76" fmla="*/ 2147483647 w 522"/>
                  <a:gd name="T77" fmla="*/ 2147483647 h 444"/>
                  <a:gd name="T78" fmla="*/ 2147483647 w 522"/>
                  <a:gd name="T79" fmla="*/ 2147483647 h 444"/>
                  <a:gd name="T80" fmla="*/ 2147483647 w 522"/>
                  <a:gd name="T81" fmla="*/ 2147483647 h 444"/>
                  <a:gd name="T82" fmla="*/ 2147483647 w 522"/>
                  <a:gd name="T83" fmla="*/ 2147483647 h 444"/>
                  <a:gd name="T84" fmla="*/ 2147483647 w 522"/>
                  <a:gd name="T85" fmla="*/ 2147483647 h 444"/>
                  <a:gd name="T86" fmla="*/ 2147483647 w 522"/>
                  <a:gd name="T87" fmla="*/ 2147483647 h 444"/>
                  <a:gd name="T88" fmla="*/ 2147483647 w 522"/>
                  <a:gd name="T89" fmla="*/ 2147483647 h 444"/>
                  <a:gd name="T90" fmla="*/ 2147483647 w 522"/>
                  <a:gd name="T91" fmla="*/ 2147483647 h 444"/>
                  <a:gd name="T92" fmla="*/ 2147483647 w 522"/>
                  <a:gd name="T93" fmla="*/ 2147483647 h 44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522"/>
                  <a:gd name="T142" fmla="*/ 0 h 444"/>
                  <a:gd name="T143" fmla="*/ 522 w 522"/>
                  <a:gd name="T144" fmla="*/ 444 h 44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522" h="444">
                    <a:moveTo>
                      <a:pt x="96" y="0"/>
                    </a:moveTo>
                    <a:lnTo>
                      <a:pt x="96" y="24"/>
                    </a:lnTo>
                    <a:lnTo>
                      <a:pt x="78" y="24"/>
                    </a:lnTo>
                    <a:lnTo>
                      <a:pt x="72" y="30"/>
                    </a:lnTo>
                    <a:lnTo>
                      <a:pt x="72" y="42"/>
                    </a:lnTo>
                    <a:lnTo>
                      <a:pt x="78" y="48"/>
                    </a:lnTo>
                    <a:lnTo>
                      <a:pt x="90" y="54"/>
                    </a:lnTo>
                    <a:lnTo>
                      <a:pt x="96" y="60"/>
                    </a:lnTo>
                    <a:lnTo>
                      <a:pt x="96" y="66"/>
                    </a:lnTo>
                    <a:lnTo>
                      <a:pt x="90" y="78"/>
                    </a:lnTo>
                    <a:lnTo>
                      <a:pt x="84" y="84"/>
                    </a:lnTo>
                    <a:lnTo>
                      <a:pt x="54" y="84"/>
                    </a:lnTo>
                    <a:lnTo>
                      <a:pt x="42" y="90"/>
                    </a:lnTo>
                    <a:lnTo>
                      <a:pt x="36" y="96"/>
                    </a:lnTo>
                    <a:lnTo>
                      <a:pt x="18" y="96"/>
                    </a:lnTo>
                    <a:lnTo>
                      <a:pt x="0" y="126"/>
                    </a:lnTo>
                    <a:lnTo>
                      <a:pt x="0" y="132"/>
                    </a:lnTo>
                    <a:lnTo>
                      <a:pt x="18" y="150"/>
                    </a:lnTo>
                    <a:lnTo>
                      <a:pt x="30" y="150"/>
                    </a:lnTo>
                    <a:lnTo>
                      <a:pt x="30" y="162"/>
                    </a:lnTo>
                    <a:lnTo>
                      <a:pt x="24" y="168"/>
                    </a:lnTo>
                    <a:lnTo>
                      <a:pt x="30" y="180"/>
                    </a:lnTo>
                    <a:lnTo>
                      <a:pt x="30" y="192"/>
                    </a:lnTo>
                    <a:lnTo>
                      <a:pt x="54" y="204"/>
                    </a:lnTo>
                    <a:lnTo>
                      <a:pt x="72" y="204"/>
                    </a:lnTo>
                    <a:lnTo>
                      <a:pt x="72" y="228"/>
                    </a:lnTo>
                    <a:lnTo>
                      <a:pt x="84" y="228"/>
                    </a:lnTo>
                    <a:lnTo>
                      <a:pt x="90" y="222"/>
                    </a:lnTo>
                    <a:lnTo>
                      <a:pt x="90" y="234"/>
                    </a:lnTo>
                    <a:lnTo>
                      <a:pt x="96" y="246"/>
                    </a:lnTo>
                    <a:lnTo>
                      <a:pt x="96" y="258"/>
                    </a:lnTo>
                    <a:lnTo>
                      <a:pt x="114" y="276"/>
                    </a:lnTo>
                    <a:lnTo>
                      <a:pt x="126" y="282"/>
                    </a:lnTo>
                    <a:lnTo>
                      <a:pt x="132" y="288"/>
                    </a:lnTo>
                    <a:lnTo>
                      <a:pt x="138" y="282"/>
                    </a:lnTo>
                    <a:lnTo>
                      <a:pt x="150" y="276"/>
                    </a:lnTo>
                    <a:lnTo>
                      <a:pt x="156" y="264"/>
                    </a:lnTo>
                    <a:lnTo>
                      <a:pt x="168" y="252"/>
                    </a:lnTo>
                    <a:lnTo>
                      <a:pt x="174" y="240"/>
                    </a:lnTo>
                    <a:lnTo>
                      <a:pt x="180" y="234"/>
                    </a:lnTo>
                    <a:lnTo>
                      <a:pt x="180" y="228"/>
                    </a:lnTo>
                    <a:lnTo>
                      <a:pt x="216" y="228"/>
                    </a:lnTo>
                    <a:lnTo>
                      <a:pt x="222" y="210"/>
                    </a:lnTo>
                    <a:lnTo>
                      <a:pt x="258" y="210"/>
                    </a:lnTo>
                    <a:lnTo>
                      <a:pt x="300" y="270"/>
                    </a:lnTo>
                    <a:lnTo>
                      <a:pt x="300" y="288"/>
                    </a:lnTo>
                    <a:lnTo>
                      <a:pt x="312" y="300"/>
                    </a:lnTo>
                    <a:lnTo>
                      <a:pt x="312" y="318"/>
                    </a:lnTo>
                    <a:lnTo>
                      <a:pt x="306" y="330"/>
                    </a:lnTo>
                    <a:lnTo>
                      <a:pt x="300" y="336"/>
                    </a:lnTo>
                    <a:lnTo>
                      <a:pt x="294" y="354"/>
                    </a:lnTo>
                    <a:lnTo>
                      <a:pt x="324" y="342"/>
                    </a:lnTo>
                    <a:lnTo>
                      <a:pt x="348" y="348"/>
                    </a:lnTo>
                    <a:lnTo>
                      <a:pt x="348" y="336"/>
                    </a:lnTo>
                    <a:lnTo>
                      <a:pt x="354" y="330"/>
                    </a:lnTo>
                    <a:lnTo>
                      <a:pt x="360" y="330"/>
                    </a:lnTo>
                    <a:lnTo>
                      <a:pt x="372" y="336"/>
                    </a:lnTo>
                    <a:lnTo>
                      <a:pt x="384" y="348"/>
                    </a:lnTo>
                    <a:lnTo>
                      <a:pt x="390" y="366"/>
                    </a:lnTo>
                    <a:lnTo>
                      <a:pt x="390" y="426"/>
                    </a:lnTo>
                    <a:lnTo>
                      <a:pt x="402" y="426"/>
                    </a:lnTo>
                    <a:lnTo>
                      <a:pt x="402" y="432"/>
                    </a:lnTo>
                    <a:lnTo>
                      <a:pt x="414" y="444"/>
                    </a:lnTo>
                    <a:lnTo>
                      <a:pt x="420" y="444"/>
                    </a:lnTo>
                    <a:lnTo>
                      <a:pt x="432" y="432"/>
                    </a:lnTo>
                    <a:lnTo>
                      <a:pt x="432" y="420"/>
                    </a:lnTo>
                    <a:lnTo>
                      <a:pt x="438" y="408"/>
                    </a:lnTo>
                    <a:lnTo>
                      <a:pt x="444" y="402"/>
                    </a:lnTo>
                    <a:lnTo>
                      <a:pt x="456" y="402"/>
                    </a:lnTo>
                    <a:lnTo>
                      <a:pt x="468" y="408"/>
                    </a:lnTo>
                    <a:lnTo>
                      <a:pt x="474" y="414"/>
                    </a:lnTo>
                    <a:lnTo>
                      <a:pt x="480" y="414"/>
                    </a:lnTo>
                    <a:lnTo>
                      <a:pt x="486" y="408"/>
                    </a:lnTo>
                    <a:lnTo>
                      <a:pt x="486" y="390"/>
                    </a:lnTo>
                    <a:lnTo>
                      <a:pt x="480" y="384"/>
                    </a:lnTo>
                    <a:lnTo>
                      <a:pt x="480" y="378"/>
                    </a:lnTo>
                    <a:lnTo>
                      <a:pt x="498" y="378"/>
                    </a:lnTo>
                    <a:lnTo>
                      <a:pt x="492" y="366"/>
                    </a:lnTo>
                    <a:lnTo>
                      <a:pt x="480" y="360"/>
                    </a:lnTo>
                    <a:lnTo>
                      <a:pt x="474" y="348"/>
                    </a:lnTo>
                    <a:lnTo>
                      <a:pt x="474" y="336"/>
                    </a:lnTo>
                    <a:lnTo>
                      <a:pt x="492" y="336"/>
                    </a:lnTo>
                    <a:lnTo>
                      <a:pt x="498" y="342"/>
                    </a:lnTo>
                    <a:lnTo>
                      <a:pt x="510" y="342"/>
                    </a:lnTo>
                    <a:lnTo>
                      <a:pt x="516" y="348"/>
                    </a:lnTo>
                    <a:lnTo>
                      <a:pt x="516" y="342"/>
                    </a:lnTo>
                    <a:lnTo>
                      <a:pt x="522" y="336"/>
                    </a:lnTo>
                    <a:lnTo>
                      <a:pt x="522" y="324"/>
                    </a:lnTo>
                    <a:lnTo>
                      <a:pt x="516" y="324"/>
                    </a:lnTo>
                    <a:lnTo>
                      <a:pt x="504" y="318"/>
                    </a:lnTo>
                    <a:lnTo>
                      <a:pt x="498" y="318"/>
                    </a:lnTo>
                    <a:lnTo>
                      <a:pt x="498" y="306"/>
                    </a:lnTo>
                    <a:lnTo>
                      <a:pt x="504" y="294"/>
                    </a:lnTo>
                    <a:lnTo>
                      <a:pt x="510" y="288"/>
                    </a:lnTo>
                    <a:lnTo>
                      <a:pt x="492" y="282"/>
                    </a:lnTo>
                    <a:lnTo>
                      <a:pt x="504" y="264"/>
                    </a:lnTo>
                    <a:lnTo>
                      <a:pt x="486" y="258"/>
                    </a:lnTo>
                    <a:lnTo>
                      <a:pt x="480" y="222"/>
                    </a:lnTo>
                    <a:lnTo>
                      <a:pt x="498" y="198"/>
                    </a:lnTo>
                    <a:lnTo>
                      <a:pt x="468" y="168"/>
                    </a:lnTo>
                    <a:lnTo>
                      <a:pt x="468" y="132"/>
                    </a:lnTo>
                    <a:lnTo>
                      <a:pt x="444" y="132"/>
                    </a:lnTo>
                    <a:lnTo>
                      <a:pt x="468" y="96"/>
                    </a:lnTo>
                    <a:lnTo>
                      <a:pt x="432" y="78"/>
                    </a:lnTo>
                    <a:lnTo>
                      <a:pt x="444" y="48"/>
                    </a:lnTo>
                    <a:lnTo>
                      <a:pt x="426" y="36"/>
                    </a:lnTo>
                    <a:lnTo>
                      <a:pt x="426" y="18"/>
                    </a:lnTo>
                    <a:lnTo>
                      <a:pt x="414" y="12"/>
                    </a:lnTo>
                    <a:lnTo>
                      <a:pt x="402" y="12"/>
                    </a:lnTo>
                    <a:lnTo>
                      <a:pt x="396" y="18"/>
                    </a:lnTo>
                    <a:lnTo>
                      <a:pt x="396" y="36"/>
                    </a:lnTo>
                    <a:lnTo>
                      <a:pt x="378" y="54"/>
                    </a:lnTo>
                    <a:lnTo>
                      <a:pt x="366" y="48"/>
                    </a:lnTo>
                    <a:lnTo>
                      <a:pt x="360" y="42"/>
                    </a:lnTo>
                    <a:lnTo>
                      <a:pt x="348" y="36"/>
                    </a:lnTo>
                    <a:lnTo>
                      <a:pt x="342" y="36"/>
                    </a:lnTo>
                    <a:lnTo>
                      <a:pt x="336" y="30"/>
                    </a:lnTo>
                    <a:lnTo>
                      <a:pt x="330" y="30"/>
                    </a:lnTo>
                    <a:lnTo>
                      <a:pt x="324" y="42"/>
                    </a:lnTo>
                    <a:lnTo>
                      <a:pt x="312" y="54"/>
                    </a:lnTo>
                    <a:lnTo>
                      <a:pt x="306" y="66"/>
                    </a:lnTo>
                    <a:lnTo>
                      <a:pt x="306" y="54"/>
                    </a:lnTo>
                    <a:lnTo>
                      <a:pt x="300" y="42"/>
                    </a:lnTo>
                    <a:lnTo>
                      <a:pt x="288" y="30"/>
                    </a:lnTo>
                    <a:lnTo>
                      <a:pt x="276" y="42"/>
                    </a:lnTo>
                    <a:lnTo>
                      <a:pt x="270" y="54"/>
                    </a:lnTo>
                    <a:lnTo>
                      <a:pt x="264" y="60"/>
                    </a:lnTo>
                    <a:lnTo>
                      <a:pt x="258" y="54"/>
                    </a:lnTo>
                    <a:lnTo>
                      <a:pt x="258" y="48"/>
                    </a:lnTo>
                    <a:lnTo>
                      <a:pt x="252" y="36"/>
                    </a:lnTo>
                    <a:lnTo>
                      <a:pt x="252" y="24"/>
                    </a:lnTo>
                    <a:lnTo>
                      <a:pt x="210" y="24"/>
                    </a:lnTo>
                    <a:lnTo>
                      <a:pt x="204" y="30"/>
                    </a:lnTo>
                    <a:lnTo>
                      <a:pt x="192" y="36"/>
                    </a:lnTo>
                    <a:lnTo>
                      <a:pt x="180" y="36"/>
                    </a:lnTo>
                    <a:lnTo>
                      <a:pt x="174" y="30"/>
                    </a:lnTo>
                    <a:lnTo>
                      <a:pt x="168" y="18"/>
                    </a:lnTo>
                    <a:lnTo>
                      <a:pt x="162" y="12"/>
                    </a:lnTo>
                    <a:lnTo>
                      <a:pt x="156" y="18"/>
                    </a:lnTo>
                    <a:lnTo>
                      <a:pt x="138" y="18"/>
                    </a:lnTo>
                    <a:lnTo>
                      <a:pt x="132" y="6"/>
                    </a:lnTo>
                    <a:lnTo>
                      <a:pt x="132" y="0"/>
                    </a:lnTo>
                    <a:lnTo>
                      <a:pt x="96" y="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39" name="Greenland"/>
              <p:cNvSpPr>
                <a:spLocks noEditPoints="1"/>
              </p:cNvSpPr>
              <p:nvPr/>
            </p:nvSpPr>
            <p:spPr bwMode="gray">
              <a:xfrm>
                <a:off x="2984505" y="1546227"/>
                <a:ext cx="1128715" cy="614363"/>
              </a:xfrm>
              <a:custGeom>
                <a:avLst/>
                <a:gdLst>
                  <a:gd name="T0" fmla="*/ 2147483647 w 732"/>
                  <a:gd name="T1" fmla="*/ 2147483647 h 398"/>
                  <a:gd name="T2" fmla="*/ 2147483647 w 732"/>
                  <a:gd name="T3" fmla="*/ 2147483647 h 398"/>
                  <a:gd name="T4" fmla="*/ 2147483647 w 732"/>
                  <a:gd name="T5" fmla="*/ 2147483647 h 398"/>
                  <a:gd name="T6" fmla="*/ 2147483647 w 732"/>
                  <a:gd name="T7" fmla="*/ 2147483647 h 398"/>
                  <a:gd name="T8" fmla="*/ 2147483647 w 732"/>
                  <a:gd name="T9" fmla="*/ 2147483647 h 398"/>
                  <a:gd name="T10" fmla="*/ 2147483647 w 732"/>
                  <a:gd name="T11" fmla="*/ 2147483647 h 398"/>
                  <a:gd name="T12" fmla="*/ 2147483647 w 732"/>
                  <a:gd name="T13" fmla="*/ 2147483647 h 398"/>
                  <a:gd name="T14" fmla="*/ 2147483647 w 732"/>
                  <a:gd name="T15" fmla="*/ 2147483647 h 398"/>
                  <a:gd name="T16" fmla="*/ 2147483647 w 732"/>
                  <a:gd name="T17" fmla="*/ 2147483647 h 398"/>
                  <a:gd name="T18" fmla="*/ 2147483647 w 732"/>
                  <a:gd name="T19" fmla="*/ 2147483647 h 398"/>
                  <a:gd name="T20" fmla="*/ 2147483647 w 732"/>
                  <a:gd name="T21" fmla="*/ 2147483647 h 398"/>
                  <a:gd name="T22" fmla="*/ 2147483647 w 732"/>
                  <a:gd name="T23" fmla="*/ 2147483647 h 398"/>
                  <a:gd name="T24" fmla="*/ 2147483647 w 732"/>
                  <a:gd name="T25" fmla="*/ 2147483647 h 398"/>
                  <a:gd name="T26" fmla="*/ 2147483647 w 732"/>
                  <a:gd name="T27" fmla="*/ 2147483647 h 398"/>
                  <a:gd name="T28" fmla="*/ 2147483647 w 732"/>
                  <a:gd name="T29" fmla="*/ 2147483647 h 398"/>
                  <a:gd name="T30" fmla="*/ 2147483647 w 732"/>
                  <a:gd name="T31" fmla="*/ 2147483647 h 398"/>
                  <a:gd name="T32" fmla="*/ 2147483647 w 732"/>
                  <a:gd name="T33" fmla="*/ 2147483647 h 398"/>
                  <a:gd name="T34" fmla="*/ 2147483647 w 732"/>
                  <a:gd name="T35" fmla="*/ 2147483647 h 398"/>
                  <a:gd name="T36" fmla="*/ 2147483647 w 732"/>
                  <a:gd name="T37" fmla="*/ 2147483647 h 398"/>
                  <a:gd name="T38" fmla="*/ 2147483647 w 732"/>
                  <a:gd name="T39" fmla="*/ 2147483647 h 398"/>
                  <a:gd name="T40" fmla="*/ 2147483647 w 732"/>
                  <a:gd name="T41" fmla="*/ 2147483647 h 398"/>
                  <a:gd name="T42" fmla="*/ 2147483647 w 732"/>
                  <a:gd name="T43" fmla="*/ 2147483647 h 398"/>
                  <a:gd name="T44" fmla="*/ 2147483647 w 732"/>
                  <a:gd name="T45" fmla="*/ 2147483647 h 398"/>
                  <a:gd name="T46" fmla="*/ 2147483647 w 732"/>
                  <a:gd name="T47" fmla="*/ 2147483647 h 398"/>
                  <a:gd name="T48" fmla="*/ 2147483647 w 732"/>
                  <a:gd name="T49" fmla="*/ 2147483647 h 398"/>
                  <a:gd name="T50" fmla="*/ 2147483647 w 732"/>
                  <a:gd name="T51" fmla="*/ 2147483647 h 398"/>
                  <a:gd name="T52" fmla="*/ 2147483647 w 732"/>
                  <a:gd name="T53" fmla="*/ 2147483647 h 398"/>
                  <a:gd name="T54" fmla="*/ 2147483647 w 732"/>
                  <a:gd name="T55" fmla="*/ 2147483647 h 398"/>
                  <a:gd name="T56" fmla="*/ 2147483647 w 732"/>
                  <a:gd name="T57" fmla="*/ 2147483647 h 398"/>
                  <a:gd name="T58" fmla="*/ 2147483647 w 732"/>
                  <a:gd name="T59" fmla="*/ 2147483647 h 398"/>
                  <a:gd name="T60" fmla="*/ 2147483647 w 732"/>
                  <a:gd name="T61" fmla="*/ 2147483647 h 398"/>
                  <a:gd name="T62" fmla="*/ 2147483647 w 732"/>
                  <a:gd name="T63" fmla="*/ 2147483647 h 398"/>
                  <a:gd name="T64" fmla="*/ 2147483647 w 732"/>
                  <a:gd name="T65" fmla="*/ 2147483647 h 398"/>
                  <a:gd name="T66" fmla="*/ 2147483647 w 732"/>
                  <a:gd name="T67" fmla="*/ 2147483647 h 398"/>
                  <a:gd name="T68" fmla="*/ 2147483647 w 732"/>
                  <a:gd name="T69" fmla="*/ 2147483647 h 398"/>
                  <a:gd name="T70" fmla="*/ 2147483647 w 732"/>
                  <a:gd name="T71" fmla="*/ 2147483647 h 398"/>
                  <a:gd name="T72" fmla="*/ 2147483647 w 732"/>
                  <a:gd name="T73" fmla="*/ 2147483647 h 398"/>
                  <a:gd name="T74" fmla="*/ 2147483647 w 732"/>
                  <a:gd name="T75" fmla="*/ 2147483647 h 398"/>
                  <a:gd name="T76" fmla="*/ 2147483647 w 732"/>
                  <a:gd name="T77" fmla="*/ 2147483647 h 398"/>
                  <a:gd name="T78" fmla="*/ 2147483647 w 732"/>
                  <a:gd name="T79" fmla="*/ 2147483647 h 398"/>
                  <a:gd name="T80" fmla="*/ 2147483647 w 732"/>
                  <a:gd name="T81" fmla="*/ 2147483647 h 398"/>
                  <a:gd name="T82" fmla="*/ 2147483647 w 732"/>
                  <a:gd name="T83" fmla="*/ 2147483647 h 398"/>
                  <a:gd name="T84" fmla="*/ 2147483647 w 732"/>
                  <a:gd name="T85" fmla="*/ 2147483647 h 398"/>
                  <a:gd name="T86" fmla="*/ 2147483647 w 732"/>
                  <a:gd name="T87" fmla="*/ 2147483647 h 398"/>
                  <a:gd name="T88" fmla="*/ 2147483647 w 732"/>
                  <a:gd name="T89" fmla="*/ 2147483647 h 398"/>
                  <a:gd name="T90" fmla="*/ 2147483647 w 732"/>
                  <a:gd name="T91" fmla="*/ 2147483647 h 398"/>
                  <a:gd name="T92" fmla="*/ 2147483647 w 732"/>
                  <a:gd name="T93" fmla="*/ 2147483647 h 398"/>
                  <a:gd name="T94" fmla="*/ 2147483647 w 732"/>
                  <a:gd name="T95" fmla="*/ 2147483647 h 398"/>
                  <a:gd name="T96" fmla="*/ 2147483647 w 732"/>
                  <a:gd name="T97" fmla="*/ 2147483647 h 398"/>
                  <a:gd name="T98" fmla="*/ 2147483647 w 732"/>
                  <a:gd name="T99" fmla="*/ 2147483647 h 398"/>
                  <a:gd name="T100" fmla="*/ 2147483647 w 732"/>
                  <a:gd name="T101" fmla="*/ 2147483647 h 398"/>
                  <a:gd name="T102" fmla="*/ 2147483647 w 732"/>
                  <a:gd name="T103" fmla="*/ 2147483647 h 398"/>
                  <a:gd name="T104" fmla="*/ 2147483647 w 732"/>
                  <a:gd name="T105" fmla="*/ 2147483647 h 398"/>
                  <a:gd name="T106" fmla="*/ 2147483647 w 732"/>
                  <a:gd name="T107" fmla="*/ 2147483647 h 398"/>
                  <a:gd name="T108" fmla="*/ 2147483647 w 732"/>
                  <a:gd name="T109" fmla="*/ 2147483647 h 398"/>
                  <a:gd name="T110" fmla="*/ 2147483647 w 732"/>
                  <a:gd name="T111" fmla="*/ 2147483647 h 398"/>
                  <a:gd name="T112" fmla="*/ 2147483647 w 732"/>
                  <a:gd name="T113" fmla="*/ 2147483647 h 398"/>
                  <a:gd name="T114" fmla="*/ 2147483647 w 732"/>
                  <a:gd name="T115" fmla="*/ 2147483647 h 398"/>
                  <a:gd name="T116" fmla="*/ 2147483647 w 732"/>
                  <a:gd name="T117" fmla="*/ 2147483647 h 398"/>
                  <a:gd name="T118" fmla="*/ 2147483647 w 732"/>
                  <a:gd name="T119" fmla="*/ 2147483647 h 398"/>
                  <a:gd name="T120" fmla="*/ 2147483647 w 732"/>
                  <a:gd name="T121" fmla="*/ 2147483647 h 398"/>
                  <a:gd name="T122" fmla="*/ 2147483647 w 732"/>
                  <a:gd name="T123" fmla="*/ 2147483647 h 39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732"/>
                  <a:gd name="T187" fmla="*/ 0 h 398"/>
                  <a:gd name="T188" fmla="*/ 732 w 732"/>
                  <a:gd name="T189" fmla="*/ 398 h 39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732" h="398">
                    <a:moveTo>
                      <a:pt x="730" y="24"/>
                    </a:moveTo>
                    <a:lnTo>
                      <a:pt x="728" y="24"/>
                    </a:lnTo>
                    <a:lnTo>
                      <a:pt x="723" y="24"/>
                    </a:lnTo>
                    <a:lnTo>
                      <a:pt x="718" y="22"/>
                    </a:lnTo>
                    <a:lnTo>
                      <a:pt x="678" y="22"/>
                    </a:lnTo>
                    <a:lnTo>
                      <a:pt x="678" y="24"/>
                    </a:lnTo>
                    <a:lnTo>
                      <a:pt x="670" y="26"/>
                    </a:lnTo>
                    <a:lnTo>
                      <a:pt x="659" y="26"/>
                    </a:lnTo>
                    <a:lnTo>
                      <a:pt x="651" y="24"/>
                    </a:lnTo>
                    <a:lnTo>
                      <a:pt x="637" y="24"/>
                    </a:lnTo>
                    <a:lnTo>
                      <a:pt x="623" y="29"/>
                    </a:lnTo>
                    <a:lnTo>
                      <a:pt x="616" y="34"/>
                    </a:lnTo>
                    <a:lnTo>
                      <a:pt x="611" y="34"/>
                    </a:lnTo>
                    <a:lnTo>
                      <a:pt x="606" y="34"/>
                    </a:lnTo>
                    <a:lnTo>
                      <a:pt x="604" y="36"/>
                    </a:lnTo>
                    <a:lnTo>
                      <a:pt x="602" y="36"/>
                    </a:lnTo>
                    <a:lnTo>
                      <a:pt x="597" y="38"/>
                    </a:lnTo>
                    <a:lnTo>
                      <a:pt x="592" y="38"/>
                    </a:lnTo>
                    <a:lnTo>
                      <a:pt x="599" y="34"/>
                    </a:lnTo>
                    <a:lnTo>
                      <a:pt x="609" y="31"/>
                    </a:lnTo>
                    <a:lnTo>
                      <a:pt x="621" y="26"/>
                    </a:lnTo>
                    <a:lnTo>
                      <a:pt x="623" y="24"/>
                    </a:lnTo>
                    <a:lnTo>
                      <a:pt x="618" y="19"/>
                    </a:lnTo>
                    <a:lnTo>
                      <a:pt x="606" y="19"/>
                    </a:lnTo>
                    <a:lnTo>
                      <a:pt x="604" y="22"/>
                    </a:lnTo>
                    <a:lnTo>
                      <a:pt x="602" y="22"/>
                    </a:lnTo>
                    <a:lnTo>
                      <a:pt x="597" y="24"/>
                    </a:lnTo>
                    <a:lnTo>
                      <a:pt x="594" y="24"/>
                    </a:lnTo>
                    <a:lnTo>
                      <a:pt x="566" y="26"/>
                    </a:lnTo>
                    <a:lnTo>
                      <a:pt x="566" y="29"/>
                    </a:lnTo>
                    <a:lnTo>
                      <a:pt x="563" y="29"/>
                    </a:lnTo>
                    <a:lnTo>
                      <a:pt x="566" y="26"/>
                    </a:lnTo>
                    <a:lnTo>
                      <a:pt x="568" y="26"/>
                    </a:lnTo>
                    <a:lnTo>
                      <a:pt x="573" y="26"/>
                    </a:lnTo>
                    <a:lnTo>
                      <a:pt x="578" y="24"/>
                    </a:lnTo>
                    <a:lnTo>
                      <a:pt x="580" y="24"/>
                    </a:lnTo>
                    <a:lnTo>
                      <a:pt x="582" y="24"/>
                    </a:lnTo>
                    <a:lnTo>
                      <a:pt x="585" y="22"/>
                    </a:lnTo>
                    <a:lnTo>
                      <a:pt x="578" y="19"/>
                    </a:lnTo>
                    <a:lnTo>
                      <a:pt x="552" y="19"/>
                    </a:lnTo>
                    <a:lnTo>
                      <a:pt x="542" y="22"/>
                    </a:lnTo>
                    <a:lnTo>
                      <a:pt x="525" y="19"/>
                    </a:lnTo>
                    <a:lnTo>
                      <a:pt x="523" y="19"/>
                    </a:lnTo>
                    <a:lnTo>
                      <a:pt x="523" y="22"/>
                    </a:lnTo>
                    <a:lnTo>
                      <a:pt x="518" y="22"/>
                    </a:lnTo>
                    <a:lnTo>
                      <a:pt x="514" y="24"/>
                    </a:lnTo>
                    <a:lnTo>
                      <a:pt x="511" y="24"/>
                    </a:lnTo>
                    <a:lnTo>
                      <a:pt x="509" y="24"/>
                    </a:lnTo>
                    <a:lnTo>
                      <a:pt x="506" y="24"/>
                    </a:lnTo>
                    <a:lnTo>
                      <a:pt x="509" y="22"/>
                    </a:lnTo>
                    <a:lnTo>
                      <a:pt x="518" y="19"/>
                    </a:lnTo>
                    <a:lnTo>
                      <a:pt x="530" y="19"/>
                    </a:lnTo>
                    <a:lnTo>
                      <a:pt x="563" y="19"/>
                    </a:lnTo>
                    <a:lnTo>
                      <a:pt x="580" y="17"/>
                    </a:lnTo>
                    <a:lnTo>
                      <a:pt x="625" y="17"/>
                    </a:lnTo>
                    <a:lnTo>
                      <a:pt x="632" y="14"/>
                    </a:lnTo>
                    <a:lnTo>
                      <a:pt x="628" y="12"/>
                    </a:lnTo>
                    <a:lnTo>
                      <a:pt x="618" y="10"/>
                    </a:lnTo>
                    <a:lnTo>
                      <a:pt x="592" y="10"/>
                    </a:lnTo>
                    <a:lnTo>
                      <a:pt x="594" y="10"/>
                    </a:lnTo>
                    <a:lnTo>
                      <a:pt x="597" y="7"/>
                    </a:lnTo>
                    <a:lnTo>
                      <a:pt x="594" y="5"/>
                    </a:lnTo>
                    <a:lnTo>
                      <a:pt x="585" y="5"/>
                    </a:lnTo>
                    <a:lnTo>
                      <a:pt x="582" y="7"/>
                    </a:lnTo>
                    <a:lnTo>
                      <a:pt x="568" y="7"/>
                    </a:lnTo>
                    <a:lnTo>
                      <a:pt x="566" y="5"/>
                    </a:lnTo>
                    <a:lnTo>
                      <a:pt x="571" y="5"/>
                    </a:lnTo>
                    <a:lnTo>
                      <a:pt x="573" y="5"/>
                    </a:lnTo>
                    <a:lnTo>
                      <a:pt x="578" y="5"/>
                    </a:lnTo>
                    <a:lnTo>
                      <a:pt x="578" y="2"/>
                    </a:lnTo>
                    <a:lnTo>
                      <a:pt x="575" y="2"/>
                    </a:lnTo>
                    <a:lnTo>
                      <a:pt x="571" y="0"/>
                    </a:lnTo>
                    <a:lnTo>
                      <a:pt x="537" y="0"/>
                    </a:lnTo>
                    <a:lnTo>
                      <a:pt x="528" y="2"/>
                    </a:lnTo>
                    <a:lnTo>
                      <a:pt x="518" y="2"/>
                    </a:lnTo>
                    <a:lnTo>
                      <a:pt x="509" y="0"/>
                    </a:lnTo>
                    <a:lnTo>
                      <a:pt x="483" y="0"/>
                    </a:lnTo>
                    <a:lnTo>
                      <a:pt x="478" y="2"/>
                    </a:lnTo>
                    <a:lnTo>
                      <a:pt x="454" y="2"/>
                    </a:lnTo>
                    <a:lnTo>
                      <a:pt x="452" y="0"/>
                    </a:lnTo>
                    <a:lnTo>
                      <a:pt x="447" y="0"/>
                    </a:lnTo>
                    <a:lnTo>
                      <a:pt x="445" y="2"/>
                    </a:lnTo>
                    <a:lnTo>
                      <a:pt x="442" y="2"/>
                    </a:lnTo>
                    <a:lnTo>
                      <a:pt x="442" y="5"/>
                    </a:lnTo>
                    <a:lnTo>
                      <a:pt x="445" y="5"/>
                    </a:lnTo>
                    <a:lnTo>
                      <a:pt x="447" y="5"/>
                    </a:lnTo>
                    <a:lnTo>
                      <a:pt x="442" y="7"/>
                    </a:lnTo>
                    <a:lnTo>
                      <a:pt x="428" y="7"/>
                    </a:lnTo>
                    <a:lnTo>
                      <a:pt x="409" y="5"/>
                    </a:lnTo>
                    <a:lnTo>
                      <a:pt x="378" y="5"/>
                    </a:lnTo>
                    <a:lnTo>
                      <a:pt x="373" y="5"/>
                    </a:lnTo>
                    <a:lnTo>
                      <a:pt x="371" y="5"/>
                    </a:lnTo>
                    <a:lnTo>
                      <a:pt x="368" y="7"/>
                    </a:lnTo>
                    <a:lnTo>
                      <a:pt x="366" y="7"/>
                    </a:lnTo>
                    <a:lnTo>
                      <a:pt x="366" y="10"/>
                    </a:lnTo>
                    <a:lnTo>
                      <a:pt x="368" y="10"/>
                    </a:lnTo>
                    <a:lnTo>
                      <a:pt x="378" y="10"/>
                    </a:lnTo>
                    <a:lnTo>
                      <a:pt x="387" y="10"/>
                    </a:lnTo>
                    <a:lnTo>
                      <a:pt x="399" y="12"/>
                    </a:lnTo>
                    <a:lnTo>
                      <a:pt x="404" y="12"/>
                    </a:lnTo>
                    <a:lnTo>
                      <a:pt x="426" y="14"/>
                    </a:lnTo>
                    <a:lnTo>
                      <a:pt x="399" y="14"/>
                    </a:lnTo>
                    <a:lnTo>
                      <a:pt x="395" y="14"/>
                    </a:lnTo>
                    <a:lnTo>
                      <a:pt x="392" y="14"/>
                    </a:lnTo>
                    <a:lnTo>
                      <a:pt x="387" y="12"/>
                    </a:lnTo>
                    <a:lnTo>
                      <a:pt x="378" y="12"/>
                    </a:lnTo>
                    <a:lnTo>
                      <a:pt x="380" y="14"/>
                    </a:lnTo>
                    <a:lnTo>
                      <a:pt x="383" y="14"/>
                    </a:lnTo>
                    <a:lnTo>
                      <a:pt x="385" y="14"/>
                    </a:lnTo>
                    <a:lnTo>
                      <a:pt x="376" y="14"/>
                    </a:lnTo>
                    <a:lnTo>
                      <a:pt x="373" y="17"/>
                    </a:lnTo>
                    <a:lnTo>
                      <a:pt x="373" y="19"/>
                    </a:lnTo>
                    <a:lnTo>
                      <a:pt x="371" y="22"/>
                    </a:lnTo>
                    <a:lnTo>
                      <a:pt x="371" y="24"/>
                    </a:lnTo>
                    <a:lnTo>
                      <a:pt x="368" y="24"/>
                    </a:lnTo>
                    <a:lnTo>
                      <a:pt x="366" y="24"/>
                    </a:lnTo>
                    <a:lnTo>
                      <a:pt x="364" y="24"/>
                    </a:lnTo>
                    <a:lnTo>
                      <a:pt x="359" y="24"/>
                    </a:lnTo>
                    <a:lnTo>
                      <a:pt x="357" y="22"/>
                    </a:lnTo>
                    <a:lnTo>
                      <a:pt x="345" y="19"/>
                    </a:lnTo>
                    <a:lnTo>
                      <a:pt x="330" y="14"/>
                    </a:lnTo>
                    <a:lnTo>
                      <a:pt x="309" y="14"/>
                    </a:lnTo>
                    <a:lnTo>
                      <a:pt x="309" y="24"/>
                    </a:lnTo>
                    <a:lnTo>
                      <a:pt x="297" y="24"/>
                    </a:lnTo>
                    <a:lnTo>
                      <a:pt x="292" y="22"/>
                    </a:lnTo>
                    <a:lnTo>
                      <a:pt x="288" y="22"/>
                    </a:lnTo>
                    <a:lnTo>
                      <a:pt x="285" y="19"/>
                    </a:lnTo>
                    <a:lnTo>
                      <a:pt x="278" y="19"/>
                    </a:lnTo>
                    <a:lnTo>
                      <a:pt x="273" y="22"/>
                    </a:lnTo>
                    <a:lnTo>
                      <a:pt x="273" y="24"/>
                    </a:lnTo>
                    <a:lnTo>
                      <a:pt x="269" y="24"/>
                    </a:lnTo>
                    <a:lnTo>
                      <a:pt x="271" y="19"/>
                    </a:lnTo>
                    <a:lnTo>
                      <a:pt x="269" y="17"/>
                    </a:lnTo>
                    <a:lnTo>
                      <a:pt x="238" y="17"/>
                    </a:lnTo>
                    <a:lnTo>
                      <a:pt x="228" y="19"/>
                    </a:lnTo>
                    <a:lnTo>
                      <a:pt x="209" y="19"/>
                    </a:lnTo>
                    <a:lnTo>
                      <a:pt x="214" y="22"/>
                    </a:lnTo>
                    <a:lnTo>
                      <a:pt x="223" y="26"/>
                    </a:lnTo>
                    <a:lnTo>
                      <a:pt x="226" y="29"/>
                    </a:lnTo>
                    <a:lnTo>
                      <a:pt x="223" y="29"/>
                    </a:lnTo>
                    <a:lnTo>
                      <a:pt x="223" y="26"/>
                    </a:lnTo>
                    <a:lnTo>
                      <a:pt x="214" y="24"/>
                    </a:lnTo>
                    <a:lnTo>
                      <a:pt x="207" y="24"/>
                    </a:lnTo>
                    <a:lnTo>
                      <a:pt x="202" y="22"/>
                    </a:lnTo>
                    <a:lnTo>
                      <a:pt x="197" y="22"/>
                    </a:lnTo>
                    <a:lnTo>
                      <a:pt x="192" y="19"/>
                    </a:lnTo>
                    <a:lnTo>
                      <a:pt x="190" y="19"/>
                    </a:lnTo>
                    <a:lnTo>
                      <a:pt x="188" y="22"/>
                    </a:lnTo>
                    <a:lnTo>
                      <a:pt x="185" y="24"/>
                    </a:lnTo>
                    <a:lnTo>
                      <a:pt x="183" y="26"/>
                    </a:lnTo>
                    <a:lnTo>
                      <a:pt x="178" y="29"/>
                    </a:lnTo>
                    <a:lnTo>
                      <a:pt x="176" y="29"/>
                    </a:lnTo>
                    <a:lnTo>
                      <a:pt x="171" y="31"/>
                    </a:lnTo>
                    <a:lnTo>
                      <a:pt x="150" y="31"/>
                    </a:lnTo>
                    <a:lnTo>
                      <a:pt x="143" y="34"/>
                    </a:lnTo>
                    <a:lnTo>
                      <a:pt x="133" y="36"/>
                    </a:lnTo>
                    <a:lnTo>
                      <a:pt x="124" y="38"/>
                    </a:lnTo>
                    <a:lnTo>
                      <a:pt x="119" y="38"/>
                    </a:lnTo>
                    <a:lnTo>
                      <a:pt x="102" y="41"/>
                    </a:lnTo>
                    <a:lnTo>
                      <a:pt x="97" y="43"/>
                    </a:lnTo>
                    <a:lnTo>
                      <a:pt x="100" y="46"/>
                    </a:lnTo>
                    <a:lnTo>
                      <a:pt x="105" y="48"/>
                    </a:lnTo>
                    <a:lnTo>
                      <a:pt x="126" y="48"/>
                    </a:lnTo>
                    <a:lnTo>
                      <a:pt x="116" y="50"/>
                    </a:lnTo>
                    <a:lnTo>
                      <a:pt x="112" y="55"/>
                    </a:lnTo>
                    <a:lnTo>
                      <a:pt x="109" y="55"/>
                    </a:lnTo>
                    <a:lnTo>
                      <a:pt x="93" y="60"/>
                    </a:lnTo>
                    <a:lnTo>
                      <a:pt x="88" y="60"/>
                    </a:lnTo>
                    <a:lnTo>
                      <a:pt x="66" y="60"/>
                    </a:lnTo>
                    <a:lnTo>
                      <a:pt x="57" y="62"/>
                    </a:lnTo>
                    <a:lnTo>
                      <a:pt x="47" y="65"/>
                    </a:lnTo>
                    <a:lnTo>
                      <a:pt x="45" y="67"/>
                    </a:lnTo>
                    <a:lnTo>
                      <a:pt x="40" y="67"/>
                    </a:lnTo>
                    <a:lnTo>
                      <a:pt x="38" y="65"/>
                    </a:lnTo>
                    <a:lnTo>
                      <a:pt x="31" y="70"/>
                    </a:lnTo>
                    <a:lnTo>
                      <a:pt x="9" y="70"/>
                    </a:lnTo>
                    <a:lnTo>
                      <a:pt x="7" y="70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2" y="74"/>
                    </a:lnTo>
                    <a:lnTo>
                      <a:pt x="9" y="79"/>
                    </a:lnTo>
                    <a:lnTo>
                      <a:pt x="12" y="82"/>
                    </a:lnTo>
                    <a:lnTo>
                      <a:pt x="14" y="84"/>
                    </a:lnTo>
                    <a:lnTo>
                      <a:pt x="24" y="79"/>
                    </a:lnTo>
                    <a:lnTo>
                      <a:pt x="24" y="84"/>
                    </a:lnTo>
                    <a:lnTo>
                      <a:pt x="28" y="86"/>
                    </a:lnTo>
                    <a:lnTo>
                      <a:pt x="33" y="86"/>
                    </a:lnTo>
                    <a:lnTo>
                      <a:pt x="36" y="84"/>
                    </a:lnTo>
                    <a:lnTo>
                      <a:pt x="38" y="84"/>
                    </a:lnTo>
                    <a:lnTo>
                      <a:pt x="40" y="82"/>
                    </a:lnTo>
                    <a:lnTo>
                      <a:pt x="40" y="84"/>
                    </a:lnTo>
                    <a:lnTo>
                      <a:pt x="43" y="86"/>
                    </a:lnTo>
                    <a:lnTo>
                      <a:pt x="45" y="86"/>
                    </a:lnTo>
                    <a:lnTo>
                      <a:pt x="47" y="84"/>
                    </a:lnTo>
                    <a:lnTo>
                      <a:pt x="52" y="84"/>
                    </a:lnTo>
                    <a:lnTo>
                      <a:pt x="57" y="84"/>
                    </a:lnTo>
                    <a:lnTo>
                      <a:pt x="59" y="82"/>
                    </a:lnTo>
                    <a:lnTo>
                      <a:pt x="64" y="82"/>
                    </a:lnTo>
                    <a:lnTo>
                      <a:pt x="64" y="84"/>
                    </a:lnTo>
                    <a:lnTo>
                      <a:pt x="64" y="86"/>
                    </a:lnTo>
                    <a:lnTo>
                      <a:pt x="62" y="86"/>
                    </a:lnTo>
                    <a:lnTo>
                      <a:pt x="57" y="91"/>
                    </a:lnTo>
                    <a:lnTo>
                      <a:pt x="55" y="91"/>
                    </a:lnTo>
                    <a:lnTo>
                      <a:pt x="52" y="89"/>
                    </a:lnTo>
                    <a:lnTo>
                      <a:pt x="40" y="89"/>
                    </a:lnTo>
                    <a:lnTo>
                      <a:pt x="36" y="91"/>
                    </a:lnTo>
                    <a:lnTo>
                      <a:pt x="33" y="91"/>
                    </a:lnTo>
                    <a:lnTo>
                      <a:pt x="21" y="89"/>
                    </a:lnTo>
                    <a:lnTo>
                      <a:pt x="19" y="89"/>
                    </a:lnTo>
                    <a:lnTo>
                      <a:pt x="14" y="86"/>
                    </a:lnTo>
                    <a:lnTo>
                      <a:pt x="7" y="86"/>
                    </a:lnTo>
                    <a:lnTo>
                      <a:pt x="2" y="89"/>
                    </a:lnTo>
                    <a:lnTo>
                      <a:pt x="2" y="93"/>
                    </a:lnTo>
                    <a:lnTo>
                      <a:pt x="2" y="96"/>
                    </a:lnTo>
                    <a:lnTo>
                      <a:pt x="7" y="98"/>
                    </a:lnTo>
                    <a:lnTo>
                      <a:pt x="19" y="98"/>
                    </a:lnTo>
                    <a:lnTo>
                      <a:pt x="17" y="101"/>
                    </a:lnTo>
                    <a:lnTo>
                      <a:pt x="14" y="101"/>
                    </a:lnTo>
                    <a:lnTo>
                      <a:pt x="9" y="101"/>
                    </a:lnTo>
                    <a:lnTo>
                      <a:pt x="12" y="103"/>
                    </a:lnTo>
                    <a:lnTo>
                      <a:pt x="19" y="105"/>
                    </a:lnTo>
                    <a:lnTo>
                      <a:pt x="21" y="105"/>
                    </a:lnTo>
                    <a:lnTo>
                      <a:pt x="24" y="108"/>
                    </a:lnTo>
                    <a:lnTo>
                      <a:pt x="33" y="108"/>
                    </a:lnTo>
                    <a:lnTo>
                      <a:pt x="33" y="105"/>
                    </a:lnTo>
                    <a:lnTo>
                      <a:pt x="36" y="105"/>
                    </a:lnTo>
                    <a:lnTo>
                      <a:pt x="38" y="105"/>
                    </a:lnTo>
                    <a:lnTo>
                      <a:pt x="43" y="108"/>
                    </a:lnTo>
                    <a:lnTo>
                      <a:pt x="52" y="105"/>
                    </a:lnTo>
                    <a:lnTo>
                      <a:pt x="52" y="108"/>
                    </a:lnTo>
                    <a:lnTo>
                      <a:pt x="57" y="108"/>
                    </a:lnTo>
                    <a:lnTo>
                      <a:pt x="62" y="105"/>
                    </a:lnTo>
                    <a:lnTo>
                      <a:pt x="64" y="105"/>
                    </a:lnTo>
                    <a:lnTo>
                      <a:pt x="69" y="103"/>
                    </a:lnTo>
                    <a:lnTo>
                      <a:pt x="76" y="105"/>
                    </a:lnTo>
                    <a:lnTo>
                      <a:pt x="81" y="105"/>
                    </a:lnTo>
                    <a:lnTo>
                      <a:pt x="83" y="105"/>
                    </a:lnTo>
                    <a:lnTo>
                      <a:pt x="85" y="103"/>
                    </a:lnTo>
                    <a:lnTo>
                      <a:pt x="88" y="103"/>
                    </a:lnTo>
                    <a:lnTo>
                      <a:pt x="93" y="105"/>
                    </a:lnTo>
                    <a:lnTo>
                      <a:pt x="97" y="105"/>
                    </a:lnTo>
                    <a:lnTo>
                      <a:pt x="112" y="105"/>
                    </a:lnTo>
                    <a:lnTo>
                      <a:pt x="121" y="110"/>
                    </a:lnTo>
                    <a:lnTo>
                      <a:pt x="124" y="110"/>
                    </a:lnTo>
                    <a:lnTo>
                      <a:pt x="128" y="115"/>
                    </a:lnTo>
                    <a:lnTo>
                      <a:pt x="135" y="115"/>
                    </a:lnTo>
                    <a:lnTo>
                      <a:pt x="133" y="117"/>
                    </a:lnTo>
                    <a:lnTo>
                      <a:pt x="133" y="120"/>
                    </a:lnTo>
                    <a:lnTo>
                      <a:pt x="133" y="125"/>
                    </a:lnTo>
                    <a:lnTo>
                      <a:pt x="138" y="125"/>
                    </a:lnTo>
                    <a:lnTo>
                      <a:pt x="140" y="125"/>
                    </a:lnTo>
                    <a:lnTo>
                      <a:pt x="145" y="127"/>
                    </a:lnTo>
                    <a:lnTo>
                      <a:pt x="147" y="129"/>
                    </a:lnTo>
                    <a:lnTo>
                      <a:pt x="143" y="134"/>
                    </a:lnTo>
                    <a:lnTo>
                      <a:pt x="145" y="141"/>
                    </a:lnTo>
                    <a:lnTo>
                      <a:pt x="152" y="144"/>
                    </a:lnTo>
                    <a:lnTo>
                      <a:pt x="145" y="149"/>
                    </a:lnTo>
                    <a:lnTo>
                      <a:pt x="150" y="151"/>
                    </a:lnTo>
                    <a:lnTo>
                      <a:pt x="147" y="151"/>
                    </a:lnTo>
                    <a:lnTo>
                      <a:pt x="145" y="153"/>
                    </a:lnTo>
                    <a:lnTo>
                      <a:pt x="145" y="156"/>
                    </a:lnTo>
                    <a:lnTo>
                      <a:pt x="150" y="161"/>
                    </a:lnTo>
                    <a:lnTo>
                      <a:pt x="152" y="161"/>
                    </a:lnTo>
                    <a:lnTo>
                      <a:pt x="152" y="163"/>
                    </a:lnTo>
                    <a:lnTo>
                      <a:pt x="147" y="165"/>
                    </a:lnTo>
                    <a:lnTo>
                      <a:pt x="145" y="168"/>
                    </a:lnTo>
                    <a:lnTo>
                      <a:pt x="143" y="168"/>
                    </a:lnTo>
                    <a:lnTo>
                      <a:pt x="147" y="170"/>
                    </a:lnTo>
                    <a:lnTo>
                      <a:pt x="143" y="170"/>
                    </a:lnTo>
                    <a:lnTo>
                      <a:pt x="140" y="170"/>
                    </a:lnTo>
                    <a:lnTo>
                      <a:pt x="138" y="170"/>
                    </a:lnTo>
                    <a:lnTo>
                      <a:pt x="133" y="173"/>
                    </a:lnTo>
                    <a:lnTo>
                      <a:pt x="131" y="173"/>
                    </a:lnTo>
                    <a:lnTo>
                      <a:pt x="131" y="175"/>
                    </a:lnTo>
                    <a:lnTo>
                      <a:pt x="143" y="175"/>
                    </a:lnTo>
                    <a:lnTo>
                      <a:pt x="138" y="180"/>
                    </a:lnTo>
                    <a:lnTo>
                      <a:pt x="126" y="180"/>
                    </a:lnTo>
                    <a:lnTo>
                      <a:pt x="124" y="180"/>
                    </a:lnTo>
                    <a:lnTo>
                      <a:pt x="124" y="182"/>
                    </a:lnTo>
                    <a:lnTo>
                      <a:pt x="133" y="189"/>
                    </a:lnTo>
                    <a:lnTo>
                      <a:pt x="138" y="189"/>
                    </a:lnTo>
                    <a:lnTo>
                      <a:pt x="145" y="184"/>
                    </a:lnTo>
                    <a:lnTo>
                      <a:pt x="147" y="184"/>
                    </a:lnTo>
                    <a:lnTo>
                      <a:pt x="152" y="184"/>
                    </a:lnTo>
                    <a:lnTo>
                      <a:pt x="154" y="182"/>
                    </a:lnTo>
                    <a:lnTo>
                      <a:pt x="157" y="182"/>
                    </a:lnTo>
                    <a:lnTo>
                      <a:pt x="157" y="180"/>
                    </a:lnTo>
                    <a:lnTo>
                      <a:pt x="157" y="175"/>
                    </a:lnTo>
                    <a:lnTo>
                      <a:pt x="159" y="173"/>
                    </a:lnTo>
                    <a:lnTo>
                      <a:pt x="159" y="180"/>
                    </a:lnTo>
                    <a:lnTo>
                      <a:pt x="166" y="175"/>
                    </a:lnTo>
                    <a:lnTo>
                      <a:pt x="164" y="177"/>
                    </a:lnTo>
                    <a:lnTo>
                      <a:pt x="164" y="180"/>
                    </a:lnTo>
                    <a:lnTo>
                      <a:pt x="166" y="180"/>
                    </a:lnTo>
                    <a:lnTo>
                      <a:pt x="169" y="182"/>
                    </a:lnTo>
                    <a:lnTo>
                      <a:pt x="176" y="182"/>
                    </a:lnTo>
                    <a:lnTo>
                      <a:pt x="171" y="187"/>
                    </a:lnTo>
                    <a:lnTo>
                      <a:pt x="171" y="189"/>
                    </a:lnTo>
                    <a:lnTo>
                      <a:pt x="173" y="192"/>
                    </a:lnTo>
                    <a:lnTo>
                      <a:pt x="176" y="194"/>
                    </a:lnTo>
                    <a:lnTo>
                      <a:pt x="178" y="196"/>
                    </a:lnTo>
                    <a:lnTo>
                      <a:pt x="181" y="199"/>
                    </a:lnTo>
                    <a:lnTo>
                      <a:pt x="178" y="201"/>
                    </a:lnTo>
                    <a:lnTo>
                      <a:pt x="173" y="201"/>
                    </a:lnTo>
                    <a:lnTo>
                      <a:pt x="173" y="204"/>
                    </a:lnTo>
                    <a:lnTo>
                      <a:pt x="166" y="204"/>
                    </a:lnTo>
                    <a:lnTo>
                      <a:pt x="164" y="201"/>
                    </a:lnTo>
                    <a:lnTo>
                      <a:pt x="162" y="201"/>
                    </a:lnTo>
                    <a:lnTo>
                      <a:pt x="159" y="201"/>
                    </a:lnTo>
                    <a:lnTo>
                      <a:pt x="157" y="199"/>
                    </a:lnTo>
                    <a:lnTo>
                      <a:pt x="143" y="199"/>
                    </a:lnTo>
                    <a:lnTo>
                      <a:pt x="140" y="196"/>
                    </a:lnTo>
                    <a:lnTo>
                      <a:pt x="138" y="194"/>
                    </a:lnTo>
                    <a:lnTo>
                      <a:pt x="131" y="194"/>
                    </a:lnTo>
                    <a:lnTo>
                      <a:pt x="128" y="199"/>
                    </a:lnTo>
                    <a:lnTo>
                      <a:pt x="128" y="201"/>
                    </a:lnTo>
                    <a:lnTo>
                      <a:pt x="133" y="201"/>
                    </a:lnTo>
                    <a:lnTo>
                      <a:pt x="133" y="204"/>
                    </a:lnTo>
                    <a:lnTo>
                      <a:pt x="140" y="204"/>
                    </a:lnTo>
                    <a:lnTo>
                      <a:pt x="143" y="206"/>
                    </a:lnTo>
                    <a:lnTo>
                      <a:pt x="145" y="206"/>
                    </a:lnTo>
                    <a:lnTo>
                      <a:pt x="147" y="206"/>
                    </a:lnTo>
                    <a:lnTo>
                      <a:pt x="152" y="211"/>
                    </a:lnTo>
                    <a:lnTo>
                      <a:pt x="162" y="211"/>
                    </a:lnTo>
                    <a:lnTo>
                      <a:pt x="164" y="211"/>
                    </a:lnTo>
                    <a:lnTo>
                      <a:pt x="166" y="211"/>
                    </a:lnTo>
                    <a:lnTo>
                      <a:pt x="173" y="213"/>
                    </a:lnTo>
                    <a:lnTo>
                      <a:pt x="178" y="208"/>
                    </a:lnTo>
                    <a:lnTo>
                      <a:pt x="178" y="216"/>
                    </a:lnTo>
                    <a:lnTo>
                      <a:pt x="176" y="213"/>
                    </a:lnTo>
                    <a:lnTo>
                      <a:pt x="173" y="213"/>
                    </a:lnTo>
                    <a:lnTo>
                      <a:pt x="171" y="213"/>
                    </a:lnTo>
                    <a:lnTo>
                      <a:pt x="171" y="216"/>
                    </a:lnTo>
                    <a:lnTo>
                      <a:pt x="173" y="220"/>
                    </a:lnTo>
                    <a:lnTo>
                      <a:pt x="169" y="220"/>
                    </a:lnTo>
                    <a:lnTo>
                      <a:pt x="166" y="220"/>
                    </a:lnTo>
                    <a:lnTo>
                      <a:pt x="164" y="220"/>
                    </a:lnTo>
                    <a:lnTo>
                      <a:pt x="164" y="223"/>
                    </a:lnTo>
                    <a:lnTo>
                      <a:pt x="164" y="225"/>
                    </a:lnTo>
                    <a:lnTo>
                      <a:pt x="173" y="225"/>
                    </a:lnTo>
                    <a:lnTo>
                      <a:pt x="171" y="225"/>
                    </a:lnTo>
                    <a:lnTo>
                      <a:pt x="171" y="228"/>
                    </a:lnTo>
                    <a:lnTo>
                      <a:pt x="169" y="230"/>
                    </a:lnTo>
                    <a:lnTo>
                      <a:pt x="162" y="225"/>
                    </a:lnTo>
                    <a:lnTo>
                      <a:pt x="159" y="225"/>
                    </a:lnTo>
                    <a:lnTo>
                      <a:pt x="159" y="228"/>
                    </a:lnTo>
                    <a:lnTo>
                      <a:pt x="159" y="230"/>
                    </a:lnTo>
                    <a:lnTo>
                      <a:pt x="162" y="232"/>
                    </a:lnTo>
                    <a:lnTo>
                      <a:pt x="157" y="232"/>
                    </a:lnTo>
                    <a:lnTo>
                      <a:pt x="157" y="237"/>
                    </a:lnTo>
                    <a:lnTo>
                      <a:pt x="154" y="237"/>
                    </a:lnTo>
                    <a:lnTo>
                      <a:pt x="152" y="240"/>
                    </a:lnTo>
                    <a:lnTo>
                      <a:pt x="152" y="242"/>
                    </a:lnTo>
                    <a:lnTo>
                      <a:pt x="157" y="247"/>
                    </a:lnTo>
                    <a:lnTo>
                      <a:pt x="159" y="247"/>
                    </a:lnTo>
                    <a:lnTo>
                      <a:pt x="159" y="252"/>
                    </a:lnTo>
                    <a:lnTo>
                      <a:pt x="157" y="252"/>
                    </a:lnTo>
                    <a:lnTo>
                      <a:pt x="154" y="252"/>
                    </a:lnTo>
                    <a:lnTo>
                      <a:pt x="152" y="249"/>
                    </a:lnTo>
                    <a:lnTo>
                      <a:pt x="150" y="244"/>
                    </a:lnTo>
                    <a:lnTo>
                      <a:pt x="147" y="242"/>
                    </a:lnTo>
                    <a:lnTo>
                      <a:pt x="147" y="240"/>
                    </a:lnTo>
                    <a:lnTo>
                      <a:pt x="145" y="237"/>
                    </a:lnTo>
                    <a:lnTo>
                      <a:pt x="143" y="235"/>
                    </a:lnTo>
                    <a:lnTo>
                      <a:pt x="140" y="235"/>
                    </a:lnTo>
                    <a:lnTo>
                      <a:pt x="135" y="235"/>
                    </a:lnTo>
                    <a:lnTo>
                      <a:pt x="133" y="235"/>
                    </a:lnTo>
                    <a:lnTo>
                      <a:pt x="128" y="240"/>
                    </a:lnTo>
                    <a:lnTo>
                      <a:pt x="128" y="242"/>
                    </a:lnTo>
                    <a:lnTo>
                      <a:pt x="133" y="244"/>
                    </a:lnTo>
                    <a:lnTo>
                      <a:pt x="138" y="244"/>
                    </a:lnTo>
                    <a:lnTo>
                      <a:pt x="140" y="247"/>
                    </a:lnTo>
                    <a:lnTo>
                      <a:pt x="135" y="249"/>
                    </a:lnTo>
                    <a:lnTo>
                      <a:pt x="131" y="249"/>
                    </a:lnTo>
                    <a:lnTo>
                      <a:pt x="128" y="247"/>
                    </a:lnTo>
                    <a:lnTo>
                      <a:pt x="121" y="247"/>
                    </a:lnTo>
                    <a:lnTo>
                      <a:pt x="119" y="249"/>
                    </a:lnTo>
                    <a:lnTo>
                      <a:pt x="116" y="249"/>
                    </a:lnTo>
                    <a:lnTo>
                      <a:pt x="114" y="249"/>
                    </a:lnTo>
                    <a:lnTo>
                      <a:pt x="112" y="252"/>
                    </a:lnTo>
                    <a:lnTo>
                      <a:pt x="109" y="252"/>
                    </a:lnTo>
                    <a:lnTo>
                      <a:pt x="121" y="252"/>
                    </a:lnTo>
                    <a:lnTo>
                      <a:pt x="126" y="252"/>
                    </a:lnTo>
                    <a:lnTo>
                      <a:pt x="140" y="252"/>
                    </a:lnTo>
                    <a:lnTo>
                      <a:pt x="143" y="252"/>
                    </a:lnTo>
                    <a:lnTo>
                      <a:pt x="131" y="252"/>
                    </a:lnTo>
                    <a:lnTo>
                      <a:pt x="112" y="256"/>
                    </a:lnTo>
                    <a:lnTo>
                      <a:pt x="107" y="256"/>
                    </a:lnTo>
                    <a:lnTo>
                      <a:pt x="105" y="259"/>
                    </a:lnTo>
                    <a:lnTo>
                      <a:pt x="107" y="259"/>
                    </a:lnTo>
                    <a:lnTo>
                      <a:pt x="107" y="261"/>
                    </a:lnTo>
                    <a:lnTo>
                      <a:pt x="114" y="261"/>
                    </a:lnTo>
                    <a:lnTo>
                      <a:pt x="119" y="259"/>
                    </a:lnTo>
                    <a:lnTo>
                      <a:pt x="124" y="259"/>
                    </a:lnTo>
                    <a:lnTo>
                      <a:pt x="128" y="256"/>
                    </a:lnTo>
                    <a:lnTo>
                      <a:pt x="138" y="256"/>
                    </a:lnTo>
                    <a:lnTo>
                      <a:pt x="140" y="259"/>
                    </a:lnTo>
                    <a:lnTo>
                      <a:pt x="138" y="261"/>
                    </a:lnTo>
                    <a:lnTo>
                      <a:pt x="114" y="261"/>
                    </a:lnTo>
                    <a:lnTo>
                      <a:pt x="112" y="261"/>
                    </a:lnTo>
                    <a:lnTo>
                      <a:pt x="102" y="261"/>
                    </a:lnTo>
                    <a:lnTo>
                      <a:pt x="102" y="264"/>
                    </a:lnTo>
                    <a:lnTo>
                      <a:pt x="107" y="264"/>
                    </a:lnTo>
                    <a:lnTo>
                      <a:pt x="107" y="266"/>
                    </a:lnTo>
                    <a:lnTo>
                      <a:pt x="112" y="266"/>
                    </a:lnTo>
                    <a:lnTo>
                      <a:pt x="114" y="266"/>
                    </a:lnTo>
                    <a:lnTo>
                      <a:pt x="109" y="266"/>
                    </a:lnTo>
                    <a:lnTo>
                      <a:pt x="107" y="268"/>
                    </a:lnTo>
                    <a:lnTo>
                      <a:pt x="107" y="271"/>
                    </a:lnTo>
                    <a:lnTo>
                      <a:pt x="105" y="273"/>
                    </a:lnTo>
                    <a:lnTo>
                      <a:pt x="102" y="273"/>
                    </a:lnTo>
                    <a:lnTo>
                      <a:pt x="100" y="275"/>
                    </a:lnTo>
                    <a:lnTo>
                      <a:pt x="97" y="275"/>
                    </a:lnTo>
                    <a:lnTo>
                      <a:pt x="107" y="278"/>
                    </a:lnTo>
                    <a:lnTo>
                      <a:pt x="97" y="280"/>
                    </a:lnTo>
                    <a:lnTo>
                      <a:pt x="97" y="283"/>
                    </a:lnTo>
                    <a:lnTo>
                      <a:pt x="100" y="285"/>
                    </a:lnTo>
                    <a:lnTo>
                      <a:pt x="105" y="285"/>
                    </a:lnTo>
                    <a:lnTo>
                      <a:pt x="107" y="285"/>
                    </a:lnTo>
                    <a:lnTo>
                      <a:pt x="114" y="285"/>
                    </a:lnTo>
                    <a:lnTo>
                      <a:pt x="112" y="285"/>
                    </a:lnTo>
                    <a:lnTo>
                      <a:pt x="109" y="285"/>
                    </a:lnTo>
                    <a:lnTo>
                      <a:pt x="107" y="287"/>
                    </a:lnTo>
                    <a:lnTo>
                      <a:pt x="102" y="290"/>
                    </a:lnTo>
                    <a:lnTo>
                      <a:pt x="102" y="292"/>
                    </a:lnTo>
                    <a:lnTo>
                      <a:pt x="105" y="295"/>
                    </a:lnTo>
                    <a:lnTo>
                      <a:pt x="107" y="295"/>
                    </a:lnTo>
                    <a:lnTo>
                      <a:pt x="109" y="292"/>
                    </a:lnTo>
                    <a:lnTo>
                      <a:pt x="114" y="290"/>
                    </a:lnTo>
                    <a:lnTo>
                      <a:pt x="112" y="295"/>
                    </a:lnTo>
                    <a:lnTo>
                      <a:pt x="109" y="295"/>
                    </a:lnTo>
                    <a:lnTo>
                      <a:pt x="107" y="299"/>
                    </a:lnTo>
                    <a:lnTo>
                      <a:pt x="107" y="304"/>
                    </a:lnTo>
                    <a:lnTo>
                      <a:pt x="109" y="304"/>
                    </a:lnTo>
                    <a:lnTo>
                      <a:pt x="109" y="302"/>
                    </a:lnTo>
                    <a:lnTo>
                      <a:pt x="114" y="302"/>
                    </a:lnTo>
                    <a:lnTo>
                      <a:pt x="109" y="307"/>
                    </a:lnTo>
                    <a:lnTo>
                      <a:pt x="107" y="307"/>
                    </a:lnTo>
                    <a:lnTo>
                      <a:pt x="105" y="309"/>
                    </a:lnTo>
                    <a:lnTo>
                      <a:pt x="102" y="311"/>
                    </a:lnTo>
                    <a:lnTo>
                      <a:pt x="102" y="316"/>
                    </a:lnTo>
                    <a:lnTo>
                      <a:pt x="105" y="316"/>
                    </a:lnTo>
                    <a:lnTo>
                      <a:pt x="107" y="314"/>
                    </a:lnTo>
                    <a:lnTo>
                      <a:pt x="114" y="307"/>
                    </a:lnTo>
                    <a:lnTo>
                      <a:pt x="124" y="307"/>
                    </a:lnTo>
                    <a:lnTo>
                      <a:pt x="126" y="304"/>
                    </a:lnTo>
                    <a:lnTo>
                      <a:pt x="128" y="304"/>
                    </a:lnTo>
                    <a:lnTo>
                      <a:pt x="128" y="307"/>
                    </a:lnTo>
                    <a:lnTo>
                      <a:pt x="133" y="304"/>
                    </a:lnTo>
                    <a:lnTo>
                      <a:pt x="128" y="311"/>
                    </a:lnTo>
                    <a:lnTo>
                      <a:pt x="135" y="311"/>
                    </a:lnTo>
                    <a:lnTo>
                      <a:pt x="128" y="311"/>
                    </a:lnTo>
                    <a:lnTo>
                      <a:pt x="124" y="314"/>
                    </a:lnTo>
                    <a:lnTo>
                      <a:pt x="124" y="316"/>
                    </a:lnTo>
                    <a:lnTo>
                      <a:pt x="119" y="316"/>
                    </a:lnTo>
                    <a:lnTo>
                      <a:pt x="116" y="316"/>
                    </a:lnTo>
                    <a:lnTo>
                      <a:pt x="114" y="319"/>
                    </a:lnTo>
                    <a:lnTo>
                      <a:pt x="114" y="321"/>
                    </a:lnTo>
                    <a:lnTo>
                      <a:pt x="112" y="321"/>
                    </a:lnTo>
                    <a:lnTo>
                      <a:pt x="107" y="323"/>
                    </a:lnTo>
                    <a:lnTo>
                      <a:pt x="105" y="326"/>
                    </a:lnTo>
                    <a:lnTo>
                      <a:pt x="109" y="326"/>
                    </a:lnTo>
                    <a:lnTo>
                      <a:pt x="107" y="326"/>
                    </a:lnTo>
                    <a:lnTo>
                      <a:pt x="107" y="328"/>
                    </a:lnTo>
                    <a:lnTo>
                      <a:pt x="107" y="331"/>
                    </a:lnTo>
                    <a:lnTo>
                      <a:pt x="109" y="331"/>
                    </a:lnTo>
                    <a:lnTo>
                      <a:pt x="107" y="333"/>
                    </a:lnTo>
                    <a:lnTo>
                      <a:pt x="107" y="335"/>
                    </a:lnTo>
                    <a:lnTo>
                      <a:pt x="116" y="335"/>
                    </a:lnTo>
                    <a:lnTo>
                      <a:pt x="112" y="343"/>
                    </a:lnTo>
                    <a:lnTo>
                      <a:pt x="116" y="340"/>
                    </a:lnTo>
                    <a:lnTo>
                      <a:pt x="119" y="340"/>
                    </a:lnTo>
                    <a:lnTo>
                      <a:pt x="116" y="340"/>
                    </a:lnTo>
                    <a:lnTo>
                      <a:pt x="114" y="343"/>
                    </a:lnTo>
                    <a:lnTo>
                      <a:pt x="114" y="345"/>
                    </a:lnTo>
                    <a:lnTo>
                      <a:pt x="112" y="347"/>
                    </a:lnTo>
                    <a:lnTo>
                      <a:pt x="112" y="352"/>
                    </a:lnTo>
                    <a:lnTo>
                      <a:pt x="114" y="352"/>
                    </a:lnTo>
                    <a:lnTo>
                      <a:pt x="121" y="352"/>
                    </a:lnTo>
                    <a:lnTo>
                      <a:pt x="116" y="359"/>
                    </a:lnTo>
                    <a:lnTo>
                      <a:pt x="126" y="357"/>
                    </a:lnTo>
                    <a:lnTo>
                      <a:pt x="121" y="362"/>
                    </a:lnTo>
                    <a:lnTo>
                      <a:pt x="124" y="366"/>
                    </a:lnTo>
                    <a:lnTo>
                      <a:pt x="128" y="366"/>
                    </a:lnTo>
                    <a:lnTo>
                      <a:pt x="126" y="366"/>
                    </a:lnTo>
                    <a:lnTo>
                      <a:pt x="126" y="369"/>
                    </a:lnTo>
                    <a:lnTo>
                      <a:pt x="128" y="371"/>
                    </a:lnTo>
                    <a:lnTo>
                      <a:pt x="133" y="371"/>
                    </a:lnTo>
                    <a:lnTo>
                      <a:pt x="128" y="376"/>
                    </a:lnTo>
                    <a:lnTo>
                      <a:pt x="135" y="376"/>
                    </a:lnTo>
                    <a:lnTo>
                      <a:pt x="133" y="381"/>
                    </a:lnTo>
                    <a:lnTo>
                      <a:pt x="145" y="378"/>
                    </a:lnTo>
                    <a:lnTo>
                      <a:pt x="147" y="381"/>
                    </a:lnTo>
                    <a:lnTo>
                      <a:pt x="150" y="381"/>
                    </a:lnTo>
                    <a:lnTo>
                      <a:pt x="152" y="378"/>
                    </a:lnTo>
                    <a:lnTo>
                      <a:pt x="162" y="374"/>
                    </a:lnTo>
                    <a:lnTo>
                      <a:pt x="164" y="371"/>
                    </a:lnTo>
                    <a:lnTo>
                      <a:pt x="164" y="374"/>
                    </a:lnTo>
                    <a:lnTo>
                      <a:pt x="162" y="376"/>
                    </a:lnTo>
                    <a:lnTo>
                      <a:pt x="169" y="378"/>
                    </a:lnTo>
                    <a:lnTo>
                      <a:pt x="171" y="376"/>
                    </a:lnTo>
                    <a:lnTo>
                      <a:pt x="173" y="376"/>
                    </a:lnTo>
                    <a:lnTo>
                      <a:pt x="169" y="378"/>
                    </a:lnTo>
                    <a:lnTo>
                      <a:pt x="164" y="381"/>
                    </a:lnTo>
                    <a:lnTo>
                      <a:pt x="162" y="383"/>
                    </a:lnTo>
                    <a:lnTo>
                      <a:pt x="162" y="386"/>
                    </a:lnTo>
                    <a:lnTo>
                      <a:pt x="169" y="386"/>
                    </a:lnTo>
                    <a:lnTo>
                      <a:pt x="173" y="386"/>
                    </a:lnTo>
                    <a:lnTo>
                      <a:pt x="176" y="386"/>
                    </a:lnTo>
                    <a:lnTo>
                      <a:pt x="173" y="386"/>
                    </a:lnTo>
                    <a:lnTo>
                      <a:pt x="171" y="388"/>
                    </a:lnTo>
                    <a:lnTo>
                      <a:pt x="169" y="390"/>
                    </a:lnTo>
                    <a:lnTo>
                      <a:pt x="169" y="393"/>
                    </a:lnTo>
                    <a:lnTo>
                      <a:pt x="169" y="395"/>
                    </a:lnTo>
                    <a:lnTo>
                      <a:pt x="176" y="395"/>
                    </a:lnTo>
                    <a:lnTo>
                      <a:pt x="178" y="393"/>
                    </a:lnTo>
                    <a:lnTo>
                      <a:pt x="178" y="395"/>
                    </a:lnTo>
                    <a:lnTo>
                      <a:pt x="183" y="398"/>
                    </a:lnTo>
                    <a:lnTo>
                      <a:pt x="188" y="398"/>
                    </a:lnTo>
                    <a:lnTo>
                      <a:pt x="192" y="395"/>
                    </a:lnTo>
                    <a:lnTo>
                      <a:pt x="195" y="393"/>
                    </a:lnTo>
                    <a:lnTo>
                      <a:pt x="192" y="390"/>
                    </a:lnTo>
                    <a:lnTo>
                      <a:pt x="192" y="388"/>
                    </a:lnTo>
                    <a:lnTo>
                      <a:pt x="197" y="388"/>
                    </a:lnTo>
                    <a:lnTo>
                      <a:pt x="200" y="386"/>
                    </a:lnTo>
                    <a:lnTo>
                      <a:pt x="200" y="378"/>
                    </a:lnTo>
                    <a:lnTo>
                      <a:pt x="202" y="381"/>
                    </a:lnTo>
                    <a:lnTo>
                      <a:pt x="207" y="381"/>
                    </a:lnTo>
                    <a:lnTo>
                      <a:pt x="207" y="376"/>
                    </a:lnTo>
                    <a:lnTo>
                      <a:pt x="207" y="374"/>
                    </a:lnTo>
                    <a:lnTo>
                      <a:pt x="207" y="371"/>
                    </a:lnTo>
                    <a:lnTo>
                      <a:pt x="207" y="374"/>
                    </a:lnTo>
                    <a:lnTo>
                      <a:pt x="209" y="376"/>
                    </a:lnTo>
                    <a:lnTo>
                      <a:pt x="212" y="376"/>
                    </a:lnTo>
                    <a:lnTo>
                      <a:pt x="214" y="374"/>
                    </a:lnTo>
                    <a:lnTo>
                      <a:pt x="214" y="371"/>
                    </a:lnTo>
                    <a:lnTo>
                      <a:pt x="209" y="366"/>
                    </a:lnTo>
                    <a:lnTo>
                      <a:pt x="216" y="366"/>
                    </a:lnTo>
                    <a:lnTo>
                      <a:pt x="216" y="364"/>
                    </a:lnTo>
                    <a:lnTo>
                      <a:pt x="214" y="362"/>
                    </a:lnTo>
                    <a:lnTo>
                      <a:pt x="223" y="362"/>
                    </a:lnTo>
                    <a:lnTo>
                      <a:pt x="219" y="357"/>
                    </a:lnTo>
                    <a:lnTo>
                      <a:pt x="223" y="355"/>
                    </a:lnTo>
                    <a:lnTo>
                      <a:pt x="219" y="352"/>
                    </a:lnTo>
                    <a:lnTo>
                      <a:pt x="216" y="350"/>
                    </a:lnTo>
                    <a:lnTo>
                      <a:pt x="219" y="350"/>
                    </a:lnTo>
                    <a:lnTo>
                      <a:pt x="221" y="350"/>
                    </a:lnTo>
                    <a:lnTo>
                      <a:pt x="216" y="343"/>
                    </a:lnTo>
                    <a:lnTo>
                      <a:pt x="221" y="347"/>
                    </a:lnTo>
                    <a:lnTo>
                      <a:pt x="223" y="347"/>
                    </a:lnTo>
                    <a:lnTo>
                      <a:pt x="228" y="343"/>
                    </a:lnTo>
                    <a:lnTo>
                      <a:pt x="235" y="343"/>
                    </a:lnTo>
                    <a:lnTo>
                      <a:pt x="235" y="340"/>
                    </a:lnTo>
                    <a:lnTo>
                      <a:pt x="233" y="338"/>
                    </a:lnTo>
                    <a:lnTo>
                      <a:pt x="238" y="338"/>
                    </a:lnTo>
                    <a:lnTo>
                      <a:pt x="242" y="331"/>
                    </a:lnTo>
                    <a:lnTo>
                      <a:pt x="245" y="331"/>
                    </a:lnTo>
                    <a:lnTo>
                      <a:pt x="252" y="331"/>
                    </a:lnTo>
                    <a:lnTo>
                      <a:pt x="252" y="326"/>
                    </a:lnTo>
                    <a:lnTo>
                      <a:pt x="257" y="331"/>
                    </a:lnTo>
                    <a:lnTo>
                      <a:pt x="259" y="326"/>
                    </a:lnTo>
                    <a:lnTo>
                      <a:pt x="259" y="319"/>
                    </a:lnTo>
                    <a:lnTo>
                      <a:pt x="252" y="316"/>
                    </a:lnTo>
                    <a:lnTo>
                      <a:pt x="257" y="316"/>
                    </a:lnTo>
                    <a:lnTo>
                      <a:pt x="264" y="311"/>
                    </a:lnTo>
                    <a:lnTo>
                      <a:pt x="266" y="307"/>
                    </a:lnTo>
                    <a:lnTo>
                      <a:pt x="259" y="304"/>
                    </a:lnTo>
                    <a:lnTo>
                      <a:pt x="264" y="299"/>
                    </a:lnTo>
                    <a:lnTo>
                      <a:pt x="278" y="299"/>
                    </a:lnTo>
                    <a:lnTo>
                      <a:pt x="280" y="297"/>
                    </a:lnTo>
                    <a:lnTo>
                      <a:pt x="280" y="292"/>
                    </a:lnTo>
                    <a:lnTo>
                      <a:pt x="288" y="290"/>
                    </a:lnTo>
                    <a:lnTo>
                      <a:pt x="292" y="290"/>
                    </a:lnTo>
                    <a:lnTo>
                      <a:pt x="295" y="292"/>
                    </a:lnTo>
                    <a:lnTo>
                      <a:pt x="302" y="292"/>
                    </a:lnTo>
                    <a:lnTo>
                      <a:pt x="311" y="283"/>
                    </a:lnTo>
                    <a:lnTo>
                      <a:pt x="311" y="280"/>
                    </a:lnTo>
                    <a:lnTo>
                      <a:pt x="314" y="280"/>
                    </a:lnTo>
                    <a:lnTo>
                      <a:pt x="316" y="278"/>
                    </a:lnTo>
                    <a:lnTo>
                      <a:pt x="319" y="278"/>
                    </a:lnTo>
                    <a:lnTo>
                      <a:pt x="319" y="280"/>
                    </a:lnTo>
                    <a:lnTo>
                      <a:pt x="316" y="283"/>
                    </a:lnTo>
                    <a:lnTo>
                      <a:pt x="314" y="285"/>
                    </a:lnTo>
                    <a:lnTo>
                      <a:pt x="311" y="290"/>
                    </a:lnTo>
                    <a:lnTo>
                      <a:pt x="319" y="290"/>
                    </a:lnTo>
                    <a:lnTo>
                      <a:pt x="319" y="285"/>
                    </a:lnTo>
                    <a:lnTo>
                      <a:pt x="323" y="285"/>
                    </a:lnTo>
                    <a:lnTo>
                      <a:pt x="326" y="283"/>
                    </a:lnTo>
                    <a:lnTo>
                      <a:pt x="328" y="283"/>
                    </a:lnTo>
                    <a:lnTo>
                      <a:pt x="328" y="285"/>
                    </a:lnTo>
                    <a:lnTo>
                      <a:pt x="333" y="285"/>
                    </a:lnTo>
                    <a:lnTo>
                      <a:pt x="335" y="285"/>
                    </a:lnTo>
                    <a:lnTo>
                      <a:pt x="342" y="283"/>
                    </a:lnTo>
                    <a:lnTo>
                      <a:pt x="347" y="278"/>
                    </a:lnTo>
                    <a:lnTo>
                      <a:pt x="349" y="275"/>
                    </a:lnTo>
                    <a:lnTo>
                      <a:pt x="359" y="275"/>
                    </a:lnTo>
                    <a:lnTo>
                      <a:pt x="366" y="275"/>
                    </a:lnTo>
                    <a:lnTo>
                      <a:pt x="371" y="271"/>
                    </a:lnTo>
                    <a:lnTo>
                      <a:pt x="373" y="268"/>
                    </a:lnTo>
                    <a:lnTo>
                      <a:pt x="376" y="266"/>
                    </a:lnTo>
                    <a:lnTo>
                      <a:pt x="383" y="259"/>
                    </a:lnTo>
                    <a:lnTo>
                      <a:pt x="385" y="256"/>
                    </a:lnTo>
                    <a:lnTo>
                      <a:pt x="390" y="254"/>
                    </a:lnTo>
                    <a:lnTo>
                      <a:pt x="399" y="252"/>
                    </a:lnTo>
                    <a:lnTo>
                      <a:pt x="402" y="252"/>
                    </a:lnTo>
                    <a:lnTo>
                      <a:pt x="404" y="249"/>
                    </a:lnTo>
                    <a:lnTo>
                      <a:pt x="407" y="249"/>
                    </a:lnTo>
                    <a:lnTo>
                      <a:pt x="407" y="247"/>
                    </a:lnTo>
                    <a:lnTo>
                      <a:pt x="407" y="244"/>
                    </a:lnTo>
                    <a:lnTo>
                      <a:pt x="407" y="240"/>
                    </a:lnTo>
                    <a:lnTo>
                      <a:pt x="407" y="235"/>
                    </a:lnTo>
                    <a:lnTo>
                      <a:pt x="414" y="242"/>
                    </a:lnTo>
                    <a:lnTo>
                      <a:pt x="416" y="244"/>
                    </a:lnTo>
                    <a:lnTo>
                      <a:pt x="418" y="244"/>
                    </a:lnTo>
                    <a:lnTo>
                      <a:pt x="437" y="244"/>
                    </a:lnTo>
                    <a:lnTo>
                      <a:pt x="447" y="242"/>
                    </a:lnTo>
                    <a:lnTo>
                      <a:pt x="454" y="240"/>
                    </a:lnTo>
                    <a:lnTo>
                      <a:pt x="459" y="240"/>
                    </a:lnTo>
                    <a:lnTo>
                      <a:pt x="468" y="237"/>
                    </a:lnTo>
                    <a:lnTo>
                      <a:pt x="480" y="235"/>
                    </a:lnTo>
                    <a:lnTo>
                      <a:pt x="487" y="235"/>
                    </a:lnTo>
                    <a:lnTo>
                      <a:pt x="492" y="230"/>
                    </a:lnTo>
                    <a:lnTo>
                      <a:pt x="499" y="230"/>
                    </a:lnTo>
                    <a:lnTo>
                      <a:pt x="502" y="228"/>
                    </a:lnTo>
                    <a:lnTo>
                      <a:pt x="509" y="228"/>
                    </a:lnTo>
                    <a:lnTo>
                      <a:pt x="516" y="220"/>
                    </a:lnTo>
                    <a:lnTo>
                      <a:pt x="518" y="220"/>
                    </a:lnTo>
                    <a:lnTo>
                      <a:pt x="518" y="218"/>
                    </a:lnTo>
                    <a:lnTo>
                      <a:pt x="523" y="218"/>
                    </a:lnTo>
                    <a:lnTo>
                      <a:pt x="525" y="216"/>
                    </a:lnTo>
                    <a:lnTo>
                      <a:pt x="528" y="216"/>
                    </a:lnTo>
                    <a:lnTo>
                      <a:pt x="542" y="213"/>
                    </a:lnTo>
                    <a:lnTo>
                      <a:pt x="552" y="211"/>
                    </a:lnTo>
                    <a:lnTo>
                      <a:pt x="552" y="206"/>
                    </a:lnTo>
                    <a:lnTo>
                      <a:pt x="549" y="206"/>
                    </a:lnTo>
                    <a:lnTo>
                      <a:pt x="547" y="208"/>
                    </a:lnTo>
                    <a:lnTo>
                      <a:pt x="537" y="208"/>
                    </a:lnTo>
                    <a:lnTo>
                      <a:pt x="530" y="206"/>
                    </a:lnTo>
                    <a:lnTo>
                      <a:pt x="525" y="206"/>
                    </a:lnTo>
                    <a:lnTo>
                      <a:pt x="521" y="204"/>
                    </a:lnTo>
                    <a:lnTo>
                      <a:pt x="509" y="204"/>
                    </a:lnTo>
                    <a:lnTo>
                      <a:pt x="499" y="206"/>
                    </a:lnTo>
                    <a:lnTo>
                      <a:pt x="490" y="206"/>
                    </a:lnTo>
                    <a:lnTo>
                      <a:pt x="487" y="211"/>
                    </a:lnTo>
                    <a:lnTo>
                      <a:pt x="471" y="211"/>
                    </a:lnTo>
                    <a:lnTo>
                      <a:pt x="485" y="206"/>
                    </a:lnTo>
                    <a:lnTo>
                      <a:pt x="494" y="204"/>
                    </a:lnTo>
                    <a:lnTo>
                      <a:pt x="499" y="204"/>
                    </a:lnTo>
                    <a:lnTo>
                      <a:pt x="502" y="201"/>
                    </a:lnTo>
                    <a:lnTo>
                      <a:pt x="506" y="201"/>
                    </a:lnTo>
                    <a:lnTo>
                      <a:pt x="511" y="199"/>
                    </a:lnTo>
                    <a:lnTo>
                      <a:pt x="514" y="199"/>
                    </a:lnTo>
                    <a:lnTo>
                      <a:pt x="516" y="199"/>
                    </a:lnTo>
                    <a:lnTo>
                      <a:pt x="514" y="196"/>
                    </a:lnTo>
                    <a:lnTo>
                      <a:pt x="509" y="194"/>
                    </a:lnTo>
                    <a:lnTo>
                      <a:pt x="506" y="194"/>
                    </a:lnTo>
                    <a:lnTo>
                      <a:pt x="504" y="194"/>
                    </a:lnTo>
                    <a:lnTo>
                      <a:pt x="497" y="196"/>
                    </a:lnTo>
                    <a:lnTo>
                      <a:pt x="483" y="201"/>
                    </a:lnTo>
                    <a:lnTo>
                      <a:pt x="468" y="201"/>
                    </a:lnTo>
                    <a:lnTo>
                      <a:pt x="478" y="196"/>
                    </a:lnTo>
                    <a:lnTo>
                      <a:pt x="485" y="192"/>
                    </a:lnTo>
                    <a:lnTo>
                      <a:pt x="487" y="192"/>
                    </a:lnTo>
                    <a:lnTo>
                      <a:pt x="492" y="194"/>
                    </a:lnTo>
                    <a:lnTo>
                      <a:pt x="497" y="194"/>
                    </a:lnTo>
                    <a:lnTo>
                      <a:pt x="499" y="192"/>
                    </a:lnTo>
                    <a:lnTo>
                      <a:pt x="504" y="192"/>
                    </a:lnTo>
                    <a:lnTo>
                      <a:pt x="506" y="189"/>
                    </a:lnTo>
                    <a:lnTo>
                      <a:pt x="516" y="189"/>
                    </a:lnTo>
                    <a:lnTo>
                      <a:pt x="518" y="189"/>
                    </a:lnTo>
                    <a:lnTo>
                      <a:pt x="516" y="187"/>
                    </a:lnTo>
                    <a:lnTo>
                      <a:pt x="514" y="187"/>
                    </a:lnTo>
                    <a:lnTo>
                      <a:pt x="509" y="184"/>
                    </a:lnTo>
                    <a:lnTo>
                      <a:pt x="485" y="184"/>
                    </a:lnTo>
                    <a:lnTo>
                      <a:pt x="492" y="182"/>
                    </a:lnTo>
                    <a:lnTo>
                      <a:pt x="485" y="180"/>
                    </a:lnTo>
                    <a:lnTo>
                      <a:pt x="485" y="175"/>
                    </a:lnTo>
                    <a:lnTo>
                      <a:pt x="487" y="175"/>
                    </a:lnTo>
                    <a:lnTo>
                      <a:pt x="490" y="177"/>
                    </a:lnTo>
                    <a:lnTo>
                      <a:pt x="492" y="180"/>
                    </a:lnTo>
                    <a:lnTo>
                      <a:pt x="497" y="182"/>
                    </a:lnTo>
                    <a:lnTo>
                      <a:pt x="504" y="182"/>
                    </a:lnTo>
                    <a:lnTo>
                      <a:pt x="506" y="184"/>
                    </a:lnTo>
                    <a:lnTo>
                      <a:pt x="509" y="184"/>
                    </a:lnTo>
                    <a:lnTo>
                      <a:pt x="514" y="184"/>
                    </a:lnTo>
                    <a:lnTo>
                      <a:pt x="518" y="184"/>
                    </a:lnTo>
                    <a:lnTo>
                      <a:pt x="518" y="187"/>
                    </a:lnTo>
                    <a:lnTo>
                      <a:pt x="523" y="187"/>
                    </a:lnTo>
                    <a:lnTo>
                      <a:pt x="523" y="184"/>
                    </a:lnTo>
                    <a:lnTo>
                      <a:pt x="528" y="184"/>
                    </a:lnTo>
                    <a:lnTo>
                      <a:pt x="528" y="187"/>
                    </a:lnTo>
                    <a:lnTo>
                      <a:pt x="528" y="189"/>
                    </a:lnTo>
                    <a:lnTo>
                      <a:pt x="528" y="192"/>
                    </a:lnTo>
                    <a:lnTo>
                      <a:pt x="528" y="196"/>
                    </a:lnTo>
                    <a:lnTo>
                      <a:pt x="528" y="199"/>
                    </a:lnTo>
                    <a:lnTo>
                      <a:pt x="533" y="199"/>
                    </a:lnTo>
                    <a:lnTo>
                      <a:pt x="537" y="201"/>
                    </a:lnTo>
                    <a:lnTo>
                      <a:pt x="542" y="201"/>
                    </a:lnTo>
                    <a:lnTo>
                      <a:pt x="547" y="201"/>
                    </a:lnTo>
                    <a:lnTo>
                      <a:pt x="549" y="201"/>
                    </a:lnTo>
                    <a:lnTo>
                      <a:pt x="552" y="199"/>
                    </a:lnTo>
                    <a:lnTo>
                      <a:pt x="554" y="199"/>
                    </a:lnTo>
                    <a:lnTo>
                      <a:pt x="554" y="204"/>
                    </a:lnTo>
                    <a:lnTo>
                      <a:pt x="559" y="204"/>
                    </a:lnTo>
                    <a:lnTo>
                      <a:pt x="561" y="201"/>
                    </a:lnTo>
                    <a:lnTo>
                      <a:pt x="563" y="201"/>
                    </a:lnTo>
                    <a:lnTo>
                      <a:pt x="563" y="194"/>
                    </a:lnTo>
                    <a:lnTo>
                      <a:pt x="561" y="194"/>
                    </a:lnTo>
                    <a:lnTo>
                      <a:pt x="563" y="189"/>
                    </a:lnTo>
                    <a:lnTo>
                      <a:pt x="563" y="187"/>
                    </a:lnTo>
                    <a:lnTo>
                      <a:pt x="559" y="187"/>
                    </a:lnTo>
                    <a:lnTo>
                      <a:pt x="556" y="182"/>
                    </a:lnTo>
                    <a:lnTo>
                      <a:pt x="552" y="180"/>
                    </a:lnTo>
                    <a:lnTo>
                      <a:pt x="552" y="175"/>
                    </a:lnTo>
                    <a:lnTo>
                      <a:pt x="533" y="170"/>
                    </a:lnTo>
                    <a:lnTo>
                      <a:pt x="523" y="170"/>
                    </a:lnTo>
                    <a:lnTo>
                      <a:pt x="521" y="170"/>
                    </a:lnTo>
                    <a:lnTo>
                      <a:pt x="528" y="168"/>
                    </a:lnTo>
                    <a:lnTo>
                      <a:pt x="530" y="165"/>
                    </a:lnTo>
                    <a:lnTo>
                      <a:pt x="528" y="165"/>
                    </a:lnTo>
                    <a:lnTo>
                      <a:pt x="525" y="163"/>
                    </a:lnTo>
                    <a:lnTo>
                      <a:pt x="514" y="163"/>
                    </a:lnTo>
                    <a:lnTo>
                      <a:pt x="509" y="161"/>
                    </a:lnTo>
                    <a:lnTo>
                      <a:pt x="504" y="161"/>
                    </a:lnTo>
                    <a:lnTo>
                      <a:pt x="509" y="156"/>
                    </a:lnTo>
                    <a:lnTo>
                      <a:pt x="523" y="156"/>
                    </a:lnTo>
                    <a:lnTo>
                      <a:pt x="528" y="153"/>
                    </a:lnTo>
                    <a:lnTo>
                      <a:pt x="533" y="153"/>
                    </a:lnTo>
                    <a:lnTo>
                      <a:pt x="547" y="156"/>
                    </a:lnTo>
                    <a:lnTo>
                      <a:pt x="552" y="156"/>
                    </a:lnTo>
                    <a:lnTo>
                      <a:pt x="554" y="156"/>
                    </a:lnTo>
                    <a:lnTo>
                      <a:pt x="556" y="158"/>
                    </a:lnTo>
                    <a:lnTo>
                      <a:pt x="559" y="161"/>
                    </a:lnTo>
                    <a:lnTo>
                      <a:pt x="563" y="165"/>
                    </a:lnTo>
                    <a:lnTo>
                      <a:pt x="568" y="165"/>
                    </a:lnTo>
                    <a:lnTo>
                      <a:pt x="568" y="163"/>
                    </a:lnTo>
                    <a:lnTo>
                      <a:pt x="568" y="158"/>
                    </a:lnTo>
                    <a:lnTo>
                      <a:pt x="559" y="156"/>
                    </a:lnTo>
                    <a:lnTo>
                      <a:pt x="552" y="153"/>
                    </a:lnTo>
                    <a:lnTo>
                      <a:pt x="540" y="151"/>
                    </a:lnTo>
                    <a:lnTo>
                      <a:pt x="544" y="149"/>
                    </a:lnTo>
                    <a:lnTo>
                      <a:pt x="547" y="149"/>
                    </a:lnTo>
                    <a:lnTo>
                      <a:pt x="552" y="151"/>
                    </a:lnTo>
                    <a:lnTo>
                      <a:pt x="556" y="151"/>
                    </a:lnTo>
                    <a:lnTo>
                      <a:pt x="559" y="153"/>
                    </a:lnTo>
                    <a:lnTo>
                      <a:pt x="578" y="153"/>
                    </a:lnTo>
                    <a:lnTo>
                      <a:pt x="594" y="151"/>
                    </a:lnTo>
                    <a:lnTo>
                      <a:pt x="594" y="144"/>
                    </a:lnTo>
                    <a:lnTo>
                      <a:pt x="582" y="141"/>
                    </a:lnTo>
                    <a:lnTo>
                      <a:pt x="578" y="146"/>
                    </a:lnTo>
                    <a:lnTo>
                      <a:pt x="573" y="141"/>
                    </a:lnTo>
                    <a:lnTo>
                      <a:pt x="573" y="139"/>
                    </a:lnTo>
                    <a:lnTo>
                      <a:pt x="587" y="139"/>
                    </a:lnTo>
                    <a:lnTo>
                      <a:pt x="599" y="137"/>
                    </a:lnTo>
                    <a:lnTo>
                      <a:pt x="602" y="139"/>
                    </a:lnTo>
                    <a:lnTo>
                      <a:pt x="609" y="139"/>
                    </a:lnTo>
                    <a:lnTo>
                      <a:pt x="616" y="134"/>
                    </a:lnTo>
                    <a:lnTo>
                      <a:pt x="618" y="134"/>
                    </a:lnTo>
                    <a:lnTo>
                      <a:pt x="618" y="132"/>
                    </a:lnTo>
                    <a:lnTo>
                      <a:pt x="599" y="132"/>
                    </a:lnTo>
                    <a:lnTo>
                      <a:pt x="599" y="129"/>
                    </a:lnTo>
                    <a:lnTo>
                      <a:pt x="597" y="129"/>
                    </a:lnTo>
                    <a:lnTo>
                      <a:pt x="597" y="127"/>
                    </a:lnTo>
                    <a:lnTo>
                      <a:pt x="592" y="127"/>
                    </a:lnTo>
                    <a:lnTo>
                      <a:pt x="587" y="125"/>
                    </a:lnTo>
                    <a:lnTo>
                      <a:pt x="592" y="125"/>
                    </a:lnTo>
                    <a:lnTo>
                      <a:pt x="594" y="125"/>
                    </a:lnTo>
                    <a:lnTo>
                      <a:pt x="594" y="122"/>
                    </a:lnTo>
                    <a:lnTo>
                      <a:pt x="592" y="120"/>
                    </a:lnTo>
                    <a:lnTo>
                      <a:pt x="590" y="120"/>
                    </a:lnTo>
                    <a:lnTo>
                      <a:pt x="582" y="117"/>
                    </a:lnTo>
                    <a:lnTo>
                      <a:pt x="592" y="117"/>
                    </a:lnTo>
                    <a:lnTo>
                      <a:pt x="594" y="120"/>
                    </a:lnTo>
                    <a:lnTo>
                      <a:pt x="597" y="120"/>
                    </a:lnTo>
                    <a:lnTo>
                      <a:pt x="602" y="120"/>
                    </a:lnTo>
                    <a:lnTo>
                      <a:pt x="606" y="120"/>
                    </a:lnTo>
                    <a:lnTo>
                      <a:pt x="609" y="125"/>
                    </a:lnTo>
                    <a:lnTo>
                      <a:pt x="613" y="125"/>
                    </a:lnTo>
                    <a:lnTo>
                      <a:pt x="618" y="120"/>
                    </a:lnTo>
                    <a:lnTo>
                      <a:pt x="618" y="113"/>
                    </a:lnTo>
                    <a:lnTo>
                      <a:pt x="616" y="110"/>
                    </a:lnTo>
                    <a:lnTo>
                      <a:pt x="613" y="110"/>
                    </a:lnTo>
                    <a:lnTo>
                      <a:pt x="611" y="108"/>
                    </a:lnTo>
                    <a:lnTo>
                      <a:pt x="609" y="105"/>
                    </a:lnTo>
                    <a:lnTo>
                      <a:pt x="592" y="103"/>
                    </a:lnTo>
                    <a:lnTo>
                      <a:pt x="587" y="101"/>
                    </a:lnTo>
                    <a:lnTo>
                      <a:pt x="587" y="98"/>
                    </a:lnTo>
                    <a:lnTo>
                      <a:pt x="590" y="98"/>
                    </a:lnTo>
                    <a:lnTo>
                      <a:pt x="599" y="98"/>
                    </a:lnTo>
                    <a:lnTo>
                      <a:pt x="611" y="96"/>
                    </a:lnTo>
                    <a:lnTo>
                      <a:pt x="618" y="96"/>
                    </a:lnTo>
                    <a:lnTo>
                      <a:pt x="623" y="98"/>
                    </a:lnTo>
                    <a:lnTo>
                      <a:pt x="632" y="98"/>
                    </a:lnTo>
                    <a:lnTo>
                      <a:pt x="637" y="96"/>
                    </a:lnTo>
                    <a:lnTo>
                      <a:pt x="642" y="93"/>
                    </a:lnTo>
                    <a:lnTo>
                      <a:pt x="642" y="91"/>
                    </a:lnTo>
                    <a:lnTo>
                      <a:pt x="642" y="89"/>
                    </a:lnTo>
                    <a:lnTo>
                      <a:pt x="632" y="89"/>
                    </a:lnTo>
                    <a:lnTo>
                      <a:pt x="625" y="86"/>
                    </a:lnTo>
                    <a:lnTo>
                      <a:pt x="616" y="86"/>
                    </a:lnTo>
                    <a:lnTo>
                      <a:pt x="613" y="84"/>
                    </a:lnTo>
                    <a:lnTo>
                      <a:pt x="623" y="84"/>
                    </a:lnTo>
                    <a:lnTo>
                      <a:pt x="621" y="82"/>
                    </a:lnTo>
                    <a:lnTo>
                      <a:pt x="618" y="79"/>
                    </a:lnTo>
                    <a:lnTo>
                      <a:pt x="618" y="77"/>
                    </a:lnTo>
                    <a:lnTo>
                      <a:pt x="613" y="77"/>
                    </a:lnTo>
                    <a:lnTo>
                      <a:pt x="611" y="79"/>
                    </a:lnTo>
                    <a:lnTo>
                      <a:pt x="611" y="84"/>
                    </a:lnTo>
                    <a:lnTo>
                      <a:pt x="606" y="84"/>
                    </a:lnTo>
                    <a:lnTo>
                      <a:pt x="604" y="84"/>
                    </a:lnTo>
                    <a:lnTo>
                      <a:pt x="602" y="82"/>
                    </a:lnTo>
                    <a:lnTo>
                      <a:pt x="599" y="79"/>
                    </a:lnTo>
                    <a:lnTo>
                      <a:pt x="602" y="79"/>
                    </a:lnTo>
                    <a:lnTo>
                      <a:pt x="606" y="77"/>
                    </a:lnTo>
                    <a:lnTo>
                      <a:pt x="609" y="74"/>
                    </a:lnTo>
                    <a:lnTo>
                      <a:pt x="613" y="70"/>
                    </a:lnTo>
                    <a:lnTo>
                      <a:pt x="616" y="67"/>
                    </a:lnTo>
                    <a:lnTo>
                      <a:pt x="618" y="65"/>
                    </a:lnTo>
                    <a:lnTo>
                      <a:pt x="621" y="65"/>
                    </a:lnTo>
                    <a:lnTo>
                      <a:pt x="623" y="65"/>
                    </a:lnTo>
                    <a:lnTo>
                      <a:pt x="628" y="65"/>
                    </a:lnTo>
                    <a:lnTo>
                      <a:pt x="630" y="65"/>
                    </a:lnTo>
                    <a:lnTo>
                      <a:pt x="632" y="62"/>
                    </a:lnTo>
                    <a:lnTo>
                      <a:pt x="637" y="60"/>
                    </a:lnTo>
                    <a:lnTo>
                      <a:pt x="635" y="55"/>
                    </a:lnTo>
                    <a:lnTo>
                      <a:pt x="637" y="53"/>
                    </a:lnTo>
                    <a:lnTo>
                      <a:pt x="640" y="50"/>
                    </a:lnTo>
                    <a:lnTo>
                      <a:pt x="642" y="50"/>
                    </a:lnTo>
                    <a:lnTo>
                      <a:pt x="647" y="50"/>
                    </a:lnTo>
                    <a:lnTo>
                      <a:pt x="649" y="50"/>
                    </a:lnTo>
                    <a:lnTo>
                      <a:pt x="651" y="53"/>
                    </a:lnTo>
                    <a:lnTo>
                      <a:pt x="656" y="53"/>
                    </a:lnTo>
                    <a:lnTo>
                      <a:pt x="659" y="50"/>
                    </a:lnTo>
                    <a:lnTo>
                      <a:pt x="661" y="50"/>
                    </a:lnTo>
                    <a:lnTo>
                      <a:pt x="663" y="48"/>
                    </a:lnTo>
                    <a:lnTo>
                      <a:pt x="644" y="48"/>
                    </a:lnTo>
                    <a:lnTo>
                      <a:pt x="642" y="48"/>
                    </a:lnTo>
                    <a:lnTo>
                      <a:pt x="637" y="48"/>
                    </a:lnTo>
                    <a:lnTo>
                      <a:pt x="635" y="50"/>
                    </a:lnTo>
                    <a:lnTo>
                      <a:pt x="630" y="50"/>
                    </a:lnTo>
                    <a:lnTo>
                      <a:pt x="630" y="48"/>
                    </a:lnTo>
                    <a:lnTo>
                      <a:pt x="640" y="43"/>
                    </a:lnTo>
                    <a:lnTo>
                      <a:pt x="670" y="43"/>
                    </a:lnTo>
                    <a:lnTo>
                      <a:pt x="675" y="43"/>
                    </a:lnTo>
                    <a:lnTo>
                      <a:pt x="678" y="43"/>
                    </a:lnTo>
                    <a:lnTo>
                      <a:pt x="682" y="41"/>
                    </a:lnTo>
                    <a:lnTo>
                      <a:pt x="678" y="41"/>
                    </a:lnTo>
                    <a:lnTo>
                      <a:pt x="673" y="38"/>
                    </a:lnTo>
                    <a:lnTo>
                      <a:pt x="656" y="38"/>
                    </a:lnTo>
                    <a:lnTo>
                      <a:pt x="651" y="41"/>
                    </a:lnTo>
                    <a:lnTo>
                      <a:pt x="635" y="41"/>
                    </a:lnTo>
                    <a:lnTo>
                      <a:pt x="635" y="38"/>
                    </a:lnTo>
                    <a:lnTo>
                      <a:pt x="637" y="38"/>
                    </a:lnTo>
                    <a:lnTo>
                      <a:pt x="642" y="38"/>
                    </a:lnTo>
                    <a:lnTo>
                      <a:pt x="687" y="38"/>
                    </a:lnTo>
                    <a:lnTo>
                      <a:pt x="692" y="36"/>
                    </a:lnTo>
                    <a:lnTo>
                      <a:pt x="699" y="34"/>
                    </a:lnTo>
                    <a:lnTo>
                      <a:pt x="701" y="31"/>
                    </a:lnTo>
                    <a:lnTo>
                      <a:pt x="718" y="31"/>
                    </a:lnTo>
                    <a:lnTo>
                      <a:pt x="723" y="29"/>
                    </a:lnTo>
                    <a:lnTo>
                      <a:pt x="725" y="29"/>
                    </a:lnTo>
                    <a:lnTo>
                      <a:pt x="730" y="29"/>
                    </a:lnTo>
                    <a:lnTo>
                      <a:pt x="732" y="26"/>
                    </a:lnTo>
                    <a:lnTo>
                      <a:pt x="730" y="24"/>
                    </a:lnTo>
                    <a:close/>
                    <a:moveTo>
                      <a:pt x="119" y="268"/>
                    </a:moveTo>
                    <a:lnTo>
                      <a:pt x="116" y="266"/>
                    </a:lnTo>
                    <a:lnTo>
                      <a:pt x="119" y="268"/>
                    </a:lnTo>
                    <a:close/>
                    <a:moveTo>
                      <a:pt x="128" y="223"/>
                    </a:moveTo>
                    <a:lnTo>
                      <a:pt x="135" y="223"/>
                    </a:lnTo>
                    <a:lnTo>
                      <a:pt x="138" y="220"/>
                    </a:lnTo>
                    <a:lnTo>
                      <a:pt x="145" y="220"/>
                    </a:lnTo>
                    <a:lnTo>
                      <a:pt x="147" y="220"/>
                    </a:lnTo>
                    <a:lnTo>
                      <a:pt x="147" y="216"/>
                    </a:lnTo>
                    <a:lnTo>
                      <a:pt x="150" y="216"/>
                    </a:lnTo>
                    <a:lnTo>
                      <a:pt x="147" y="213"/>
                    </a:lnTo>
                    <a:lnTo>
                      <a:pt x="145" y="211"/>
                    </a:lnTo>
                    <a:lnTo>
                      <a:pt x="143" y="211"/>
                    </a:lnTo>
                    <a:lnTo>
                      <a:pt x="138" y="211"/>
                    </a:lnTo>
                    <a:lnTo>
                      <a:pt x="135" y="206"/>
                    </a:lnTo>
                    <a:lnTo>
                      <a:pt x="119" y="206"/>
                    </a:lnTo>
                    <a:lnTo>
                      <a:pt x="119" y="213"/>
                    </a:lnTo>
                    <a:lnTo>
                      <a:pt x="116" y="216"/>
                    </a:lnTo>
                    <a:lnTo>
                      <a:pt x="114" y="216"/>
                    </a:lnTo>
                    <a:lnTo>
                      <a:pt x="114" y="218"/>
                    </a:lnTo>
                    <a:lnTo>
                      <a:pt x="116" y="220"/>
                    </a:lnTo>
                    <a:lnTo>
                      <a:pt x="119" y="220"/>
                    </a:lnTo>
                    <a:lnTo>
                      <a:pt x="119" y="225"/>
                    </a:lnTo>
                    <a:lnTo>
                      <a:pt x="128" y="223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0" name="Ghana"/>
              <p:cNvSpPr>
                <a:spLocks/>
              </p:cNvSpPr>
              <p:nvPr/>
            </p:nvSpPr>
            <p:spPr bwMode="gray">
              <a:xfrm>
                <a:off x="4119569" y="3716341"/>
                <a:ext cx="130175" cy="207963"/>
              </a:xfrm>
              <a:custGeom>
                <a:avLst/>
                <a:gdLst>
                  <a:gd name="T0" fmla="*/ 2147483647 w 324"/>
                  <a:gd name="T1" fmla="*/ 2147483647 h 516"/>
                  <a:gd name="T2" fmla="*/ 2147483647 w 324"/>
                  <a:gd name="T3" fmla="*/ 2147483647 h 516"/>
                  <a:gd name="T4" fmla="*/ 2147483647 w 324"/>
                  <a:gd name="T5" fmla="*/ 2147483647 h 516"/>
                  <a:gd name="T6" fmla="*/ 2147483647 w 324"/>
                  <a:gd name="T7" fmla="*/ 2147483647 h 516"/>
                  <a:gd name="T8" fmla="*/ 2147483647 w 324"/>
                  <a:gd name="T9" fmla="*/ 2147483647 h 516"/>
                  <a:gd name="T10" fmla="*/ 2147483647 w 324"/>
                  <a:gd name="T11" fmla="*/ 2147483647 h 516"/>
                  <a:gd name="T12" fmla="*/ 2147483647 w 324"/>
                  <a:gd name="T13" fmla="*/ 2147483647 h 516"/>
                  <a:gd name="T14" fmla="*/ 2147483647 w 324"/>
                  <a:gd name="T15" fmla="*/ 2147483647 h 516"/>
                  <a:gd name="T16" fmla="*/ 2147483647 w 324"/>
                  <a:gd name="T17" fmla="*/ 2147483647 h 516"/>
                  <a:gd name="T18" fmla="*/ 2147483647 w 324"/>
                  <a:gd name="T19" fmla="*/ 2147483647 h 516"/>
                  <a:gd name="T20" fmla="*/ 2147483647 w 324"/>
                  <a:gd name="T21" fmla="*/ 2147483647 h 516"/>
                  <a:gd name="T22" fmla="*/ 2147483647 w 324"/>
                  <a:gd name="T23" fmla="*/ 2147483647 h 516"/>
                  <a:gd name="T24" fmla="*/ 2147483647 w 324"/>
                  <a:gd name="T25" fmla="*/ 2147483647 h 516"/>
                  <a:gd name="T26" fmla="*/ 2147483647 w 324"/>
                  <a:gd name="T27" fmla="*/ 0 h 516"/>
                  <a:gd name="T28" fmla="*/ 2147483647 w 324"/>
                  <a:gd name="T29" fmla="*/ 2147483647 h 516"/>
                  <a:gd name="T30" fmla="*/ 2147483647 w 324"/>
                  <a:gd name="T31" fmla="*/ 2147483647 h 516"/>
                  <a:gd name="T32" fmla="*/ 2147483647 w 324"/>
                  <a:gd name="T33" fmla="*/ 2147483647 h 516"/>
                  <a:gd name="T34" fmla="*/ 2147483647 w 324"/>
                  <a:gd name="T35" fmla="*/ 2147483647 h 516"/>
                  <a:gd name="T36" fmla="*/ 2147483647 w 324"/>
                  <a:gd name="T37" fmla="*/ 2147483647 h 516"/>
                  <a:gd name="T38" fmla="*/ 2147483647 w 324"/>
                  <a:gd name="T39" fmla="*/ 2147483647 h 516"/>
                  <a:gd name="T40" fmla="*/ 2147483647 w 324"/>
                  <a:gd name="T41" fmla="*/ 2147483647 h 516"/>
                  <a:gd name="T42" fmla="*/ 2147483647 w 324"/>
                  <a:gd name="T43" fmla="*/ 2147483647 h 516"/>
                  <a:gd name="T44" fmla="*/ 2147483647 w 324"/>
                  <a:gd name="T45" fmla="*/ 2147483647 h 516"/>
                  <a:gd name="T46" fmla="*/ 2147483647 w 324"/>
                  <a:gd name="T47" fmla="*/ 2147483647 h 516"/>
                  <a:gd name="T48" fmla="*/ 2147483647 w 324"/>
                  <a:gd name="T49" fmla="*/ 2147483647 h 516"/>
                  <a:gd name="T50" fmla="*/ 2147483647 w 324"/>
                  <a:gd name="T51" fmla="*/ 2147483647 h 516"/>
                  <a:gd name="T52" fmla="*/ 2147483647 w 324"/>
                  <a:gd name="T53" fmla="*/ 2147483647 h 516"/>
                  <a:gd name="T54" fmla="*/ 0 w 324"/>
                  <a:gd name="T55" fmla="*/ 2147483647 h 516"/>
                  <a:gd name="T56" fmla="*/ 2147483647 w 324"/>
                  <a:gd name="T57" fmla="*/ 2147483647 h 516"/>
                  <a:gd name="T58" fmla="*/ 2147483647 w 324"/>
                  <a:gd name="T59" fmla="*/ 2147483647 h 516"/>
                  <a:gd name="T60" fmla="*/ 2147483647 w 324"/>
                  <a:gd name="T61" fmla="*/ 2147483647 h 516"/>
                  <a:gd name="T62" fmla="*/ 2147483647 w 324"/>
                  <a:gd name="T63" fmla="*/ 2147483647 h 516"/>
                  <a:gd name="T64" fmla="*/ 2147483647 w 324"/>
                  <a:gd name="T65" fmla="*/ 2147483647 h 516"/>
                  <a:gd name="T66" fmla="*/ 2147483647 w 324"/>
                  <a:gd name="T67" fmla="*/ 2147483647 h 516"/>
                  <a:gd name="T68" fmla="*/ 2147483647 w 324"/>
                  <a:gd name="T69" fmla="*/ 2147483647 h 516"/>
                  <a:gd name="T70" fmla="*/ 2147483647 w 324"/>
                  <a:gd name="T71" fmla="*/ 2147483647 h 516"/>
                  <a:gd name="T72" fmla="*/ 2147483647 w 324"/>
                  <a:gd name="T73" fmla="*/ 2147483647 h 516"/>
                  <a:gd name="T74" fmla="*/ 2147483647 w 324"/>
                  <a:gd name="T75" fmla="*/ 2147483647 h 516"/>
                  <a:gd name="T76" fmla="*/ 2147483647 w 324"/>
                  <a:gd name="T77" fmla="*/ 2147483647 h 516"/>
                  <a:gd name="T78" fmla="*/ 2147483647 w 324"/>
                  <a:gd name="T79" fmla="*/ 2147483647 h 516"/>
                  <a:gd name="T80" fmla="*/ 2147483647 w 324"/>
                  <a:gd name="T81" fmla="*/ 2147483647 h 516"/>
                  <a:gd name="T82" fmla="*/ 2147483647 w 324"/>
                  <a:gd name="T83" fmla="*/ 2147483647 h 516"/>
                  <a:gd name="T84" fmla="*/ 2147483647 w 324"/>
                  <a:gd name="T85" fmla="*/ 2147483647 h 516"/>
                  <a:gd name="T86" fmla="*/ 2147483647 w 324"/>
                  <a:gd name="T87" fmla="*/ 2147483647 h 51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324"/>
                  <a:gd name="T133" fmla="*/ 0 h 516"/>
                  <a:gd name="T134" fmla="*/ 324 w 324"/>
                  <a:gd name="T135" fmla="*/ 516 h 51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324" h="516">
                    <a:moveTo>
                      <a:pt x="282" y="342"/>
                    </a:moveTo>
                    <a:lnTo>
                      <a:pt x="282" y="330"/>
                    </a:lnTo>
                    <a:lnTo>
                      <a:pt x="288" y="318"/>
                    </a:lnTo>
                    <a:lnTo>
                      <a:pt x="288" y="306"/>
                    </a:lnTo>
                    <a:lnTo>
                      <a:pt x="282" y="300"/>
                    </a:lnTo>
                    <a:lnTo>
                      <a:pt x="276" y="300"/>
                    </a:lnTo>
                    <a:lnTo>
                      <a:pt x="276" y="282"/>
                    </a:lnTo>
                    <a:lnTo>
                      <a:pt x="282" y="276"/>
                    </a:lnTo>
                    <a:lnTo>
                      <a:pt x="282" y="234"/>
                    </a:lnTo>
                    <a:lnTo>
                      <a:pt x="288" y="228"/>
                    </a:lnTo>
                    <a:lnTo>
                      <a:pt x="288" y="216"/>
                    </a:lnTo>
                    <a:lnTo>
                      <a:pt x="282" y="210"/>
                    </a:lnTo>
                    <a:lnTo>
                      <a:pt x="270" y="204"/>
                    </a:lnTo>
                    <a:lnTo>
                      <a:pt x="264" y="198"/>
                    </a:lnTo>
                    <a:lnTo>
                      <a:pt x="276" y="186"/>
                    </a:lnTo>
                    <a:lnTo>
                      <a:pt x="282" y="186"/>
                    </a:lnTo>
                    <a:lnTo>
                      <a:pt x="282" y="180"/>
                    </a:lnTo>
                    <a:lnTo>
                      <a:pt x="270" y="168"/>
                    </a:lnTo>
                    <a:lnTo>
                      <a:pt x="276" y="156"/>
                    </a:lnTo>
                    <a:lnTo>
                      <a:pt x="276" y="132"/>
                    </a:lnTo>
                    <a:lnTo>
                      <a:pt x="270" y="126"/>
                    </a:lnTo>
                    <a:lnTo>
                      <a:pt x="264" y="126"/>
                    </a:lnTo>
                    <a:lnTo>
                      <a:pt x="252" y="138"/>
                    </a:lnTo>
                    <a:lnTo>
                      <a:pt x="264" y="60"/>
                    </a:lnTo>
                    <a:lnTo>
                      <a:pt x="228" y="36"/>
                    </a:lnTo>
                    <a:lnTo>
                      <a:pt x="240" y="24"/>
                    </a:lnTo>
                    <a:lnTo>
                      <a:pt x="240" y="6"/>
                    </a:lnTo>
                    <a:lnTo>
                      <a:pt x="222" y="0"/>
                    </a:lnTo>
                    <a:lnTo>
                      <a:pt x="198" y="12"/>
                    </a:lnTo>
                    <a:lnTo>
                      <a:pt x="42" y="12"/>
                    </a:lnTo>
                    <a:lnTo>
                      <a:pt x="36" y="18"/>
                    </a:lnTo>
                    <a:lnTo>
                      <a:pt x="30" y="30"/>
                    </a:lnTo>
                    <a:lnTo>
                      <a:pt x="30" y="48"/>
                    </a:lnTo>
                    <a:lnTo>
                      <a:pt x="36" y="48"/>
                    </a:lnTo>
                    <a:lnTo>
                      <a:pt x="42" y="78"/>
                    </a:lnTo>
                    <a:lnTo>
                      <a:pt x="42" y="132"/>
                    </a:lnTo>
                    <a:lnTo>
                      <a:pt x="48" y="126"/>
                    </a:lnTo>
                    <a:lnTo>
                      <a:pt x="54" y="156"/>
                    </a:lnTo>
                    <a:lnTo>
                      <a:pt x="42" y="156"/>
                    </a:lnTo>
                    <a:lnTo>
                      <a:pt x="42" y="162"/>
                    </a:lnTo>
                    <a:lnTo>
                      <a:pt x="48" y="168"/>
                    </a:lnTo>
                    <a:lnTo>
                      <a:pt x="48" y="180"/>
                    </a:lnTo>
                    <a:lnTo>
                      <a:pt x="54" y="192"/>
                    </a:lnTo>
                    <a:lnTo>
                      <a:pt x="54" y="204"/>
                    </a:lnTo>
                    <a:lnTo>
                      <a:pt x="60" y="216"/>
                    </a:lnTo>
                    <a:lnTo>
                      <a:pt x="60" y="228"/>
                    </a:lnTo>
                    <a:lnTo>
                      <a:pt x="48" y="252"/>
                    </a:lnTo>
                    <a:lnTo>
                      <a:pt x="42" y="258"/>
                    </a:lnTo>
                    <a:lnTo>
                      <a:pt x="36" y="270"/>
                    </a:lnTo>
                    <a:lnTo>
                      <a:pt x="36" y="288"/>
                    </a:lnTo>
                    <a:lnTo>
                      <a:pt x="30" y="300"/>
                    </a:lnTo>
                    <a:lnTo>
                      <a:pt x="30" y="312"/>
                    </a:lnTo>
                    <a:lnTo>
                      <a:pt x="12" y="330"/>
                    </a:lnTo>
                    <a:lnTo>
                      <a:pt x="6" y="342"/>
                    </a:lnTo>
                    <a:lnTo>
                      <a:pt x="0" y="348"/>
                    </a:lnTo>
                    <a:lnTo>
                      <a:pt x="0" y="372"/>
                    </a:lnTo>
                    <a:lnTo>
                      <a:pt x="6" y="384"/>
                    </a:lnTo>
                    <a:lnTo>
                      <a:pt x="12" y="402"/>
                    </a:lnTo>
                    <a:lnTo>
                      <a:pt x="12" y="414"/>
                    </a:lnTo>
                    <a:lnTo>
                      <a:pt x="18" y="426"/>
                    </a:lnTo>
                    <a:lnTo>
                      <a:pt x="24" y="432"/>
                    </a:lnTo>
                    <a:lnTo>
                      <a:pt x="24" y="438"/>
                    </a:lnTo>
                    <a:lnTo>
                      <a:pt x="48" y="444"/>
                    </a:lnTo>
                    <a:lnTo>
                      <a:pt x="48" y="498"/>
                    </a:lnTo>
                    <a:lnTo>
                      <a:pt x="72" y="498"/>
                    </a:lnTo>
                    <a:lnTo>
                      <a:pt x="78" y="504"/>
                    </a:lnTo>
                    <a:lnTo>
                      <a:pt x="78" y="510"/>
                    </a:lnTo>
                    <a:lnTo>
                      <a:pt x="84" y="516"/>
                    </a:lnTo>
                    <a:lnTo>
                      <a:pt x="96" y="516"/>
                    </a:lnTo>
                    <a:lnTo>
                      <a:pt x="108" y="510"/>
                    </a:lnTo>
                    <a:lnTo>
                      <a:pt x="114" y="504"/>
                    </a:lnTo>
                    <a:lnTo>
                      <a:pt x="132" y="492"/>
                    </a:lnTo>
                    <a:lnTo>
                      <a:pt x="138" y="486"/>
                    </a:lnTo>
                    <a:lnTo>
                      <a:pt x="150" y="480"/>
                    </a:lnTo>
                    <a:lnTo>
                      <a:pt x="180" y="480"/>
                    </a:lnTo>
                    <a:lnTo>
                      <a:pt x="186" y="474"/>
                    </a:lnTo>
                    <a:lnTo>
                      <a:pt x="198" y="468"/>
                    </a:lnTo>
                    <a:lnTo>
                      <a:pt x="216" y="450"/>
                    </a:lnTo>
                    <a:lnTo>
                      <a:pt x="228" y="450"/>
                    </a:lnTo>
                    <a:lnTo>
                      <a:pt x="234" y="444"/>
                    </a:lnTo>
                    <a:lnTo>
                      <a:pt x="240" y="444"/>
                    </a:lnTo>
                    <a:lnTo>
                      <a:pt x="258" y="426"/>
                    </a:lnTo>
                    <a:lnTo>
                      <a:pt x="270" y="426"/>
                    </a:lnTo>
                    <a:lnTo>
                      <a:pt x="276" y="432"/>
                    </a:lnTo>
                    <a:lnTo>
                      <a:pt x="294" y="432"/>
                    </a:lnTo>
                    <a:lnTo>
                      <a:pt x="306" y="426"/>
                    </a:lnTo>
                    <a:lnTo>
                      <a:pt x="324" y="408"/>
                    </a:lnTo>
                    <a:lnTo>
                      <a:pt x="294" y="384"/>
                    </a:lnTo>
                    <a:lnTo>
                      <a:pt x="282" y="342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1" name="Georgia"/>
              <p:cNvSpPr>
                <a:spLocks/>
              </p:cNvSpPr>
              <p:nvPr/>
            </p:nvSpPr>
            <p:spPr bwMode="gray">
              <a:xfrm>
                <a:off x="5280032" y="2663827"/>
                <a:ext cx="185738" cy="85725"/>
              </a:xfrm>
              <a:custGeom>
                <a:avLst/>
                <a:gdLst>
                  <a:gd name="T0" fmla="*/ 2147483647 w 462"/>
                  <a:gd name="T1" fmla="*/ 2147483647 h 210"/>
                  <a:gd name="T2" fmla="*/ 2147483647 w 462"/>
                  <a:gd name="T3" fmla="*/ 2147483647 h 210"/>
                  <a:gd name="T4" fmla="*/ 2147483647 w 462"/>
                  <a:gd name="T5" fmla="*/ 2147483647 h 210"/>
                  <a:gd name="T6" fmla="*/ 2147483647 w 462"/>
                  <a:gd name="T7" fmla="*/ 2147483647 h 210"/>
                  <a:gd name="T8" fmla="*/ 2147483647 w 462"/>
                  <a:gd name="T9" fmla="*/ 2147483647 h 210"/>
                  <a:gd name="T10" fmla="*/ 2147483647 w 462"/>
                  <a:gd name="T11" fmla="*/ 2147483647 h 210"/>
                  <a:gd name="T12" fmla="*/ 2147483647 w 462"/>
                  <a:gd name="T13" fmla="*/ 2147483647 h 210"/>
                  <a:gd name="T14" fmla="*/ 2147483647 w 462"/>
                  <a:gd name="T15" fmla="*/ 2147483647 h 210"/>
                  <a:gd name="T16" fmla="*/ 2147483647 w 462"/>
                  <a:gd name="T17" fmla="*/ 2147483647 h 210"/>
                  <a:gd name="T18" fmla="*/ 2147483647 w 462"/>
                  <a:gd name="T19" fmla="*/ 2147483647 h 210"/>
                  <a:gd name="T20" fmla="*/ 2147483647 w 462"/>
                  <a:gd name="T21" fmla="*/ 2147483647 h 210"/>
                  <a:gd name="T22" fmla="*/ 2147483647 w 462"/>
                  <a:gd name="T23" fmla="*/ 2147483647 h 210"/>
                  <a:gd name="T24" fmla="*/ 2147483647 w 462"/>
                  <a:gd name="T25" fmla="*/ 2147483647 h 210"/>
                  <a:gd name="T26" fmla="*/ 2147483647 w 462"/>
                  <a:gd name="T27" fmla="*/ 2147483647 h 210"/>
                  <a:gd name="T28" fmla="*/ 2147483647 w 462"/>
                  <a:gd name="T29" fmla="*/ 2147483647 h 210"/>
                  <a:gd name="T30" fmla="*/ 2147483647 w 462"/>
                  <a:gd name="T31" fmla="*/ 2147483647 h 210"/>
                  <a:gd name="T32" fmla="*/ 2147483647 w 462"/>
                  <a:gd name="T33" fmla="*/ 2147483647 h 210"/>
                  <a:gd name="T34" fmla="*/ 2147483647 w 462"/>
                  <a:gd name="T35" fmla="*/ 2147483647 h 210"/>
                  <a:gd name="T36" fmla="*/ 2147483647 w 462"/>
                  <a:gd name="T37" fmla="*/ 2147483647 h 210"/>
                  <a:gd name="T38" fmla="*/ 2147483647 w 462"/>
                  <a:gd name="T39" fmla="*/ 2147483647 h 210"/>
                  <a:gd name="T40" fmla="*/ 2147483647 w 462"/>
                  <a:gd name="T41" fmla="*/ 2147483647 h 210"/>
                  <a:gd name="T42" fmla="*/ 2147483647 w 462"/>
                  <a:gd name="T43" fmla="*/ 2147483647 h 210"/>
                  <a:gd name="T44" fmla="*/ 2147483647 w 462"/>
                  <a:gd name="T45" fmla="*/ 2147483647 h 210"/>
                  <a:gd name="T46" fmla="*/ 2147483647 w 462"/>
                  <a:gd name="T47" fmla="*/ 2147483647 h 210"/>
                  <a:gd name="T48" fmla="*/ 2147483647 w 462"/>
                  <a:gd name="T49" fmla="*/ 2147483647 h 210"/>
                  <a:gd name="T50" fmla="*/ 2147483647 w 462"/>
                  <a:gd name="T51" fmla="*/ 2147483647 h 210"/>
                  <a:gd name="T52" fmla="*/ 2147483647 w 462"/>
                  <a:gd name="T53" fmla="*/ 2147483647 h 210"/>
                  <a:gd name="T54" fmla="*/ 2147483647 w 462"/>
                  <a:gd name="T55" fmla="*/ 2147483647 h 210"/>
                  <a:gd name="T56" fmla="*/ 2147483647 w 462"/>
                  <a:gd name="T57" fmla="*/ 2147483647 h 210"/>
                  <a:gd name="T58" fmla="*/ 2147483647 w 462"/>
                  <a:gd name="T59" fmla="*/ 2147483647 h 210"/>
                  <a:gd name="T60" fmla="*/ 2147483647 w 462"/>
                  <a:gd name="T61" fmla="*/ 2147483647 h 210"/>
                  <a:gd name="T62" fmla="*/ 2147483647 w 462"/>
                  <a:gd name="T63" fmla="*/ 2147483647 h 210"/>
                  <a:gd name="T64" fmla="*/ 2147483647 w 462"/>
                  <a:gd name="T65" fmla="*/ 2147483647 h 210"/>
                  <a:gd name="T66" fmla="*/ 2147483647 w 462"/>
                  <a:gd name="T67" fmla="*/ 2147483647 h 210"/>
                  <a:gd name="T68" fmla="*/ 2147483647 w 462"/>
                  <a:gd name="T69" fmla="*/ 2147483647 h 210"/>
                  <a:gd name="T70" fmla="*/ 2147483647 w 462"/>
                  <a:gd name="T71" fmla="*/ 2147483647 h 210"/>
                  <a:gd name="T72" fmla="*/ 2147483647 w 462"/>
                  <a:gd name="T73" fmla="*/ 2147483647 h 210"/>
                  <a:gd name="T74" fmla="*/ 2147483647 w 462"/>
                  <a:gd name="T75" fmla="*/ 2147483647 h 210"/>
                  <a:gd name="T76" fmla="*/ 2147483647 w 462"/>
                  <a:gd name="T77" fmla="*/ 2147483647 h 210"/>
                  <a:gd name="T78" fmla="*/ 2147483647 w 462"/>
                  <a:gd name="T79" fmla="*/ 2147483647 h 210"/>
                  <a:gd name="T80" fmla="*/ 2147483647 w 462"/>
                  <a:gd name="T81" fmla="*/ 0 h 210"/>
                  <a:gd name="T82" fmla="*/ 0 w 462"/>
                  <a:gd name="T83" fmla="*/ 2147483647 h 21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62"/>
                  <a:gd name="T127" fmla="*/ 0 h 210"/>
                  <a:gd name="T128" fmla="*/ 462 w 462"/>
                  <a:gd name="T129" fmla="*/ 210 h 21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62" h="210">
                    <a:moveTo>
                      <a:pt x="6" y="18"/>
                    </a:moveTo>
                    <a:lnTo>
                      <a:pt x="12" y="18"/>
                    </a:lnTo>
                    <a:lnTo>
                      <a:pt x="18" y="24"/>
                    </a:lnTo>
                    <a:lnTo>
                      <a:pt x="30" y="30"/>
                    </a:lnTo>
                    <a:lnTo>
                      <a:pt x="42" y="42"/>
                    </a:lnTo>
                    <a:lnTo>
                      <a:pt x="60" y="48"/>
                    </a:lnTo>
                    <a:lnTo>
                      <a:pt x="72" y="54"/>
                    </a:lnTo>
                    <a:lnTo>
                      <a:pt x="78" y="54"/>
                    </a:lnTo>
                    <a:lnTo>
                      <a:pt x="84" y="60"/>
                    </a:lnTo>
                    <a:lnTo>
                      <a:pt x="96" y="66"/>
                    </a:lnTo>
                    <a:lnTo>
                      <a:pt x="102" y="78"/>
                    </a:lnTo>
                    <a:lnTo>
                      <a:pt x="114" y="84"/>
                    </a:lnTo>
                    <a:lnTo>
                      <a:pt x="114" y="96"/>
                    </a:lnTo>
                    <a:lnTo>
                      <a:pt x="120" y="114"/>
                    </a:lnTo>
                    <a:lnTo>
                      <a:pt x="120" y="132"/>
                    </a:lnTo>
                    <a:lnTo>
                      <a:pt x="126" y="138"/>
                    </a:lnTo>
                    <a:lnTo>
                      <a:pt x="132" y="150"/>
                    </a:lnTo>
                    <a:lnTo>
                      <a:pt x="138" y="156"/>
                    </a:lnTo>
                    <a:lnTo>
                      <a:pt x="138" y="162"/>
                    </a:lnTo>
                    <a:lnTo>
                      <a:pt x="132" y="168"/>
                    </a:lnTo>
                    <a:lnTo>
                      <a:pt x="168" y="174"/>
                    </a:lnTo>
                    <a:lnTo>
                      <a:pt x="174" y="168"/>
                    </a:lnTo>
                    <a:lnTo>
                      <a:pt x="186" y="162"/>
                    </a:lnTo>
                    <a:lnTo>
                      <a:pt x="198" y="162"/>
                    </a:lnTo>
                    <a:lnTo>
                      <a:pt x="210" y="168"/>
                    </a:lnTo>
                    <a:lnTo>
                      <a:pt x="216" y="174"/>
                    </a:lnTo>
                    <a:lnTo>
                      <a:pt x="222" y="186"/>
                    </a:lnTo>
                    <a:lnTo>
                      <a:pt x="222" y="192"/>
                    </a:lnTo>
                    <a:lnTo>
                      <a:pt x="246" y="192"/>
                    </a:lnTo>
                    <a:lnTo>
                      <a:pt x="246" y="198"/>
                    </a:lnTo>
                    <a:lnTo>
                      <a:pt x="252" y="204"/>
                    </a:lnTo>
                    <a:lnTo>
                      <a:pt x="276" y="198"/>
                    </a:lnTo>
                    <a:lnTo>
                      <a:pt x="282" y="192"/>
                    </a:lnTo>
                    <a:lnTo>
                      <a:pt x="336" y="198"/>
                    </a:lnTo>
                    <a:lnTo>
                      <a:pt x="336" y="180"/>
                    </a:lnTo>
                    <a:lnTo>
                      <a:pt x="342" y="180"/>
                    </a:lnTo>
                    <a:lnTo>
                      <a:pt x="348" y="186"/>
                    </a:lnTo>
                    <a:lnTo>
                      <a:pt x="354" y="186"/>
                    </a:lnTo>
                    <a:lnTo>
                      <a:pt x="354" y="180"/>
                    </a:lnTo>
                    <a:lnTo>
                      <a:pt x="366" y="168"/>
                    </a:lnTo>
                    <a:lnTo>
                      <a:pt x="390" y="168"/>
                    </a:lnTo>
                    <a:lnTo>
                      <a:pt x="396" y="174"/>
                    </a:lnTo>
                    <a:lnTo>
                      <a:pt x="396" y="180"/>
                    </a:lnTo>
                    <a:lnTo>
                      <a:pt x="414" y="198"/>
                    </a:lnTo>
                    <a:lnTo>
                      <a:pt x="426" y="192"/>
                    </a:lnTo>
                    <a:lnTo>
                      <a:pt x="438" y="192"/>
                    </a:lnTo>
                    <a:lnTo>
                      <a:pt x="456" y="210"/>
                    </a:lnTo>
                    <a:lnTo>
                      <a:pt x="462" y="204"/>
                    </a:lnTo>
                    <a:lnTo>
                      <a:pt x="456" y="192"/>
                    </a:lnTo>
                    <a:lnTo>
                      <a:pt x="450" y="186"/>
                    </a:lnTo>
                    <a:lnTo>
                      <a:pt x="444" y="174"/>
                    </a:lnTo>
                    <a:lnTo>
                      <a:pt x="438" y="168"/>
                    </a:lnTo>
                    <a:lnTo>
                      <a:pt x="432" y="168"/>
                    </a:lnTo>
                    <a:lnTo>
                      <a:pt x="414" y="150"/>
                    </a:lnTo>
                    <a:lnTo>
                      <a:pt x="420" y="144"/>
                    </a:lnTo>
                    <a:lnTo>
                      <a:pt x="432" y="144"/>
                    </a:lnTo>
                    <a:lnTo>
                      <a:pt x="420" y="132"/>
                    </a:lnTo>
                    <a:lnTo>
                      <a:pt x="408" y="126"/>
                    </a:lnTo>
                    <a:lnTo>
                      <a:pt x="396" y="114"/>
                    </a:lnTo>
                    <a:lnTo>
                      <a:pt x="378" y="114"/>
                    </a:lnTo>
                    <a:lnTo>
                      <a:pt x="378" y="108"/>
                    </a:lnTo>
                    <a:lnTo>
                      <a:pt x="384" y="102"/>
                    </a:lnTo>
                    <a:lnTo>
                      <a:pt x="384" y="90"/>
                    </a:lnTo>
                    <a:lnTo>
                      <a:pt x="354" y="84"/>
                    </a:lnTo>
                    <a:lnTo>
                      <a:pt x="342" y="72"/>
                    </a:lnTo>
                    <a:lnTo>
                      <a:pt x="330" y="66"/>
                    </a:lnTo>
                    <a:lnTo>
                      <a:pt x="300" y="66"/>
                    </a:lnTo>
                    <a:lnTo>
                      <a:pt x="300" y="72"/>
                    </a:lnTo>
                    <a:lnTo>
                      <a:pt x="288" y="72"/>
                    </a:lnTo>
                    <a:lnTo>
                      <a:pt x="282" y="78"/>
                    </a:lnTo>
                    <a:lnTo>
                      <a:pt x="258" y="78"/>
                    </a:lnTo>
                    <a:lnTo>
                      <a:pt x="246" y="72"/>
                    </a:lnTo>
                    <a:lnTo>
                      <a:pt x="240" y="72"/>
                    </a:lnTo>
                    <a:lnTo>
                      <a:pt x="240" y="66"/>
                    </a:lnTo>
                    <a:lnTo>
                      <a:pt x="192" y="36"/>
                    </a:lnTo>
                    <a:lnTo>
                      <a:pt x="186" y="36"/>
                    </a:lnTo>
                    <a:lnTo>
                      <a:pt x="180" y="30"/>
                    </a:lnTo>
                    <a:lnTo>
                      <a:pt x="144" y="30"/>
                    </a:lnTo>
                    <a:lnTo>
                      <a:pt x="84" y="18"/>
                    </a:lnTo>
                    <a:lnTo>
                      <a:pt x="66" y="12"/>
                    </a:lnTo>
                    <a:lnTo>
                      <a:pt x="54" y="6"/>
                    </a:lnTo>
                    <a:lnTo>
                      <a:pt x="36" y="0"/>
                    </a:lnTo>
                    <a:lnTo>
                      <a:pt x="24" y="0"/>
                    </a:lnTo>
                    <a:lnTo>
                      <a:pt x="0" y="18"/>
                    </a:lnTo>
                    <a:lnTo>
                      <a:pt x="6" y="18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2" name="Gabon"/>
              <p:cNvSpPr>
                <a:spLocks/>
              </p:cNvSpPr>
              <p:nvPr/>
            </p:nvSpPr>
            <p:spPr bwMode="gray">
              <a:xfrm>
                <a:off x="4462470" y="3998917"/>
                <a:ext cx="168275" cy="206375"/>
              </a:xfrm>
              <a:custGeom>
                <a:avLst/>
                <a:gdLst>
                  <a:gd name="T0" fmla="*/ 2147483647 w 420"/>
                  <a:gd name="T1" fmla="*/ 2147483647 h 510"/>
                  <a:gd name="T2" fmla="*/ 2147483647 w 420"/>
                  <a:gd name="T3" fmla="*/ 2147483647 h 510"/>
                  <a:gd name="T4" fmla="*/ 2147483647 w 420"/>
                  <a:gd name="T5" fmla="*/ 2147483647 h 510"/>
                  <a:gd name="T6" fmla="*/ 2147483647 w 420"/>
                  <a:gd name="T7" fmla="*/ 2147483647 h 510"/>
                  <a:gd name="T8" fmla="*/ 2147483647 w 420"/>
                  <a:gd name="T9" fmla="*/ 2147483647 h 510"/>
                  <a:gd name="T10" fmla="*/ 2147483647 w 420"/>
                  <a:gd name="T11" fmla="*/ 2147483647 h 510"/>
                  <a:gd name="T12" fmla="*/ 2147483647 w 420"/>
                  <a:gd name="T13" fmla="*/ 2147483647 h 510"/>
                  <a:gd name="T14" fmla="*/ 2147483647 w 420"/>
                  <a:gd name="T15" fmla="*/ 2147483647 h 510"/>
                  <a:gd name="T16" fmla="*/ 2147483647 w 420"/>
                  <a:gd name="T17" fmla="*/ 2147483647 h 510"/>
                  <a:gd name="T18" fmla="*/ 2147483647 w 420"/>
                  <a:gd name="T19" fmla="*/ 2147483647 h 510"/>
                  <a:gd name="T20" fmla="*/ 2147483647 w 420"/>
                  <a:gd name="T21" fmla="*/ 2147483647 h 510"/>
                  <a:gd name="T22" fmla="*/ 2147483647 w 420"/>
                  <a:gd name="T23" fmla="*/ 2147483647 h 510"/>
                  <a:gd name="T24" fmla="*/ 2147483647 w 420"/>
                  <a:gd name="T25" fmla="*/ 2147483647 h 510"/>
                  <a:gd name="T26" fmla="*/ 2147483647 w 420"/>
                  <a:gd name="T27" fmla="*/ 2147483647 h 510"/>
                  <a:gd name="T28" fmla="*/ 2147483647 w 420"/>
                  <a:gd name="T29" fmla="*/ 2147483647 h 510"/>
                  <a:gd name="T30" fmla="*/ 2147483647 w 420"/>
                  <a:gd name="T31" fmla="*/ 2147483647 h 510"/>
                  <a:gd name="T32" fmla="*/ 2147483647 w 420"/>
                  <a:gd name="T33" fmla="*/ 2147483647 h 510"/>
                  <a:gd name="T34" fmla="*/ 2147483647 w 420"/>
                  <a:gd name="T35" fmla="*/ 2147483647 h 510"/>
                  <a:gd name="T36" fmla="*/ 2147483647 w 420"/>
                  <a:gd name="T37" fmla="*/ 2147483647 h 510"/>
                  <a:gd name="T38" fmla="*/ 2147483647 w 420"/>
                  <a:gd name="T39" fmla="*/ 2147483647 h 510"/>
                  <a:gd name="T40" fmla="*/ 2147483647 w 420"/>
                  <a:gd name="T41" fmla="*/ 2147483647 h 510"/>
                  <a:gd name="T42" fmla="*/ 2147483647 w 420"/>
                  <a:gd name="T43" fmla="*/ 2147483647 h 510"/>
                  <a:gd name="T44" fmla="*/ 2147483647 w 420"/>
                  <a:gd name="T45" fmla="*/ 2147483647 h 510"/>
                  <a:gd name="T46" fmla="*/ 2147483647 w 420"/>
                  <a:gd name="T47" fmla="*/ 2147483647 h 510"/>
                  <a:gd name="T48" fmla="*/ 2147483647 w 420"/>
                  <a:gd name="T49" fmla="*/ 2147483647 h 510"/>
                  <a:gd name="T50" fmla="*/ 2147483647 w 420"/>
                  <a:gd name="T51" fmla="*/ 2147483647 h 510"/>
                  <a:gd name="T52" fmla="*/ 2147483647 w 420"/>
                  <a:gd name="T53" fmla="*/ 2147483647 h 510"/>
                  <a:gd name="T54" fmla="*/ 2147483647 w 420"/>
                  <a:gd name="T55" fmla="*/ 2147483647 h 510"/>
                  <a:gd name="T56" fmla="*/ 2147483647 w 420"/>
                  <a:gd name="T57" fmla="*/ 2147483647 h 510"/>
                  <a:gd name="T58" fmla="*/ 2147483647 w 420"/>
                  <a:gd name="T59" fmla="*/ 2147483647 h 510"/>
                  <a:gd name="T60" fmla="*/ 2147483647 w 420"/>
                  <a:gd name="T61" fmla="*/ 2147483647 h 510"/>
                  <a:gd name="T62" fmla="*/ 2147483647 w 420"/>
                  <a:gd name="T63" fmla="*/ 2147483647 h 510"/>
                  <a:gd name="T64" fmla="*/ 2147483647 w 420"/>
                  <a:gd name="T65" fmla="*/ 2147483647 h 510"/>
                  <a:gd name="T66" fmla="*/ 2147483647 w 420"/>
                  <a:gd name="T67" fmla="*/ 2147483647 h 510"/>
                  <a:gd name="T68" fmla="*/ 2147483647 w 420"/>
                  <a:gd name="T69" fmla="*/ 2147483647 h 510"/>
                  <a:gd name="T70" fmla="*/ 2147483647 w 420"/>
                  <a:gd name="T71" fmla="*/ 2147483647 h 510"/>
                  <a:gd name="T72" fmla="*/ 2147483647 w 420"/>
                  <a:gd name="T73" fmla="*/ 2147483647 h 510"/>
                  <a:gd name="T74" fmla="*/ 2147483647 w 420"/>
                  <a:gd name="T75" fmla="*/ 2147483647 h 510"/>
                  <a:gd name="T76" fmla="*/ 2147483647 w 420"/>
                  <a:gd name="T77" fmla="*/ 2147483647 h 510"/>
                  <a:gd name="T78" fmla="*/ 2147483647 w 420"/>
                  <a:gd name="T79" fmla="*/ 2147483647 h 510"/>
                  <a:gd name="T80" fmla="*/ 2147483647 w 420"/>
                  <a:gd name="T81" fmla="*/ 2147483647 h 510"/>
                  <a:gd name="T82" fmla="*/ 2147483647 w 420"/>
                  <a:gd name="T83" fmla="*/ 2147483647 h 510"/>
                  <a:gd name="T84" fmla="*/ 2147483647 w 420"/>
                  <a:gd name="T85" fmla="*/ 2147483647 h 510"/>
                  <a:gd name="T86" fmla="*/ 2147483647 w 420"/>
                  <a:gd name="T87" fmla="*/ 2147483647 h 510"/>
                  <a:gd name="T88" fmla="*/ 2147483647 w 420"/>
                  <a:gd name="T89" fmla="*/ 2147483647 h 510"/>
                  <a:gd name="T90" fmla="*/ 2147483647 w 420"/>
                  <a:gd name="T91" fmla="*/ 2147483647 h 510"/>
                  <a:gd name="T92" fmla="*/ 2147483647 w 420"/>
                  <a:gd name="T93" fmla="*/ 2147483647 h 510"/>
                  <a:gd name="T94" fmla="*/ 2147483647 w 420"/>
                  <a:gd name="T95" fmla="*/ 2147483647 h 510"/>
                  <a:gd name="T96" fmla="*/ 2147483647 w 420"/>
                  <a:gd name="T97" fmla="*/ 2147483647 h 510"/>
                  <a:gd name="T98" fmla="*/ 2147483647 w 420"/>
                  <a:gd name="T99" fmla="*/ 2147483647 h 510"/>
                  <a:gd name="T100" fmla="*/ 2147483647 w 420"/>
                  <a:gd name="T101" fmla="*/ 2147483647 h 510"/>
                  <a:gd name="T102" fmla="*/ 2147483647 w 420"/>
                  <a:gd name="T103" fmla="*/ 2147483647 h 510"/>
                  <a:gd name="T104" fmla="*/ 2147483647 w 420"/>
                  <a:gd name="T105" fmla="*/ 2147483647 h 510"/>
                  <a:gd name="T106" fmla="*/ 2147483647 w 420"/>
                  <a:gd name="T107" fmla="*/ 2147483647 h 510"/>
                  <a:gd name="T108" fmla="*/ 2147483647 w 420"/>
                  <a:gd name="T109" fmla="*/ 2147483647 h 510"/>
                  <a:gd name="T110" fmla="*/ 2147483647 w 420"/>
                  <a:gd name="T111" fmla="*/ 2147483647 h 510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20"/>
                  <a:gd name="T169" fmla="*/ 0 h 510"/>
                  <a:gd name="T170" fmla="*/ 420 w 420"/>
                  <a:gd name="T171" fmla="*/ 510 h 510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20" h="510">
                    <a:moveTo>
                      <a:pt x="420" y="240"/>
                    </a:moveTo>
                    <a:lnTo>
                      <a:pt x="414" y="234"/>
                    </a:lnTo>
                    <a:lnTo>
                      <a:pt x="396" y="234"/>
                    </a:lnTo>
                    <a:lnTo>
                      <a:pt x="390" y="216"/>
                    </a:lnTo>
                    <a:lnTo>
                      <a:pt x="372" y="210"/>
                    </a:lnTo>
                    <a:lnTo>
                      <a:pt x="372" y="174"/>
                    </a:lnTo>
                    <a:lnTo>
                      <a:pt x="384" y="150"/>
                    </a:lnTo>
                    <a:lnTo>
                      <a:pt x="396" y="150"/>
                    </a:lnTo>
                    <a:lnTo>
                      <a:pt x="402" y="144"/>
                    </a:lnTo>
                    <a:lnTo>
                      <a:pt x="408" y="132"/>
                    </a:lnTo>
                    <a:lnTo>
                      <a:pt x="414" y="126"/>
                    </a:lnTo>
                    <a:lnTo>
                      <a:pt x="414" y="114"/>
                    </a:lnTo>
                    <a:lnTo>
                      <a:pt x="402" y="108"/>
                    </a:lnTo>
                    <a:lnTo>
                      <a:pt x="402" y="90"/>
                    </a:lnTo>
                    <a:lnTo>
                      <a:pt x="396" y="84"/>
                    </a:lnTo>
                    <a:lnTo>
                      <a:pt x="396" y="78"/>
                    </a:lnTo>
                    <a:lnTo>
                      <a:pt x="384" y="78"/>
                    </a:lnTo>
                    <a:lnTo>
                      <a:pt x="378" y="72"/>
                    </a:lnTo>
                    <a:lnTo>
                      <a:pt x="360" y="72"/>
                    </a:lnTo>
                    <a:lnTo>
                      <a:pt x="360" y="90"/>
                    </a:lnTo>
                    <a:lnTo>
                      <a:pt x="354" y="96"/>
                    </a:lnTo>
                    <a:lnTo>
                      <a:pt x="330" y="96"/>
                    </a:lnTo>
                    <a:lnTo>
                      <a:pt x="324" y="90"/>
                    </a:lnTo>
                    <a:lnTo>
                      <a:pt x="318" y="54"/>
                    </a:lnTo>
                    <a:lnTo>
                      <a:pt x="336" y="24"/>
                    </a:lnTo>
                    <a:lnTo>
                      <a:pt x="336" y="6"/>
                    </a:lnTo>
                    <a:lnTo>
                      <a:pt x="288" y="12"/>
                    </a:lnTo>
                    <a:lnTo>
                      <a:pt x="282" y="12"/>
                    </a:lnTo>
                    <a:lnTo>
                      <a:pt x="270" y="6"/>
                    </a:lnTo>
                    <a:lnTo>
                      <a:pt x="264" y="6"/>
                    </a:lnTo>
                    <a:lnTo>
                      <a:pt x="252" y="18"/>
                    </a:lnTo>
                    <a:lnTo>
                      <a:pt x="222" y="18"/>
                    </a:lnTo>
                    <a:lnTo>
                      <a:pt x="210" y="0"/>
                    </a:lnTo>
                    <a:lnTo>
                      <a:pt x="192" y="18"/>
                    </a:lnTo>
                    <a:lnTo>
                      <a:pt x="186" y="54"/>
                    </a:lnTo>
                    <a:lnTo>
                      <a:pt x="192" y="60"/>
                    </a:lnTo>
                    <a:lnTo>
                      <a:pt x="192" y="90"/>
                    </a:lnTo>
                    <a:lnTo>
                      <a:pt x="186" y="108"/>
                    </a:lnTo>
                    <a:lnTo>
                      <a:pt x="186" y="114"/>
                    </a:lnTo>
                    <a:lnTo>
                      <a:pt x="84" y="114"/>
                    </a:lnTo>
                    <a:lnTo>
                      <a:pt x="84" y="108"/>
                    </a:lnTo>
                    <a:lnTo>
                      <a:pt x="72" y="108"/>
                    </a:lnTo>
                    <a:lnTo>
                      <a:pt x="60" y="120"/>
                    </a:lnTo>
                    <a:lnTo>
                      <a:pt x="60" y="126"/>
                    </a:lnTo>
                    <a:lnTo>
                      <a:pt x="66" y="132"/>
                    </a:lnTo>
                    <a:lnTo>
                      <a:pt x="66" y="144"/>
                    </a:lnTo>
                    <a:lnTo>
                      <a:pt x="72" y="150"/>
                    </a:lnTo>
                    <a:lnTo>
                      <a:pt x="72" y="162"/>
                    </a:lnTo>
                    <a:lnTo>
                      <a:pt x="48" y="162"/>
                    </a:lnTo>
                    <a:lnTo>
                      <a:pt x="48" y="210"/>
                    </a:lnTo>
                    <a:lnTo>
                      <a:pt x="42" y="228"/>
                    </a:lnTo>
                    <a:lnTo>
                      <a:pt x="36" y="240"/>
                    </a:lnTo>
                    <a:lnTo>
                      <a:pt x="30" y="246"/>
                    </a:lnTo>
                    <a:lnTo>
                      <a:pt x="18" y="252"/>
                    </a:lnTo>
                    <a:lnTo>
                      <a:pt x="0" y="252"/>
                    </a:lnTo>
                    <a:lnTo>
                      <a:pt x="30" y="306"/>
                    </a:lnTo>
                    <a:lnTo>
                      <a:pt x="42" y="294"/>
                    </a:lnTo>
                    <a:lnTo>
                      <a:pt x="54" y="312"/>
                    </a:lnTo>
                    <a:lnTo>
                      <a:pt x="48" y="318"/>
                    </a:lnTo>
                    <a:lnTo>
                      <a:pt x="48" y="330"/>
                    </a:lnTo>
                    <a:lnTo>
                      <a:pt x="42" y="336"/>
                    </a:lnTo>
                    <a:lnTo>
                      <a:pt x="42" y="342"/>
                    </a:lnTo>
                    <a:lnTo>
                      <a:pt x="48" y="348"/>
                    </a:lnTo>
                    <a:lnTo>
                      <a:pt x="66" y="348"/>
                    </a:lnTo>
                    <a:lnTo>
                      <a:pt x="72" y="390"/>
                    </a:lnTo>
                    <a:lnTo>
                      <a:pt x="102" y="396"/>
                    </a:lnTo>
                    <a:lnTo>
                      <a:pt x="96" y="408"/>
                    </a:lnTo>
                    <a:lnTo>
                      <a:pt x="144" y="462"/>
                    </a:lnTo>
                    <a:lnTo>
                      <a:pt x="138" y="468"/>
                    </a:lnTo>
                    <a:lnTo>
                      <a:pt x="174" y="510"/>
                    </a:lnTo>
                    <a:lnTo>
                      <a:pt x="180" y="492"/>
                    </a:lnTo>
                    <a:lnTo>
                      <a:pt x="204" y="480"/>
                    </a:lnTo>
                    <a:lnTo>
                      <a:pt x="222" y="498"/>
                    </a:lnTo>
                    <a:lnTo>
                      <a:pt x="228" y="492"/>
                    </a:lnTo>
                    <a:lnTo>
                      <a:pt x="228" y="456"/>
                    </a:lnTo>
                    <a:lnTo>
                      <a:pt x="210" y="444"/>
                    </a:lnTo>
                    <a:lnTo>
                      <a:pt x="228" y="432"/>
                    </a:lnTo>
                    <a:lnTo>
                      <a:pt x="198" y="414"/>
                    </a:lnTo>
                    <a:lnTo>
                      <a:pt x="210" y="414"/>
                    </a:lnTo>
                    <a:lnTo>
                      <a:pt x="210" y="402"/>
                    </a:lnTo>
                    <a:lnTo>
                      <a:pt x="204" y="396"/>
                    </a:lnTo>
                    <a:lnTo>
                      <a:pt x="204" y="378"/>
                    </a:lnTo>
                    <a:lnTo>
                      <a:pt x="210" y="378"/>
                    </a:lnTo>
                    <a:lnTo>
                      <a:pt x="216" y="384"/>
                    </a:lnTo>
                    <a:lnTo>
                      <a:pt x="228" y="384"/>
                    </a:lnTo>
                    <a:lnTo>
                      <a:pt x="240" y="390"/>
                    </a:lnTo>
                    <a:lnTo>
                      <a:pt x="258" y="390"/>
                    </a:lnTo>
                    <a:lnTo>
                      <a:pt x="264" y="384"/>
                    </a:lnTo>
                    <a:lnTo>
                      <a:pt x="270" y="372"/>
                    </a:lnTo>
                    <a:lnTo>
                      <a:pt x="282" y="366"/>
                    </a:lnTo>
                    <a:lnTo>
                      <a:pt x="264" y="348"/>
                    </a:lnTo>
                    <a:lnTo>
                      <a:pt x="264" y="342"/>
                    </a:lnTo>
                    <a:lnTo>
                      <a:pt x="294" y="342"/>
                    </a:lnTo>
                    <a:lnTo>
                      <a:pt x="312" y="384"/>
                    </a:lnTo>
                    <a:lnTo>
                      <a:pt x="342" y="384"/>
                    </a:lnTo>
                    <a:lnTo>
                      <a:pt x="348" y="378"/>
                    </a:lnTo>
                    <a:lnTo>
                      <a:pt x="354" y="366"/>
                    </a:lnTo>
                    <a:lnTo>
                      <a:pt x="360" y="360"/>
                    </a:lnTo>
                    <a:lnTo>
                      <a:pt x="366" y="360"/>
                    </a:lnTo>
                    <a:lnTo>
                      <a:pt x="366" y="390"/>
                    </a:lnTo>
                    <a:lnTo>
                      <a:pt x="372" y="396"/>
                    </a:lnTo>
                    <a:lnTo>
                      <a:pt x="384" y="396"/>
                    </a:lnTo>
                    <a:lnTo>
                      <a:pt x="390" y="390"/>
                    </a:lnTo>
                    <a:lnTo>
                      <a:pt x="396" y="378"/>
                    </a:lnTo>
                    <a:lnTo>
                      <a:pt x="396" y="354"/>
                    </a:lnTo>
                    <a:lnTo>
                      <a:pt x="408" y="348"/>
                    </a:lnTo>
                    <a:lnTo>
                      <a:pt x="414" y="342"/>
                    </a:lnTo>
                    <a:lnTo>
                      <a:pt x="408" y="318"/>
                    </a:lnTo>
                    <a:lnTo>
                      <a:pt x="414" y="306"/>
                    </a:lnTo>
                    <a:lnTo>
                      <a:pt x="414" y="258"/>
                    </a:lnTo>
                    <a:lnTo>
                      <a:pt x="420" y="252"/>
                    </a:lnTo>
                    <a:lnTo>
                      <a:pt x="420" y="24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3" name="Ethiopia"/>
              <p:cNvSpPr>
                <a:spLocks/>
              </p:cNvSpPr>
              <p:nvPr/>
            </p:nvSpPr>
            <p:spPr bwMode="gray">
              <a:xfrm>
                <a:off x="5159384" y="3594104"/>
                <a:ext cx="425451" cy="371475"/>
              </a:xfrm>
              <a:custGeom>
                <a:avLst/>
                <a:gdLst>
                  <a:gd name="T0" fmla="*/ 2147483647 w 1056"/>
                  <a:gd name="T1" fmla="*/ 2147483647 h 924"/>
                  <a:gd name="T2" fmla="*/ 2147483647 w 1056"/>
                  <a:gd name="T3" fmla="*/ 2147483647 h 924"/>
                  <a:gd name="T4" fmla="*/ 2147483647 w 1056"/>
                  <a:gd name="T5" fmla="*/ 2147483647 h 924"/>
                  <a:gd name="T6" fmla="*/ 2147483647 w 1056"/>
                  <a:gd name="T7" fmla="*/ 2147483647 h 924"/>
                  <a:gd name="T8" fmla="*/ 2147483647 w 1056"/>
                  <a:gd name="T9" fmla="*/ 2147483647 h 924"/>
                  <a:gd name="T10" fmla="*/ 2147483647 w 1056"/>
                  <a:gd name="T11" fmla="*/ 2147483647 h 924"/>
                  <a:gd name="T12" fmla="*/ 2147483647 w 1056"/>
                  <a:gd name="T13" fmla="*/ 2147483647 h 924"/>
                  <a:gd name="T14" fmla="*/ 2147483647 w 1056"/>
                  <a:gd name="T15" fmla="*/ 2147483647 h 924"/>
                  <a:gd name="T16" fmla="*/ 2147483647 w 1056"/>
                  <a:gd name="T17" fmla="*/ 2147483647 h 924"/>
                  <a:gd name="T18" fmla="*/ 2147483647 w 1056"/>
                  <a:gd name="T19" fmla="*/ 2147483647 h 924"/>
                  <a:gd name="T20" fmla="*/ 2147483647 w 1056"/>
                  <a:gd name="T21" fmla="*/ 2147483647 h 924"/>
                  <a:gd name="T22" fmla="*/ 2147483647 w 1056"/>
                  <a:gd name="T23" fmla="*/ 2147483647 h 924"/>
                  <a:gd name="T24" fmla="*/ 2147483647 w 1056"/>
                  <a:gd name="T25" fmla="*/ 2147483647 h 924"/>
                  <a:gd name="T26" fmla="*/ 2147483647 w 1056"/>
                  <a:gd name="T27" fmla="*/ 2147483647 h 924"/>
                  <a:gd name="T28" fmla="*/ 2147483647 w 1056"/>
                  <a:gd name="T29" fmla="*/ 2147483647 h 924"/>
                  <a:gd name="T30" fmla="*/ 2147483647 w 1056"/>
                  <a:gd name="T31" fmla="*/ 2147483647 h 924"/>
                  <a:gd name="T32" fmla="*/ 2147483647 w 1056"/>
                  <a:gd name="T33" fmla="*/ 2147483647 h 924"/>
                  <a:gd name="T34" fmla="*/ 2147483647 w 1056"/>
                  <a:gd name="T35" fmla="*/ 2147483647 h 924"/>
                  <a:gd name="T36" fmla="*/ 2147483647 w 1056"/>
                  <a:gd name="T37" fmla="*/ 2147483647 h 924"/>
                  <a:gd name="T38" fmla="*/ 2147483647 w 1056"/>
                  <a:gd name="T39" fmla="*/ 2147483647 h 924"/>
                  <a:gd name="T40" fmla="*/ 2147483647 w 1056"/>
                  <a:gd name="T41" fmla="*/ 2147483647 h 924"/>
                  <a:gd name="T42" fmla="*/ 2147483647 w 1056"/>
                  <a:gd name="T43" fmla="*/ 2147483647 h 924"/>
                  <a:gd name="T44" fmla="*/ 2147483647 w 1056"/>
                  <a:gd name="T45" fmla="*/ 2147483647 h 924"/>
                  <a:gd name="T46" fmla="*/ 2147483647 w 1056"/>
                  <a:gd name="T47" fmla="*/ 2147483647 h 924"/>
                  <a:gd name="T48" fmla="*/ 2147483647 w 1056"/>
                  <a:gd name="T49" fmla="*/ 2147483647 h 924"/>
                  <a:gd name="T50" fmla="*/ 2147483647 w 1056"/>
                  <a:gd name="T51" fmla="*/ 2147483647 h 924"/>
                  <a:gd name="T52" fmla="*/ 2147483647 w 1056"/>
                  <a:gd name="T53" fmla="*/ 2147483647 h 924"/>
                  <a:gd name="T54" fmla="*/ 2147483647 w 1056"/>
                  <a:gd name="T55" fmla="*/ 2147483647 h 924"/>
                  <a:gd name="T56" fmla="*/ 2147483647 w 1056"/>
                  <a:gd name="T57" fmla="*/ 2147483647 h 924"/>
                  <a:gd name="T58" fmla="*/ 2147483647 w 1056"/>
                  <a:gd name="T59" fmla="*/ 2147483647 h 924"/>
                  <a:gd name="T60" fmla="*/ 2147483647 w 1056"/>
                  <a:gd name="T61" fmla="*/ 2147483647 h 924"/>
                  <a:gd name="T62" fmla="*/ 2147483647 w 1056"/>
                  <a:gd name="T63" fmla="*/ 2147483647 h 924"/>
                  <a:gd name="T64" fmla="*/ 2147483647 w 1056"/>
                  <a:gd name="T65" fmla="*/ 2147483647 h 924"/>
                  <a:gd name="T66" fmla="*/ 2147483647 w 1056"/>
                  <a:gd name="T67" fmla="*/ 2147483647 h 924"/>
                  <a:gd name="T68" fmla="*/ 2147483647 w 1056"/>
                  <a:gd name="T69" fmla="*/ 2147483647 h 924"/>
                  <a:gd name="T70" fmla="*/ 2147483647 w 1056"/>
                  <a:gd name="T71" fmla="*/ 2147483647 h 924"/>
                  <a:gd name="T72" fmla="*/ 2147483647 w 1056"/>
                  <a:gd name="T73" fmla="*/ 0 h 924"/>
                  <a:gd name="T74" fmla="*/ 2147483647 w 1056"/>
                  <a:gd name="T75" fmla="*/ 2147483647 h 924"/>
                  <a:gd name="T76" fmla="*/ 2147483647 w 1056"/>
                  <a:gd name="T77" fmla="*/ 2147483647 h 924"/>
                  <a:gd name="T78" fmla="*/ 2147483647 w 1056"/>
                  <a:gd name="T79" fmla="*/ 2147483647 h 924"/>
                  <a:gd name="T80" fmla="*/ 2147483647 w 1056"/>
                  <a:gd name="T81" fmla="*/ 2147483647 h 924"/>
                  <a:gd name="T82" fmla="*/ 2147483647 w 1056"/>
                  <a:gd name="T83" fmla="*/ 2147483647 h 924"/>
                  <a:gd name="T84" fmla="*/ 2147483647 w 1056"/>
                  <a:gd name="T85" fmla="*/ 2147483647 h 924"/>
                  <a:gd name="T86" fmla="*/ 2147483647 w 1056"/>
                  <a:gd name="T87" fmla="*/ 2147483647 h 924"/>
                  <a:gd name="T88" fmla="*/ 2147483647 w 1056"/>
                  <a:gd name="T89" fmla="*/ 2147483647 h 924"/>
                  <a:gd name="T90" fmla="*/ 2147483647 w 1056"/>
                  <a:gd name="T91" fmla="*/ 2147483647 h 924"/>
                  <a:gd name="T92" fmla="*/ 2147483647 w 1056"/>
                  <a:gd name="T93" fmla="*/ 2147483647 h 924"/>
                  <a:gd name="T94" fmla="*/ 2147483647 w 1056"/>
                  <a:gd name="T95" fmla="*/ 2147483647 h 924"/>
                  <a:gd name="T96" fmla="*/ 2147483647 w 1056"/>
                  <a:gd name="T97" fmla="*/ 2147483647 h 924"/>
                  <a:gd name="T98" fmla="*/ 2147483647 w 1056"/>
                  <a:gd name="T99" fmla="*/ 2147483647 h 924"/>
                  <a:gd name="T100" fmla="*/ 2147483647 w 1056"/>
                  <a:gd name="T101" fmla="*/ 2147483647 h 924"/>
                  <a:gd name="T102" fmla="*/ 2147483647 w 1056"/>
                  <a:gd name="T103" fmla="*/ 2147483647 h 924"/>
                  <a:gd name="T104" fmla="*/ 2147483647 w 1056"/>
                  <a:gd name="T105" fmla="*/ 2147483647 h 924"/>
                  <a:gd name="T106" fmla="*/ 2147483647 w 1056"/>
                  <a:gd name="T107" fmla="*/ 2147483647 h 924"/>
                  <a:gd name="T108" fmla="*/ 2147483647 w 1056"/>
                  <a:gd name="T109" fmla="*/ 2147483647 h 924"/>
                  <a:gd name="T110" fmla="*/ 2147483647 w 1056"/>
                  <a:gd name="T111" fmla="*/ 2147483647 h 924"/>
                  <a:gd name="T112" fmla="*/ 2147483647 w 1056"/>
                  <a:gd name="T113" fmla="*/ 2147483647 h 924"/>
                  <a:gd name="T114" fmla="*/ 2147483647 w 1056"/>
                  <a:gd name="T115" fmla="*/ 2147483647 h 924"/>
                  <a:gd name="T116" fmla="*/ 2147483647 w 1056"/>
                  <a:gd name="T117" fmla="*/ 2147483647 h 92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056"/>
                  <a:gd name="T178" fmla="*/ 0 h 924"/>
                  <a:gd name="T179" fmla="*/ 1056 w 1056"/>
                  <a:gd name="T180" fmla="*/ 924 h 92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056" h="924">
                    <a:moveTo>
                      <a:pt x="84" y="642"/>
                    </a:moveTo>
                    <a:lnTo>
                      <a:pt x="108" y="642"/>
                    </a:lnTo>
                    <a:lnTo>
                      <a:pt x="114" y="666"/>
                    </a:lnTo>
                    <a:lnTo>
                      <a:pt x="126" y="666"/>
                    </a:lnTo>
                    <a:lnTo>
                      <a:pt x="126" y="702"/>
                    </a:lnTo>
                    <a:lnTo>
                      <a:pt x="138" y="708"/>
                    </a:lnTo>
                    <a:lnTo>
                      <a:pt x="138" y="726"/>
                    </a:lnTo>
                    <a:lnTo>
                      <a:pt x="156" y="762"/>
                    </a:lnTo>
                    <a:lnTo>
                      <a:pt x="168" y="768"/>
                    </a:lnTo>
                    <a:lnTo>
                      <a:pt x="186" y="768"/>
                    </a:lnTo>
                    <a:lnTo>
                      <a:pt x="192" y="774"/>
                    </a:lnTo>
                    <a:lnTo>
                      <a:pt x="198" y="786"/>
                    </a:lnTo>
                    <a:lnTo>
                      <a:pt x="198" y="804"/>
                    </a:lnTo>
                    <a:lnTo>
                      <a:pt x="210" y="840"/>
                    </a:lnTo>
                    <a:lnTo>
                      <a:pt x="282" y="846"/>
                    </a:lnTo>
                    <a:lnTo>
                      <a:pt x="360" y="906"/>
                    </a:lnTo>
                    <a:lnTo>
                      <a:pt x="390" y="906"/>
                    </a:lnTo>
                    <a:lnTo>
                      <a:pt x="402" y="912"/>
                    </a:lnTo>
                    <a:lnTo>
                      <a:pt x="432" y="912"/>
                    </a:lnTo>
                    <a:lnTo>
                      <a:pt x="444" y="918"/>
                    </a:lnTo>
                    <a:lnTo>
                      <a:pt x="450" y="918"/>
                    </a:lnTo>
                    <a:lnTo>
                      <a:pt x="462" y="924"/>
                    </a:lnTo>
                    <a:lnTo>
                      <a:pt x="486" y="906"/>
                    </a:lnTo>
                    <a:lnTo>
                      <a:pt x="486" y="894"/>
                    </a:lnTo>
                    <a:lnTo>
                      <a:pt x="498" y="882"/>
                    </a:lnTo>
                    <a:lnTo>
                      <a:pt x="510" y="882"/>
                    </a:lnTo>
                    <a:lnTo>
                      <a:pt x="522" y="876"/>
                    </a:lnTo>
                    <a:lnTo>
                      <a:pt x="528" y="870"/>
                    </a:lnTo>
                    <a:lnTo>
                      <a:pt x="534" y="870"/>
                    </a:lnTo>
                    <a:lnTo>
                      <a:pt x="552" y="852"/>
                    </a:lnTo>
                    <a:lnTo>
                      <a:pt x="576" y="882"/>
                    </a:lnTo>
                    <a:lnTo>
                      <a:pt x="606" y="882"/>
                    </a:lnTo>
                    <a:lnTo>
                      <a:pt x="612" y="876"/>
                    </a:lnTo>
                    <a:lnTo>
                      <a:pt x="636" y="882"/>
                    </a:lnTo>
                    <a:lnTo>
                      <a:pt x="636" y="876"/>
                    </a:lnTo>
                    <a:lnTo>
                      <a:pt x="648" y="864"/>
                    </a:lnTo>
                    <a:lnTo>
                      <a:pt x="660" y="864"/>
                    </a:lnTo>
                    <a:lnTo>
                      <a:pt x="672" y="858"/>
                    </a:lnTo>
                    <a:lnTo>
                      <a:pt x="696" y="858"/>
                    </a:lnTo>
                    <a:lnTo>
                      <a:pt x="714" y="840"/>
                    </a:lnTo>
                    <a:lnTo>
                      <a:pt x="714" y="828"/>
                    </a:lnTo>
                    <a:lnTo>
                      <a:pt x="726" y="822"/>
                    </a:lnTo>
                    <a:lnTo>
                      <a:pt x="732" y="816"/>
                    </a:lnTo>
                    <a:lnTo>
                      <a:pt x="744" y="810"/>
                    </a:lnTo>
                    <a:lnTo>
                      <a:pt x="756" y="810"/>
                    </a:lnTo>
                    <a:lnTo>
                      <a:pt x="762" y="804"/>
                    </a:lnTo>
                    <a:lnTo>
                      <a:pt x="846" y="804"/>
                    </a:lnTo>
                    <a:lnTo>
                      <a:pt x="1056" y="558"/>
                    </a:lnTo>
                    <a:lnTo>
                      <a:pt x="984" y="564"/>
                    </a:lnTo>
                    <a:lnTo>
                      <a:pt x="948" y="546"/>
                    </a:lnTo>
                    <a:lnTo>
                      <a:pt x="936" y="534"/>
                    </a:lnTo>
                    <a:lnTo>
                      <a:pt x="918" y="528"/>
                    </a:lnTo>
                    <a:lnTo>
                      <a:pt x="906" y="522"/>
                    </a:lnTo>
                    <a:lnTo>
                      <a:pt x="882" y="516"/>
                    </a:lnTo>
                    <a:lnTo>
                      <a:pt x="810" y="492"/>
                    </a:lnTo>
                    <a:lnTo>
                      <a:pt x="774" y="474"/>
                    </a:lnTo>
                    <a:lnTo>
                      <a:pt x="768" y="462"/>
                    </a:lnTo>
                    <a:lnTo>
                      <a:pt x="762" y="456"/>
                    </a:lnTo>
                    <a:lnTo>
                      <a:pt x="756" y="444"/>
                    </a:lnTo>
                    <a:lnTo>
                      <a:pt x="732" y="444"/>
                    </a:lnTo>
                    <a:lnTo>
                      <a:pt x="732" y="438"/>
                    </a:lnTo>
                    <a:lnTo>
                      <a:pt x="726" y="432"/>
                    </a:lnTo>
                    <a:lnTo>
                      <a:pt x="714" y="408"/>
                    </a:lnTo>
                    <a:lnTo>
                      <a:pt x="708" y="402"/>
                    </a:lnTo>
                    <a:lnTo>
                      <a:pt x="702" y="390"/>
                    </a:lnTo>
                    <a:lnTo>
                      <a:pt x="696" y="384"/>
                    </a:lnTo>
                    <a:lnTo>
                      <a:pt x="690" y="372"/>
                    </a:lnTo>
                    <a:lnTo>
                      <a:pt x="690" y="360"/>
                    </a:lnTo>
                    <a:lnTo>
                      <a:pt x="678" y="348"/>
                    </a:lnTo>
                    <a:lnTo>
                      <a:pt x="696" y="318"/>
                    </a:lnTo>
                    <a:lnTo>
                      <a:pt x="690" y="312"/>
                    </a:lnTo>
                    <a:lnTo>
                      <a:pt x="678" y="306"/>
                    </a:lnTo>
                    <a:lnTo>
                      <a:pt x="666" y="306"/>
                    </a:lnTo>
                    <a:lnTo>
                      <a:pt x="660" y="312"/>
                    </a:lnTo>
                    <a:lnTo>
                      <a:pt x="654" y="312"/>
                    </a:lnTo>
                    <a:lnTo>
                      <a:pt x="648" y="318"/>
                    </a:lnTo>
                    <a:lnTo>
                      <a:pt x="624" y="318"/>
                    </a:lnTo>
                    <a:lnTo>
                      <a:pt x="612" y="306"/>
                    </a:lnTo>
                    <a:lnTo>
                      <a:pt x="612" y="294"/>
                    </a:lnTo>
                    <a:lnTo>
                      <a:pt x="606" y="276"/>
                    </a:lnTo>
                    <a:lnTo>
                      <a:pt x="606" y="264"/>
                    </a:lnTo>
                    <a:lnTo>
                      <a:pt x="624" y="246"/>
                    </a:lnTo>
                    <a:lnTo>
                      <a:pt x="654" y="192"/>
                    </a:lnTo>
                    <a:lnTo>
                      <a:pt x="642" y="174"/>
                    </a:lnTo>
                    <a:lnTo>
                      <a:pt x="630" y="174"/>
                    </a:lnTo>
                    <a:lnTo>
                      <a:pt x="618" y="168"/>
                    </a:lnTo>
                    <a:lnTo>
                      <a:pt x="612" y="162"/>
                    </a:lnTo>
                    <a:lnTo>
                      <a:pt x="612" y="138"/>
                    </a:lnTo>
                    <a:lnTo>
                      <a:pt x="600" y="126"/>
                    </a:lnTo>
                    <a:lnTo>
                      <a:pt x="576" y="114"/>
                    </a:lnTo>
                    <a:lnTo>
                      <a:pt x="570" y="108"/>
                    </a:lnTo>
                    <a:lnTo>
                      <a:pt x="546" y="72"/>
                    </a:lnTo>
                    <a:lnTo>
                      <a:pt x="534" y="66"/>
                    </a:lnTo>
                    <a:lnTo>
                      <a:pt x="528" y="60"/>
                    </a:lnTo>
                    <a:lnTo>
                      <a:pt x="516" y="60"/>
                    </a:lnTo>
                    <a:lnTo>
                      <a:pt x="498" y="36"/>
                    </a:lnTo>
                    <a:lnTo>
                      <a:pt x="468" y="36"/>
                    </a:lnTo>
                    <a:lnTo>
                      <a:pt x="462" y="30"/>
                    </a:lnTo>
                    <a:lnTo>
                      <a:pt x="444" y="30"/>
                    </a:lnTo>
                    <a:lnTo>
                      <a:pt x="432" y="36"/>
                    </a:lnTo>
                    <a:lnTo>
                      <a:pt x="420" y="36"/>
                    </a:lnTo>
                    <a:lnTo>
                      <a:pt x="420" y="24"/>
                    </a:lnTo>
                    <a:lnTo>
                      <a:pt x="414" y="18"/>
                    </a:lnTo>
                    <a:lnTo>
                      <a:pt x="408" y="24"/>
                    </a:lnTo>
                    <a:lnTo>
                      <a:pt x="402" y="36"/>
                    </a:lnTo>
                    <a:lnTo>
                      <a:pt x="372" y="36"/>
                    </a:lnTo>
                    <a:lnTo>
                      <a:pt x="366" y="24"/>
                    </a:lnTo>
                    <a:lnTo>
                      <a:pt x="360" y="18"/>
                    </a:lnTo>
                    <a:lnTo>
                      <a:pt x="354" y="18"/>
                    </a:lnTo>
                    <a:lnTo>
                      <a:pt x="342" y="6"/>
                    </a:lnTo>
                    <a:lnTo>
                      <a:pt x="330" y="0"/>
                    </a:lnTo>
                    <a:lnTo>
                      <a:pt x="330" y="12"/>
                    </a:lnTo>
                    <a:lnTo>
                      <a:pt x="324" y="24"/>
                    </a:lnTo>
                    <a:lnTo>
                      <a:pt x="318" y="42"/>
                    </a:lnTo>
                    <a:lnTo>
                      <a:pt x="318" y="54"/>
                    </a:lnTo>
                    <a:lnTo>
                      <a:pt x="306" y="66"/>
                    </a:lnTo>
                    <a:lnTo>
                      <a:pt x="288" y="48"/>
                    </a:lnTo>
                    <a:lnTo>
                      <a:pt x="288" y="42"/>
                    </a:lnTo>
                    <a:lnTo>
                      <a:pt x="282" y="36"/>
                    </a:lnTo>
                    <a:lnTo>
                      <a:pt x="276" y="36"/>
                    </a:lnTo>
                    <a:lnTo>
                      <a:pt x="276" y="42"/>
                    </a:lnTo>
                    <a:lnTo>
                      <a:pt x="270" y="48"/>
                    </a:lnTo>
                    <a:lnTo>
                      <a:pt x="234" y="48"/>
                    </a:lnTo>
                    <a:lnTo>
                      <a:pt x="234" y="90"/>
                    </a:lnTo>
                    <a:lnTo>
                      <a:pt x="228" y="96"/>
                    </a:lnTo>
                    <a:lnTo>
                      <a:pt x="222" y="108"/>
                    </a:lnTo>
                    <a:lnTo>
                      <a:pt x="216" y="114"/>
                    </a:lnTo>
                    <a:lnTo>
                      <a:pt x="210" y="126"/>
                    </a:lnTo>
                    <a:lnTo>
                      <a:pt x="210" y="174"/>
                    </a:lnTo>
                    <a:lnTo>
                      <a:pt x="180" y="174"/>
                    </a:lnTo>
                    <a:lnTo>
                      <a:pt x="174" y="180"/>
                    </a:lnTo>
                    <a:lnTo>
                      <a:pt x="168" y="192"/>
                    </a:lnTo>
                    <a:lnTo>
                      <a:pt x="162" y="198"/>
                    </a:lnTo>
                    <a:lnTo>
                      <a:pt x="162" y="234"/>
                    </a:lnTo>
                    <a:lnTo>
                      <a:pt x="156" y="240"/>
                    </a:lnTo>
                    <a:lnTo>
                      <a:pt x="144" y="240"/>
                    </a:lnTo>
                    <a:lnTo>
                      <a:pt x="138" y="246"/>
                    </a:lnTo>
                    <a:lnTo>
                      <a:pt x="138" y="270"/>
                    </a:lnTo>
                    <a:lnTo>
                      <a:pt x="126" y="288"/>
                    </a:lnTo>
                    <a:lnTo>
                      <a:pt x="126" y="294"/>
                    </a:lnTo>
                    <a:lnTo>
                      <a:pt x="132" y="300"/>
                    </a:lnTo>
                    <a:lnTo>
                      <a:pt x="132" y="336"/>
                    </a:lnTo>
                    <a:lnTo>
                      <a:pt x="126" y="342"/>
                    </a:lnTo>
                    <a:lnTo>
                      <a:pt x="114" y="342"/>
                    </a:lnTo>
                    <a:lnTo>
                      <a:pt x="108" y="336"/>
                    </a:lnTo>
                    <a:lnTo>
                      <a:pt x="108" y="324"/>
                    </a:lnTo>
                    <a:lnTo>
                      <a:pt x="102" y="324"/>
                    </a:lnTo>
                    <a:lnTo>
                      <a:pt x="84" y="342"/>
                    </a:lnTo>
                    <a:lnTo>
                      <a:pt x="84" y="360"/>
                    </a:lnTo>
                    <a:lnTo>
                      <a:pt x="90" y="372"/>
                    </a:lnTo>
                    <a:lnTo>
                      <a:pt x="90" y="390"/>
                    </a:lnTo>
                    <a:lnTo>
                      <a:pt x="84" y="396"/>
                    </a:lnTo>
                    <a:lnTo>
                      <a:pt x="72" y="402"/>
                    </a:lnTo>
                    <a:lnTo>
                      <a:pt x="66" y="414"/>
                    </a:lnTo>
                    <a:lnTo>
                      <a:pt x="66" y="426"/>
                    </a:lnTo>
                    <a:lnTo>
                      <a:pt x="72" y="438"/>
                    </a:lnTo>
                    <a:lnTo>
                      <a:pt x="72" y="450"/>
                    </a:lnTo>
                    <a:lnTo>
                      <a:pt x="78" y="456"/>
                    </a:lnTo>
                    <a:lnTo>
                      <a:pt x="78" y="492"/>
                    </a:lnTo>
                    <a:lnTo>
                      <a:pt x="72" y="504"/>
                    </a:lnTo>
                    <a:lnTo>
                      <a:pt x="72" y="516"/>
                    </a:lnTo>
                    <a:lnTo>
                      <a:pt x="66" y="522"/>
                    </a:lnTo>
                    <a:lnTo>
                      <a:pt x="54" y="522"/>
                    </a:lnTo>
                    <a:lnTo>
                      <a:pt x="48" y="528"/>
                    </a:lnTo>
                    <a:lnTo>
                      <a:pt x="42" y="522"/>
                    </a:lnTo>
                    <a:lnTo>
                      <a:pt x="6" y="522"/>
                    </a:lnTo>
                    <a:lnTo>
                      <a:pt x="12" y="546"/>
                    </a:lnTo>
                    <a:lnTo>
                      <a:pt x="6" y="552"/>
                    </a:lnTo>
                    <a:lnTo>
                      <a:pt x="0" y="564"/>
                    </a:lnTo>
                    <a:lnTo>
                      <a:pt x="0" y="576"/>
                    </a:lnTo>
                    <a:lnTo>
                      <a:pt x="6" y="576"/>
                    </a:lnTo>
                    <a:lnTo>
                      <a:pt x="18" y="582"/>
                    </a:lnTo>
                    <a:lnTo>
                      <a:pt x="42" y="582"/>
                    </a:lnTo>
                    <a:lnTo>
                      <a:pt x="48" y="588"/>
                    </a:lnTo>
                    <a:lnTo>
                      <a:pt x="60" y="594"/>
                    </a:lnTo>
                    <a:lnTo>
                      <a:pt x="66" y="606"/>
                    </a:lnTo>
                    <a:lnTo>
                      <a:pt x="78" y="612"/>
                    </a:lnTo>
                    <a:lnTo>
                      <a:pt x="78" y="630"/>
                    </a:lnTo>
                    <a:lnTo>
                      <a:pt x="84" y="642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4" name="Eritrea"/>
              <p:cNvSpPr>
                <a:spLocks/>
              </p:cNvSpPr>
              <p:nvPr/>
            </p:nvSpPr>
            <p:spPr bwMode="gray">
              <a:xfrm>
                <a:off x="5249872" y="3492503"/>
                <a:ext cx="193675" cy="184151"/>
              </a:xfrm>
              <a:custGeom>
                <a:avLst/>
                <a:gdLst>
                  <a:gd name="T0" fmla="*/ 2147483647 w 480"/>
                  <a:gd name="T1" fmla="*/ 2147483647 h 456"/>
                  <a:gd name="T2" fmla="*/ 2147483647 w 480"/>
                  <a:gd name="T3" fmla="*/ 2147483647 h 456"/>
                  <a:gd name="T4" fmla="*/ 2147483647 w 480"/>
                  <a:gd name="T5" fmla="*/ 2147483647 h 456"/>
                  <a:gd name="T6" fmla="*/ 2147483647 w 480"/>
                  <a:gd name="T7" fmla="*/ 2147483647 h 456"/>
                  <a:gd name="T8" fmla="*/ 2147483647 w 480"/>
                  <a:gd name="T9" fmla="*/ 2147483647 h 456"/>
                  <a:gd name="T10" fmla="*/ 2147483647 w 480"/>
                  <a:gd name="T11" fmla="*/ 2147483647 h 456"/>
                  <a:gd name="T12" fmla="*/ 2147483647 w 480"/>
                  <a:gd name="T13" fmla="*/ 2147483647 h 456"/>
                  <a:gd name="T14" fmla="*/ 2147483647 w 480"/>
                  <a:gd name="T15" fmla="*/ 2147483647 h 456"/>
                  <a:gd name="T16" fmla="*/ 0 w 480"/>
                  <a:gd name="T17" fmla="*/ 2147483647 h 456"/>
                  <a:gd name="T18" fmla="*/ 2147483647 w 480"/>
                  <a:gd name="T19" fmla="*/ 2147483647 h 456"/>
                  <a:gd name="T20" fmla="*/ 2147483647 w 480"/>
                  <a:gd name="T21" fmla="*/ 2147483647 h 456"/>
                  <a:gd name="T22" fmla="*/ 2147483647 w 480"/>
                  <a:gd name="T23" fmla="*/ 2147483647 h 456"/>
                  <a:gd name="T24" fmla="*/ 2147483647 w 480"/>
                  <a:gd name="T25" fmla="*/ 2147483647 h 456"/>
                  <a:gd name="T26" fmla="*/ 2147483647 w 480"/>
                  <a:gd name="T27" fmla="*/ 2147483647 h 456"/>
                  <a:gd name="T28" fmla="*/ 2147483647 w 480"/>
                  <a:gd name="T29" fmla="*/ 2147483647 h 456"/>
                  <a:gd name="T30" fmla="*/ 2147483647 w 480"/>
                  <a:gd name="T31" fmla="*/ 2147483647 h 456"/>
                  <a:gd name="T32" fmla="*/ 2147483647 w 480"/>
                  <a:gd name="T33" fmla="*/ 2147483647 h 456"/>
                  <a:gd name="T34" fmla="*/ 2147483647 w 480"/>
                  <a:gd name="T35" fmla="*/ 2147483647 h 456"/>
                  <a:gd name="T36" fmla="*/ 2147483647 w 480"/>
                  <a:gd name="T37" fmla="*/ 2147483647 h 456"/>
                  <a:gd name="T38" fmla="*/ 2147483647 w 480"/>
                  <a:gd name="T39" fmla="*/ 2147483647 h 456"/>
                  <a:gd name="T40" fmla="*/ 2147483647 w 480"/>
                  <a:gd name="T41" fmla="*/ 2147483647 h 456"/>
                  <a:gd name="T42" fmla="*/ 2147483647 w 480"/>
                  <a:gd name="T43" fmla="*/ 2147483647 h 456"/>
                  <a:gd name="T44" fmla="*/ 2147483647 w 480"/>
                  <a:gd name="T45" fmla="*/ 2147483647 h 456"/>
                  <a:gd name="T46" fmla="*/ 2147483647 w 480"/>
                  <a:gd name="T47" fmla="*/ 2147483647 h 456"/>
                  <a:gd name="T48" fmla="*/ 2147483647 w 480"/>
                  <a:gd name="T49" fmla="*/ 2147483647 h 456"/>
                  <a:gd name="T50" fmla="*/ 2147483647 w 480"/>
                  <a:gd name="T51" fmla="*/ 2147483647 h 456"/>
                  <a:gd name="T52" fmla="*/ 2147483647 w 480"/>
                  <a:gd name="T53" fmla="*/ 2147483647 h 456"/>
                  <a:gd name="T54" fmla="*/ 2147483647 w 480"/>
                  <a:gd name="T55" fmla="*/ 2147483647 h 456"/>
                  <a:gd name="T56" fmla="*/ 2147483647 w 480"/>
                  <a:gd name="T57" fmla="*/ 2147483647 h 456"/>
                  <a:gd name="T58" fmla="*/ 2147483647 w 480"/>
                  <a:gd name="T59" fmla="*/ 2147483647 h 456"/>
                  <a:gd name="T60" fmla="*/ 2147483647 w 480"/>
                  <a:gd name="T61" fmla="*/ 2147483647 h 456"/>
                  <a:gd name="T62" fmla="*/ 2147483647 w 480"/>
                  <a:gd name="T63" fmla="*/ 2147483647 h 456"/>
                  <a:gd name="T64" fmla="*/ 2147483647 w 480"/>
                  <a:gd name="T65" fmla="*/ 2147483647 h 456"/>
                  <a:gd name="T66" fmla="*/ 2147483647 w 480"/>
                  <a:gd name="T67" fmla="*/ 2147483647 h 456"/>
                  <a:gd name="T68" fmla="*/ 2147483647 w 480"/>
                  <a:gd name="T69" fmla="*/ 2147483647 h 456"/>
                  <a:gd name="T70" fmla="*/ 2147483647 w 480"/>
                  <a:gd name="T71" fmla="*/ 2147483647 h 456"/>
                  <a:gd name="T72" fmla="*/ 2147483647 w 480"/>
                  <a:gd name="T73" fmla="*/ 2147483647 h 456"/>
                  <a:gd name="T74" fmla="*/ 2147483647 w 480"/>
                  <a:gd name="T75" fmla="*/ 2147483647 h 456"/>
                  <a:gd name="T76" fmla="*/ 2147483647 w 480"/>
                  <a:gd name="T77" fmla="*/ 2147483647 h 456"/>
                  <a:gd name="T78" fmla="*/ 2147483647 w 480"/>
                  <a:gd name="T79" fmla="*/ 2147483647 h 456"/>
                  <a:gd name="T80" fmla="*/ 2147483647 w 480"/>
                  <a:gd name="T81" fmla="*/ 2147483647 h 456"/>
                  <a:gd name="T82" fmla="*/ 2147483647 w 480"/>
                  <a:gd name="T83" fmla="*/ 2147483647 h 456"/>
                  <a:gd name="T84" fmla="*/ 2147483647 w 480"/>
                  <a:gd name="T85" fmla="*/ 2147483647 h 456"/>
                  <a:gd name="T86" fmla="*/ 2147483647 w 480"/>
                  <a:gd name="T87" fmla="*/ 2147483647 h 456"/>
                  <a:gd name="T88" fmla="*/ 2147483647 w 480"/>
                  <a:gd name="T89" fmla="*/ 2147483647 h 456"/>
                  <a:gd name="T90" fmla="*/ 2147483647 w 480"/>
                  <a:gd name="T91" fmla="*/ 2147483647 h 456"/>
                  <a:gd name="T92" fmla="*/ 2147483647 w 480"/>
                  <a:gd name="T93" fmla="*/ 2147483647 h 456"/>
                  <a:gd name="T94" fmla="*/ 2147483647 w 480"/>
                  <a:gd name="T95" fmla="*/ 2147483647 h 456"/>
                  <a:gd name="T96" fmla="*/ 2147483647 w 480"/>
                  <a:gd name="T97" fmla="*/ 0 h 456"/>
                  <a:gd name="T98" fmla="*/ 2147483647 w 480"/>
                  <a:gd name="T99" fmla="*/ 2147483647 h 456"/>
                  <a:gd name="T100" fmla="*/ 2147483647 w 480"/>
                  <a:gd name="T101" fmla="*/ 2147483647 h 456"/>
                  <a:gd name="T102" fmla="*/ 2147483647 w 480"/>
                  <a:gd name="T103" fmla="*/ 2147483647 h 45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480"/>
                  <a:gd name="T157" fmla="*/ 0 h 456"/>
                  <a:gd name="T158" fmla="*/ 480 w 480"/>
                  <a:gd name="T159" fmla="*/ 456 h 45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480" h="456">
                    <a:moveTo>
                      <a:pt x="78" y="54"/>
                    </a:moveTo>
                    <a:lnTo>
                      <a:pt x="78" y="66"/>
                    </a:lnTo>
                    <a:lnTo>
                      <a:pt x="72" y="72"/>
                    </a:lnTo>
                    <a:lnTo>
                      <a:pt x="72" y="78"/>
                    </a:lnTo>
                    <a:lnTo>
                      <a:pt x="66" y="84"/>
                    </a:lnTo>
                    <a:lnTo>
                      <a:pt x="48" y="84"/>
                    </a:lnTo>
                    <a:lnTo>
                      <a:pt x="48" y="102"/>
                    </a:lnTo>
                    <a:lnTo>
                      <a:pt x="42" y="108"/>
                    </a:lnTo>
                    <a:lnTo>
                      <a:pt x="30" y="108"/>
                    </a:lnTo>
                    <a:lnTo>
                      <a:pt x="30" y="120"/>
                    </a:lnTo>
                    <a:lnTo>
                      <a:pt x="36" y="126"/>
                    </a:lnTo>
                    <a:lnTo>
                      <a:pt x="36" y="168"/>
                    </a:lnTo>
                    <a:lnTo>
                      <a:pt x="30" y="180"/>
                    </a:lnTo>
                    <a:lnTo>
                      <a:pt x="24" y="186"/>
                    </a:lnTo>
                    <a:lnTo>
                      <a:pt x="18" y="186"/>
                    </a:lnTo>
                    <a:lnTo>
                      <a:pt x="18" y="222"/>
                    </a:lnTo>
                    <a:lnTo>
                      <a:pt x="12" y="222"/>
                    </a:lnTo>
                    <a:lnTo>
                      <a:pt x="0" y="228"/>
                    </a:lnTo>
                    <a:lnTo>
                      <a:pt x="0" y="246"/>
                    </a:lnTo>
                    <a:lnTo>
                      <a:pt x="6" y="252"/>
                    </a:lnTo>
                    <a:lnTo>
                      <a:pt x="12" y="300"/>
                    </a:lnTo>
                    <a:lnTo>
                      <a:pt x="48" y="300"/>
                    </a:lnTo>
                    <a:lnTo>
                      <a:pt x="54" y="294"/>
                    </a:lnTo>
                    <a:lnTo>
                      <a:pt x="54" y="288"/>
                    </a:lnTo>
                    <a:lnTo>
                      <a:pt x="60" y="288"/>
                    </a:lnTo>
                    <a:lnTo>
                      <a:pt x="66" y="294"/>
                    </a:lnTo>
                    <a:lnTo>
                      <a:pt x="66" y="300"/>
                    </a:lnTo>
                    <a:lnTo>
                      <a:pt x="84" y="318"/>
                    </a:lnTo>
                    <a:lnTo>
                      <a:pt x="96" y="306"/>
                    </a:lnTo>
                    <a:lnTo>
                      <a:pt x="96" y="294"/>
                    </a:lnTo>
                    <a:lnTo>
                      <a:pt x="102" y="276"/>
                    </a:lnTo>
                    <a:lnTo>
                      <a:pt x="108" y="264"/>
                    </a:lnTo>
                    <a:lnTo>
                      <a:pt x="108" y="252"/>
                    </a:lnTo>
                    <a:lnTo>
                      <a:pt x="120" y="258"/>
                    </a:lnTo>
                    <a:lnTo>
                      <a:pt x="132" y="270"/>
                    </a:lnTo>
                    <a:lnTo>
                      <a:pt x="138" y="270"/>
                    </a:lnTo>
                    <a:lnTo>
                      <a:pt x="144" y="276"/>
                    </a:lnTo>
                    <a:lnTo>
                      <a:pt x="150" y="288"/>
                    </a:lnTo>
                    <a:lnTo>
                      <a:pt x="180" y="288"/>
                    </a:lnTo>
                    <a:lnTo>
                      <a:pt x="186" y="276"/>
                    </a:lnTo>
                    <a:lnTo>
                      <a:pt x="192" y="270"/>
                    </a:lnTo>
                    <a:lnTo>
                      <a:pt x="198" y="276"/>
                    </a:lnTo>
                    <a:lnTo>
                      <a:pt x="198" y="288"/>
                    </a:lnTo>
                    <a:lnTo>
                      <a:pt x="210" y="288"/>
                    </a:lnTo>
                    <a:lnTo>
                      <a:pt x="222" y="282"/>
                    </a:lnTo>
                    <a:lnTo>
                      <a:pt x="240" y="282"/>
                    </a:lnTo>
                    <a:lnTo>
                      <a:pt x="246" y="288"/>
                    </a:lnTo>
                    <a:lnTo>
                      <a:pt x="276" y="288"/>
                    </a:lnTo>
                    <a:lnTo>
                      <a:pt x="294" y="312"/>
                    </a:lnTo>
                    <a:lnTo>
                      <a:pt x="306" y="312"/>
                    </a:lnTo>
                    <a:lnTo>
                      <a:pt x="312" y="318"/>
                    </a:lnTo>
                    <a:lnTo>
                      <a:pt x="324" y="324"/>
                    </a:lnTo>
                    <a:lnTo>
                      <a:pt x="348" y="360"/>
                    </a:lnTo>
                    <a:lnTo>
                      <a:pt x="354" y="366"/>
                    </a:lnTo>
                    <a:lnTo>
                      <a:pt x="378" y="378"/>
                    </a:lnTo>
                    <a:lnTo>
                      <a:pt x="390" y="390"/>
                    </a:lnTo>
                    <a:lnTo>
                      <a:pt x="390" y="414"/>
                    </a:lnTo>
                    <a:lnTo>
                      <a:pt x="396" y="420"/>
                    </a:lnTo>
                    <a:lnTo>
                      <a:pt x="408" y="426"/>
                    </a:lnTo>
                    <a:lnTo>
                      <a:pt x="420" y="426"/>
                    </a:lnTo>
                    <a:lnTo>
                      <a:pt x="432" y="444"/>
                    </a:lnTo>
                    <a:lnTo>
                      <a:pt x="456" y="456"/>
                    </a:lnTo>
                    <a:lnTo>
                      <a:pt x="468" y="438"/>
                    </a:lnTo>
                    <a:lnTo>
                      <a:pt x="480" y="432"/>
                    </a:lnTo>
                    <a:lnTo>
                      <a:pt x="474" y="420"/>
                    </a:lnTo>
                    <a:lnTo>
                      <a:pt x="456" y="402"/>
                    </a:lnTo>
                    <a:lnTo>
                      <a:pt x="432" y="402"/>
                    </a:lnTo>
                    <a:lnTo>
                      <a:pt x="426" y="396"/>
                    </a:lnTo>
                    <a:lnTo>
                      <a:pt x="426" y="360"/>
                    </a:lnTo>
                    <a:lnTo>
                      <a:pt x="420" y="360"/>
                    </a:lnTo>
                    <a:lnTo>
                      <a:pt x="414" y="354"/>
                    </a:lnTo>
                    <a:lnTo>
                      <a:pt x="366" y="330"/>
                    </a:lnTo>
                    <a:lnTo>
                      <a:pt x="360" y="324"/>
                    </a:lnTo>
                    <a:lnTo>
                      <a:pt x="360" y="312"/>
                    </a:lnTo>
                    <a:lnTo>
                      <a:pt x="354" y="300"/>
                    </a:lnTo>
                    <a:lnTo>
                      <a:pt x="354" y="288"/>
                    </a:lnTo>
                    <a:lnTo>
                      <a:pt x="348" y="276"/>
                    </a:lnTo>
                    <a:lnTo>
                      <a:pt x="348" y="270"/>
                    </a:lnTo>
                    <a:lnTo>
                      <a:pt x="336" y="270"/>
                    </a:lnTo>
                    <a:lnTo>
                      <a:pt x="324" y="264"/>
                    </a:lnTo>
                    <a:lnTo>
                      <a:pt x="306" y="264"/>
                    </a:lnTo>
                    <a:lnTo>
                      <a:pt x="282" y="240"/>
                    </a:lnTo>
                    <a:lnTo>
                      <a:pt x="264" y="246"/>
                    </a:lnTo>
                    <a:lnTo>
                      <a:pt x="252" y="228"/>
                    </a:lnTo>
                    <a:lnTo>
                      <a:pt x="234" y="222"/>
                    </a:lnTo>
                    <a:lnTo>
                      <a:pt x="216" y="204"/>
                    </a:lnTo>
                    <a:lnTo>
                      <a:pt x="210" y="192"/>
                    </a:lnTo>
                    <a:lnTo>
                      <a:pt x="204" y="186"/>
                    </a:lnTo>
                    <a:lnTo>
                      <a:pt x="198" y="174"/>
                    </a:lnTo>
                    <a:lnTo>
                      <a:pt x="198" y="114"/>
                    </a:lnTo>
                    <a:lnTo>
                      <a:pt x="192" y="90"/>
                    </a:lnTo>
                    <a:lnTo>
                      <a:pt x="186" y="78"/>
                    </a:lnTo>
                    <a:lnTo>
                      <a:pt x="180" y="60"/>
                    </a:lnTo>
                    <a:lnTo>
                      <a:pt x="168" y="42"/>
                    </a:lnTo>
                    <a:lnTo>
                      <a:pt x="162" y="24"/>
                    </a:lnTo>
                    <a:lnTo>
                      <a:pt x="156" y="12"/>
                    </a:lnTo>
                    <a:lnTo>
                      <a:pt x="150" y="6"/>
                    </a:lnTo>
                    <a:lnTo>
                      <a:pt x="150" y="0"/>
                    </a:lnTo>
                    <a:lnTo>
                      <a:pt x="144" y="0"/>
                    </a:lnTo>
                    <a:lnTo>
                      <a:pt x="144" y="12"/>
                    </a:lnTo>
                    <a:lnTo>
                      <a:pt x="132" y="36"/>
                    </a:lnTo>
                    <a:lnTo>
                      <a:pt x="108" y="48"/>
                    </a:lnTo>
                    <a:lnTo>
                      <a:pt x="90" y="54"/>
                    </a:lnTo>
                    <a:lnTo>
                      <a:pt x="78" y="54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5" name="Equatorial Guinea"/>
              <p:cNvSpPr>
                <a:spLocks/>
              </p:cNvSpPr>
              <p:nvPr/>
            </p:nvSpPr>
            <p:spPr bwMode="gray">
              <a:xfrm>
                <a:off x="4481518" y="4002089"/>
                <a:ext cx="58738" cy="44451"/>
              </a:xfrm>
              <a:custGeom>
                <a:avLst/>
                <a:gdLst>
                  <a:gd name="T0" fmla="*/ 2147483647 w 144"/>
                  <a:gd name="T1" fmla="*/ 2147483647 h 108"/>
                  <a:gd name="T2" fmla="*/ 2147483647 w 144"/>
                  <a:gd name="T3" fmla="*/ 2147483647 h 108"/>
                  <a:gd name="T4" fmla="*/ 2147483647 w 144"/>
                  <a:gd name="T5" fmla="*/ 2147483647 h 108"/>
                  <a:gd name="T6" fmla="*/ 2147483647 w 144"/>
                  <a:gd name="T7" fmla="*/ 0 h 108"/>
                  <a:gd name="T8" fmla="*/ 2147483647 w 144"/>
                  <a:gd name="T9" fmla="*/ 2147483647 h 108"/>
                  <a:gd name="T10" fmla="*/ 2147483647 w 144"/>
                  <a:gd name="T11" fmla="*/ 2147483647 h 108"/>
                  <a:gd name="T12" fmla="*/ 2147483647 w 144"/>
                  <a:gd name="T13" fmla="*/ 2147483647 h 108"/>
                  <a:gd name="T14" fmla="*/ 2147483647 w 144"/>
                  <a:gd name="T15" fmla="*/ 2147483647 h 108"/>
                  <a:gd name="T16" fmla="*/ 2147483647 w 144"/>
                  <a:gd name="T17" fmla="*/ 2147483647 h 108"/>
                  <a:gd name="T18" fmla="*/ 0 w 144"/>
                  <a:gd name="T19" fmla="*/ 2147483647 h 108"/>
                  <a:gd name="T20" fmla="*/ 0 w 144"/>
                  <a:gd name="T21" fmla="*/ 2147483647 h 108"/>
                  <a:gd name="T22" fmla="*/ 2147483647 w 144"/>
                  <a:gd name="T23" fmla="*/ 2147483647 h 108"/>
                  <a:gd name="T24" fmla="*/ 2147483647 w 144"/>
                  <a:gd name="T25" fmla="*/ 2147483647 h 108"/>
                  <a:gd name="T26" fmla="*/ 2147483647 w 144"/>
                  <a:gd name="T27" fmla="*/ 2147483647 h 108"/>
                  <a:gd name="T28" fmla="*/ 2147483647 w 144"/>
                  <a:gd name="T29" fmla="*/ 2147483647 h 108"/>
                  <a:gd name="T30" fmla="*/ 2147483647 w 144"/>
                  <a:gd name="T31" fmla="*/ 2147483647 h 108"/>
                  <a:gd name="T32" fmla="*/ 2147483647 w 144"/>
                  <a:gd name="T33" fmla="*/ 2147483647 h 108"/>
                  <a:gd name="T34" fmla="*/ 2147483647 w 144"/>
                  <a:gd name="T35" fmla="*/ 2147483647 h 108"/>
                  <a:gd name="T36" fmla="*/ 2147483647 w 144"/>
                  <a:gd name="T37" fmla="*/ 2147483647 h 108"/>
                  <a:gd name="T38" fmla="*/ 2147483647 w 144"/>
                  <a:gd name="T39" fmla="*/ 2147483647 h 10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44"/>
                  <a:gd name="T61" fmla="*/ 0 h 108"/>
                  <a:gd name="T62" fmla="*/ 144 w 144"/>
                  <a:gd name="T63" fmla="*/ 108 h 108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44" h="108">
                    <a:moveTo>
                      <a:pt x="138" y="48"/>
                    </a:moveTo>
                    <a:lnTo>
                      <a:pt x="144" y="12"/>
                    </a:lnTo>
                    <a:lnTo>
                      <a:pt x="48" y="12"/>
                    </a:lnTo>
                    <a:lnTo>
                      <a:pt x="36" y="0"/>
                    </a:lnTo>
                    <a:lnTo>
                      <a:pt x="30" y="6"/>
                    </a:lnTo>
                    <a:lnTo>
                      <a:pt x="30" y="42"/>
                    </a:lnTo>
                    <a:lnTo>
                      <a:pt x="18" y="54"/>
                    </a:lnTo>
                    <a:lnTo>
                      <a:pt x="12" y="66"/>
                    </a:lnTo>
                    <a:lnTo>
                      <a:pt x="6" y="72"/>
                    </a:lnTo>
                    <a:lnTo>
                      <a:pt x="0" y="84"/>
                    </a:lnTo>
                    <a:lnTo>
                      <a:pt x="0" y="90"/>
                    </a:lnTo>
                    <a:lnTo>
                      <a:pt x="6" y="96"/>
                    </a:lnTo>
                    <a:lnTo>
                      <a:pt x="18" y="102"/>
                    </a:lnTo>
                    <a:lnTo>
                      <a:pt x="36" y="102"/>
                    </a:lnTo>
                    <a:lnTo>
                      <a:pt x="36" y="108"/>
                    </a:lnTo>
                    <a:lnTo>
                      <a:pt x="138" y="108"/>
                    </a:lnTo>
                    <a:lnTo>
                      <a:pt x="138" y="102"/>
                    </a:lnTo>
                    <a:lnTo>
                      <a:pt x="144" y="84"/>
                    </a:lnTo>
                    <a:lnTo>
                      <a:pt x="144" y="54"/>
                    </a:lnTo>
                    <a:lnTo>
                      <a:pt x="138" y="48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6" name="Egypt"/>
              <p:cNvSpPr>
                <a:spLocks/>
              </p:cNvSpPr>
              <p:nvPr/>
            </p:nvSpPr>
            <p:spPr bwMode="gray">
              <a:xfrm>
                <a:off x="4905383" y="3049589"/>
                <a:ext cx="317501" cy="323851"/>
              </a:xfrm>
              <a:custGeom>
                <a:avLst/>
                <a:gdLst>
                  <a:gd name="T0" fmla="*/ 2147483647 w 792"/>
                  <a:gd name="T1" fmla="*/ 2147483647 h 804"/>
                  <a:gd name="T2" fmla="*/ 2147483647 w 792"/>
                  <a:gd name="T3" fmla="*/ 2147483647 h 804"/>
                  <a:gd name="T4" fmla="*/ 2147483647 w 792"/>
                  <a:gd name="T5" fmla="*/ 2147483647 h 804"/>
                  <a:gd name="T6" fmla="*/ 2147483647 w 792"/>
                  <a:gd name="T7" fmla="*/ 2147483647 h 804"/>
                  <a:gd name="T8" fmla="*/ 2147483647 w 792"/>
                  <a:gd name="T9" fmla="*/ 2147483647 h 804"/>
                  <a:gd name="T10" fmla="*/ 2147483647 w 792"/>
                  <a:gd name="T11" fmla="*/ 2147483647 h 804"/>
                  <a:gd name="T12" fmla="*/ 2147483647 w 792"/>
                  <a:gd name="T13" fmla="*/ 2147483647 h 804"/>
                  <a:gd name="T14" fmla="*/ 2147483647 w 792"/>
                  <a:gd name="T15" fmla="*/ 2147483647 h 804"/>
                  <a:gd name="T16" fmla="*/ 2147483647 w 792"/>
                  <a:gd name="T17" fmla="*/ 2147483647 h 804"/>
                  <a:gd name="T18" fmla="*/ 2147483647 w 792"/>
                  <a:gd name="T19" fmla="*/ 2147483647 h 804"/>
                  <a:gd name="T20" fmla="*/ 2147483647 w 792"/>
                  <a:gd name="T21" fmla="*/ 2147483647 h 804"/>
                  <a:gd name="T22" fmla="*/ 2147483647 w 792"/>
                  <a:gd name="T23" fmla="*/ 2147483647 h 804"/>
                  <a:gd name="T24" fmla="*/ 2147483647 w 792"/>
                  <a:gd name="T25" fmla="*/ 2147483647 h 804"/>
                  <a:gd name="T26" fmla="*/ 2147483647 w 792"/>
                  <a:gd name="T27" fmla="*/ 2147483647 h 804"/>
                  <a:gd name="T28" fmla="*/ 2147483647 w 792"/>
                  <a:gd name="T29" fmla="*/ 2147483647 h 804"/>
                  <a:gd name="T30" fmla="*/ 2147483647 w 792"/>
                  <a:gd name="T31" fmla="*/ 2147483647 h 804"/>
                  <a:gd name="T32" fmla="*/ 2147483647 w 792"/>
                  <a:gd name="T33" fmla="*/ 2147483647 h 804"/>
                  <a:gd name="T34" fmla="*/ 2147483647 w 792"/>
                  <a:gd name="T35" fmla="*/ 2147483647 h 804"/>
                  <a:gd name="T36" fmla="*/ 2147483647 w 792"/>
                  <a:gd name="T37" fmla="*/ 2147483647 h 804"/>
                  <a:gd name="T38" fmla="*/ 2147483647 w 792"/>
                  <a:gd name="T39" fmla="*/ 2147483647 h 804"/>
                  <a:gd name="T40" fmla="*/ 2147483647 w 792"/>
                  <a:gd name="T41" fmla="*/ 2147483647 h 804"/>
                  <a:gd name="T42" fmla="*/ 2147483647 w 792"/>
                  <a:gd name="T43" fmla="*/ 2147483647 h 804"/>
                  <a:gd name="T44" fmla="*/ 2147483647 w 792"/>
                  <a:gd name="T45" fmla="*/ 2147483647 h 804"/>
                  <a:gd name="T46" fmla="*/ 2147483647 w 792"/>
                  <a:gd name="T47" fmla="*/ 2147483647 h 804"/>
                  <a:gd name="T48" fmla="*/ 2147483647 w 792"/>
                  <a:gd name="T49" fmla="*/ 2147483647 h 804"/>
                  <a:gd name="T50" fmla="*/ 2147483647 w 792"/>
                  <a:gd name="T51" fmla="*/ 2147483647 h 804"/>
                  <a:gd name="T52" fmla="*/ 2147483647 w 792"/>
                  <a:gd name="T53" fmla="*/ 2147483647 h 804"/>
                  <a:gd name="T54" fmla="*/ 2147483647 w 792"/>
                  <a:gd name="T55" fmla="*/ 2147483647 h 804"/>
                  <a:gd name="T56" fmla="*/ 2147483647 w 792"/>
                  <a:gd name="T57" fmla="*/ 2147483647 h 804"/>
                  <a:gd name="T58" fmla="*/ 2147483647 w 792"/>
                  <a:gd name="T59" fmla="*/ 2147483647 h 804"/>
                  <a:gd name="T60" fmla="*/ 2147483647 w 792"/>
                  <a:gd name="T61" fmla="*/ 2147483647 h 804"/>
                  <a:gd name="T62" fmla="*/ 2147483647 w 792"/>
                  <a:gd name="T63" fmla="*/ 2147483647 h 804"/>
                  <a:gd name="T64" fmla="*/ 2147483647 w 792"/>
                  <a:gd name="T65" fmla="*/ 2147483647 h 804"/>
                  <a:gd name="T66" fmla="*/ 2147483647 w 792"/>
                  <a:gd name="T67" fmla="*/ 2147483647 h 804"/>
                  <a:gd name="T68" fmla="*/ 2147483647 w 792"/>
                  <a:gd name="T69" fmla="*/ 2147483647 h 804"/>
                  <a:gd name="T70" fmla="*/ 2147483647 w 792"/>
                  <a:gd name="T71" fmla="*/ 2147483647 h 804"/>
                  <a:gd name="T72" fmla="*/ 2147483647 w 792"/>
                  <a:gd name="T73" fmla="*/ 2147483647 h 804"/>
                  <a:gd name="T74" fmla="*/ 2147483647 w 792"/>
                  <a:gd name="T75" fmla="*/ 2147483647 h 804"/>
                  <a:gd name="T76" fmla="*/ 2147483647 w 792"/>
                  <a:gd name="T77" fmla="*/ 2147483647 h 804"/>
                  <a:gd name="T78" fmla="*/ 2147483647 w 792"/>
                  <a:gd name="T79" fmla="*/ 2147483647 h 804"/>
                  <a:gd name="T80" fmla="*/ 2147483647 w 792"/>
                  <a:gd name="T81" fmla="*/ 2147483647 h 804"/>
                  <a:gd name="T82" fmla="*/ 2147483647 w 792"/>
                  <a:gd name="T83" fmla="*/ 2147483647 h 804"/>
                  <a:gd name="T84" fmla="*/ 2147483647 w 792"/>
                  <a:gd name="T85" fmla="*/ 2147483647 h 804"/>
                  <a:gd name="T86" fmla="*/ 2147483647 w 792"/>
                  <a:gd name="T87" fmla="*/ 2147483647 h 804"/>
                  <a:gd name="T88" fmla="*/ 2147483647 w 792"/>
                  <a:gd name="T89" fmla="*/ 2147483647 h 804"/>
                  <a:gd name="T90" fmla="*/ 2147483647 w 792"/>
                  <a:gd name="T91" fmla="*/ 0 h 804"/>
                  <a:gd name="T92" fmla="*/ 2147483647 w 792"/>
                  <a:gd name="T93" fmla="*/ 2147483647 h 804"/>
                  <a:gd name="T94" fmla="*/ 2147483647 w 792"/>
                  <a:gd name="T95" fmla="*/ 0 h 80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92"/>
                  <a:gd name="T145" fmla="*/ 0 h 804"/>
                  <a:gd name="T146" fmla="*/ 792 w 792"/>
                  <a:gd name="T147" fmla="*/ 804 h 80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92" h="804">
                    <a:moveTo>
                      <a:pt x="12" y="18"/>
                    </a:moveTo>
                    <a:lnTo>
                      <a:pt x="6" y="24"/>
                    </a:lnTo>
                    <a:lnTo>
                      <a:pt x="6" y="54"/>
                    </a:lnTo>
                    <a:lnTo>
                      <a:pt x="18" y="60"/>
                    </a:lnTo>
                    <a:lnTo>
                      <a:pt x="24" y="72"/>
                    </a:lnTo>
                    <a:lnTo>
                      <a:pt x="24" y="78"/>
                    </a:lnTo>
                    <a:lnTo>
                      <a:pt x="18" y="84"/>
                    </a:lnTo>
                    <a:lnTo>
                      <a:pt x="12" y="96"/>
                    </a:lnTo>
                    <a:lnTo>
                      <a:pt x="6" y="102"/>
                    </a:lnTo>
                    <a:lnTo>
                      <a:pt x="0" y="114"/>
                    </a:lnTo>
                    <a:lnTo>
                      <a:pt x="0" y="120"/>
                    </a:lnTo>
                    <a:lnTo>
                      <a:pt x="6" y="132"/>
                    </a:lnTo>
                    <a:lnTo>
                      <a:pt x="18" y="144"/>
                    </a:lnTo>
                    <a:lnTo>
                      <a:pt x="30" y="180"/>
                    </a:lnTo>
                    <a:lnTo>
                      <a:pt x="30" y="264"/>
                    </a:lnTo>
                    <a:lnTo>
                      <a:pt x="36" y="342"/>
                    </a:lnTo>
                    <a:lnTo>
                      <a:pt x="36" y="438"/>
                    </a:lnTo>
                    <a:lnTo>
                      <a:pt x="42" y="534"/>
                    </a:lnTo>
                    <a:lnTo>
                      <a:pt x="42" y="624"/>
                    </a:lnTo>
                    <a:lnTo>
                      <a:pt x="48" y="702"/>
                    </a:lnTo>
                    <a:lnTo>
                      <a:pt x="48" y="774"/>
                    </a:lnTo>
                    <a:lnTo>
                      <a:pt x="474" y="780"/>
                    </a:lnTo>
                    <a:lnTo>
                      <a:pt x="492" y="762"/>
                    </a:lnTo>
                    <a:lnTo>
                      <a:pt x="498" y="762"/>
                    </a:lnTo>
                    <a:lnTo>
                      <a:pt x="498" y="774"/>
                    </a:lnTo>
                    <a:lnTo>
                      <a:pt x="618" y="780"/>
                    </a:lnTo>
                    <a:lnTo>
                      <a:pt x="624" y="786"/>
                    </a:lnTo>
                    <a:lnTo>
                      <a:pt x="630" y="798"/>
                    </a:lnTo>
                    <a:lnTo>
                      <a:pt x="636" y="804"/>
                    </a:lnTo>
                    <a:lnTo>
                      <a:pt x="654" y="804"/>
                    </a:lnTo>
                    <a:lnTo>
                      <a:pt x="660" y="798"/>
                    </a:lnTo>
                    <a:lnTo>
                      <a:pt x="672" y="774"/>
                    </a:lnTo>
                    <a:lnTo>
                      <a:pt x="684" y="762"/>
                    </a:lnTo>
                    <a:lnTo>
                      <a:pt x="696" y="762"/>
                    </a:lnTo>
                    <a:lnTo>
                      <a:pt x="702" y="756"/>
                    </a:lnTo>
                    <a:lnTo>
                      <a:pt x="720" y="756"/>
                    </a:lnTo>
                    <a:lnTo>
                      <a:pt x="726" y="750"/>
                    </a:lnTo>
                    <a:lnTo>
                      <a:pt x="732" y="738"/>
                    </a:lnTo>
                    <a:lnTo>
                      <a:pt x="732" y="714"/>
                    </a:lnTo>
                    <a:lnTo>
                      <a:pt x="762" y="714"/>
                    </a:lnTo>
                    <a:lnTo>
                      <a:pt x="786" y="690"/>
                    </a:lnTo>
                    <a:lnTo>
                      <a:pt x="780" y="684"/>
                    </a:lnTo>
                    <a:lnTo>
                      <a:pt x="774" y="672"/>
                    </a:lnTo>
                    <a:lnTo>
                      <a:pt x="774" y="624"/>
                    </a:lnTo>
                    <a:lnTo>
                      <a:pt x="792" y="618"/>
                    </a:lnTo>
                    <a:lnTo>
                      <a:pt x="786" y="618"/>
                    </a:lnTo>
                    <a:lnTo>
                      <a:pt x="756" y="588"/>
                    </a:lnTo>
                    <a:lnTo>
                      <a:pt x="732" y="552"/>
                    </a:lnTo>
                    <a:lnTo>
                      <a:pt x="726" y="528"/>
                    </a:lnTo>
                    <a:lnTo>
                      <a:pt x="714" y="492"/>
                    </a:lnTo>
                    <a:lnTo>
                      <a:pt x="702" y="468"/>
                    </a:lnTo>
                    <a:lnTo>
                      <a:pt x="690" y="462"/>
                    </a:lnTo>
                    <a:lnTo>
                      <a:pt x="684" y="450"/>
                    </a:lnTo>
                    <a:lnTo>
                      <a:pt x="672" y="444"/>
                    </a:lnTo>
                    <a:lnTo>
                      <a:pt x="666" y="432"/>
                    </a:lnTo>
                    <a:lnTo>
                      <a:pt x="654" y="396"/>
                    </a:lnTo>
                    <a:lnTo>
                      <a:pt x="654" y="378"/>
                    </a:lnTo>
                    <a:lnTo>
                      <a:pt x="618" y="336"/>
                    </a:lnTo>
                    <a:lnTo>
                      <a:pt x="618" y="318"/>
                    </a:lnTo>
                    <a:lnTo>
                      <a:pt x="606" y="294"/>
                    </a:lnTo>
                    <a:lnTo>
                      <a:pt x="594" y="282"/>
                    </a:lnTo>
                    <a:lnTo>
                      <a:pt x="588" y="270"/>
                    </a:lnTo>
                    <a:lnTo>
                      <a:pt x="576" y="258"/>
                    </a:lnTo>
                    <a:lnTo>
                      <a:pt x="570" y="246"/>
                    </a:lnTo>
                    <a:lnTo>
                      <a:pt x="558" y="234"/>
                    </a:lnTo>
                    <a:lnTo>
                      <a:pt x="552" y="222"/>
                    </a:lnTo>
                    <a:lnTo>
                      <a:pt x="546" y="216"/>
                    </a:lnTo>
                    <a:lnTo>
                      <a:pt x="552" y="210"/>
                    </a:lnTo>
                    <a:lnTo>
                      <a:pt x="552" y="198"/>
                    </a:lnTo>
                    <a:lnTo>
                      <a:pt x="540" y="174"/>
                    </a:lnTo>
                    <a:lnTo>
                      <a:pt x="528" y="168"/>
                    </a:lnTo>
                    <a:lnTo>
                      <a:pt x="522" y="168"/>
                    </a:lnTo>
                    <a:lnTo>
                      <a:pt x="540" y="144"/>
                    </a:lnTo>
                    <a:lnTo>
                      <a:pt x="558" y="156"/>
                    </a:lnTo>
                    <a:lnTo>
                      <a:pt x="558" y="174"/>
                    </a:lnTo>
                    <a:lnTo>
                      <a:pt x="564" y="186"/>
                    </a:lnTo>
                    <a:lnTo>
                      <a:pt x="576" y="198"/>
                    </a:lnTo>
                    <a:lnTo>
                      <a:pt x="582" y="210"/>
                    </a:lnTo>
                    <a:lnTo>
                      <a:pt x="588" y="216"/>
                    </a:lnTo>
                    <a:lnTo>
                      <a:pt x="588" y="246"/>
                    </a:lnTo>
                    <a:lnTo>
                      <a:pt x="606" y="264"/>
                    </a:lnTo>
                    <a:lnTo>
                      <a:pt x="612" y="276"/>
                    </a:lnTo>
                    <a:lnTo>
                      <a:pt x="636" y="300"/>
                    </a:lnTo>
                    <a:lnTo>
                      <a:pt x="648" y="306"/>
                    </a:lnTo>
                    <a:lnTo>
                      <a:pt x="654" y="306"/>
                    </a:lnTo>
                    <a:lnTo>
                      <a:pt x="666" y="300"/>
                    </a:lnTo>
                    <a:lnTo>
                      <a:pt x="678" y="288"/>
                    </a:lnTo>
                    <a:lnTo>
                      <a:pt x="672" y="270"/>
                    </a:lnTo>
                    <a:lnTo>
                      <a:pt x="684" y="246"/>
                    </a:lnTo>
                    <a:lnTo>
                      <a:pt x="684" y="234"/>
                    </a:lnTo>
                    <a:lnTo>
                      <a:pt x="690" y="222"/>
                    </a:lnTo>
                    <a:lnTo>
                      <a:pt x="690" y="198"/>
                    </a:lnTo>
                    <a:lnTo>
                      <a:pt x="696" y="186"/>
                    </a:lnTo>
                    <a:lnTo>
                      <a:pt x="696" y="180"/>
                    </a:lnTo>
                    <a:lnTo>
                      <a:pt x="702" y="168"/>
                    </a:lnTo>
                    <a:lnTo>
                      <a:pt x="648" y="24"/>
                    </a:lnTo>
                    <a:lnTo>
                      <a:pt x="642" y="24"/>
                    </a:lnTo>
                    <a:lnTo>
                      <a:pt x="636" y="30"/>
                    </a:lnTo>
                    <a:lnTo>
                      <a:pt x="624" y="30"/>
                    </a:lnTo>
                    <a:lnTo>
                      <a:pt x="600" y="42"/>
                    </a:lnTo>
                    <a:lnTo>
                      <a:pt x="576" y="42"/>
                    </a:lnTo>
                    <a:lnTo>
                      <a:pt x="564" y="36"/>
                    </a:lnTo>
                    <a:lnTo>
                      <a:pt x="558" y="30"/>
                    </a:lnTo>
                    <a:lnTo>
                      <a:pt x="552" y="36"/>
                    </a:lnTo>
                    <a:lnTo>
                      <a:pt x="540" y="42"/>
                    </a:lnTo>
                    <a:lnTo>
                      <a:pt x="534" y="42"/>
                    </a:lnTo>
                    <a:lnTo>
                      <a:pt x="510" y="30"/>
                    </a:lnTo>
                    <a:lnTo>
                      <a:pt x="504" y="24"/>
                    </a:lnTo>
                    <a:lnTo>
                      <a:pt x="504" y="18"/>
                    </a:lnTo>
                    <a:lnTo>
                      <a:pt x="498" y="12"/>
                    </a:lnTo>
                    <a:lnTo>
                      <a:pt x="486" y="6"/>
                    </a:lnTo>
                    <a:lnTo>
                      <a:pt x="468" y="6"/>
                    </a:lnTo>
                    <a:lnTo>
                      <a:pt x="456" y="12"/>
                    </a:lnTo>
                    <a:lnTo>
                      <a:pt x="438" y="12"/>
                    </a:lnTo>
                    <a:lnTo>
                      <a:pt x="432" y="18"/>
                    </a:lnTo>
                    <a:lnTo>
                      <a:pt x="420" y="18"/>
                    </a:lnTo>
                    <a:lnTo>
                      <a:pt x="414" y="12"/>
                    </a:lnTo>
                    <a:lnTo>
                      <a:pt x="390" y="12"/>
                    </a:lnTo>
                    <a:lnTo>
                      <a:pt x="378" y="18"/>
                    </a:lnTo>
                    <a:lnTo>
                      <a:pt x="372" y="24"/>
                    </a:lnTo>
                    <a:lnTo>
                      <a:pt x="366" y="36"/>
                    </a:lnTo>
                    <a:lnTo>
                      <a:pt x="360" y="42"/>
                    </a:lnTo>
                    <a:lnTo>
                      <a:pt x="336" y="42"/>
                    </a:lnTo>
                    <a:lnTo>
                      <a:pt x="324" y="54"/>
                    </a:lnTo>
                    <a:lnTo>
                      <a:pt x="312" y="60"/>
                    </a:lnTo>
                    <a:lnTo>
                      <a:pt x="306" y="60"/>
                    </a:lnTo>
                    <a:lnTo>
                      <a:pt x="300" y="54"/>
                    </a:lnTo>
                    <a:lnTo>
                      <a:pt x="288" y="54"/>
                    </a:lnTo>
                    <a:lnTo>
                      <a:pt x="276" y="48"/>
                    </a:lnTo>
                    <a:lnTo>
                      <a:pt x="264" y="48"/>
                    </a:lnTo>
                    <a:lnTo>
                      <a:pt x="258" y="42"/>
                    </a:lnTo>
                    <a:lnTo>
                      <a:pt x="204" y="42"/>
                    </a:lnTo>
                    <a:lnTo>
                      <a:pt x="198" y="36"/>
                    </a:lnTo>
                    <a:lnTo>
                      <a:pt x="186" y="30"/>
                    </a:lnTo>
                    <a:lnTo>
                      <a:pt x="174" y="18"/>
                    </a:lnTo>
                    <a:lnTo>
                      <a:pt x="126" y="18"/>
                    </a:lnTo>
                    <a:lnTo>
                      <a:pt x="120" y="12"/>
                    </a:lnTo>
                    <a:lnTo>
                      <a:pt x="96" y="0"/>
                    </a:lnTo>
                    <a:lnTo>
                      <a:pt x="78" y="0"/>
                    </a:lnTo>
                    <a:lnTo>
                      <a:pt x="66" y="12"/>
                    </a:lnTo>
                    <a:lnTo>
                      <a:pt x="54" y="12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12" y="18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7" name="Djibouti"/>
              <p:cNvSpPr>
                <a:spLocks/>
              </p:cNvSpPr>
              <p:nvPr/>
            </p:nvSpPr>
            <p:spPr bwMode="gray">
              <a:xfrm>
                <a:off x="5403859" y="3667130"/>
                <a:ext cx="47625" cy="53975"/>
              </a:xfrm>
              <a:custGeom>
                <a:avLst/>
                <a:gdLst>
                  <a:gd name="T0" fmla="*/ 2147483647 w 114"/>
                  <a:gd name="T1" fmla="*/ 2147483647 h 138"/>
                  <a:gd name="T2" fmla="*/ 2147483647 w 114"/>
                  <a:gd name="T3" fmla="*/ 2147483647 h 138"/>
                  <a:gd name="T4" fmla="*/ 2147483647 w 114"/>
                  <a:gd name="T5" fmla="*/ 2147483647 h 138"/>
                  <a:gd name="T6" fmla="*/ 0 w 114"/>
                  <a:gd name="T7" fmla="*/ 2147483647 h 138"/>
                  <a:gd name="T8" fmla="*/ 0 w 114"/>
                  <a:gd name="T9" fmla="*/ 2147483647 h 138"/>
                  <a:gd name="T10" fmla="*/ 2147483647 w 114"/>
                  <a:gd name="T11" fmla="*/ 2147483647 h 138"/>
                  <a:gd name="T12" fmla="*/ 2147483647 w 114"/>
                  <a:gd name="T13" fmla="*/ 2147483647 h 138"/>
                  <a:gd name="T14" fmla="*/ 2147483647 w 114"/>
                  <a:gd name="T15" fmla="*/ 2147483647 h 138"/>
                  <a:gd name="T16" fmla="*/ 2147483647 w 114"/>
                  <a:gd name="T17" fmla="*/ 2147483647 h 138"/>
                  <a:gd name="T18" fmla="*/ 2147483647 w 114"/>
                  <a:gd name="T19" fmla="*/ 2147483647 h 138"/>
                  <a:gd name="T20" fmla="*/ 2147483647 w 114"/>
                  <a:gd name="T21" fmla="*/ 2147483647 h 138"/>
                  <a:gd name="T22" fmla="*/ 2147483647 w 114"/>
                  <a:gd name="T23" fmla="*/ 2147483647 h 138"/>
                  <a:gd name="T24" fmla="*/ 2147483647 w 114"/>
                  <a:gd name="T25" fmla="*/ 2147483647 h 138"/>
                  <a:gd name="T26" fmla="*/ 2147483647 w 114"/>
                  <a:gd name="T27" fmla="*/ 2147483647 h 138"/>
                  <a:gd name="T28" fmla="*/ 2147483647 w 114"/>
                  <a:gd name="T29" fmla="*/ 2147483647 h 138"/>
                  <a:gd name="T30" fmla="*/ 2147483647 w 114"/>
                  <a:gd name="T31" fmla="*/ 2147483647 h 138"/>
                  <a:gd name="T32" fmla="*/ 2147483647 w 114"/>
                  <a:gd name="T33" fmla="*/ 2147483647 h 138"/>
                  <a:gd name="T34" fmla="*/ 2147483647 w 114"/>
                  <a:gd name="T35" fmla="*/ 2147483647 h 138"/>
                  <a:gd name="T36" fmla="*/ 2147483647 w 114"/>
                  <a:gd name="T37" fmla="*/ 2147483647 h 138"/>
                  <a:gd name="T38" fmla="*/ 2147483647 w 114"/>
                  <a:gd name="T39" fmla="*/ 2147483647 h 138"/>
                  <a:gd name="T40" fmla="*/ 2147483647 w 114"/>
                  <a:gd name="T41" fmla="*/ 2147483647 h 138"/>
                  <a:gd name="T42" fmla="*/ 2147483647 w 114"/>
                  <a:gd name="T43" fmla="*/ 2147483647 h 138"/>
                  <a:gd name="T44" fmla="*/ 2147483647 w 114"/>
                  <a:gd name="T45" fmla="*/ 2147483647 h 138"/>
                  <a:gd name="T46" fmla="*/ 2147483647 w 114"/>
                  <a:gd name="T47" fmla="*/ 2147483647 h 138"/>
                  <a:gd name="T48" fmla="*/ 2147483647 w 114"/>
                  <a:gd name="T49" fmla="*/ 2147483647 h 138"/>
                  <a:gd name="T50" fmla="*/ 2147483647 w 114"/>
                  <a:gd name="T51" fmla="*/ 2147483647 h 138"/>
                  <a:gd name="T52" fmla="*/ 2147483647 w 114"/>
                  <a:gd name="T53" fmla="*/ 2147483647 h 138"/>
                  <a:gd name="T54" fmla="*/ 2147483647 w 114"/>
                  <a:gd name="T55" fmla="*/ 0 h 138"/>
                  <a:gd name="T56" fmla="*/ 2147483647 w 114"/>
                  <a:gd name="T57" fmla="*/ 2147483647 h 138"/>
                  <a:gd name="T58" fmla="*/ 2147483647 w 114"/>
                  <a:gd name="T59" fmla="*/ 2147483647 h 138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14"/>
                  <a:gd name="T91" fmla="*/ 0 h 138"/>
                  <a:gd name="T92" fmla="*/ 114 w 114"/>
                  <a:gd name="T93" fmla="*/ 138 h 138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14" h="138">
                    <a:moveTo>
                      <a:pt x="72" y="24"/>
                    </a:moveTo>
                    <a:lnTo>
                      <a:pt x="48" y="12"/>
                    </a:lnTo>
                    <a:lnTo>
                      <a:pt x="18" y="66"/>
                    </a:lnTo>
                    <a:lnTo>
                      <a:pt x="0" y="84"/>
                    </a:lnTo>
                    <a:lnTo>
                      <a:pt x="0" y="96"/>
                    </a:lnTo>
                    <a:lnTo>
                      <a:pt x="6" y="114"/>
                    </a:lnTo>
                    <a:lnTo>
                      <a:pt x="6" y="126"/>
                    </a:lnTo>
                    <a:lnTo>
                      <a:pt x="18" y="138"/>
                    </a:lnTo>
                    <a:lnTo>
                      <a:pt x="42" y="138"/>
                    </a:lnTo>
                    <a:lnTo>
                      <a:pt x="48" y="132"/>
                    </a:lnTo>
                    <a:lnTo>
                      <a:pt x="54" y="132"/>
                    </a:lnTo>
                    <a:lnTo>
                      <a:pt x="60" y="126"/>
                    </a:lnTo>
                    <a:lnTo>
                      <a:pt x="72" y="126"/>
                    </a:lnTo>
                    <a:lnTo>
                      <a:pt x="84" y="132"/>
                    </a:lnTo>
                    <a:lnTo>
                      <a:pt x="90" y="138"/>
                    </a:lnTo>
                    <a:lnTo>
                      <a:pt x="90" y="132"/>
                    </a:lnTo>
                    <a:lnTo>
                      <a:pt x="114" y="108"/>
                    </a:lnTo>
                    <a:lnTo>
                      <a:pt x="114" y="102"/>
                    </a:lnTo>
                    <a:lnTo>
                      <a:pt x="102" y="90"/>
                    </a:lnTo>
                    <a:lnTo>
                      <a:pt x="66" y="90"/>
                    </a:lnTo>
                    <a:lnTo>
                      <a:pt x="78" y="84"/>
                    </a:lnTo>
                    <a:lnTo>
                      <a:pt x="84" y="72"/>
                    </a:lnTo>
                    <a:lnTo>
                      <a:pt x="96" y="66"/>
                    </a:lnTo>
                    <a:lnTo>
                      <a:pt x="102" y="54"/>
                    </a:lnTo>
                    <a:lnTo>
                      <a:pt x="114" y="42"/>
                    </a:lnTo>
                    <a:lnTo>
                      <a:pt x="114" y="24"/>
                    </a:lnTo>
                    <a:lnTo>
                      <a:pt x="108" y="12"/>
                    </a:lnTo>
                    <a:lnTo>
                      <a:pt x="96" y="0"/>
                    </a:lnTo>
                    <a:lnTo>
                      <a:pt x="84" y="6"/>
                    </a:lnTo>
                    <a:lnTo>
                      <a:pt x="72" y="24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8" name="Cyprus"/>
              <p:cNvSpPr>
                <a:spLocks/>
              </p:cNvSpPr>
              <p:nvPr/>
            </p:nvSpPr>
            <p:spPr bwMode="gray">
              <a:xfrm>
                <a:off x="5100644" y="2922589"/>
                <a:ext cx="58738" cy="33339"/>
              </a:xfrm>
              <a:custGeom>
                <a:avLst/>
                <a:gdLst>
                  <a:gd name="T0" fmla="*/ 0 w 150"/>
                  <a:gd name="T1" fmla="*/ 2147483647 h 84"/>
                  <a:gd name="T2" fmla="*/ 2147483647 w 150"/>
                  <a:gd name="T3" fmla="*/ 2147483647 h 84"/>
                  <a:gd name="T4" fmla="*/ 2147483647 w 150"/>
                  <a:gd name="T5" fmla="*/ 2147483647 h 84"/>
                  <a:gd name="T6" fmla="*/ 2147483647 w 150"/>
                  <a:gd name="T7" fmla="*/ 2147483647 h 84"/>
                  <a:gd name="T8" fmla="*/ 2147483647 w 150"/>
                  <a:gd name="T9" fmla="*/ 2147483647 h 84"/>
                  <a:gd name="T10" fmla="*/ 2147483647 w 150"/>
                  <a:gd name="T11" fmla="*/ 2147483647 h 84"/>
                  <a:gd name="T12" fmla="*/ 2147483647 w 150"/>
                  <a:gd name="T13" fmla="*/ 2147483647 h 84"/>
                  <a:gd name="T14" fmla="*/ 2147483647 w 150"/>
                  <a:gd name="T15" fmla="*/ 2147483647 h 84"/>
                  <a:gd name="T16" fmla="*/ 2147483647 w 150"/>
                  <a:gd name="T17" fmla="*/ 2147483647 h 84"/>
                  <a:gd name="T18" fmla="*/ 2147483647 w 150"/>
                  <a:gd name="T19" fmla="*/ 2147483647 h 84"/>
                  <a:gd name="T20" fmla="*/ 2147483647 w 150"/>
                  <a:gd name="T21" fmla="*/ 2147483647 h 84"/>
                  <a:gd name="T22" fmla="*/ 2147483647 w 150"/>
                  <a:gd name="T23" fmla="*/ 2147483647 h 84"/>
                  <a:gd name="T24" fmla="*/ 2147483647 w 150"/>
                  <a:gd name="T25" fmla="*/ 2147483647 h 84"/>
                  <a:gd name="T26" fmla="*/ 2147483647 w 150"/>
                  <a:gd name="T27" fmla="*/ 0 h 84"/>
                  <a:gd name="T28" fmla="*/ 2147483647 w 150"/>
                  <a:gd name="T29" fmla="*/ 2147483647 h 84"/>
                  <a:gd name="T30" fmla="*/ 2147483647 w 150"/>
                  <a:gd name="T31" fmla="*/ 2147483647 h 84"/>
                  <a:gd name="T32" fmla="*/ 2147483647 w 150"/>
                  <a:gd name="T33" fmla="*/ 2147483647 h 84"/>
                  <a:gd name="T34" fmla="*/ 2147483647 w 150"/>
                  <a:gd name="T35" fmla="*/ 2147483647 h 84"/>
                  <a:gd name="T36" fmla="*/ 2147483647 w 150"/>
                  <a:gd name="T37" fmla="*/ 2147483647 h 84"/>
                  <a:gd name="T38" fmla="*/ 0 w 150"/>
                  <a:gd name="T39" fmla="*/ 2147483647 h 84"/>
                  <a:gd name="T40" fmla="*/ 0 w 150"/>
                  <a:gd name="T41" fmla="*/ 2147483647 h 8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50"/>
                  <a:gd name="T64" fmla="*/ 0 h 84"/>
                  <a:gd name="T65" fmla="*/ 150 w 150"/>
                  <a:gd name="T66" fmla="*/ 84 h 8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50" h="84">
                    <a:moveTo>
                      <a:pt x="0" y="48"/>
                    </a:moveTo>
                    <a:lnTo>
                      <a:pt x="6" y="60"/>
                    </a:lnTo>
                    <a:lnTo>
                      <a:pt x="30" y="72"/>
                    </a:lnTo>
                    <a:lnTo>
                      <a:pt x="36" y="84"/>
                    </a:lnTo>
                    <a:lnTo>
                      <a:pt x="54" y="84"/>
                    </a:lnTo>
                    <a:lnTo>
                      <a:pt x="60" y="78"/>
                    </a:lnTo>
                    <a:lnTo>
                      <a:pt x="72" y="72"/>
                    </a:lnTo>
                    <a:lnTo>
                      <a:pt x="78" y="66"/>
                    </a:lnTo>
                    <a:lnTo>
                      <a:pt x="90" y="60"/>
                    </a:lnTo>
                    <a:lnTo>
                      <a:pt x="96" y="54"/>
                    </a:lnTo>
                    <a:lnTo>
                      <a:pt x="102" y="60"/>
                    </a:lnTo>
                    <a:lnTo>
                      <a:pt x="120" y="60"/>
                    </a:lnTo>
                    <a:lnTo>
                      <a:pt x="120" y="36"/>
                    </a:lnTo>
                    <a:lnTo>
                      <a:pt x="150" y="0"/>
                    </a:lnTo>
                    <a:lnTo>
                      <a:pt x="108" y="24"/>
                    </a:lnTo>
                    <a:lnTo>
                      <a:pt x="54" y="24"/>
                    </a:lnTo>
                    <a:lnTo>
                      <a:pt x="48" y="30"/>
                    </a:lnTo>
                    <a:lnTo>
                      <a:pt x="48" y="36"/>
                    </a:lnTo>
                    <a:lnTo>
                      <a:pt x="12" y="36"/>
                    </a:lnTo>
                    <a:lnTo>
                      <a:pt x="0" y="42"/>
                    </a:lnTo>
                    <a:lnTo>
                      <a:pt x="0" y="48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9" name="Côte d'Ivoire"/>
              <p:cNvSpPr>
                <a:spLocks/>
              </p:cNvSpPr>
              <p:nvPr/>
            </p:nvSpPr>
            <p:spPr bwMode="gray">
              <a:xfrm>
                <a:off x="3967169" y="3729041"/>
                <a:ext cx="176213" cy="207963"/>
              </a:xfrm>
              <a:custGeom>
                <a:avLst/>
                <a:gdLst>
                  <a:gd name="T0" fmla="*/ 2147483647 w 438"/>
                  <a:gd name="T1" fmla="*/ 2147483647 h 516"/>
                  <a:gd name="T2" fmla="*/ 2147483647 w 438"/>
                  <a:gd name="T3" fmla="*/ 2147483647 h 516"/>
                  <a:gd name="T4" fmla="*/ 2147483647 w 438"/>
                  <a:gd name="T5" fmla="*/ 2147483647 h 516"/>
                  <a:gd name="T6" fmla="*/ 2147483647 w 438"/>
                  <a:gd name="T7" fmla="*/ 2147483647 h 516"/>
                  <a:gd name="T8" fmla="*/ 2147483647 w 438"/>
                  <a:gd name="T9" fmla="*/ 2147483647 h 516"/>
                  <a:gd name="T10" fmla="*/ 2147483647 w 438"/>
                  <a:gd name="T11" fmla="*/ 2147483647 h 516"/>
                  <a:gd name="T12" fmla="*/ 2147483647 w 438"/>
                  <a:gd name="T13" fmla="*/ 2147483647 h 516"/>
                  <a:gd name="T14" fmla="*/ 2147483647 w 438"/>
                  <a:gd name="T15" fmla="*/ 2147483647 h 516"/>
                  <a:gd name="T16" fmla="*/ 2147483647 w 438"/>
                  <a:gd name="T17" fmla="*/ 2147483647 h 516"/>
                  <a:gd name="T18" fmla="*/ 2147483647 w 438"/>
                  <a:gd name="T19" fmla="*/ 2147483647 h 516"/>
                  <a:gd name="T20" fmla="*/ 2147483647 w 438"/>
                  <a:gd name="T21" fmla="*/ 2147483647 h 516"/>
                  <a:gd name="T22" fmla="*/ 2147483647 w 438"/>
                  <a:gd name="T23" fmla="*/ 2147483647 h 516"/>
                  <a:gd name="T24" fmla="*/ 2147483647 w 438"/>
                  <a:gd name="T25" fmla="*/ 2147483647 h 516"/>
                  <a:gd name="T26" fmla="*/ 2147483647 w 438"/>
                  <a:gd name="T27" fmla="*/ 2147483647 h 516"/>
                  <a:gd name="T28" fmla="*/ 2147483647 w 438"/>
                  <a:gd name="T29" fmla="*/ 2147483647 h 516"/>
                  <a:gd name="T30" fmla="*/ 2147483647 w 438"/>
                  <a:gd name="T31" fmla="*/ 2147483647 h 516"/>
                  <a:gd name="T32" fmla="*/ 2147483647 w 438"/>
                  <a:gd name="T33" fmla="*/ 0 h 516"/>
                  <a:gd name="T34" fmla="*/ 2147483647 w 438"/>
                  <a:gd name="T35" fmla="*/ 2147483647 h 516"/>
                  <a:gd name="T36" fmla="*/ 2147483647 w 438"/>
                  <a:gd name="T37" fmla="*/ 2147483647 h 516"/>
                  <a:gd name="T38" fmla="*/ 2147483647 w 438"/>
                  <a:gd name="T39" fmla="*/ 2147483647 h 516"/>
                  <a:gd name="T40" fmla="*/ 2147483647 w 438"/>
                  <a:gd name="T41" fmla="*/ 2147483647 h 516"/>
                  <a:gd name="T42" fmla="*/ 2147483647 w 438"/>
                  <a:gd name="T43" fmla="*/ 2147483647 h 516"/>
                  <a:gd name="T44" fmla="*/ 2147483647 w 438"/>
                  <a:gd name="T45" fmla="*/ 2147483647 h 516"/>
                  <a:gd name="T46" fmla="*/ 2147483647 w 438"/>
                  <a:gd name="T47" fmla="*/ 2147483647 h 516"/>
                  <a:gd name="T48" fmla="*/ 2147483647 w 438"/>
                  <a:gd name="T49" fmla="*/ 2147483647 h 516"/>
                  <a:gd name="T50" fmla="*/ 2147483647 w 438"/>
                  <a:gd name="T51" fmla="*/ 2147483647 h 516"/>
                  <a:gd name="T52" fmla="*/ 2147483647 w 438"/>
                  <a:gd name="T53" fmla="*/ 2147483647 h 516"/>
                  <a:gd name="T54" fmla="*/ 2147483647 w 438"/>
                  <a:gd name="T55" fmla="*/ 2147483647 h 516"/>
                  <a:gd name="T56" fmla="*/ 2147483647 w 438"/>
                  <a:gd name="T57" fmla="*/ 2147483647 h 516"/>
                  <a:gd name="T58" fmla="*/ 2147483647 w 438"/>
                  <a:gd name="T59" fmla="*/ 2147483647 h 516"/>
                  <a:gd name="T60" fmla="*/ 2147483647 w 438"/>
                  <a:gd name="T61" fmla="*/ 2147483647 h 516"/>
                  <a:gd name="T62" fmla="*/ 2147483647 w 438"/>
                  <a:gd name="T63" fmla="*/ 2147483647 h 516"/>
                  <a:gd name="T64" fmla="*/ 2147483647 w 438"/>
                  <a:gd name="T65" fmla="*/ 2147483647 h 516"/>
                  <a:gd name="T66" fmla="*/ 2147483647 w 438"/>
                  <a:gd name="T67" fmla="*/ 2147483647 h 516"/>
                  <a:gd name="T68" fmla="*/ 2147483647 w 438"/>
                  <a:gd name="T69" fmla="*/ 2147483647 h 516"/>
                  <a:gd name="T70" fmla="*/ 2147483647 w 438"/>
                  <a:gd name="T71" fmla="*/ 2147483647 h 516"/>
                  <a:gd name="T72" fmla="*/ 2147483647 w 438"/>
                  <a:gd name="T73" fmla="*/ 2147483647 h 516"/>
                  <a:gd name="T74" fmla="*/ 2147483647 w 438"/>
                  <a:gd name="T75" fmla="*/ 2147483647 h 516"/>
                  <a:gd name="T76" fmla="*/ 2147483647 w 438"/>
                  <a:gd name="T77" fmla="*/ 2147483647 h 516"/>
                  <a:gd name="T78" fmla="*/ 2147483647 w 438"/>
                  <a:gd name="T79" fmla="*/ 2147483647 h 516"/>
                  <a:gd name="T80" fmla="*/ 2147483647 w 438"/>
                  <a:gd name="T81" fmla="*/ 2147483647 h 516"/>
                  <a:gd name="T82" fmla="*/ 2147483647 w 438"/>
                  <a:gd name="T83" fmla="*/ 2147483647 h 516"/>
                  <a:gd name="T84" fmla="*/ 2147483647 w 438"/>
                  <a:gd name="T85" fmla="*/ 2147483647 h 516"/>
                  <a:gd name="T86" fmla="*/ 2147483647 w 438"/>
                  <a:gd name="T87" fmla="*/ 2147483647 h 516"/>
                  <a:gd name="T88" fmla="*/ 2147483647 w 438"/>
                  <a:gd name="T89" fmla="*/ 2147483647 h 51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38"/>
                  <a:gd name="T136" fmla="*/ 0 h 516"/>
                  <a:gd name="T137" fmla="*/ 438 w 438"/>
                  <a:gd name="T138" fmla="*/ 516 h 51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38" h="516">
                    <a:moveTo>
                      <a:pt x="402" y="408"/>
                    </a:moveTo>
                    <a:lnTo>
                      <a:pt x="402" y="402"/>
                    </a:lnTo>
                    <a:lnTo>
                      <a:pt x="396" y="396"/>
                    </a:lnTo>
                    <a:lnTo>
                      <a:pt x="390" y="384"/>
                    </a:lnTo>
                    <a:lnTo>
                      <a:pt x="390" y="372"/>
                    </a:lnTo>
                    <a:lnTo>
                      <a:pt x="384" y="354"/>
                    </a:lnTo>
                    <a:lnTo>
                      <a:pt x="378" y="342"/>
                    </a:lnTo>
                    <a:lnTo>
                      <a:pt x="378" y="318"/>
                    </a:lnTo>
                    <a:lnTo>
                      <a:pt x="384" y="312"/>
                    </a:lnTo>
                    <a:lnTo>
                      <a:pt x="390" y="300"/>
                    </a:lnTo>
                    <a:lnTo>
                      <a:pt x="408" y="282"/>
                    </a:lnTo>
                    <a:lnTo>
                      <a:pt x="408" y="270"/>
                    </a:lnTo>
                    <a:lnTo>
                      <a:pt x="414" y="258"/>
                    </a:lnTo>
                    <a:lnTo>
                      <a:pt x="414" y="240"/>
                    </a:lnTo>
                    <a:lnTo>
                      <a:pt x="420" y="228"/>
                    </a:lnTo>
                    <a:lnTo>
                      <a:pt x="426" y="222"/>
                    </a:lnTo>
                    <a:lnTo>
                      <a:pt x="438" y="198"/>
                    </a:lnTo>
                    <a:lnTo>
                      <a:pt x="438" y="186"/>
                    </a:lnTo>
                    <a:lnTo>
                      <a:pt x="432" y="174"/>
                    </a:lnTo>
                    <a:lnTo>
                      <a:pt x="432" y="162"/>
                    </a:lnTo>
                    <a:lnTo>
                      <a:pt x="426" y="150"/>
                    </a:lnTo>
                    <a:lnTo>
                      <a:pt x="426" y="138"/>
                    </a:lnTo>
                    <a:lnTo>
                      <a:pt x="420" y="132"/>
                    </a:lnTo>
                    <a:lnTo>
                      <a:pt x="420" y="126"/>
                    </a:lnTo>
                    <a:lnTo>
                      <a:pt x="432" y="126"/>
                    </a:lnTo>
                    <a:lnTo>
                      <a:pt x="426" y="96"/>
                    </a:lnTo>
                    <a:lnTo>
                      <a:pt x="408" y="102"/>
                    </a:lnTo>
                    <a:lnTo>
                      <a:pt x="408" y="90"/>
                    </a:lnTo>
                    <a:lnTo>
                      <a:pt x="390" y="72"/>
                    </a:lnTo>
                    <a:lnTo>
                      <a:pt x="372" y="66"/>
                    </a:lnTo>
                    <a:lnTo>
                      <a:pt x="342" y="66"/>
                    </a:lnTo>
                    <a:lnTo>
                      <a:pt x="318" y="78"/>
                    </a:lnTo>
                    <a:lnTo>
                      <a:pt x="318" y="84"/>
                    </a:lnTo>
                    <a:lnTo>
                      <a:pt x="312" y="90"/>
                    </a:lnTo>
                    <a:lnTo>
                      <a:pt x="300" y="90"/>
                    </a:lnTo>
                    <a:lnTo>
                      <a:pt x="294" y="84"/>
                    </a:lnTo>
                    <a:lnTo>
                      <a:pt x="282" y="84"/>
                    </a:lnTo>
                    <a:lnTo>
                      <a:pt x="276" y="78"/>
                    </a:lnTo>
                    <a:lnTo>
                      <a:pt x="264" y="72"/>
                    </a:lnTo>
                    <a:lnTo>
                      <a:pt x="258" y="60"/>
                    </a:lnTo>
                    <a:lnTo>
                      <a:pt x="258" y="48"/>
                    </a:lnTo>
                    <a:lnTo>
                      <a:pt x="252" y="42"/>
                    </a:lnTo>
                    <a:lnTo>
                      <a:pt x="252" y="36"/>
                    </a:lnTo>
                    <a:lnTo>
                      <a:pt x="228" y="42"/>
                    </a:lnTo>
                    <a:lnTo>
                      <a:pt x="228" y="18"/>
                    </a:lnTo>
                    <a:lnTo>
                      <a:pt x="216" y="18"/>
                    </a:lnTo>
                    <a:lnTo>
                      <a:pt x="210" y="24"/>
                    </a:lnTo>
                    <a:lnTo>
                      <a:pt x="204" y="36"/>
                    </a:lnTo>
                    <a:lnTo>
                      <a:pt x="198" y="42"/>
                    </a:lnTo>
                    <a:lnTo>
                      <a:pt x="174" y="36"/>
                    </a:lnTo>
                    <a:lnTo>
                      <a:pt x="174" y="0"/>
                    </a:lnTo>
                    <a:lnTo>
                      <a:pt x="162" y="24"/>
                    </a:lnTo>
                    <a:lnTo>
                      <a:pt x="150" y="6"/>
                    </a:lnTo>
                    <a:lnTo>
                      <a:pt x="144" y="30"/>
                    </a:lnTo>
                    <a:lnTo>
                      <a:pt x="126" y="30"/>
                    </a:lnTo>
                    <a:lnTo>
                      <a:pt x="120" y="48"/>
                    </a:lnTo>
                    <a:lnTo>
                      <a:pt x="102" y="30"/>
                    </a:lnTo>
                    <a:lnTo>
                      <a:pt x="84" y="24"/>
                    </a:lnTo>
                    <a:lnTo>
                      <a:pt x="72" y="24"/>
                    </a:lnTo>
                    <a:lnTo>
                      <a:pt x="66" y="30"/>
                    </a:lnTo>
                    <a:lnTo>
                      <a:pt x="66" y="48"/>
                    </a:lnTo>
                    <a:lnTo>
                      <a:pt x="54" y="42"/>
                    </a:lnTo>
                    <a:lnTo>
                      <a:pt x="36" y="66"/>
                    </a:lnTo>
                    <a:lnTo>
                      <a:pt x="42" y="102"/>
                    </a:lnTo>
                    <a:lnTo>
                      <a:pt x="60" y="108"/>
                    </a:lnTo>
                    <a:lnTo>
                      <a:pt x="48" y="126"/>
                    </a:lnTo>
                    <a:lnTo>
                      <a:pt x="66" y="132"/>
                    </a:lnTo>
                    <a:lnTo>
                      <a:pt x="60" y="138"/>
                    </a:lnTo>
                    <a:lnTo>
                      <a:pt x="54" y="150"/>
                    </a:lnTo>
                    <a:lnTo>
                      <a:pt x="54" y="162"/>
                    </a:lnTo>
                    <a:lnTo>
                      <a:pt x="60" y="162"/>
                    </a:lnTo>
                    <a:lnTo>
                      <a:pt x="72" y="168"/>
                    </a:lnTo>
                    <a:lnTo>
                      <a:pt x="78" y="168"/>
                    </a:lnTo>
                    <a:lnTo>
                      <a:pt x="78" y="180"/>
                    </a:lnTo>
                    <a:lnTo>
                      <a:pt x="72" y="186"/>
                    </a:lnTo>
                    <a:lnTo>
                      <a:pt x="72" y="192"/>
                    </a:lnTo>
                    <a:lnTo>
                      <a:pt x="66" y="186"/>
                    </a:lnTo>
                    <a:lnTo>
                      <a:pt x="54" y="186"/>
                    </a:lnTo>
                    <a:lnTo>
                      <a:pt x="48" y="180"/>
                    </a:lnTo>
                    <a:lnTo>
                      <a:pt x="30" y="180"/>
                    </a:lnTo>
                    <a:lnTo>
                      <a:pt x="30" y="192"/>
                    </a:lnTo>
                    <a:lnTo>
                      <a:pt x="36" y="204"/>
                    </a:lnTo>
                    <a:lnTo>
                      <a:pt x="48" y="210"/>
                    </a:lnTo>
                    <a:lnTo>
                      <a:pt x="54" y="222"/>
                    </a:lnTo>
                    <a:lnTo>
                      <a:pt x="36" y="222"/>
                    </a:lnTo>
                    <a:lnTo>
                      <a:pt x="36" y="228"/>
                    </a:lnTo>
                    <a:lnTo>
                      <a:pt x="42" y="234"/>
                    </a:lnTo>
                    <a:lnTo>
                      <a:pt x="42" y="252"/>
                    </a:lnTo>
                    <a:lnTo>
                      <a:pt x="36" y="258"/>
                    </a:lnTo>
                    <a:lnTo>
                      <a:pt x="30" y="258"/>
                    </a:lnTo>
                    <a:lnTo>
                      <a:pt x="18" y="252"/>
                    </a:lnTo>
                    <a:lnTo>
                      <a:pt x="12" y="246"/>
                    </a:lnTo>
                    <a:lnTo>
                      <a:pt x="6" y="246"/>
                    </a:lnTo>
                    <a:lnTo>
                      <a:pt x="24" y="282"/>
                    </a:lnTo>
                    <a:lnTo>
                      <a:pt x="24" y="306"/>
                    </a:lnTo>
                    <a:lnTo>
                      <a:pt x="18" y="324"/>
                    </a:lnTo>
                    <a:lnTo>
                      <a:pt x="6" y="330"/>
                    </a:lnTo>
                    <a:lnTo>
                      <a:pt x="0" y="342"/>
                    </a:lnTo>
                    <a:lnTo>
                      <a:pt x="6" y="348"/>
                    </a:lnTo>
                    <a:lnTo>
                      <a:pt x="24" y="348"/>
                    </a:lnTo>
                    <a:lnTo>
                      <a:pt x="24" y="360"/>
                    </a:lnTo>
                    <a:lnTo>
                      <a:pt x="60" y="354"/>
                    </a:lnTo>
                    <a:lnTo>
                      <a:pt x="60" y="384"/>
                    </a:lnTo>
                    <a:lnTo>
                      <a:pt x="90" y="414"/>
                    </a:lnTo>
                    <a:lnTo>
                      <a:pt x="90" y="438"/>
                    </a:lnTo>
                    <a:lnTo>
                      <a:pt x="84" y="450"/>
                    </a:lnTo>
                    <a:lnTo>
                      <a:pt x="84" y="462"/>
                    </a:lnTo>
                    <a:lnTo>
                      <a:pt x="78" y="468"/>
                    </a:lnTo>
                    <a:lnTo>
                      <a:pt x="78" y="516"/>
                    </a:lnTo>
                    <a:lnTo>
                      <a:pt x="90" y="516"/>
                    </a:lnTo>
                    <a:lnTo>
                      <a:pt x="96" y="510"/>
                    </a:lnTo>
                    <a:lnTo>
                      <a:pt x="102" y="498"/>
                    </a:lnTo>
                    <a:lnTo>
                      <a:pt x="114" y="498"/>
                    </a:lnTo>
                    <a:lnTo>
                      <a:pt x="126" y="486"/>
                    </a:lnTo>
                    <a:lnTo>
                      <a:pt x="138" y="480"/>
                    </a:lnTo>
                    <a:lnTo>
                      <a:pt x="198" y="456"/>
                    </a:lnTo>
                    <a:lnTo>
                      <a:pt x="228" y="450"/>
                    </a:lnTo>
                    <a:lnTo>
                      <a:pt x="264" y="450"/>
                    </a:lnTo>
                    <a:lnTo>
                      <a:pt x="270" y="444"/>
                    </a:lnTo>
                    <a:lnTo>
                      <a:pt x="282" y="444"/>
                    </a:lnTo>
                    <a:lnTo>
                      <a:pt x="294" y="438"/>
                    </a:lnTo>
                    <a:lnTo>
                      <a:pt x="330" y="438"/>
                    </a:lnTo>
                    <a:lnTo>
                      <a:pt x="336" y="444"/>
                    </a:lnTo>
                    <a:lnTo>
                      <a:pt x="342" y="444"/>
                    </a:lnTo>
                    <a:lnTo>
                      <a:pt x="348" y="450"/>
                    </a:lnTo>
                    <a:lnTo>
                      <a:pt x="366" y="450"/>
                    </a:lnTo>
                    <a:lnTo>
                      <a:pt x="378" y="438"/>
                    </a:lnTo>
                    <a:lnTo>
                      <a:pt x="384" y="438"/>
                    </a:lnTo>
                    <a:lnTo>
                      <a:pt x="384" y="444"/>
                    </a:lnTo>
                    <a:lnTo>
                      <a:pt x="396" y="456"/>
                    </a:lnTo>
                    <a:lnTo>
                      <a:pt x="408" y="462"/>
                    </a:lnTo>
                    <a:lnTo>
                      <a:pt x="420" y="462"/>
                    </a:lnTo>
                    <a:lnTo>
                      <a:pt x="426" y="468"/>
                    </a:lnTo>
                    <a:lnTo>
                      <a:pt x="426" y="414"/>
                    </a:lnTo>
                    <a:lnTo>
                      <a:pt x="402" y="408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50" name="Congo"/>
              <p:cNvSpPr>
                <a:spLocks/>
              </p:cNvSpPr>
              <p:nvPr/>
            </p:nvSpPr>
            <p:spPr bwMode="gray">
              <a:xfrm>
                <a:off x="4567243" y="3902079"/>
                <a:ext cx="542926" cy="611188"/>
              </a:xfrm>
              <a:custGeom>
                <a:avLst/>
                <a:gdLst>
                  <a:gd name="T0" fmla="*/ 2147483647 w 1350"/>
                  <a:gd name="T1" fmla="*/ 2147483647 h 1518"/>
                  <a:gd name="T2" fmla="*/ 2147483647 w 1350"/>
                  <a:gd name="T3" fmla="*/ 2147483647 h 1518"/>
                  <a:gd name="T4" fmla="*/ 2147483647 w 1350"/>
                  <a:gd name="T5" fmla="*/ 2147483647 h 1518"/>
                  <a:gd name="T6" fmla="*/ 2147483647 w 1350"/>
                  <a:gd name="T7" fmla="*/ 2147483647 h 1518"/>
                  <a:gd name="T8" fmla="*/ 2147483647 w 1350"/>
                  <a:gd name="T9" fmla="*/ 2147483647 h 1518"/>
                  <a:gd name="T10" fmla="*/ 2147483647 w 1350"/>
                  <a:gd name="T11" fmla="*/ 2147483647 h 1518"/>
                  <a:gd name="T12" fmla="*/ 2147483647 w 1350"/>
                  <a:gd name="T13" fmla="*/ 2147483647 h 1518"/>
                  <a:gd name="T14" fmla="*/ 2147483647 w 1350"/>
                  <a:gd name="T15" fmla="*/ 2147483647 h 1518"/>
                  <a:gd name="T16" fmla="*/ 2147483647 w 1350"/>
                  <a:gd name="T17" fmla="*/ 2147483647 h 1518"/>
                  <a:gd name="T18" fmla="*/ 2147483647 w 1350"/>
                  <a:gd name="T19" fmla="*/ 2147483647 h 1518"/>
                  <a:gd name="T20" fmla="*/ 2147483647 w 1350"/>
                  <a:gd name="T21" fmla="*/ 2147483647 h 1518"/>
                  <a:gd name="T22" fmla="*/ 2147483647 w 1350"/>
                  <a:gd name="T23" fmla="*/ 2147483647 h 1518"/>
                  <a:gd name="T24" fmla="*/ 2147483647 w 1350"/>
                  <a:gd name="T25" fmla="*/ 2147483647 h 1518"/>
                  <a:gd name="T26" fmla="*/ 2147483647 w 1350"/>
                  <a:gd name="T27" fmla="*/ 2147483647 h 1518"/>
                  <a:gd name="T28" fmla="*/ 2147483647 w 1350"/>
                  <a:gd name="T29" fmla="*/ 2147483647 h 1518"/>
                  <a:gd name="T30" fmla="*/ 2147483647 w 1350"/>
                  <a:gd name="T31" fmla="*/ 2147483647 h 1518"/>
                  <a:gd name="T32" fmla="*/ 2147483647 w 1350"/>
                  <a:gd name="T33" fmla="*/ 2147483647 h 1518"/>
                  <a:gd name="T34" fmla="*/ 2147483647 w 1350"/>
                  <a:gd name="T35" fmla="*/ 2147483647 h 1518"/>
                  <a:gd name="T36" fmla="*/ 2147483647 w 1350"/>
                  <a:gd name="T37" fmla="*/ 2147483647 h 1518"/>
                  <a:gd name="T38" fmla="*/ 2147483647 w 1350"/>
                  <a:gd name="T39" fmla="*/ 2147483647 h 1518"/>
                  <a:gd name="T40" fmla="*/ 2147483647 w 1350"/>
                  <a:gd name="T41" fmla="*/ 2147483647 h 1518"/>
                  <a:gd name="T42" fmla="*/ 2147483647 w 1350"/>
                  <a:gd name="T43" fmla="*/ 2147483647 h 1518"/>
                  <a:gd name="T44" fmla="*/ 2147483647 w 1350"/>
                  <a:gd name="T45" fmla="*/ 2147483647 h 1518"/>
                  <a:gd name="T46" fmla="*/ 2147483647 w 1350"/>
                  <a:gd name="T47" fmla="*/ 2147483647 h 1518"/>
                  <a:gd name="T48" fmla="*/ 2147483647 w 1350"/>
                  <a:gd name="T49" fmla="*/ 2147483647 h 1518"/>
                  <a:gd name="T50" fmla="*/ 2147483647 w 1350"/>
                  <a:gd name="T51" fmla="*/ 2147483647 h 1518"/>
                  <a:gd name="T52" fmla="*/ 2147483647 w 1350"/>
                  <a:gd name="T53" fmla="*/ 2147483647 h 1518"/>
                  <a:gd name="T54" fmla="*/ 2147483647 w 1350"/>
                  <a:gd name="T55" fmla="*/ 2147483647 h 1518"/>
                  <a:gd name="T56" fmla="*/ 2147483647 w 1350"/>
                  <a:gd name="T57" fmla="*/ 2147483647 h 1518"/>
                  <a:gd name="T58" fmla="*/ 2147483647 w 1350"/>
                  <a:gd name="T59" fmla="*/ 2147483647 h 1518"/>
                  <a:gd name="T60" fmla="*/ 2147483647 w 1350"/>
                  <a:gd name="T61" fmla="*/ 2147483647 h 1518"/>
                  <a:gd name="T62" fmla="*/ 2147483647 w 1350"/>
                  <a:gd name="T63" fmla="*/ 2147483647 h 1518"/>
                  <a:gd name="T64" fmla="*/ 2147483647 w 1350"/>
                  <a:gd name="T65" fmla="*/ 2147483647 h 1518"/>
                  <a:gd name="T66" fmla="*/ 2147483647 w 1350"/>
                  <a:gd name="T67" fmla="*/ 2147483647 h 1518"/>
                  <a:gd name="T68" fmla="*/ 2147483647 w 1350"/>
                  <a:gd name="T69" fmla="*/ 2147483647 h 1518"/>
                  <a:gd name="T70" fmla="*/ 2147483647 w 1350"/>
                  <a:gd name="T71" fmla="*/ 2147483647 h 1518"/>
                  <a:gd name="T72" fmla="*/ 2147483647 w 1350"/>
                  <a:gd name="T73" fmla="*/ 2147483647 h 1518"/>
                  <a:gd name="T74" fmla="*/ 2147483647 w 1350"/>
                  <a:gd name="T75" fmla="*/ 2147483647 h 1518"/>
                  <a:gd name="T76" fmla="*/ 2147483647 w 1350"/>
                  <a:gd name="T77" fmla="*/ 2147483647 h 1518"/>
                  <a:gd name="T78" fmla="*/ 2147483647 w 1350"/>
                  <a:gd name="T79" fmla="*/ 2147483647 h 1518"/>
                  <a:gd name="T80" fmla="*/ 2147483647 w 1350"/>
                  <a:gd name="T81" fmla="*/ 2147483647 h 1518"/>
                  <a:gd name="T82" fmla="*/ 2147483647 w 1350"/>
                  <a:gd name="T83" fmla="*/ 2147483647 h 1518"/>
                  <a:gd name="T84" fmla="*/ 2147483647 w 1350"/>
                  <a:gd name="T85" fmla="*/ 2147483647 h 1518"/>
                  <a:gd name="T86" fmla="*/ 2147483647 w 1350"/>
                  <a:gd name="T87" fmla="*/ 2147483647 h 1518"/>
                  <a:gd name="T88" fmla="*/ 2147483647 w 1350"/>
                  <a:gd name="T89" fmla="*/ 2147483647 h 1518"/>
                  <a:gd name="T90" fmla="*/ 2147483647 w 1350"/>
                  <a:gd name="T91" fmla="*/ 2147483647 h 1518"/>
                  <a:gd name="T92" fmla="*/ 2147483647 w 1350"/>
                  <a:gd name="T93" fmla="*/ 2147483647 h 1518"/>
                  <a:gd name="T94" fmla="*/ 2147483647 w 1350"/>
                  <a:gd name="T95" fmla="*/ 2147483647 h 1518"/>
                  <a:gd name="T96" fmla="*/ 2147483647 w 1350"/>
                  <a:gd name="T97" fmla="*/ 2147483647 h 1518"/>
                  <a:gd name="T98" fmla="*/ 2147483647 w 1350"/>
                  <a:gd name="T99" fmla="*/ 2147483647 h 1518"/>
                  <a:gd name="T100" fmla="*/ 2147483647 w 1350"/>
                  <a:gd name="T101" fmla="*/ 2147483647 h 1518"/>
                  <a:gd name="T102" fmla="*/ 2147483647 w 1350"/>
                  <a:gd name="T103" fmla="*/ 2147483647 h 1518"/>
                  <a:gd name="T104" fmla="*/ 2147483647 w 1350"/>
                  <a:gd name="T105" fmla="*/ 2147483647 h 1518"/>
                  <a:gd name="T106" fmla="*/ 2147483647 w 1350"/>
                  <a:gd name="T107" fmla="*/ 2147483647 h 1518"/>
                  <a:gd name="T108" fmla="*/ 2147483647 w 1350"/>
                  <a:gd name="T109" fmla="*/ 2147483647 h 1518"/>
                  <a:gd name="T110" fmla="*/ 2147483647 w 1350"/>
                  <a:gd name="T111" fmla="*/ 2147483647 h 1518"/>
                  <a:gd name="T112" fmla="*/ 2147483647 w 1350"/>
                  <a:gd name="T113" fmla="*/ 2147483647 h 1518"/>
                  <a:gd name="T114" fmla="*/ 2147483647 w 1350"/>
                  <a:gd name="T115" fmla="*/ 2147483647 h 1518"/>
                  <a:gd name="T116" fmla="*/ 2147483647 w 1350"/>
                  <a:gd name="T117" fmla="*/ 2147483647 h 1518"/>
                  <a:gd name="T118" fmla="*/ 2147483647 w 1350"/>
                  <a:gd name="T119" fmla="*/ 2147483647 h 1518"/>
                  <a:gd name="T120" fmla="*/ 2147483647 w 1350"/>
                  <a:gd name="T121" fmla="*/ 2147483647 h 1518"/>
                  <a:gd name="T122" fmla="*/ 2147483647 w 1350"/>
                  <a:gd name="T123" fmla="*/ 2147483647 h 1518"/>
                  <a:gd name="T124" fmla="*/ 2147483647 w 1350"/>
                  <a:gd name="T125" fmla="*/ 2147483647 h 151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350"/>
                  <a:gd name="T190" fmla="*/ 0 h 1518"/>
                  <a:gd name="T191" fmla="*/ 1350 w 1350"/>
                  <a:gd name="T192" fmla="*/ 1518 h 151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350" h="1518">
                    <a:moveTo>
                      <a:pt x="1242" y="468"/>
                    </a:moveTo>
                    <a:lnTo>
                      <a:pt x="1242" y="438"/>
                    </a:lnTo>
                    <a:lnTo>
                      <a:pt x="1260" y="366"/>
                    </a:lnTo>
                    <a:lnTo>
                      <a:pt x="1278" y="354"/>
                    </a:lnTo>
                    <a:lnTo>
                      <a:pt x="1278" y="342"/>
                    </a:lnTo>
                    <a:lnTo>
                      <a:pt x="1302" y="330"/>
                    </a:lnTo>
                    <a:lnTo>
                      <a:pt x="1308" y="318"/>
                    </a:lnTo>
                    <a:lnTo>
                      <a:pt x="1320" y="312"/>
                    </a:lnTo>
                    <a:lnTo>
                      <a:pt x="1332" y="288"/>
                    </a:lnTo>
                    <a:lnTo>
                      <a:pt x="1344" y="276"/>
                    </a:lnTo>
                    <a:lnTo>
                      <a:pt x="1350" y="264"/>
                    </a:lnTo>
                    <a:lnTo>
                      <a:pt x="1350" y="252"/>
                    </a:lnTo>
                    <a:lnTo>
                      <a:pt x="1344" y="246"/>
                    </a:lnTo>
                    <a:lnTo>
                      <a:pt x="1332" y="240"/>
                    </a:lnTo>
                    <a:lnTo>
                      <a:pt x="1320" y="240"/>
                    </a:lnTo>
                    <a:lnTo>
                      <a:pt x="1314" y="234"/>
                    </a:lnTo>
                    <a:lnTo>
                      <a:pt x="1314" y="222"/>
                    </a:lnTo>
                    <a:lnTo>
                      <a:pt x="1320" y="210"/>
                    </a:lnTo>
                    <a:lnTo>
                      <a:pt x="1326" y="204"/>
                    </a:lnTo>
                    <a:lnTo>
                      <a:pt x="1326" y="198"/>
                    </a:lnTo>
                    <a:lnTo>
                      <a:pt x="1320" y="192"/>
                    </a:lnTo>
                    <a:lnTo>
                      <a:pt x="1308" y="186"/>
                    </a:lnTo>
                    <a:lnTo>
                      <a:pt x="1326" y="168"/>
                    </a:lnTo>
                    <a:lnTo>
                      <a:pt x="1320" y="144"/>
                    </a:lnTo>
                    <a:lnTo>
                      <a:pt x="1302" y="144"/>
                    </a:lnTo>
                    <a:lnTo>
                      <a:pt x="1296" y="120"/>
                    </a:lnTo>
                    <a:lnTo>
                      <a:pt x="1290" y="120"/>
                    </a:lnTo>
                    <a:lnTo>
                      <a:pt x="1284" y="114"/>
                    </a:lnTo>
                    <a:lnTo>
                      <a:pt x="1272" y="108"/>
                    </a:lnTo>
                    <a:lnTo>
                      <a:pt x="1260" y="96"/>
                    </a:lnTo>
                    <a:lnTo>
                      <a:pt x="1254" y="84"/>
                    </a:lnTo>
                    <a:lnTo>
                      <a:pt x="1248" y="66"/>
                    </a:lnTo>
                    <a:lnTo>
                      <a:pt x="1236" y="60"/>
                    </a:lnTo>
                    <a:lnTo>
                      <a:pt x="1230" y="54"/>
                    </a:lnTo>
                    <a:lnTo>
                      <a:pt x="1218" y="66"/>
                    </a:lnTo>
                    <a:lnTo>
                      <a:pt x="1218" y="72"/>
                    </a:lnTo>
                    <a:lnTo>
                      <a:pt x="1206" y="84"/>
                    </a:lnTo>
                    <a:lnTo>
                      <a:pt x="1200" y="84"/>
                    </a:lnTo>
                    <a:lnTo>
                      <a:pt x="1188" y="78"/>
                    </a:lnTo>
                    <a:lnTo>
                      <a:pt x="1188" y="72"/>
                    </a:lnTo>
                    <a:lnTo>
                      <a:pt x="1176" y="66"/>
                    </a:lnTo>
                    <a:lnTo>
                      <a:pt x="1164" y="66"/>
                    </a:lnTo>
                    <a:lnTo>
                      <a:pt x="1158" y="72"/>
                    </a:lnTo>
                    <a:lnTo>
                      <a:pt x="1152" y="84"/>
                    </a:lnTo>
                    <a:lnTo>
                      <a:pt x="1146" y="90"/>
                    </a:lnTo>
                    <a:lnTo>
                      <a:pt x="1098" y="66"/>
                    </a:lnTo>
                    <a:lnTo>
                      <a:pt x="1098" y="42"/>
                    </a:lnTo>
                    <a:lnTo>
                      <a:pt x="1068" y="18"/>
                    </a:lnTo>
                    <a:lnTo>
                      <a:pt x="1062" y="6"/>
                    </a:lnTo>
                    <a:lnTo>
                      <a:pt x="1044" y="24"/>
                    </a:lnTo>
                    <a:lnTo>
                      <a:pt x="1026" y="30"/>
                    </a:lnTo>
                    <a:lnTo>
                      <a:pt x="1002" y="30"/>
                    </a:lnTo>
                    <a:lnTo>
                      <a:pt x="990" y="18"/>
                    </a:lnTo>
                    <a:lnTo>
                      <a:pt x="990" y="12"/>
                    </a:lnTo>
                    <a:lnTo>
                      <a:pt x="954" y="18"/>
                    </a:lnTo>
                    <a:lnTo>
                      <a:pt x="942" y="6"/>
                    </a:lnTo>
                    <a:lnTo>
                      <a:pt x="942" y="0"/>
                    </a:lnTo>
                    <a:lnTo>
                      <a:pt x="936" y="0"/>
                    </a:lnTo>
                    <a:lnTo>
                      <a:pt x="918" y="18"/>
                    </a:lnTo>
                    <a:lnTo>
                      <a:pt x="918" y="30"/>
                    </a:lnTo>
                    <a:lnTo>
                      <a:pt x="906" y="30"/>
                    </a:lnTo>
                    <a:lnTo>
                      <a:pt x="900" y="36"/>
                    </a:lnTo>
                    <a:lnTo>
                      <a:pt x="876" y="36"/>
                    </a:lnTo>
                    <a:lnTo>
                      <a:pt x="864" y="24"/>
                    </a:lnTo>
                    <a:lnTo>
                      <a:pt x="840" y="42"/>
                    </a:lnTo>
                    <a:lnTo>
                      <a:pt x="822" y="42"/>
                    </a:lnTo>
                    <a:lnTo>
                      <a:pt x="810" y="54"/>
                    </a:lnTo>
                    <a:lnTo>
                      <a:pt x="798" y="60"/>
                    </a:lnTo>
                    <a:lnTo>
                      <a:pt x="792" y="66"/>
                    </a:lnTo>
                    <a:lnTo>
                      <a:pt x="786" y="66"/>
                    </a:lnTo>
                    <a:lnTo>
                      <a:pt x="762" y="42"/>
                    </a:lnTo>
                    <a:lnTo>
                      <a:pt x="756" y="54"/>
                    </a:lnTo>
                    <a:lnTo>
                      <a:pt x="738" y="72"/>
                    </a:lnTo>
                    <a:lnTo>
                      <a:pt x="738" y="84"/>
                    </a:lnTo>
                    <a:lnTo>
                      <a:pt x="732" y="90"/>
                    </a:lnTo>
                    <a:lnTo>
                      <a:pt x="726" y="102"/>
                    </a:lnTo>
                    <a:lnTo>
                      <a:pt x="720" y="108"/>
                    </a:lnTo>
                    <a:lnTo>
                      <a:pt x="708" y="102"/>
                    </a:lnTo>
                    <a:lnTo>
                      <a:pt x="702" y="96"/>
                    </a:lnTo>
                    <a:lnTo>
                      <a:pt x="690" y="90"/>
                    </a:lnTo>
                    <a:lnTo>
                      <a:pt x="642" y="90"/>
                    </a:lnTo>
                    <a:lnTo>
                      <a:pt x="630" y="84"/>
                    </a:lnTo>
                    <a:lnTo>
                      <a:pt x="624" y="78"/>
                    </a:lnTo>
                    <a:lnTo>
                      <a:pt x="582" y="78"/>
                    </a:lnTo>
                    <a:lnTo>
                      <a:pt x="582" y="48"/>
                    </a:lnTo>
                    <a:lnTo>
                      <a:pt x="576" y="42"/>
                    </a:lnTo>
                    <a:lnTo>
                      <a:pt x="558" y="42"/>
                    </a:lnTo>
                    <a:lnTo>
                      <a:pt x="558" y="30"/>
                    </a:lnTo>
                    <a:lnTo>
                      <a:pt x="546" y="24"/>
                    </a:lnTo>
                    <a:lnTo>
                      <a:pt x="534" y="24"/>
                    </a:lnTo>
                    <a:lnTo>
                      <a:pt x="516" y="18"/>
                    </a:lnTo>
                    <a:lnTo>
                      <a:pt x="504" y="18"/>
                    </a:lnTo>
                    <a:lnTo>
                      <a:pt x="492" y="24"/>
                    </a:lnTo>
                    <a:lnTo>
                      <a:pt x="486" y="30"/>
                    </a:lnTo>
                    <a:lnTo>
                      <a:pt x="486" y="36"/>
                    </a:lnTo>
                    <a:lnTo>
                      <a:pt x="480" y="48"/>
                    </a:lnTo>
                    <a:lnTo>
                      <a:pt x="480" y="54"/>
                    </a:lnTo>
                    <a:lnTo>
                      <a:pt x="474" y="66"/>
                    </a:lnTo>
                    <a:lnTo>
                      <a:pt x="462" y="78"/>
                    </a:lnTo>
                    <a:lnTo>
                      <a:pt x="456" y="78"/>
                    </a:lnTo>
                    <a:lnTo>
                      <a:pt x="444" y="90"/>
                    </a:lnTo>
                    <a:lnTo>
                      <a:pt x="444" y="102"/>
                    </a:lnTo>
                    <a:lnTo>
                      <a:pt x="450" y="102"/>
                    </a:lnTo>
                    <a:lnTo>
                      <a:pt x="450" y="120"/>
                    </a:lnTo>
                    <a:lnTo>
                      <a:pt x="438" y="138"/>
                    </a:lnTo>
                    <a:lnTo>
                      <a:pt x="450" y="150"/>
                    </a:lnTo>
                    <a:lnTo>
                      <a:pt x="450" y="186"/>
                    </a:lnTo>
                    <a:lnTo>
                      <a:pt x="444" y="198"/>
                    </a:lnTo>
                    <a:lnTo>
                      <a:pt x="438" y="216"/>
                    </a:lnTo>
                    <a:lnTo>
                      <a:pt x="426" y="228"/>
                    </a:lnTo>
                    <a:lnTo>
                      <a:pt x="414" y="252"/>
                    </a:lnTo>
                    <a:lnTo>
                      <a:pt x="408" y="258"/>
                    </a:lnTo>
                    <a:lnTo>
                      <a:pt x="408" y="288"/>
                    </a:lnTo>
                    <a:lnTo>
                      <a:pt x="414" y="300"/>
                    </a:lnTo>
                    <a:lnTo>
                      <a:pt x="414" y="324"/>
                    </a:lnTo>
                    <a:lnTo>
                      <a:pt x="396" y="360"/>
                    </a:lnTo>
                    <a:lnTo>
                      <a:pt x="396" y="372"/>
                    </a:lnTo>
                    <a:lnTo>
                      <a:pt x="402" y="378"/>
                    </a:lnTo>
                    <a:lnTo>
                      <a:pt x="408" y="390"/>
                    </a:lnTo>
                    <a:lnTo>
                      <a:pt x="408" y="414"/>
                    </a:lnTo>
                    <a:lnTo>
                      <a:pt x="402" y="426"/>
                    </a:lnTo>
                    <a:lnTo>
                      <a:pt x="390" y="432"/>
                    </a:lnTo>
                    <a:lnTo>
                      <a:pt x="390" y="486"/>
                    </a:lnTo>
                    <a:lnTo>
                      <a:pt x="384" y="492"/>
                    </a:lnTo>
                    <a:lnTo>
                      <a:pt x="372" y="498"/>
                    </a:lnTo>
                    <a:lnTo>
                      <a:pt x="366" y="510"/>
                    </a:lnTo>
                    <a:lnTo>
                      <a:pt x="318" y="534"/>
                    </a:lnTo>
                    <a:lnTo>
                      <a:pt x="312" y="540"/>
                    </a:lnTo>
                    <a:lnTo>
                      <a:pt x="306" y="552"/>
                    </a:lnTo>
                    <a:lnTo>
                      <a:pt x="306" y="588"/>
                    </a:lnTo>
                    <a:lnTo>
                      <a:pt x="282" y="612"/>
                    </a:lnTo>
                    <a:lnTo>
                      <a:pt x="276" y="612"/>
                    </a:lnTo>
                    <a:lnTo>
                      <a:pt x="282" y="714"/>
                    </a:lnTo>
                    <a:lnTo>
                      <a:pt x="252" y="756"/>
                    </a:lnTo>
                    <a:lnTo>
                      <a:pt x="246" y="762"/>
                    </a:lnTo>
                    <a:lnTo>
                      <a:pt x="228" y="762"/>
                    </a:lnTo>
                    <a:lnTo>
                      <a:pt x="216" y="774"/>
                    </a:lnTo>
                    <a:lnTo>
                      <a:pt x="210" y="786"/>
                    </a:lnTo>
                    <a:lnTo>
                      <a:pt x="192" y="804"/>
                    </a:lnTo>
                    <a:lnTo>
                      <a:pt x="186" y="816"/>
                    </a:lnTo>
                    <a:lnTo>
                      <a:pt x="180" y="822"/>
                    </a:lnTo>
                    <a:lnTo>
                      <a:pt x="168" y="828"/>
                    </a:lnTo>
                    <a:lnTo>
                      <a:pt x="150" y="828"/>
                    </a:lnTo>
                    <a:lnTo>
                      <a:pt x="144" y="822"/>
                    </a:lnTo>
                    <a:lnTo>
                      <a:pt x="150" y="810"/>
                    </a:lnTo>
                    <a:lnTo>
                      <a:pt x="150" y="780"/>
                    </a:lnTo>
                    <a:lnTo>
                      <a:pt x="144" y="780"/>
                    </a:lnTo>
                    <a:lnTo>
                      <a:pt x="126" y="798"/>
                    </a:lnTo>
                    <a:lnTo>
                      <a:pt x="102" y="792"/>
                    </a:lnTo>
                    <a:lnTo>
                      <a:pt x="102" y="810"/>
                    </a:lnTo>
                    <a:lnTo>
                      <a:pt x="96" y="822"/>
                    </a:lnTo>
                    <a:lnTo>
                      <a:pt x="90" y="828"/>
                    </a:lnTo>
                    <a:lnTo>
                      <a:pt x="78" y="828"/>
                    </a:lnTo>
                    <a:lnTo>
                      <a:pt x="72" y="822"/>
                    </a:lnTo>
                    <a:lnTo>
                      <a:pt x="72" y="816"/>
                    </a:lnTo>
                    <a:lnTo>
                      <a:pt x="66" y="810"/>
                    </a:lnTo>
                    <a:lnTo>
                      <a:pt x="66" y="804"/>
                    </a:lnTo>
                    <a:lnTo>
                      <a:pt x="54" y="804"/>
                    </a:lnTo>
                    <a:lnTo>
                      <a:pt x="48" y="816"/>
                    </a:lnTo>
                    <a:lnTo>
                      <a:pt x="12" y="846"/>
                    </a:lnTo>
                    <a:lnTo>
                      <a:pt x="18" y="858"/>
                    </a:lnTo>
                    <a:lnTo>
                      <a:pt x="18" y="864"/>
                    </a:lnTo>
                    <a:lnTo>
                      <a:pt x="24" y="876"/>
                    </a:lnTo>
                    <a:lnTo>
                      <a:pt x="24" y="882"/>
                    </a:lnTo>
                    <a:lnTo>
                      <a:pt x="18" y="888"/>
                    </a:lnTo>
                    <a:lnTo>
                      <a:pt x="6" y="894"/>
                    </a:lnTo>
                    <a:lnTo>
                      <a:pt x="0" y="900"/>
                    </a:lnTo>
                    <a:lnTo>
                      <a:pt x="6" y="906"/>
                    </a:lnTo>
                    <a:lnTo>
                      <a:pt x="6" y="912"/>
                    </a:lnTo>
                    <a:lnTo>
                      <a:pt x="18" y="918"/>
                    </a:lnTo>
                    <a:lnTo>
                      <a:pt x="18" y="924"/>
                    </a:lnTo>
                    <a:lnTo>
                      <a:pt x="54" y="906"/>
                    </a:lnTo>
                    <a:lnTo>
                      <a:pt x="78" y="912"/>
                    </a:lnTo>
                    <a:lnTo>
                      <a:pt x="84" y="906"/>
                    </a:lnTo>
                    <a:lnTo>
                      <a:pt x="96" y="912"/>
                    </a:lnTo>
                    <a:lnTo>
                      <a:pt x="120" y="906"/>
                    </a:lnTo>
                    <a:lnTo>
                      <a:pt x="132" y="912"/>
                    </a:lnTo>
                    <a:lnTo>
                      <a:pt x="162" y="912"/>
                    </a:lnTo>
                    <a:lnTo>
                      <a:pt x="174" y="906"/>
                    </a:lnTo>
                    <a:lnTo>
                      <a:pt x="186" y="906"/>
                    </a:lnTo>
                    <a:lnTo>
                      <a:pt x="198" y="912"/>
                    </a:lnTo>
                    <a:lnTo>
                      <a:pt x="228" y="912"/>
                    </a:lnTo>
                    <a:lnTo>
                      <a:pt x="246" y="906"/>
                    </a:lnTo>
                    <a:lnTo>
                      <a:pt x="270" y="906"/>
                    </a:lnTo>
                    <a:lnTo>
                      <a:pt x="276" y="900"/>
                    </a:lnTo>
                    <a:lnTo>
                      <a:pt x="294" y="900"/>
                    </a:lnTo>
                    <a:lnTo>
                      <a:pt x="300" y="906"/>
                    </a:lnTo>
                    <a:lnTo>
                      <a:pt x="306" y="918"/>
                    </a:lnTo>
                    <a:lnTo>
                      <a:pt x="318" y="930"/>
                    </a:lnTo>
                    <a:lnTo>
                      <a:pt x="318" y="972"/>
                    </a:lnTo>
                    <a:lnTo>
                      <a:pt x="336" y="990"/>
                    </a:lnTo>
                    <a:lnTo>
                      <a:pt x="336" y="1014"/>
                    </a:lnTo>
                    <a:lnTo>
                      <a:pt x="330" y="1020"/>
                    </a:lnTo>
                    <a:lnTo>
                      <a:pt x="330" y="1026"/>
                    </a:lnTo>
                    <a:lnTo>
                      <a:pt x="336" y="1032"/>
                    </a:lnTo>
                    <a:lnTo>
                      <a:pt x="342" y="1032"/>
                    </a:lnTo>
                    <a:lnTo>
                      <a:pt x="354" y="1044"/>
                    </a:lnTo>
                    <a:lnTo>
                      <a:pt x="354" y="1056"/>
                    </a:lnTo>
                    <a:lnTo>
                      <a:pt x="360" y="1062"/>
                    </a:lnTo>
                    <a:lnTo>
                      <a:pt x="372" y="1086"/>
                    </a:lnTo>
                    <a:lnTo>
                      <a:pt x="402" y="1086"/>
                    </a:lnTo>
                    <a:lnTo>
                      <a:pt x="414" y="1092"/>
                    </a:lnTo>
                    <a:lnTo>
                      <a:pt x="420" y="1080"/>
                    </a:lnTo>
                    <a:lnTo>
                      <a:pt x="444" y="1080"/>
                    </a:lnTo>
                    <a:lnTo>
                      <a:pt x="456" y="1074"/>
                    </a:lnTo>
                    <a:lnTo>
                      <a:pt x="462" y="1080"/>
                    </a:lnTo>
                    <a:lnTo>
                      <a:pt x="504" y="1074"/>
                    </a:lnTo>
                    <a:lnTo>
                      <a:pt x="504" y="1056"/>
                    </a:lnTo>
                    <a:lnTo>
                      <a:pt x="510" y="1050"/>
                    </a:lnTo>
                    <a:lnTo>
                      <a:pt x="510" y="1044"/>
                    </a:lnTo>
                    <a:lnTo>
                      <a:pt x="522" y="1044"/>
                    </a:lnTo>
                    <a:lnTo>
                      <a:pt x="522" y="1032"/>
                    </a:lnTo>
                    <a:lnTo>
                      <a:pt x="516" y="1020"/>
                    </a:lnTo>
                    <a:lnTo>
                      <a:pt x="510" y="1014"/>
                    </a:lnTo>
                    <a:lnTo>
                      <a:pt x="510" y="1008"/>
                    </a:lnTo>
                    <a:lnTo>
                      <a:pt x="516" y="1002"/>
                    </a:lnTo>
                    <a:lnTo>
                      <a:pt x="564" y="1002"/>
                    </a:lnTo>
                    <a:lnTo>
                      <a:pt x="564" y="996"/>
                    </a:lnTo>
                    <a:lnTo>
                      <a:pt x="576" y="996"/>
                    </a:lnTo>
                    <a:lnTo>
                      <a:pt x="588" y="1002"/>
                    </a:lnTo>
                    <a:lnTo>
                      <a:pt x="588" y="1026"/>
                    </a:lnTo>
                    <a:lnTo>
                      <a:pt x="678" y="1026"/>
                    </a:lnTo>
                    <a:lnTo>
                      <a:pt x="678" y="1050"/>
                    </a:lnTo>
                    <a:lnTo>
                      <a:pt x="666" y="1068"/>
                    </a:lnTo>
                    <a:lnTo>
                      <a:pt x="672" y="1086"/>
                    </a:lnTo>
                    <a:lnTo>
                      <a:pt x="684" y="1098"/>
                    </a:lnTo>
                    <a:lnTo>
                      <a:pt x="690" y="1110"/>
                    </a:lnTo>
                    <a:lnTo>
                      <a:pt x="690" y="1122"/>
                    </a:lnTo>
                    <a:lnTo>
                      <a:pt x="684" y="1134"/>
                    </a:lnTo>
                    <a:lnTo>
                      <a:pt x="678" y="1140"/>
                    </a:lnTo>
                    <a:lnTo>
                      <a:pt x="684" y="1164"/>
                    </a:lnTo>
                    <a:lnTo>
                      <a:pt x="684" y="1176"/>
                    </a:lnTo>
                    <a:lnTo>
                      <a:pt x="678" y="1182"/>
                    </a:lnTo>
                    <a:lnTo>
                      <a:pt x="678" y="1194"/>
                    </a:lnTo>
                    <a:lnTo>
                      <a:pt x="684" y="1212"/>
                    </a:lnTo>
                    <a:lnTo>
                      <a:pt x="696" y="1230"/>
                    </a:lnTo>
                    <a:lnTo>
                      <a:pt x="708" y="1254"/>
                    </a:lnTo>
                    <a:lnTo>
                      <a:pt x="714" y="1260"/>
                    </a:lnTo>
                    <a:lnTo>
                      <a:pt x="714" y="1278"/>
                    </a:lnTo>
                    <a:lnTo>
                      <a:pt x="708" y="1290"/>
                    </a:lnTo>
                    <a:lnTo>
                      <a:pt x="708" y="1302"/>
                    </a:lnTo>
                    <a:lnTo>
                      <a:pt x="702" y="1308"/>
                    </a:lnTo>
                    <a:lnTo>
                      <a:pt x="702" y="1332"/>
                    </a:lnTo>
                    <a:lnTo>
                      <a:pt x="708" y="1338"/>
                    </a:lnTo>
                    <a:lnTo>
                      <a:pt x="714" y="1338"/>
                    </a:lnTo>
                    <a:lnTo>
                      <a:pt x="720" y="1344"/>
                    </a:lnTo>
                    <a:lnTo>
                      <a:pt x="726" y="1326"/>
                    </a:lnTo>
                    <a:lnTo>
                      <a:pt x="756" y="1332"/>
                    </a:lnTo>
                    <a:lnTo>
                      <a:pt x="780" y="1326"/>
                    </a:lnTo>
                    <a:lnTo>
                      <a:pt x="780" y="1314"/>
                    </a:lnTo>
                    <a:lnTo>
                      <a:pt x="792" y="1314"/>
                    </a:lnTo>
                    <a:lnTo>
                      <a:pt x="804" y="1326"/>
                    </a:lnTo>
                    <a:lnTo>
                      <a:pt x="828" y="1326"/>
                    </a:lnTo>
                    <a:lnTo>
                      <a:pt x="834" y="1308"/>
                    </a:lnTo>
                    <a:lnTo>
                      <a:pt x="840" y="1320"/>
                    </a:lnTo>
                    <a:lnTo>
                      <a:pt x="858" y="1320"/>
                    </a:lnTo>
                    <a:lnTo>
                      <a:pt x="858" y="1350"/>
                    </a:lnTo>
                    <a:lnTo>
                      <a:pt x="864" y="1356"/>
                    </a:lnTo>
                    <a:lnTo>
                      <a:pt x="882" y="1356"/>
                    </a:lnTo>
                    <a:lnTo>
                      <a:pt x="882" y="1350"/>
                    </a:lnTo>
                    <a:lnTo>
                      <a:pt x="876" y="1344"/>
                    </a:lnTo>
                    <a:lnTo>
                      <a:pt x="918" y="1338"/>
                    </a:lnTo>
                    <a:lnTo>
                      <a:pt x="918" y="1356"/>
                    </a:lnTo>
                    <a:lnTo>
                      <a:pt x="924" y="1368"/>
                    </a:lnTo>
                    <a:lnTo>
                      <a:pt x="930" y="1374"/>
                    </a:lnTo>
                    <a:lnTo>
                      <a:pt x="948" y="1386"/>
                    </a:lnTo>
                    <a:lnTo>
                      <a:pt x="984" y="1392"/>
                    </a:lnTo>
                    <a:lnTo>
                      <a:pt x="1014" y="1398"/>
                    </a:lnTo>
                    <a:lnTo>
                      <a:pt x="1032" y="1398"/>
                    </a:lnTo>
                    <a:lnTo>
                      <a:pt x="1032" y="1392"/>
                    </a:lnTo>
                    <a:lnTo>
                      <a:pt x="1038" y="1386"/>
                    </a:lnTo>
                    <a:lnTo>
                      <a:pt x="1038" y="1368"/>
                    </a:lnTo>
                    <a:lnTo>
                      <a:pt x="1044" y="1362"/>
                    </a:lnTo>
                    <a:lnTo>
                      <a:pt x="1050" y="1362"/>
                    </a:lnTo>
                    <a:lnTo>
                      <a:pt x="1062" y="1374"/>
                    </a:lnTo>
                    <a:lnTo>
                      <a:pt x="1062" y="1386"/>
                    </a:lnTo>
                    <a:lnTo>
                      <a:pt x="1068" y="1392"/>
                    </a:lnTo>
                    <a:lnTo>
                      <a:pt x="1080" y="1392"/>
                    </a:lnTo>
                    <a:lnTo>
                      <a:pt x="1080" y="1404"/>
                    </a:lnTo>
                    <a:lnTo>
                      <a:pt x="1074" y="1404"/>
                    </a:lnTo>
                    <a:lnTo>
                      <a:pt x="1074" y="1416"/>
                    </a:lnTo>
                    <a:lnTo>
                      <a:pt x="1104" y="1416"/>
                    </a:lnTo>
                    <a:lnTo>
                      <a:pt x="1110" y="1422"/>
                    </a:lnTo>
                    <a:lnTo>
                      <a:pt x="1110" y="1434"/>
                    </a:lnTo>
                    <a:lnTo>
                      <a:pt x="1122" y="1434"/>
                    </a:lnTo>
                    <a:lnTo>
                      <a:pt x="1128" y="1428"/>
                    </a:lnTo>
                    <a:lnTo>
                      <a:pt x="1134" y="1428"/>
                    </a:lnTo>
                    <a:lnTo>
                      <a:pt x="1140" y="1434"/>
                    </a:lnTo>
                    <a:lnTo>
                      <a:pt x="1146" y="1446"/>
                    </a:lnTo>
                    <a:lnTo>
                      <a:pt x="1146" y="1452"/>
                    </a:lnTo>
                    <a:lnTo>
                      <a:pt x="1152" y="1464"/>
                    </a:lnTo>
                    <a:lnTo>
                      <a:pt x="1164" y="1464"/>
                    </a:lnTo>
                    <a:lnTo>
                      <a:pt x="1176" y="1476"/>
                    </a:lnTo>
                    <a:lnTo>
                      <a:pt x="1176" y="1488"/>
                    </a:lnTo>
                    <a:lnTo>
                      <a:pt x="1182" y="1500"/>
                    </a:lnTo>
                    <a:lnTo>
                      <a:pt x="1182" y="1512"/>
                    </a:lnTo>
                    <a:lnTo>
                      <a:pt x="1200" y="1512"/>
                    </a:lnTo>
                    <a:lnTo>
                      <a:pt x="1218" y="1500"/>
                    </a:lnTo>
                    <a:lnTo>
                      <a:pt x="1224" y="1512"/>
                    </a:lnTo>
                    <a:lnTo>
                      <a:pt x="1224" y="1518"/>
                    </a:lnTo>
                    <a:lnTo>
                      <a:pt x="1230" y="1518"/>
                    </a:lnTo>
                    <a:lnTo>
                      <a:pt x="1236" y="1500"/>
                    </a:lnTo>
                    <a:lnTo>
                      <a:pt x="1242" y="1464"/>
                    </a:lnTo>
                    <a:lnTo>
                      <a:pt x="1242" y="1416"/>
                    </a:lnTo>
                    <a:lnTo>
                      <a:pt x="1218" y="1416"/>
                    </a:lnTo>
                    <a:lnTo>
                      <a:pt x="1218" y="1434"/>
                    </a:lnTo>
                    <a:lnTo>
                      <a:pt x="1212" y="1440"/>
                    </a:lnTo>
                    <a:lnTo>
                      <a:pt x="1206" y="1440"/>
                    </a:lnTo>
                    <a:lnTo>
                      <a:pt x="1194" y="1434"/>
                    </a:lnTo>
                    <a:lnTo>
                      <a:pt x="1164" y="1404"/>
                    </a:lnTo>
                    <a:lnTo>
                      <a:pt x="1158" y="1404"/>
                    </a:lnTo>
                    <a:lnTo>
                      <a:pt x="1158" y="1398"/>
                    </a:lnTo>
                    <a:lnTo>
                      <a:pt x="1152" y="1398"/>
                    </a:lnTo>
                    <a:lnTo>
                      <a:pt x="1140" y="1386"/>
                    </a:lnTo>
                    <a:lnTo>
                      <a:pt x="1140" y="1362"/>
                    </a:lnTo>
                    <a:lnTo>
                      <a:pt x="1146" y="1350"/>
                    </a:lnTo>
                    <a:lnTo>
                      <a:pt x="1152" y="1332"/>
                    </a:lnTo>
                    <a:lnTo>
                      <a:pt x="1158" y="1320"/>
                    </a:lnTo>
                    <a:lnTo>
                      <a:pt x="1170" y="1308"/>
                    </a:lnTo>
                    <a:lnTo>
                      <a:pt x="1170" y="1254"/>
                    </a:lnTo>
                    <a:lnTo>
                      <a:pt x="1164" y="1236"/>
                    </a:lnTo>
                    <a:lnTo>
                      <a:pt x="1164" y="1212"/>
                    </a:lnTo>
                    <a:lnTo>
                      <a:pt x="1158" y="1206"/>
                    </a:lnTo>
                    <a:lnTo>
                      <a:pt x="1158" y="1200"/>
                    </a:lnTo>
                    <a:lnTo>
                      <a:pt x="1152" y="1194"/>
                    </a:lnTo>
                    <a:lnTo>
                      <a:pt x="1152" y="1188"/>
                    </a:lnTo>
                    <a:lnTo>
                      <a:pt x="1140" y="1176"/>
                    </a:lnTo>
                    <a:lnTo>
                      <a:pt x="1146" y="1176"/>
                    </a:lnTo>
                    <a:lnTo>
                      <a:pt x="1152" y="1170"/>
                    </a:lnTo>
                    <a:lnTo>
                      <a:pt x="1164" y="1164"/>
                    </a:lnTo>
                    <a:lnTo>
                      <a:pt x="1182" y="1146"/>
                    </a:lnTo>
                    <a:lnTo>
                      <a:pt x="1182" y="1116"/>
                    </a:lnTo>
                    <a:lnTo>
                      <a:pt x="1194" y="1116"/>
                    </a:lnTo>
                    <a:lnTo>
                      <a:pt x="1212" y="1110"/>
                    </a:lnTo>
                    <a:lnTo>
                      <a:pt x="1230" y="1110"/>
                    </a:lnTo>
                    <a:lnTo>
                      <a:pt x="1242" y="1104"/>
                    </a:lnTo>
                    <a:lnTo>
                      <a:pt x="1260" y="1104"/>
                    </a:lnTo>
                    <a:lnTo>
                      <a:pt x="1284" y="1092"/>
                    </a:lnTo>
                    <a:lnTo>
                      <a:pt x="1290" y="1092"/>
                    </a:lnTo>
                    <a:lnTo>
                      <a:pt x="1290" y="1086"/>
                    </a:lnTo>
                    <a:lnTo>
                      <a:pt x="1284" y="1074"/>
                    </a:lnTo>
                    <a:lnTo>
                      <a:pt x="1272" y="1062"/>
                    </a:lnTo>
                    <a:lnTo>
                      <a:pt x="1272" y="1014"/>
                    </a:lnTo>
                    <a:lnTo>
                      <a:pt x="1248" y="1014"/>
                    </a:lnTo>
                    <a:lnTo>
                      <a:pt x="1248" y="1008"/>
                    </a:lnTo>
                    <a:lnTo>
                      <a:pt x="1242" y="996"/>
                    </a:lnTo>
                    <a:lnTo>
                      <a:pt x="1242" y="978"/>
                    </a:lnTo>
                    <a:lnTo>
                      <a:pt x="1236" y="972"/>
                    </a:lnTo>
                    <a:lnTo>
                      <a:pt x="1224" y="966"/>
                    </a:lnTo>
                    <a:lnTo>
                      <a:pt x="1218" y="960"/>
                    </a:lnTo>
                    <a:lnTo>
                      <a:pt x="1206" y="936"/>
                    </a:lnTo>
                    <a:lnTo>
                      <a:pt x="1206" y="906"/>
                    </a:lnTo>
                    <a:lnTo>
                      <a:pt x="1212" y="900"/>
                    </a:lnTo>
                    <a:lnTo>
                      <a:pt x="1212" y="876"/>
                    </a:lnTo>
                    <a:lnTo>
                      <a:pt x="1200" y="864"/>
                    </a:lnTo>
                    <a:lnTo>
                      <a:pt x="1194" y="852"/>
                    </a:lnTo>
                    <a:lnTo>
                      <a:pt x="1194" y="804"/>
                    </a:lnTo>
                    <a:lnTo>
                      <a:pt x="1200" y="780"/>
                    </a:lnTo>
                    <a:lnTo>
                      <a:pt x="1200" y="750"/>
                    </a:lnTo>
                    <a:lnTo>
                      <a:pt x="1212" y="738"/>
                    </a:lnTo>
                    <a:lnTo>
                      <a:pt x="1218" y="744"/>
                    </a:lnTo>
                    <a:lnTo>
                      <a:pt x="1218" y="732"/>
                    </a:lnTo>
                    <a:lnTo>
                      <a:pt x="1224" y="726"/>
                    </a:lnTo>
                    <a:lnTo>
                      <a:pt x="1224" y="696"/>
                    </a:lnTo>
                    <a:lnTo>
                      <a:pt x="1218" y="690"/>
                    </a:lnTo>
                    <a:lnTo>
                      <a:pt x="1206" y="684"/>
                    </a:lnTo>
                    <a:lnTo>
                      <a:pt x="1200" y="678"/>
                    </a:lnTo>
                    <a:lnTo>
                      <a:pt x="1188" y="648"/>
                    </a:lnTo>
                    <a:lnTo>
                      <a:pt x="1182" y="642"/>
                    </a:lnTo>
                    <a:lnTo>
                      <a:pt x="1176" y="642"/>
                    </a:lnTo>
                    <a:lnTo>
                      <a:pt x="1176" y="636"/>
                    </a:lnTo>
                    <a:lnTo>
                      <a:pt x="1182" y="624"/>
                    </a:lnTo>
                    <a:lnTo>
                      <a:pt x="1194" y="618"/>
                    </a:lnTo>
                    <a:lnTo>
                      <a:pt x="1206" y="606"/>
                    </a:lnTo>
                    <a:lnTo>
                      <a:pt x="1206" y="594"/>
                    </a:lnTo>
                    <a:lnTo>
                      <a:pt x="1200" y="588"/>
                    </a:lnTo>
                    <a:lnTo>
                      <a:pt x="1194" y="576"/>
                    </a:lnTo>
                    <a:lnTo>
                      <a:pt x="1194" y="570"/>
                    </a:lnTo>
                    <a:lnTo>
                      <a:pt x="1200" y="564"/>
                    </a:lnTo>
                    <a:lnTo>
                      <a:pt x="1224" y="552"/>
                    </a:lnTo>
                    <a:lnTo>
                      <a:pt x="1230" y="546"/>
                    </a:lnTo>
                    <a:lnTo>
                      <a:pt x="1236" y="546"/>
                    </a:lnTo>
                    <a:lnTo>
                      <a:pt x="1242" y="468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51" name="Congo (Brazzaville)"/>
              <p:cNvSpPr>
                <a:spLocks/>
              </p:cNvSpPr>
              <p:nvPr/>
            </p:nvSpPr>
            <p:spPr bwMode="gray">
              <a:xfrm>
                <a:off x="4532318" y="3956054"/>
                <a:ext cx="215900" cy="282575"/>
              </a:xfrm>
              <a:custGeom>
                <a:avLst/>
                <a:gdLst>
                  <a:gd name="T0" fmla="*/ 2147483647 w 534"/>
                  <a:gd name="T1" fmla="*/ 2147483647 h 702"/>
                  <a:gd name="T2" fmla="*/ 2147483647 w 534"/>
                  <a:gd name="T3" fmla="*/ 2147483647 h 702"/>
                  <a:gd name="T4" fmla="*/ 2147483647 w 534"/>
                  <a:gd name="T5" fmla="*/ 2147483647 h 702"/>
                  <a:gd name="T6" fmla="*/ 2147483647 w 534"/>
                  <a:gd name="T7" fmla="*/ 2147483647 h 702"/>
                  <a:gd name="T8" fmla="*/ 2147483647 w 534"/>
                  <a:gd name="T9" fmla="*/ 2147483647 h 702"/>
                  <a:gd name="T10" fmla="*/ 2147483647 w 534"/>
                  <a:gd name="T11" fmla="*/ 2147483647 h 702"/>
                  <a:gd name="T12" fmla="*/ 2147483647 w 534"/>
                  <a:gd name="T13" fmla="*/ 2147483647 h 702"/>
                  <a:gd name="T14" fmla="*/ 2147483647 w 534"/>
                  <a:gd name="T15" fmla="*/ 2147483647 h 702"/>
                  <a:gd name="T16" fmla="*/ 2147483647 w 534"/>
                  <a:gd name="T17" fmla="*/ 2147483647 h 702"/>
                  <a:gd name="T18" fmla="*/ 2147483647 w 534"/>
                  <a:gd name="T19" fmla="*/ 2147483647 h 702"/>
                  <a:gd name="T20" fmla="*/ 2147483647 w 534"/>
                  <a:gd name="T21" fmla="*/ 2147483647 h 702"/>
                  <a:gd name="T22" fmla="*/ 2147483647 w 534"/>
                  <a:gd name="T23" fmla="*/ 2147483647 h 702"/>
                  <a:gd name="T24" fmla="*/ 2147483647 w 534"/>
                  <a:gd name="T25" fmla="*/ 2147483647 h 702"/>
                  <a:gd name="T26" fmla="*/ 2147483647 w 534"/>
                  <a:gd name="T27" fmla="*/ 2147483647 h 702"/>
                  <a:gd name="T28" fmla="*/ 2147483647 w 534"/>
                  <a:gd name="T29" fmla="*/ 2147483647 h 702"/>
                  <a:gd name="T30" fmla="*/ 2147483647 w 534"/>
                  <a:gd name="T31" fmla="*/ 2147483647 h 702"/>
                  <a:gd name="T32" fmla="*/ 2147483647 w 534"/>
                  <a:gd name="T33" fmla="*/ 2147483647 h 702"/>
                  <a:gd name="T34" fmla="*/ 2147483647 w 534"/>
                  <a:gd name="T35" fmla="*/ 2147483647 h 702"/>
                  <a:gd name="T36" fmla="*/ 2147483647 w 534"/>
                  <a:gd name="T37" fmla="*/ 2147483647 h 702"/>
                  <a:gd name="T38" fmla="*/ 2147483647 w 534"/>
                  <a:gd name="T39" fmla="*/ 2147483647 h 702"/>
                  <a:gd name="T40" fmla="*/ 2147483647 w 534"/>
                  <a:gd name="T41" fmla="*/ 2147483647 h 702"/>
                  <a:gd name="T42" fmla="*/ 2147483647 w 534"/>
                  <a:gd name="T43" fmla="*/ 2147483647 h 702"/>
                  <a:gd name="T44" fmla="*/ 2147483647 w 534"/>
                  <a:gd name="T45" fmla="*/ 2147483647 h 702"/>
                  <a:gd name="T46" fmla="*/ 2147483647 w 534"/>
                  <a:gd name="T47" fmla="*/ 2147483647 h 702"/>
                  <a:gd name="T48" fmla="*/ 2147483647 w 534"/>
                  <a:gd name="T49" fmla="*/ 2147483647 h 702"/>
                  <a:gd name="T50" fmla="*/ 0 w 534"/>
                  <a:gd name="T51" fmla="*/ 2147483647 h 702"/>
                  <a:gd name="T52" fmla="*/ 2147483647 w 534"/>
                  <a:gd name="T53" fmla="*/ 2147483647 h 702"/>
                  <a:gd name="T54" fmla="*/ 2147483647 w 534"/>
                  <a:gd name="T55" fmla="*/ 2147483647 h 702"/>
                  <a:gd name="T56" fmla="*/ 2147483647 w 534"/>
                  <a:gd name="T57" fmla="*/ 2147483647 h 702"/>
                  <a:gd name="T58" fmla="*/ 2147483647 w 534"/>
                  <a:gd name="T59" fmla="*/ 2147483647 h 702"/>
                  <a:gd name="T60" fmla="*/ 2147483647 w 534"/>
                  <a:gd name="T61" fmla="*/ 2147483647 h 702"/>
                  <a:gd name="T62" fmla="*/ 2147483647 w 534"/>
                  <a:gd name="T63" fmla="*/ 2147483647 h 702"/>
                  <a:gd name="T64" fmla="*/ 2147483647 w 534"/>
                  <a:gd name="T65" fmla="*/ 2147483647 h 702"/>
                  <a:gd name="T66" fmla="*/ 2147483647 w 534"/>
                  <a:gd name="T67" fmla="*/ 2147483647 h 702"/>
                  <a:gd name="T68" fmla="*/ 2147483647 w 534"/>
                  <a:gd name="T69" fmla="*/ 2147483647 h 702"/>
                  <a:gd name="T70" fmla="*/ 2147483647 w 534"/>
                  <a:gd name="T71" fmla="*/ 2147483647 h 702"/>
                  <a:gd name="T72" fmla="*/ 2147483647 w 534"/>
                  <a:gd name="T73" fmla="*/ 2147483647 h 702"/>
                  <a:gd name="T74" fmla="*/ 2147483647 w 534"/>
                  <a:gd name="T75" fmla="*/ 2147483647 h 702"/>
                  <a:gd name="T76" fmla="*/ 2147483647 w 534"/>
                  <a:gd name="T77" fmla="*/ 2147483647 h 702"/>
                  <a:gd name="T78" fmla="*/ 2147483647 w 534"/>
                  <a:gd name="T79" fmla="*/ 2147483647 h 702"/>
                  <a:gd name="T80" fmla="*/ 2147483647 w 534"/>
                  <a:gd name="T81" fmla="*/ 2147483647 h 702"/>
                  <a:gd name="T82" fmla="*/ 2147483647 w 534"/>
                  <a:gd name="T83" fmla="*/ 2147483647 h 702"/>
                  <a:gd name="T84" fmla="*/ 2147483647 w 534"/>
                  <a:gd name="T85" fmla="*/ 2147483647 h 702"/>
                  <a:gd name="T86" fmla="*/ 2147483647 w 534"/>
                  <a:gd name="T87" fmla="*/ 2147483647 h 702"/>
                  <a:gd name="T88" fmla="*/ 2147483647 w 534"/>
                  <a:gd name="T89" fmla="*/ 2147483647 h 702"/>
                  <a:gd name="T90" fmla="*/ 2147483647 w 534"/>
                  <a:gd name="T91" fmla="*/ 2147483647 h 702"/>
                  <a:gd name="T92" fmla="*/ 2147483647 w 534"/>
                  <a:gd name="T93" fmla="*/ 2147483647 h 702"/>
                  <a:gd name="T94" fmla="*/ 2147483647 w 534"/>
                  <a:gd name="T95" fmla="*/ 2147483647 h 702"/>
                  <a:gd name="T96" fmla="*/ 2147483647 w 534"/>
                  <a:gd name="T97" fmla="*/ 2147483647 h 702"/>
                  <a:gd name="T98" fmla="*/ 2147483647 w 534"/>
                  <a:gd name="T99" fmla="*/ 2147483647 h 702"/>
                  <a:gd name="T100" fmla="*/ 2147483647 w 534"/>
                  <a:gd name="T101" fmla="*/ 2147483647 h 702"/>
                  <a:gd name="T102" fmla="*/ 2147483647 w 534"/>
                  <a:gd name="T103" fmla="*/ 2147483647 h 70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534"/>
                  <a:gd name="T157" fmla="*/ 0 h 702"/>
                  <a:gd name="T158" fmla="*/ 534 w 534"/>
                  <a:gd name="T159" fmla="*/ 702 h 70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534" h="702">
                    <a:moveTo>
                      <a:pt x="366" y="120"/>
                    </a:moveTo>
                    <a:lnTo>
                      <a:pt x="360" y="126"/>
                    </a:lnTo>
                    <a:lnTo>
                      <a:pt x="354" y="168"/>
                    </a:lnTo>
                    <a:lnTo>
                      <a:pt x="330" y="144"/>
                    </a:lnTo>
                    <a:lnTo>
                      <a:pt x="294" y="144"/>
                    </a:lnTo>
                    <a:lnTo>
                      <a:pt x="288" y="138"/>
                    </a:lnTo>
                    <a:lnTo>
                      <a:pt x="276" y="138"/>
                    </a:lnTo>
                    <a:lnTo>
                      <a:pt x="270" y="132"/>
                    </a:lnTo>
                    <a:lnTo>
                      <a:pt x="258" y="126"/>
                    </a:lnTo>
                    <a:lnTo>
                      <a:pt x="210" y="126"/>
                    </a:lnTo>
                    <a:lnTo>
                      <a:pt x="192" y="132"/>
                    </a:lnTo>
                    <a:lnTo>
                      <a:pt x="162" y="132"/>
                    </a:lnTo>
                    <a:lnTo>
                      <a:pt x="144" y="162"/>
                    </a:lnTo>
                    <a:lnTo>
                      <a:pt x="150" y="198"/>
                    </a:lnTo>
                    <a:lnTo>
                      <a:pt x="156" y="204"/>
                    </a:lnTo>
                    <a:lnTo>
                      <a:pt x="180" y="204"/>
                    </a:lnTo>
                    <a:lnTo>
                      <a:pt x="186" y="198"/>
                    </a:lnTo>
                    <a:lnTo>
                      <a:pt x="186" y="180"/>
                    </a:lnTo>
                    <a:lnTo>
                      <a:pt x="204" y="180"/>
                    </a:lnTo>
                    <a:lnTo>
                      <a:pt x="210" y="186"/>
                    </a:lnTo>
                    <a:lnTo>
                      <a:pt x="222" y="186"/>
                    </a:lnTo>
                    <a:lnTo>
                      <a:pt x="222" y="192"/>
                    </a:lnTo>
                    <a:lnTo>
                      <a:pt x="228" y="198"/>
                    </a:lnTo>
                    <a:lnTo>
                      <a:pt x="228" y="216"/>
                    </a:lnTo>
                    <a:lnTo>
                      <a:pt x="240" y="222"/>
                    </a:lnTo>
                    <a:lnTo>
                      <a:pt x="240" y="234"/>
                    </a:lnTo>
                    <a:lnTo>
                      <a:pt x="234" y="240"/>
                    </a:lnTo>
                    <a:lnTo>
                      <a:pt x="228" y="252"/>
                    </a:lnTo>
                    <a:lnTo>
                      <a:pt x="222" y="258"/>
                    </a:lnTo>
                    <a:lnTo>
                      <a:pt x="210" y="258"/>
                    </a:lnTo>
                    <a:lnTo>
                      <a:pt x="198" y="282"/>
                    </a:lnTo>
                    <a:lnTo>
                      <a:pt x="198" y="318"/>
                    </a:lnTo>
                    <a:lnTo>
                      <a:pt x="216" y="324"/>
                    </a:lnTo>
                    <a:lnTo>
                      <a:pt x="222" y="342"/>
                    </a:lnTo>
                    <a:lnTo>
                      <a:pt x="240" y="342"/>
                    </a:lnTo>
                    <a:lnTo>
                      <a:pt x="246" y="348"/>
                    </a:lnTo>
                    <a:lnTo>
                      <a:pt x="246" y="360"/>
                    </a:lnTo>
                    <a:lnTo>
                      <a:pt x="240" y="366"/>
                    </a:lnTo>
                    <a:lnTo>
                      <a:pt x="240" y="414"/>
                    </a:lnTo>
                    <a:lnTo>
                      <a:pt x="234" y="426"/>
                    </a:lnTo>
                    <a:lnTo>
                      <a:pt x="240" y="450"/>
                    </a:lnTo>
                    <a:lnTo>
                      <a:pt x="234" y="456"/>
                    </a:lnTo>
                    <a:lnTo>
                      <a:pt x="222" y="462"/>
                    </a:lnTo>
                    <a:lnTo>
                      <a:pt x="222" y="486"/>
                    </a:lnTo>
                    <a:lnTo>
                      <a:pt x="216" y="498"/>
                    </a:lnTo>
                    <a:lnTo>
                      <a:pt x="210" y="504"/>
                    </a:lnTo>
                    <a:lnTo>
                      <a:pt x="198" y="504"/>
                    </a:lnTo>
                    <a:lnTo>
                      <a:pt x="192" y="498"/>
                    </a:lnTo>
                    <a:lnTo>
                      <a:pt x="192" y="468"/>
                    </a:lnTo>
                    <a:lnTo>
                      <a:pt x="186" y="468"/>
                    </a:lnTo>
                    <a:lnTo>
                      <a:pt x="180" y="474"/>
                    </a:lnTo>
                    <a:lnTo>
                      <a:pt x="174" y="486"/>
                    </a:lnTo>
                    <a:lnTo>
                      <a:pt x="168" y="492"/>
                    </a:lnTo>
                    <a:lnTo>
                      <a:pt x="138" y="492"/>
                    </a:lnTo>
                    <a:lnTo>
                      <a:pt x="120" y="450"/>
                    </a:lnTo>
                    <a:lnTo>
                      <a:pt x="90" y="450"/>
                    </a:lnTo>
                    <a:lnTo>
                      <a:pt x="90" y="456"/>
                    </a:lnTo>
                    <a:lnTo>
                      <a:pt x="108" y="474"/>
                    </a:lnTo>
                    <a:lnTo>
                      <a:pt x="96" y="480"/>
                    </a:lnTo>
                    <a:lnTo>
                      <a:pt x="90" y="492"/>
                    </a:lnTo>
                    <a:lnTo>
                      <a:pt x="84" y="498"/>
                    </a:lnTo>
                    <a:lnTo>
                      <a:pt x="66" y="498"/>
                    </a:lnTo>
                    <a:lnTo>
                      <a:pt x="54" y="492"/>
                    </a:lnTo>
                    <a:lnTo>
                      <a:pt x="42" y="492"/>
                    </a:lnTo>
                    <a:lnTo>
                      <a:pt x="36" y="486"/>
                    </a:lnTo>
                    <a:lnTo>
                      <a:pt x="30" y="486"/>
                    </a:lnTo>
                    <a:lnTo>
                      <a:pt x="30" y="504"/>
                    </a:lnTo>
                    <a:lnTo>
                      <a:pt x="36" y="510"/>
                    </a:lnTo>
                    <a:lnTo>
                      <a:pt x="36" y="522"/>
                    </a:lnTo>
                    <a:lnTo>
                      <a:pt x="24" y="522"/>
                    </a:lnTo>
                    <a:lnTo>
                      <a:pt x="54" y="540"/>
                    </a:lnTo>
                    <a:lnTo>
                      <a:pt x="36" y="552"/>
                    </a:lnTo>
                    <a:lnTo>
                      <a:pt x="54" y="564"/>
                    </a:lnTo>
                    <a:lnTo>
                      <a:pt x="54" y="600"/>
                    </a:lnTo>
                    <a:lnTo>
                      <a:pt x="48" y="606"/>
                    </a:lnTo>
                    <a:lnTo>
                      <a:pt x="30" y="588"/>
                    </a:lnTo>
                    <a:lnTo>
                      <a:pt x="6" y="600"/>
                    </a:lnTo>
                    <a:lnTo>
                      <a:pt x="0" y="618"/>
                    </a:lnTo>
                    <a:lnTo>
                      <a:pt x="54" y="666"/>
                    </a:lnTo>
                    <a:lnTo>
                      <a:pt x="54" y="684"/>
                    </a:lnTo>
                    <a:lnTo>
                      <a:pt x="72" y="702"/>
                    </a:lnTo>
                    <a:lnTo>
                      <a:pt x="72" y="690"/>
                    </a:lnTo>
                    <a:lnTo>
                      <a:pt x="90" y="690"/>
                    </a:lnTo>
                    <a:lnTo>
                      <a:pt x="90" y="672"/>
                    </a:lnTo>
                    <a:lnTo>
                      <a:pt x="102" y="666"/>
                    </a:lnTo>
                    <a:lnTo>
                      <a:pt x="108" y="660"/>
                    </a:lnTo>
                    <a:lnTo>
                      <a:pt x="120" y="654"/>
                    </a:lnTo>
                    <a:lnTo>
                      <a:pt x="126" y="648"/>
                    </a:lnTo>
                    <a:lnTo>
                      <a:pt x="132" y="654"/>
                    </a:lnTo>
                    <a:lnTo>
                      <a:pt x="132" y="660"/>
                    </a:lnTo>
                    <a:lnTo>
                      <a:pt x="138" y="666"/>
                    </a:lnTo>
                    <a:lnTo>
                      <a:pt x="138" y="672"/>
                    </a:lnTo>
                    <a:lnTo>
                      <a:pt x="150" y="672"/>
                    </a:lnTo>
                    <a:lnTo>
                      <a:pt x="150" y="678"/>
                    </a:lnTo>
                    <a:lnTo>
                      <a:pt x="156" y="684"/>
                    </a:lnTo>
                    <a:lnTo>
                      <a:pt x="156" y="690"/>
                    </a:lnTo>
                    <a:lnTo>
                      <a:pt x="162" y="696"/>
                    </a:lnTo>
                    <a:lnTo>
                      <a:pt x="174" y="696"/>
                    </a:lnTo>
                    <a:lnTo>
                      <a:pt x="180" y="690"/>
                    </a:lnTo>
                    <a:lnTo>
                      <a:pt x="186" y="678"/>
                    </a:lnTo>
                    <a:lnTo>
                      <a:pt x="186" y="660"/>
                    </a:lnTo>
                    <a:lnTo>
                      <a:pt x="210" y="666"/>
                    </a:lnTo>
                    <a:lnTo>
                      <a:pt x="228" y="648"/>
                    </a:lnTo>
                    <a:lnTo>
                      <a:pt x="234" y="648"/>
                    </a:lnTo>
                    <a:lnTo>
                      <a:pt x="234" y="678"/>
                    </a:lnTo>
                    <a:lnTo>
                      <a:pt x="228" y="690"/>
                    </a:lnTo>
                    <a:lnTo>
                      <a:pt x="234" y="696"/>
                    </a:lnTo>
                    <a:lnTo>
                      <a:pt x="252" y="696"/>
                    </a:lnTo>
                    <a:lnTo>
                      <a:pt x="264" y="690"/>
                    </a:lnTo>
                    <a:lnTo>
                      <a:pt x="270" y="684"/>
                    </a:lnTo>
                    <a:lnTo>
                      <a:pt x="276" y="672"/>
                    </a:lnTo>
                    <a:lnTo>
                      <a:pt x="294" y="654"/>
                    </a:lnTo>
                    <a:lnTo>
                      <a:pt x="300" y="642"/>
                    </a:lnTo>
                    <a:lnTo>
                      <a:pt x="312" y="630"/>
                    </a:lnTo>
                    <a:lnTo>
                      <a:pt x="330" y="630"/>
                    </a:lnTo>
                    <a:lnTo>
                      <a:pt x="336" y="624"/>
                    </a:lnTo>
                    <a:lnTo>
                      <a:pt x="366" y="582"/>
                    </a:lnTo>
                    <a:lnTo>
                      <a:pt x="360" y="480"/>
                    </a:lnTo>
                    <a:lnTo>
                      <a:pt x="366" y="480"/>
                    </a:lnTo>
                    <a:lnTo>
                      <a:pt x="390" y="456"/>
                    </a:lnTo>
                    <a:lnTo>
                      <a:pt x="390" y="420"/>
                    </a:lnTo>
                    <a:lnTo>
                      <a:pt x="396" y="408"/>
                    </a:lnTo>
                    <a:lnTo>
                      <a:pt x="402" y="402"/>
                    </a:lnTo>
                    <a:lnTo>
                      <a:pt x="450" y="378"/>
                    </a:lnTo>
                    <a:lnTo>
                      <a:pt x="456" y="366"/>
                    </a:lnTo>
                    <a:lnTo>
                      <a:pt x="468" y="360"/>
                    </a:lnTo>
                    <a:lnTo>
                      <a:pt x="474" y="354"/>
                    </a:lnTo>
                    <a:lnTo>
                      <a:pt x="474" y="300"/>
                    </a:lnTo>
                    <a:lnTo>
                      <a:pt x="486" y="294"/>
                    </a:lnTo>
                    <a:lnTo>
                      <a:pt x="492" y="282"/>
                    </a:lnTo>
                    <a:lnTo>
                      <a:pt x="492" y="258"/>
                    </a:lnTo>
                    <a:lnTo>
                      <a:pt x="486" y="246"/>
                    </a:lnTo>
                    <a:lnTo>
                      <a:pt x="480" y="240"/>
                    </a:lnTo>
                    <a:lnTo>
                      <a:pt x="480" y="228"/>
                    </a:lnTo>
                    <a:lnTo>
                      <a:pt x="498" y="192"/>
                    </a:lnTo>
                    <a:lnTo>
                      <a:pt x="498" y="168"/>
                    </a:lnTo>
                    <a:lnTo>
                      <a:pt x="492" y="156"/>
                    </a:lnTo>
                    <a:lnTo>
                      <a:pt x="492" y="126"/>
                    </a:lnTo>
                    <a:lnTo>
                      <a:pt x="498" y="120"/>
                    </a:lnTo>
                    <a:lnTo>
                      <a:pt x="510" y="96"/>
                    </a:lnTo>
                    <a:lnTo>
                      <a:pt x="522" y="84"/>
                    </a:lnTo>
                    <a:lnTo>
                      <a:pt x="528" y="66"/>
                    </a:lnTo>
                    <a:lnTo>
                      <a:pt x="534" y="54"/>
                    </a:lnTo>
                    <a:lnTo>
                      <a:pt x="534" y="18"/>
                    </a:lnTo>
                    <a:lnTo>
                      <a:pt x="522" y="6"/>
                    </a:lnTo>
                    <a:lnTo>
                      <a:pt x="510" y="18"/>
                    </a:lnTo>
                    <a:lnTo>
                      <a:pt x="498" y="18"/>
                    </a:lnTo>
                    <a:lnTo>
                      <a:pt x="462" y="0"/>
                    </a:lnTo>
                    <a:lnTo>
                      <a:pt x="444" y="0"/>
                    </a:lnTo>
                    <a:lnTo>
                      <a:pt x="426" y="18"/>
                    </a:lnTo>
                    <a:lnTo>
                      <a:pt x="396" y="18"/>
                    </a:lnTo>
                    <a:lnTo>
                      <a:pt x="378" y="48"/>
                    </a:lnTo>
                    <a:lnTo>
                      <a:pt x="390" y="60"/>
                    </a:lnTo>
                    <a:lnTo>
                      <a:pt x="390" y="84"/>
                    </a:lnTo>
                    <a:lnTo>
                      <a:pt x="384" y="96"/>
                    </a:lnTo>
                    <a:lnTo>
                      <a:pt x="378" y="102"/>
                    </a:lnTo>
                    <a:lnTo>
                      <a:pt x="372" y="114"/>
                    </a:lnTo>
                    <a:lnTo>
                      <a:pt x="366" y="12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52" name="Chad"/>
              <p:cNvSpPr>
                <a:spLocks/>
              </p:cNvSpPr>
              <p:nvPr/>
            </p:nvSpPr>
            <p:spPr bwMode="gray">
              <a:xfrm>
                <a:off x="4597406" y="3316291"/>
                <a:ext cx="300038" cy="519113"/>
              </a:xfrm>
              <a:custGeom>
                <a:avLst/>
                <a:gdLst>
                  <a:gd name="T0" fmla="*/ 2147483647 w 744"/>
                  <a:gd name="T1" fmla="*/ 2147483647 h 1290"/>
                  <a:gd name="T2" fmla="*/ 2147483647 w 744"/>
                  <a:gd name="T3" fmla="*/ 0 h 1290"/>
                  <a:gd name="T4" fmla="*/ 2147483647 w 744"/>
                  <a:gd name="T5" fmla="*/ 2147483647 h 1290"/>
                  <a:gd name="T6" fmla="*/ 2147483647 w 744"/>
                  <a:gd name="T7" fmla="*/ 2147483647 h 1290"/>
                  <a:gd name="T8" fmla="*/ 2147483647 w 744"/>
                  <a:gd name="T9" fmla="*/ 2147483647 h 1290"/>
                  <a:gd name="T10" fmla="*/ 2147483647 w 744"/>
                  <a:gd name="T11" fmla="*/ 2147483647 h 1290"/>
                  <a:gd name="T12" fmla="*/ 2147483647 w 744"/>
                  <a:gd name="T13" fmla="*/ 2147483647 h 1290"/>
                  <a:gd name="T14" fmla="*/ 2147483647 w 744"/>
                  <a:gd name="T15" fmla="*/ 2147483647 h 1290"/>
                  <a:gd name="T16" fmla="*/ 2147483647 w 744"/>
                  <a:gd name="T17" fmla="*/ 2147483647 h 1290"/>
                  <a:gd name="T18" fmla="*/ 0 w 744"/>
                  <a:gd name="T19" fmla="*/ 2147483647 h 1290"/>
                  <a:gd name="T20" fmla="*/ 2147483647 w 744"/>
                  <a:gd name="T21" fmla="*/ 2147483647 h 1290"/>
                  <a:gd name="T22" fmla="*/ 2147483647 w 744"/>
                  <a:gd name="T23" fmla="*/ 2147483647 h 1290"/>
                  <a:gd name="T24" fmla="*/ 2147483647 w 744"/>
                  <a:gd name="T25" fmla="*/ 2147483647 h 1290"/>
                  <a:gd name="T26" fmla="*/ 2147483647 w 744"/>
                  <a:gd name="T27" fmla="*/ 2147483647 h 1290"/>
                  <a:gd name="T28" fmla="*/ 2147483647 w 744"/>
                  <a:gd name="T29" fmla="*/ 2147483647 h 1290"/>
                  <a:gd name="T30" fmla="*/ 2147483647 w 744"/>
                  <a:gd name="T31" fmla="*/ 2147483647 h 1290"/>
                  <a:gd name="T32" fmla="*/ 2147483647 w 744"/>
                  <a:gd name="T33" fmla="*/ 2147483647 h 1290"/>
                  <a:gd name="T34" fmla="*/ 2147483647 w 744"/>
                  <a:gd name="T35" fmla="*/ 2147483647 h 1290"/>
                  <a:gd name="T36" fmla="*/ 2147483647 w 744"/>
                  <a:gd name="T37" fmla="*/ 2147483647 h 1290"/>
                  <a:gd name="T38" fmla="*/ 2147483647 w 744"/>
                  <a:gd name="T39" fmla="*/ 2147483647 h 1290"/>
                  <a:gd name="T40" fmla="*/ 2147483647 w 744"/>
                  <a:gd name="T41" fmla="*/ 2147483647 h 1290"/>
                  <a:gd name="T42" fmla="*/ 2147483647 w 744"/>
                  <a:gd name="T43" fmla="*/ 2147483647 h 1290"/>
                  <a:gd name="T44" fmla="*/ 2147483647 w 744"/>
                  <a:gd name="T45" fmla="*/ 2147483647 h 1290"/>
                  <a:gd name="T46" fmla="*/ 2147483647 w 744"/>
                  <a:gd name="T47" fmla="*/ 2147483647 h 1290"/>
                  <a:gd name="T48" fmla="*/ 2147483647 w 744"/>
                  <a:gd name="T49" fmla="*/ 2147483647 h 1290"/>
                  <a:gd name="T50" fmla="*/ 2147483647 w 744"/>
                  <a:gd name="T51" fmla="*/ 2147483647 h 1290"/>
                  <a:gd name="T52" fmla="*/ 2147483647 w 744"/>
                  <a:gd name="T53" fmla="*/ 2147483647 h 1290"/>
                  <a:gd name="T54" fmla="*/ 2147483647 w 744"/>
                  <a:gd name="T55" fmla="*/ 2147483647 h 1290"/>
                  <a:gd name="T56" fmla="*/ 2147483647 w 744"/>
                  <a:gd name="T57" fmla="*/ 2147483647 h 1290"/>
                  <a:gd name="T58" fmla="*/ 2147483647 w 744"/>
                  <a:gd name="T59" fmla="*/ 2147483647 h 1290"/>
                  <a:gd name="T60" fmla="*/ 2147483647 w 744"/>
                  <a:gd name="T61" fmla="*/ 2147483647 h 1290"/>
                  <a:gd name="T62" fmla="*/ 2147483647 w 744"/>
                  <a:gd name="T63" fmla="*/ 2147483647 h 1290"/>
                  <a:gd name="T64" fmla="*/ 2147483647 w 744"/>
                  <a:gd name="T65" fmla="*/ 2147483647 h 1290"/>
                  <a:gd name="T66" fmla="*/ 2147483647 w 744"/>
                  <a:gd name="T67" fmla="*/ 2147483647 h 1290"/>
                  <a:gd name="T68" fmla="*/ 2147483647 w 744"/>
                  <a:gd name="T69" fmla="*/ 2147483647 h 1290"/>
                  <a:gd name="T70" fmla="*/ 2147483647 w 744"/>
                  <a:gd name="T71" fmla="*/ 2147483647 h 1290"/>
                  <a:gd name="T72" fmla="*/ 2147483647 w 744"/>
                  <a:gd name="T73" fmla="*/ 2147483647 h 1290"/>
                  <a:gd name="T74" fmla="*/ 2147483647 w 744"/>
                  <a:gd name="T75" fmla="*/ 2147483647 h 1290"/>
                  <a:gd name="T76" fmla="*/ 2147483647 w 744"/>
                  <a:gd name="T77" fmla="*/ 2147483647 h 1290"/>
                  <a:gd name="T78" fmla="*/ 2147483647 w 744"/>
                  <a:gd name="T79" fmla="*/ 2147483647 h 1290"/>
                  <a:gd name="T80" fmla="*/ 2147483647 w 744"/>
                  <a:gd name="T81" fmla="*/ 2147483647 h 1290"/>
                  <a:gd name="T82" fmla="*/ 2147483647 w 744"/>
                  <a:gd name="T83" fmla="*/ 2147483647 h 1290"/>
                  <a:gd name="T84" fmla="*/ 2147483647 w 744"/>
                  <a:gd name="T85" fmla="*/ 2147483647 h 1290"/>
                  <a:gd name="T86" fmla="*/ 2147483647 w 744"/>
                  <a:gd name="T87" fmla="*/ 2147483647 h 1290"/>
                  <a:gd name="T88" fmla="*/ 2147483647 w 744"/>
                  <a:gd name="T89" fmla="*/ 2147483647 h 1290"/>
                  <a:gd name="T90" fmla="*/ 2147483647 w 744"/>
                  <a:gd name="T91" fmla="*/ 2147483647 h 1290"/>
                  <a:gd name="T92" fmla="*/ 2147483647 w 744"/>
                  <a:gd name="T93" fmla="*/ 2147483647 h 129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744"/>
                  <a:gd name="T142" fmla="*/ 0 h 1290"/>
                  <a:gd name="T143" fmla="*/ 744 w 744"/>
                  <a:gd name="T144" fmla="*/ 1290 h 1290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744" h="1290">
                    <a:moveTo>
                      <a:pt x="678" y="624"/>
                    </a:moveTo>
                    <a:lnTo>
                      <a:pt x="720" y="624"/>
                    </a:lnTo>
                    <a:lnTo>
                      <a:pt x="732" y="630"/>
                    </a:lnTo>
                    <a:lnTo>
                      <a:pt x="744" y="630"/>
                    </a:lnTo>
                    <a:lnTo>
                      <a:pt x="738" y="324"/>
                    </a:lnTo>
                    <a:lnTo>
                      <a:pt x="180" y="0"/>
                    </a:lnTo>
                    <a:lnTo>
                      <a:pt x="156" y="12"/>
                    </a:lnTo>
                    <a:lnTo>
                      <a:pt x="144" y="24"/>
                    </a:lnTo>
                    <a:lnTo>
                      <a:pt x="126" y="30"/>
                    </a:lnTo>
                    <a:lnTo>
                      <a:pt x="108" y="42"/>
                    </a:lnTo>
                    <a:lnTo>
                      <a:pt x="126" y="108"/>
                    </a:lnTo>
                    <a:lnTo>
                      <a:pt x="114" y="156"/>
                    </a:lnTo>
                    <a:lnTo>
                      <a:pt x="144" y="192"/>
                    </a:lnTo>
                    <a:lnTo>
                      <a:pt x="150" y="216"/>
                    </a:lnTo>
                    <a:lnTo>
                      <a:pt x="180" y="252"/>
                    </a:lnTo>
                    <a:lnTo>
                      <a:pt x="162" y="288"/>
                    </a:lnTo>
                    <a:lnTo>
                      <a:pt x="144" y="534"/>
                    </a:lnTo>
                    <a:lnTo>
                      <a:pt x="138" y="540"/>
                    </a:lnTo>
                    <a:lnTo>
                      <a:pt x="120" y="564"/>
                    </a:lnTo>
                    <a:lnTo>
                      <a:pt x="96" y="588"/>
                    </a:lnTo>
                    <a:lnTo>
                      <a:pt x="72" y="618"/>
                    </a:lnTo>
                    <a:lnTo>
                      <a:pt x="54" y="636"/>
                    </a:lnTo>
                    <a:lnTo>
                      <a:pt x="48" y="648"/>
                    </a:lnTo>
                    <a:lnTo>
                      <a:pt x="36" y="666"/>
                    </a:lnTo>
                    <a:lnTo>
                      <a:pt x="30" y="678"/>
                    </a:lnTo>
                    <a:lnTo>
                      <a:pt x="24" y="696"/>
                    </a:lnTo>
                    <a:lnTo>
                      <a:pt x="24" y="708"/>
                    </a:lnTo>
                    <a:lnTo>
                      <a:pt x="18" y="714"/>
                    </a:lnTo>
                    <a:lnTo>
                      <a:pt x="18" y="720"/>
                    </a:lnTo>
                    <a:lnTo>
                      <a:pt x="0" y="726"/>
                    </a:lnTo>
                    <a:lnTo>
                      <a:pt x="6" y="786"/>
                    </a:lnTo>
                    <a:lnTo>
                      <a:pt x="18" y="786"/>
                    </a:lnTo>
                    <a:lnTo>
                      <a:pt x="48" y="834"/>
                    </a:lnTo>
                    <a:lnTo>
                      <a:pt x="48" y="846"/>
                    </a:lnTo>
                    <a:lnTo>
                      <a:pt x="48" y="840"/>
                    </a:lnTo>
                    <a:lnTo>
                      <a:pt x="72" y="834"/>
                    </a:lnTo>
                    <a:lnTo>
                      <a:pt x="72" y="852"/>
                    </a:lnTo>
                    <a:lnTo>
                      <a:pt x="78" y="864"/>
                    </a:lnTo>
                    <a:lnTo>
                      <a:pt x="84" y="870"/>
                    </a:lnTo>
                    <a:lnTo>
                      <a:pt x="96" y="870"/>
                    </a:lnTo>
                    <a:lnTo>
                      <a:pt x="102" y="876"/>
                    </a:lnTo>
                    <a:lnTo>
                      <a:pt x="108" y="876"/>
                    </a:lnTo>
                    <a:lnTo>
                      <a:pt x="102" y="912"/>
                    </a:lnTo>
                    <a:lnTo>
                      <a:pt x="114" y="918"/>
                    </a:lnTo>
                    <a:lnTo>
                      <a:pt x="120" y="930"/>
                    </a:lnTo>
                    <a:lnTo>
                      <a:pt x="120" y="966"/>
                    </a:lnTo>
                    <a:lnTo>
                      <a:pt x="114" y="966"/>
                    </a:lnTo>
                    <a:lnTo>
                      <a:pt x="114" y="1002"/>
                    </a:lnTo>
                    <a:lnTo>
                      <a:pt x="120" y="1020"/>
                    </a:lnTo>
                    <a:lnTo>
                      <a:pt x="120" y="1038"/>
                    </a:lnTo>
                    <a:lnTo>
                      <a:pt x="126" y="1050"/>
                    </a:lnTo>
                    <a:lnTo>
                      <a:pt x="138" y="1056"/>
                    </a:lnTo>
                    <a:lnTo>
                      <a:pt x="144" y="1068"/>
                    </a:lnTo>
                    <a:lnTo>
                      <a:pt x="162" y="1086"/>
                    </a:lnTo>
                    <a:lnTo>
                      <a:pt x="66" y="1086"/>
                    </a:lnTo>
                    <a:lnTo>
                      <a:pt x="54" y="1092"/>
                    </a:lnTo>
                    <a:lnTo>
                      <a:pt x="48" y="1098"/>
                    </a:lnTo>
                    <a:lnTo>
                      <a:pt x="48" y="1110"/>
                    </a:lnTo>
                    <a:lnTo>
                      <a:pt x="60" y="1134"/>
                    </a:lnTo>
                    <a:lnTo>
                      <a:pt x="72" y="1146"/>
                    </a:lnTo>
                    <a:lnTo>
                      <a:pt x="78" y="1158"/>
                    </a:lnTo>
                    <a:lnTo>
                      <a:pt x="90" y="1170"/>
                    </a:lnTo>
                    <a:lnTo>
                      <a:pt x="108" y="1182"/>
                    </a:lnTo>
                    <a:lnTo>
                      <a:pt x="120" y="1188"/>
                    </a:lnTo>
                    <a:lnTo>
                      <a:pt x="132" y="1200"/>
                    </a:lnTo>
                    <a:lnTo>
                      <a:pt x="144" y="1224"/>
                    </a:lnTo>
                    <a:lnTo>
                      <a:pt x="144" y="1242"/>
                    </a:lnTo>
                    <a:lnTo>
                      <a:pt x="150" y="1254"/>
                    </a:lnTo>
                    <a:lnTo>
                      <a:pt x="156" y="1272"/>
                    </a:lnTo>
                    <a:lnTo>
                      <a:pt x="156" y="1284"/>
                    </a:lnTo>
                    <a:lnTo>
                      <a:pt x="162" y="1284"/>
                    </a:lnTo>
                    <a:lnTo>
                      <a:pt x="168" y="1290"/>
                    </a:lnTo>
                    <a:lnTo>
                      <a:pt x="186" y="1290"/>
                    </a:lnTo>
                    <a:lnTo>
                      <a:pt x="198" y="1284"/>
                    </a:lnTo>
                    <a:lnTo>
                      <a:pt x="216" y="1266"/>
                    </a:lnTo>
                    <a:lnTo>
                      <a:pt x="228" y="1260"/>
                    </a:lnTo>
                    <a:lnTo>
                      <a:pt x="234" y="1254"/>
                    </a:lnTo>
                    <a:lnTo>
                      <a:pt x="234" y="1278"/>
                    </a:lnTo>
                    <a:lnTo>
                      <a:pt x="240" y="1284"/>
                    </a:lnTo>
                    <a:lnTo>
                      <a:pt x="246" y="1284"/>
                    </a:lnTo>
                    <a:lnTo>
                      <a:pt x="258" y="1278"/>
                    </a:lnTo>
                    <a:lnTo>
                      <a:pt x="270" y="1266"/>
                    </a:lnTo>
                    <a:lnTo>
                      <a:pt x="276" y="1254"/>
                    </a:lnTo>
                    <a:lnTo>
                      <a:pt x="282" y="1248"/>
                    </a:lnTo>
                    <a:lnTo>
                      <a:pt x="372" y="1248"/>
                    </a:lnTo>
                    <a:lnTo>
                      <a:pt x="378" y="1242"/>
                    </a:lnTo>
                    <a:lnTo>
                      <a:pt x="384" y="1230"/>
                    </a:lnTo>
                    <a:lnTo>
                      <a:pt x="390" y="1224"/>
                    </a:lnTo>
                    <a:lnTo>
                      <a:pt x="396" y="1212"/>
                    </a:lnTo>
                    <a:lnTo>
                      <a:pt x="402" y="1206"/>
                    </a:lnTo>
                    <a:lnTo>
                      <a:pt x="402" y="1194"/>
                    </a:lnTo>
                    <a:lnTo>
                      <a:pt x="390" y="1182"/>
                    </a:lnTo>
                    <a:lnTo>
                      <a:pt x="384" y="1182"/>
                    </a:lnTo>
                    <a:lnTo>
                      <a:pt x="402" y="1170"/>
                    </a:lnTo>
                    <a:lnTo>
                      <a:pt x="420" y="1170"/>
                    </a:lnTo>
                    <a:lnTo>
                      <a:pt x="462" y="1164"/>
                    </a:lnTo>
                    <a:lnTo>
                      <a:pt x="510" y="1146"/>
                    </a:lnTo>
                    <a:lnTo>
                      <a:pt x="528" y="1134"/>
                    </a:lnTo>
                    <a:lnTo>
                      <a:pt x="552" y="1110"/>
                    </a:lnTo>
                    <a:lnTo>
                      <a:pt x="552" y="1092"/>
                    </a:lnTo>
                    <a:lnTo>
                      <a:pt x="588" y="1068"/>
                    </a:lnTo>
                    <a:lnTo>
                      <a:pt x="594" y="1038"/>
                    </a:lnTo>
                    <a:lnTo>
                      <a:pt x="648" y="1008"/>
                    </a:lnTo>
                    <a:lnTo>
                      <a:pt x="672" y="1008"/>
                    </a:lnTo>
                    <a:lnTo>
                      <a:pt x="672" y="996"/>
                    </a:lnTo>
                    <a:lnTo>
                      <a:pt x="684" y="996"/>
                    </a:lnTo>
                    <a:lnTo>
                      <a:pt x="684" y="990"/>
                    </a:lnTo>
                    <a:lnTo>
                      <a:pt x="678" y="984"/>
                    </a:lnTo>
                    <a:lnTo>
                      <a:pt x="666" y="966"/>
                    </a:lnTo>
                    <a:lnTo>
                      <a:pt x="654" y="960"/>
                    </a:lnTo>
                    <a:lnTo>
                      <a:pt x="648" y="960"/>
                    </a:lnTo>
                    <a:lnTo>
                      <a:pt x="642" y="936"/>
                    </a:lnTo>
                    <a:lnTo>
                      <a:pt x="660" y="930"/>
                    </a:lnTo>
                    <a:lnTo>
                      <a:pt x="642" y="918"/>
                    </a:lnTo>
                    <a:lnTo>
                      <a:pt x="642" y="876"/>
                    </a:lnTo>
                    <a:lnTo>
                      <a:pt x="636" y="870"/>
                    </a:lnTo>
                    <a:lnTo>
                      <a:pt x="624" y="870"/>
                    </a:lnTo>
                    <a:lnTo>
                      <a:pt x="618" y="876"/>
                    </a:lnTo>
                    <a:lnTo>
                      <a:pt x="606" y="876"/>
                    </a:lnTo>
                    <a:lnTo>
                      <a:pt x="600" y="870"/>
                    </a:lnTo>
                    <a:lnTo>
                      <a:pt x="600" y="852"/>
                    </a:lnTo>
                    <a:lnTo>
                      <a:pt x="606" y="840"/>
                    </a:lnTo>
                    <a:lnTo>
                      <a:pt x="618" y="834"/>
                    </a:lnTo>
                    <a:lnTo>
                      <a:pt x="630" y="822"/>
                    </a:lnTo>
                    <a:lnTo>
                      <a:pt x="630" y="810"/>
                    </a:lnTo>
                    <a:lnTo>
                      <a:pt x="618" y="786"/>
                    </a:lnTo>
                    <a:lnTo>
                      <a:pt x="612" y="780"/>
                    </a:lnTo>
                    <a:lnTo>
                      <a:pt x="630" y="762"/>
                    </a:lnTo>
                    <a:lnTo>
                      <a:pt x="648" y="750"/>
                    </a:lnTo>
                    <a:lnTo>
                      <a:pt x="642" y="732"/>
                    </a:lnTo>
                    <a:lnTo>
                      <a:pt x="636" y="708"/>
                    </a:lnTo>
                    <a:lnTo>
                      <a:pt x="648" y="708"/>
                    </a:lnTo>
                    <a:lnTo>
                      <a:pt x="648" y="690"/>
                    </a:lnTo>
                    <a:lnTo>
                      <a:pt x="660" y="678"/>
                    </a:lnTo>
                    <a:lnTo>
                      <a:pt x="672" y="672"/>
                    </a:lnTo>
                    <a:lnTo>
                      <a:pt x="678" y="666"/>
                    </a:lnTo>
                    <a:lnTo>
                      <a:pt x="678" y="660"/>
                    </a:lnTo>
                    <a:lnTo>
                      <a:pt x="672" y="654"/>
                    </a:lnTo>
                    <a:lnTo>
                      <a:pt x="672" y="642"/>
                    </a:lnTo>
                    <a:lnTo>
                      <a:pt x="666" y="636"/>
                    </a:lnTo>
                    <a:lnTo>
                      <a:pt x="678" y="624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53" name="Central African Republic"/>
              <p:cNvSpPr>
                <a:spLocks/>
              </p:cNvSpPr>
              <p:nvPr/>
            </p:nvSpPr>
            <p:spPr bwMode="gray">
              <a:xfrm>
                <a:off x="4625983" y="3721104"/>
                <a:ext cx="368301" cy="282575"/>
              </a:xfrm>
              <a:custGeom>
                <a:avLst/>
                <a:gdLst>
                  <a:gd name="T0" fmla="*/ 2147483647 w 912"/>
                  <a:gd name="T1" fmla="*/ 2147483647 h 702"/>
                  <a:gd name="T2" fmla="*/ 2147483647 w 912"/>
                  <a:gd name="T3" fmla="*/ 2147483647 h 702"/>
                  <a:gd name="T4" fmla="*/ 2147483647 w 912"/>
                  <a:gd name="T5" fmla="*/ 2147483647 h 702"/>
                  <a:gd name="T6" fmla="*/ 2147483647 w 912"/>
                  <a:gd name="T7" fmla="*/ 2147483647 h 702"/>
                  <a:gd name="T8" fmla="*/ 2147483647 w 912"/>
                  <a:gd name="T9" fmla="*/ 2147483647 h 702"/>
                  <a:gd name="T10" fmla="*/ 2147483647 w 912"/>
                  <a:gd name="T11" fmla="*/ 2147483647 h 702"/>
                  <a:gd name="T12" fmla="*/ 2147483647 w 912"/>
                  <a:gd name="T13" fmla="*/ 2147483647 h 702"/>
                  <a:gd name="T14" fmla="*/ 2147483647 w 912"/>
                  <a:gd name="T15" fmla="*/ 2147483647 h 702"/>
                  <a:gd name="T16" fmla="*/ 2147483647 w 912"/>
                  <a:gd name="T17" fmla="*/ 2147483647 h 702"/>
                  <a:gd name="T18" fmla="*/ 2147483647 w 912"/>
                  <a:gd name="T19" fmla="*/ 2147483647 h 702"/>
                  <a:gd name="T20" fmla="*/ 2147483647 w 912"/>
                  <a:gd name="T21" fmla="*/ 2147483647 h 702"/>
                  <a:gd name="T22" fmla="*/ 2147483647 w 912"/>
                  <a:gd name="T23" fmla="*/ 2147483647 h 702"/>
                  <a:gd name="T24" fmla="*/ 2147483647 w 912"/>
                  <a:gd name="T25" fmla="*/ 2147483647 h 702"/>
                  <a:gd name="T26" fmla="*/ 2147483647 w 912"/>
                  <a:gd name="T27" fmla="*/ 2147483647 h 702"/>
                  <a:gd name="T28" fmla="*/ 2147483647 w 912"/>
                  <a:gd name="T29" fmla="*/ 2147483647 h 702"/>
                  <a:gd name="T30" fmla="*/ 2147483647 w 912"/>
                  <a:gd name="T31" fmla="*/ 0 h 702"/>
                  <a:gd name="T32" fmla="*/ 2147483647 w 912"/>
                  <a:gd name="T33" fmla="*/ 2147483647 h 702"/>
                  <a:gd name="T34" fmla="*/ 2147483647 w 912"/>
                  <a:gd name="T35" fmla="*/ 2147483647 h 702"/>
                  <a:gd name="T36" fmla="*/ 2147483647 w 912"/>
                  <a:gd name="T37" fmla="*/ 2147483647 h 702"/>
                  <a:gd name="T38" fmla="*/ 2147483647 w 912"/>
                  <a:gd name="T39" fmla="*/ 2147483647 h 702"/>
                  <a:gd name="T40" fmla="*/ 2147483647 w 912"/>
                  <a:gd name="T41" fmla="*/ 2147483647 h 702"/>
                  <a:gd name="T42" fmla="*/ 2147483647 w 912"/>
                  <a:gd name="T43" fmla="*/ 2147483647 h 702"/>
                  <a:gd name="T44" fmla="*/ 2147483647 w 912"/>
                  <a:gd name="T45" fmla="*/ 2147483647 h 702"/>
                  <a:gd name="T46" fmla="*/ 2147483647 w 912"/>
                  <a:gd name="T47" fmla="*/ 2147483647 h 702"/>
                  <a:gd name="T48" fmla="*/ 2147483647 w 912"/>
                  <a:gd name="T49" fmla="*/ 2147483647 h 702"/>
                  <a:gd name="T50" fmla="*/ 2147483647 w 912"/>
                  <a:gd name="T51" fmla="*/ 2147483647 h 702"/>
                  <a:gd name="T52" fmla="*/ 2147483647 w 912"/>
                  <a:gd name="T53" fmla="*/ 2147483647 h 702"/>
                  <a:gd name="T54" fmla="*/ 2147483647 w 912"/>
                  <a:gd name="T55" fmla="*/ 2147483647 h 702"/>
                  <a:gd name="T56" fmla="*/ 2147483647 w 912"/>
                  <a:gd name="T57" fmla="*/ 2147483647 h 702"/>
                  <a:gd name="T58" fmla="*/ 2147483647 w 912"/>
                  <a:gd name="T59" fmla="*/ 2147483647 h 702"/>
                  <a:gd name="T60" fmla="*/ 0 w 912"/>
                  <a:gd name="T61" fmla="*/ 2147483647 h 702"/>
                  <a:gd name="T62" fmla="*/ 2147483647 w 912"/>
                  <a:gd name="T63" fmla="*/ 2147483647 h 702"/>
                  <a:gd name="T64" fmla="*/ 2147483647 w 912"/>
                  <a:gd name="T65" fmla="*/ 2147483647 h 702"/>
                  <a:gd name="T66" fmla="*/ 2147483647 w 912"/>
                  <a:gd name="T67" fmla="*/ 2147483647 h 702"/>
                  <a:gd name="T68" fmla="*/ 2147483647 w 912"/>
                  <a:gd name="T69" fmla="*/ 2147483647 h 702"/>
                  <a:gd name="T70" fmla="*/ 2147483647 w 912"/>
                  <a:gd name="T71" fmla="*/ 2147483647 h 702"/>
                  <a:gd name="T72" fmla="*/ 2147483647 w 912"/>
                  <a:gd name="T73" fmla="*/ 2147483647 h 702"/>
                  <a:gd name="T74" fmla="*/ 2147483647 w 912"/>
                  <a:gd name="T75" fmla="*/ 2147483647 h 702"/>
                  <a:gd name="T76" fmla="*/ 2147483647 w 912"/>
                  <a:gd name="T77" fmla="*/ 2147483647 h 702"/>
                  <a:gd name="T78" fmla="*/ 2147483647 w 912"/>
                  <a:gd name="T79" fmla="*/ 2147483647 h 702"/>
                  <a:gd name="T80" fmla="*/ 2147483647 w 912"/>
                  <a:gd name="T81" fmla="*/ 2147483647 h 702"/>
                  <a:gd name="T82" fmla="*/ 2147483647 w 912"/>
                  <a:gd name="T83" fmla="*/ 2147483647 h 702"/>
                  <a:gd name="T84" fmla="*/ 2147483647 w 912"/>
                  <a:gd name="T85" fmla="*/ 2147483647 h 702"/>
                  <a:gd name="T86" fmla="*/ 2147483647 w 912"/>
                  <a:gd name="T87" fmla="*/ 2147483647 h 702"/>
                  <a:gd name="T88" fmla="*/ 2147483647 w 912"/>
                  <a:gd name="T89" fmla="*/ 2147483647 h 702"/>
                  <a:gd name="T90" fmla="*/ 2147483647 w 912"/>
                  <a:gd name="T91" fmla="*/ 2147483647 h 702"/>
                  <a:gd name="T92" fmla="*/ 2147483647 w 912"/>
                  <a:gd name="T93" fmla="*/ 2147483647 h 702"/>
                  <a:gd name="T94" fmla="*/ 2147483647 w 912"/>
                  <a:gd name="T95" fmla="*/ 2147483647 h 702"/>
                  <a:gd name="T96" fmla="*/ 2147483647 w 912"/>
                  <a:gd name="T97" fmla="*/ 2147483647 h 702"/>
                  <a:gd name="T98" fmla="*/ 2147483647 w 912"/>
                  <a:gd name="T99" fmla="*/ 2147483647 h 702"/>
                  <a:gd name="T100" fmla="*/ 2147483647 w 912"/>
                  <a:gd name="T101" fmla="*/ 2147483647 h 702"/>
                  <a:gd name="T102" fmla="*/ 2147483647 w 912"/>
                  <a:gd name="T103" fmla="*/ 2147483647 h 702"/>
                  <a:gd name="T104" fmla="*/ 2147483647 w 912"/>
                  <a:gd name="T105" fmla="*/ 2147483647 h 702"/>
                  <a:gd name="T106" fmla="*/ 2147483647 w 912"/>
                  <a:gd name="T107" fmla="*/ 2147483647 h 702"/>
                  <a:gd name="T108" fmla="*/ 2147483647 w 912"/>
                  <a:gd name="T109" fmla="*/ 2147483647 h 702"/>
                  <a:gd name="T110" fmla="*/ 2147483647 w 912"/>
                  <a:gd name="T111" fmla="*/ 2147483647 h 702"/>
                  <a:gd name="T112" fmla="*/ 2147483647 w 912"/>
                  <a:gd name="T113" fmla="*/ 2147483647 h 702"/>
                  <a:gd name="T114" fmla="*/ 2147483647 w 912"/>
                  <a:gd name="T115" fmla="*/ 2147483647 h 702"/>
                  <a:gd name="T116" fmla="*/ 2147483647 w 912"/>
                  <a:gd name="T117" fmla="*/ 2147483647 h 702"/>
                  <a:gd name="T118" fmla="*/ 2147483647 w 912"/>
                  <a:gd name="T119" fmla="*/ 2147483647 h 702"/>
                  <a:gd name="T120" fmla="*/ 2147483647 w 912"/>
                  <a:gd name="T121" fmla="*/ 2147483647 h 70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912"/>
                  <a:gd name="T184" fmla="*/ 0 h 702"/>
                  <a:gd name="T185" fmla="*/ 912 w 912"/>
                  <a:gd name="T186" fmla="*/ 702 h 70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912" h="702">
                    <a:moveTo>
                      <a:pt x="906" y="420"/>
                    </a:moveTo>
                    <a:lnTo>
                      <a:pt x="900" y="414"/>
                    </a:lnTo>
                    <a:lnTo>
                      <a:pt x="888" y="408"/>
                    </a:lnTo>
                    <a:lnTo>
                      <a:pt x="882" y="402"/>
                    </a:lnTo>
                    <a:lnTo>
                      <a:pt x="858" y="396"/>
                    </a:lnTo>
                    <a:lnTo>
                      <a:pt x="858" y="378"/>
                    </a:lnTo>
                    <a:lnTo>
                      <a:pt x="846" y="366"/>
                    </a:lnTo>
                    <a:lnTo>
                      <a:pt x="846" y="360"/>
                    </a:lnTo>
                    <a:lnTo>
                      <a:pt x="858" y="360"/>
                    </a:lnTo>
                    <a:lnTo>
                      <a:pt x="858" y="348"/>
                    </a:lnTo>
                    <a:lnTo>
                      <a:pt x="852" y="342"/>
                    </a:lnTo>
                    <a:lnTo>
                      <a:pt x="834" y="342"/>
                    </a:lnTo>
                    <a:lnTo>
                      <a:pt x="834" y="336"/>
                    </a:lnTo>
                    <a:lnTo>
                      <a:pt x="828" y="330"/>
                    </a:lnTo>
                    <a:lnTo>
                      <a:pt x="822" y="318"/>
                    </a:lnTo>
                    <a:lnTo>
                      <a:pt x="810" y="306"/>
                    </a:lnTo>
                    <a:lnTo>
                      <a:pt x="798" y="300"/>
                    </a:lnTo>
                    <a:lnTo>
                      <a:pt x="792" y="300"/>
                    </a:lnTo>
                    <a:lnTo>
                      <a:pt x="780" y="294"/>
                    </a:lnTo>
                    <a:lnTo>
                      <a:pt x="768" y="282"/>
                    </a:lnTo>
                    <a:lnTo>
                      <a:pt x="768" y="276"/>
                    </a:lnTo>
                    <a:lnTo>
                      <a:pt x="774" y="276"/>
                    </a:lnTo>
                    <a:lnTo>
                      <a:pt x="774" y="270"/>
                    </a:lnTo>
                    <a:lnTo>
                      <a:pt x="780" y="270"/>
                    </a:lnTo>
                    <a:lnTo>
                      <a:pt x="780" y="264"/>
                    </a:lnTo>
                    <a:lnTo>
                      <a:pt x="768" y="252"/>
                    </a:lnTo>
                    <a:lnTo>
                      <a:pt x="756" y="246"/>
                    </a:lnTo>
                    <a:lnTo>
                      <a:pt x="750" y="246"/>
                    </a:lnTo>
                    <a:lnTo>
                      <a:pt x="750" y="228"/>
                    </a:lnTo>
                    <a:lnTo>
                      <a:pt x="720" y="228"/>
                    </a:lnTo>
                    <a:lnTo>
                      <a:pt x="696" y="216"/>
                    </a:lnTo>
                    <a:lnTo>
                      <a:pt x="696" y="186"/>
                    </a:lnTo>
                    <a:lnTo>
                      <a:pt x="648" y="180"/>
                    </a:lnTo>
                    <a:lnTo>
                      <a:pt x="654" y="162"/>
                    </a:lnTo>
                    <a:lnTo>
                      <a:pt x="648" y="162"/>
                    </a:lnTo>
                    <a:lnTo>
                      <a:pt x="642" y="156"/>
                    </a:lnTo>
                    <a:lnTo>
                      <a:pt x="642" y="150"/>
                    </a:lnTo>
                    <a:lnTo>
                      <a:pt x="648" y="144"/>
                    </a:lnTo>
                    <a:lnTo>
                      <a:pt x="654" y="132"/>
                    </a:lnTo>
                    <a:lnTo>
                      <a:pt x="660" y="126"/>
                    </a:lnTo>
                    <a:lnTo>
                      <a:pt x="660" y="96"/>
                    </a:lnTo>
                    <a:lnTo>
                      <a:pt x="654" y="84"/>
                    </a:lnTo>
                    <a:lnTo>
                      <a:pt x="648" y="66"/>
                    </a:lnTo>
                    <a:lnTo>
                      <a:pt x="636" y="54"/>
                    </a:lnTo>
                    <a:lnTo>
                      <a:pt x="630" y="42"/>
                    </a:lnTo>
                    <a:lnTo>
                      <a:pt x="600" y="12"/>
                    </a:lnTo>
                    <a:lnTo>
                      <a:pt x="600" y="0"/>
                    </a:lnTo>
                    <a:lnTo>
                      <a:pt x="576" y="0"/>
                    </a:lnTo>
                    <a:lnTo>
                      <a:pt x="522" y="30"/>
                    </a:lnTo>
                    <a:lnTo>
                      <a:pt x="516" y="60"/>
                    </a:lnTo>
                    <a:lnTo>
                      <a:pt x="480" y="84"/>
                    </a:lnTo>
                    <a:lnTo>
                      <a:pt x="480" y="102"/>
                    </a:lnTo>
                    <a:lnTo>
                      <a:pt x="456" y="126"/>
                    </a:lnTo>
                    <a:lnTo>
                      <a:pt x="438" y="138"/>
                    </a:lnTo>
                    <a:lnTo>
                      <a:pt x="390" y="156"/>
                    </a:lnTo>
                    <a:lnTo>
                      <a:pt x="348" y="162"/>
                    </a:lnTo>
                    <a:lnTo>
                      <a:pt x="330" y="162"/>
                    </a:lnTo>
                    <a:lnTo>
                      <a:pt x="312" y="174"/>
                    </a:lnTo>
                    <a:lnTo>
                      <a:pt x="318" y="174"/>
                    </a:lnTo>
                    <a:lnTo>
                      <a:pt x="330" y="186"/>
                    </a:lnTo>
                    <a:lnTo>
                      <a:pt x="330" y="198"/>
                    </a:lnTo>
                    <a:lnTo>
                      <a:pt x="324" y="204"/>
                    </a:lnTo>
                    <a:lnTo>
                      <a:pt x="318" y="216"/>
                    </a:lnTo>
                    <a:lnTo>
                      <a:pt x="312" y="222"/>
                    </a:lnTo>
                    <a:lnTo>
                      <a:pt x="306" y="234"/>
                    </a:lnTo>
                    <a:lnTo>
                      <a:pt x="300" y="240"/>
                    </a:lnTo>
                    <a:lnTo>
                      <a:pt x="210" y="240"/>
                    </a:lnTo>
                    <a:lnTo>
                      <a:pt x="204" y="246"/>
                    </a:lnTo>
                    <a:lnTo>
                      <a:pt x="198" y="258"/>
                    </a:lnTo>
                    <a:lnTo>
                      <a:pt x="186" y="270"/>
                    </a:lnTo>
                    <a:lnTo>
                      <a:pt x="174" y="276"/>
                    </a:lnTo>
                    <a:lnTo>
                      <a:pt x="168" y="276"/>
                    </a:lnTo>
                    <a:lnTo>
                      <a:pt x="162" y="270"/>
                    </a:lnTo>
                    <a:lnTo>
                      <a:pt x="162" y="246"/>
                    </a:lnTo>
                    <a:lnTo>
                      <a:pt x="156" y="252"/>
                    </a:lnTo>
                    <a:lnTo>
                      <a:pt x="144" y="258"/>
                    </a:lnTo>
                    <a:lnTo>
                      <a:pt x="126" y="276"/>
                    </a:lnTo>
                    <a:lnTo>
                      <a:pt x="114" y="282"/>
                    </a:lnTo>
                    <a:lnTo>
                      <a:pt x="96" y="282"/>
                    </a:lnTo>
                    <a:lnTo>
                      <a:pt x="90" y="276"/>
                    </a:lnTo>
                    <a:lnTo>
                      <a:pt x="78" y="276"/>
                    </a:lnTo>
                    <a:lnTo>
                      <a:pt x="66" y="288"/>
                    </a:lnTo>
                    <a:lnTo>
                      <a:pt x="60" y="300"/>
                    </a:lnTo>
                    <a:lnTo>
                      <a:pt x="54" y="306"/>
                    </a:lnTo>
                    <a:lnTo>
                      <a:pt x="54" y="324"/>
                    </a:lnTo>
                    <a:lnTo>
                      <a:pt x="48" y="336"/>
                    </a:lnTo>
                    <a:lnTo>
                      <a:pt x="42" y="336"/>
                    </a:lnTo>
                    <a:lnTo>
                      <a:pt x="36" y="372"/>
                    </a:lnTo>
                    <a:lnTo>
                      <a:pt x="30" y="372"/>
                    </a:lnTo>
                    <a:lnTo>
                      <a:pt x="24" y="378"/>
                    </a:lnTo>
                    <a:lnTo>
                      <a:pt x="12" y="384"/>
                    </a:lnTo>
                    <a:lnTo>
                      <a:pt x="0" y="396"/>
                    </a:lnTo>
                    <a:lnTo>
                      <a:pt x="0" y="402"/>
                    </a:lnTo>
                    <a:lnTo>
                      <a:pt x="12" y="408"/>
                    </a:lnTo>
                    <a:lnTo>
                      <a:pt x="18" y="408"/>
                    </a:lnTo>
                    <a:lnTo>
                      <a:pt x="18" y="444"/>
                    </a:lnTo>
                    <a:lnTo>
                      <a:pt x="6" y="456"/>
                    </a:lnTo>
                    <a:lnTo>
                      <a:pt x="24" y="468"/>
                    </a:lnTo>
                    <a:lnTo>
                      <a:pt x="24" y="516"/>
                    </a:lnTo>
                    <a:lnTo>
                      <a:pt x="30" y="516"/>
                    </a:lnTo>
                    <a:lnTo>
                      <a:pt x="48" y="534"/>
                    </a:lnTo>
                    <a:lnTo>
                      <a:pt x="54" y="534"/>
                    </a:lnTo>
                    <a:lnTo>
                      <a:pt x="54" y="576"/>
                    </a:lnTo>
                    <a:lnTo>
                      <a:pt x="60" y="582"/>
                    </a:lnTo>
                    <a:lnTo>
                      <a:pt x="72" y="606"/>
                    </a:lnTo>
                    <a:lnTo>
                      <a:pt x="84" y="618"/>
                    </a:lnTo>
                    <a:lnTo>
                      <a:pt x="96" y="624"/>
                    </a:lnTo>
                    <a:lnTo>
                      <a:pt x="102" y="636"/>
                    </a:lnTo>
                    <a:lnTo>
                      <a:pt x="114" y="642"/>
                    </a:lnTo>
                    <a:lnTo>
                      <a:pt x="120" y="660"/>
                    </a:lnTo>
                    <a:lnTo>
                      <a:pt x="120" y="690"/>
                    </a:lnTo>
                    <a:lnTo>
                      <a:pt x="132" y="702"/>
                    </a:lnTo>
                    <a:lnTo>
                      <a:pt x="138" y="696"/>
                    </a:lnTo>
                    <a:lnTo>
                      <a:pt x="144" y="684"/>
                    </a:lnTo>
                    <a:lnTo>
                      <a:pt x="150" y="678"/>
                    </a:lnTo>
                    <a:lnTo>
                      <a:pt x="156" y="666"/>
                    </a:lnTo>
                    <a:lnTo>
                      <a:pt x="156" y="642"/>
                    </a:lnTo>
                    <a:lnTo>
                      <a:pt x="144" y="630"/>
                    </a:lnTo>
                    <a:lnTo>
                      <a:pt x="162" y="600"/>
                    </a:lnTo>
                    <a:lnTo>
                      <a:pt x="192" y="600"/>
                    </a:lnTo>
                    <a:lnTo>
                      <a:pt x="210" y="582"/>
                    </a:lnTo>
                    <a:lnTo>
                      <a:pt x="228" y="582"/>
                    </a:lnTo>
                    <a:lnTo>
                      <a:pt x="264" y="600"/>
                    </a:lnTo>
                    <a:lnTo>
                      <a:pt x="276" y="600"/>
                    </a:lnTo>
                    <a:lnTo>
                      <a:pt x="288" y="588"/>
                    </a:lnTo>
                    <a:lnTo>
                      <a:pt x="300" y="570"/>
                    </a:lnTo>
                    <a:lnTo>
                      <a:pt x="300" y="552"/>
                    </a:lnTo>
                    <a:lnTo>
                      <a:pt x="294" y="552"/>
                    </a:lnTo>
                    <a:lnTo>
                      <a:pt x="294" y="540"/>
                    </a:lnTo>
                    <a:lnTo>
                      <a:pt x="306" y="528"/>
                    </a:lnTo>
                    <a:lnTo>
                      <a:pt x="312" y="528"/>
                    </a:lnTo>
                    <a:lnTo>
                      <a:pt x="324" y="516"/>
                    </a:lnTo>
                    <a:lnTo>
                      <a:pt x="330" y="504"/>
                    </a:lnTo>
                    <a:lnTo>
                      <a:pt x="330" y="498"/>
                    </a:lnTo>
                    <a:lnTo>
                      <a:pt x="336" y="486"/>
                    </a:lnTo>
                    <a:lnTo>
                      <a:pt x="336" y="480"/>
                    </a:lnTo>
                    <a:lnTo>
                      <a:pt x="342" y="474"/>
                    </a:lnTo>
                    <a:lnTo>
                      <a:pt x="354" y="468"/>
                    </a:lnTo>
                    <a:lnTo>
                      <a:pt x="366" y="468"/>
                    </a:lnTo>
                    <a:lnTo>
                      <a:pt x="384" y="474"/>
                    </a:lnTo>
                    <a:lnTo>
                      <a:pt x="396" y="474"/>
                    </a:lnTo>
                    <a:lnTo>
                      <a:pt x="408" y="480"/>
                    </a:lnTo>
                    <a:lnTo>
                      <a:pt x="408" y="492"/>
                    </a:lnTo>
                    <a:lnTo>
                      <a:pt x="426" y="492"/>
                    </a:lnTo>
                    <a:lnTo>
                      <a:pt x="432" y="498"/>
                    </a:lnTo>
                    <a:lnTo>
                      <a:pt x="432" y="528"/>
                    </a:lnTo>
                    <a:lnTo>
                      <a:pt x="474" y="528"/>
                    </a:lnTo>
                    <a:lnTo>
                      <a:pt x="480" y="534"/>
                    </a:lnTo>
                    <a:lnTo>
                      <a:pt x="492" y="540"/>
                    </a:lnTo>
                    <a:lnTo>
                      <a:pt x="540" y="540"/>
                    </a:lnTo>
                    <a:lnTo>
                      <a:pt x="552" y="546"/>
                    </a:lnTo>
                    <a:lnTo>
                      <a:pt x="558" y="552"/>
                    </a:lnTo>
                    <a:lnTo>
                      <a:pt x="570" y="558"/>
                    </a:lnTo>
                    <a:lnTo>
                      <a:pt x="576" y="552"/>
                    </a:lnTo>
                    <a:lnTo>
                      <a:pt x="582" y="540"/>
                    </a:lnTo>
                    <a:lnTo>
                      <a:pt x="588" y="534"/>
                    </a:lnTo>
                    <a:lnTo>
                      <a:pt x="588" y="522"/>
                    </a:lnTo>
                    <a:lnTo>
                      <a:pt x="606" y="504"/>
                    </a:lnTo>
                    <a:lnTo>
                      <a:pt x="612" y="492"/>
                    </a:lnTo>
                    <a:lnTo>
                      <a:pt x="636" y="516"/>
                    </a:lnTo>
                    <a:lnTo>
                      <a:pt x="642" y="516"/>
                    </a:lnTo>
                    <a:lnTo>
                      <a:pt x="648" y="510"/>
                    </a:lnTo>
                    <a:lnTo>
                      <a:pt x="660" y="504"/>
                    </a:lnTo>
                    <a:lnTo>
                      <a:pt x="672" y="492"/>
                    </a:lnTo>
                    <a:lnTo>
                      <a:pt x="690" y="492"/>
                    </a:lnTo>
                    <a:lnTo>
                      <a:pt x="714" y="474"/>
                    </a:lnTo>
                    <a:lnTo>
                      <a:pt x="726" y="486"/>
                    </a:lnTo>
                    <a:lnTo>
                      <a:pt x="750" y="486"/>
                    </a:lnTo>
                    <a:lnTo>
                      <a:pt x="756" y="480"/>
                    </a:lnTo>
                    <a:lnTo>
                      <a:pt x="768" y="480"/>
                    </a:lnTo>
                    <a:lnTo>
                      <a:pt x="768" y="468"/>
                    </a:lnTo>
                    <a:lnTo>
                      <a:pt x="786" y="450"/>
                    </a:lnTo>
                    <a:lnTo>
                      <a:pt x="792" y="450"/>
                    </a:lnTo>
                    <a:lnTo>
                      <a:pt x="792" y="456"/>
                    </a:lnTo>
                    <a:lnTo>
                      <a:pt x="804" y="468"/>
                    </a:lnTo>
                    <a:lnTo>
                      <a:pt x="840" y="462"/>
                    </a:lnTo>
                    <a:lnTo>
                      <a:pt x="840" y="468"/>
                    </a:lnTo>
                    <a:lnTo>
                      <a:pt x="852" y="480"/>
                    </a:lnTo>
                    <a:lnTo>
                      <a:pt x="876" y="480"/>
                    </a:lnTo>
                    <a:lnTo>
                      <a:pt x="894" y="474"/>
                    </a:lnTo>
                    <a:lnTo>
                      <a:pt x="912" y="456"/>
                    </a:lnTo>
                    <a:lnTo>
                      <a:pt x="912" y="432"/>
                    </a:lnTo>
                    <a:lnTo>
                      <a:pt x="906" y="42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54" name="Canada"/>
              <p:cNvSpPr>
                <a:spLocks noEditPoints="1"/>
              </p:cNvSpPr>
              <p:nvPr/>
            </p:nvSpPr>
            <p:spPr bwMode="gray">
              <a:xfrm>
                <a:off x="1036636" y="1555752"/>
                <a:ext cx="2243142" cy="1162051"/>
              </a:xfrm>
              <a:custGeom>
                <a:avLst/>
                <a:gdLst>
                  <a:gd name="T0" fmla="*/ 2147483647 w 5574"/>
                  <a:gd name="T1" fmla="*/ 2147483647 h 2886"/>
                  <a:gd name="T2" fmla="*/ 2147483647 w 5574"/>
                  <a:gd name="T3" fmla="*/ 2147483647 h 2886"/>
                  <a:gd name="T4" fmla="*/ 2147483647 w 5574"/>
                  <a:gd name="T5" fmla="*/ 2147483647 h 2886"/>
                  <a:gd name="T6" fmla="*/ 2147483647 w 5574"/>
                  <a:gd name="T7" fmla="*/ 2147483647 h 2886"/>
                  <a:gd name="T8" fmla="*/ 2147483647 w 5574"/>
                  <a:gd name="T9" fmla="*/ 2147483647 h 2886"/>
                  <a:gd name="T10" fmla="*/ 2147483647 w 5574"/>
                  <a:gd name="T11" fmla="*/ 2147483647 h 2886"/>
                  <a:gd name="T12" fmla="*/ 2147483647 w 5574"/>
                  <a:gd name="T13" fmla="*/ 2147483647 h 2886"/>
                  <a:gd name="T14" fmla="*/ 2147483647 w 5574"/>
                  <a:gd name="T15" fmla="*/ 2147483647 h 2886"/>
                  <a:gd name="T16" fmla="*/ 2147483647 w 5574"/>
                  <a:gd name="T17" fmla="*/ 2147483647 h 2886"/>
                  <a:gd name="T18" fmla="*/ 2147483647 w 5574"/>
                  <a:gd name="T19" fmla="*/ 2147483647 h 2886"/>
                  <a:gd name="T20" fmla="*/ 2147483647 w 5574"/>
                  <a:gd name="T21" fmla="*/ 2147483647 h 2886"/>
                  <a:gd name="T22" fmla="*/ 2147483647 w 5574"/>
                  <a:gd name="T23" fmla="*/ 2147483647 h 2886"/>
                  <a:gd name="T24" fmla="*/ 2147483647 w 5574"/>
                  <a:gd name="T25" fmla="*/ 2147483647 h 2886"/>
                  <a:gd name="T26" fmla="*/ 2147483647 w 5574"/>
                  <a:gd name="T27" fmla="*/ 2147483647 h 2886"/>
                  <a:gd name="T28" fmla="*/ 2147483647 w 5574"/>
                  <a:gd name="T29" fmla="*/ 2147483647 h 2886"/>
                  <a:gd name="T30" fmla="*/ 2147483647 w 5574"/>
                  <a:gd name="T31" fmla="*/ 2147483647 h 2886"/>
                  <a:gd name="T32" fmla="*/ 2147483647 w 5574"/>
                  <a:gd name="T33" fmla="*/ 2147483647 h 2886"/>
                  <a:gd name="T34" fmla="*/ 2147483647 w 5574"/>
                  <a:gd name="T35" fmla="*/ 2147483647 h 2886"/>
                  <a:gd name="T36" fmla="*/ 2147483647 w 5574"/>
                  <a:gd name="T37" fmla="*/ 2147483647 h 2886"/>
                  <a:gd name="T38" fmla="*/ 2147483647 w 5574"/>
                  <a:gd name="T39" fmla="*/ 2147483647 h 2886"/>
                  <a:gd name="T40" fmla="*/ 2147483647 w 5574"/>
                  <a:gd name="T41" fmla="*/ 2147483647 h 2886"/>
                  <a:gd name="T42" fmla="*/ 2147483647 w 5574"/>
                  <a:gd name="T43" fmla="*/ 2147483647 h 2886"/>
                  <a:gd name="T44" fmla="*/ 2147483647 w 5574"/>
                  <a:gd name="T45" fmla="*/ 2147483647 h 2886"/>
                  <a:gd name="T46" fmla="*/ 2147483647 w 5574"/>
                  <a:gd name="T47" fmla="*/ 2147483647 h 2886"/>
                  <a:gd name="T48" fmla="*/ 2147483647 w 5574"/>
                  <a:gd name="T49" fmla="*/ 2147483647 h 2886"/>
                  <a:gd name="T50" fmla="*/ 2147483647 w 5574"/>
                  <a:gd name="T51" fmla="*/ 2147483647 h 2886"/>
                  <a:gd name="T52" fmla="*/ 2147483647 w 5574"/>
                  <a:gd name="T53" fmla="*/ 2147483647 h 2886"/>
                  <a:gd name="T54" fmla="*/ 2147483647 w 5574"/>
                  <a:gd name="T55" fmla="*/ 2147483647 h 2886"/>
                  <a:gd name="T56" fmla="*/ 2147483647 w 5574"/>
                  <a:gd name="T57" fmla="*/ 2147483647 h 2886"/>
                  <a:gd name="T58" fmla="*/ 2147483647 w 5574"/>
                  <a:gd name="T59" fmla="*/ 2147483647 h 2886"/>
                  <a:gd name="T60" fmla="*/ 2147483647 w 5574"/>
                  <a:gd name="T61" fmla="*/ 2147483647 h 2886"/>
                  <a:gd name="T62" fmla="*/ 2147483647 w 5574"/>
                  <a:gd name="T63" fmla="*/ 2147483647 h 2886"/>
                  <a:gd name="T64" fmla="*/ 2147483647 w 5574"/>
                  <a:gd name="T65" fmla="*/ 2147483647 h 2886"/>
                  <a:gd name="T66" fmla="*/ 2147483647 w 5574"/>
                  <a:gd name="T67" fmla="*/ 2147483647 h 2886"/>
                  <a:gd name="T68" fmla="*/ 2147483647 w 5574"/>
                  <a:gd name="T69" fmla="*/ 2147483647 h 2886"/>
                  <a:gd name="T70" fmla="*/ 2147483647 w 5574"/>
                  <a:gd name="T71" fmla="*/ 2147483647 h 2886"/>
                  <a:gd name="T72" fmla="*/ 2147483647 w 5574"/>
                  <a:gd name="T73" fmla="*/ 2147483647 h 2886"/>
                  <a:gd name="T74" fmla="*/ 2147483647 w 5574"/>
                  <a:gd name="T75" fmla="*/ 2147483647 h 2886"/>
                  <a:gd name="T76" fmla="*/ 2147483647 w 5574"/>
                  <a:gd name="T77" fmla="*/ 2147483647 h 2886"/>
                  <a:gd name="T78" fmla="*/ 2147483647 w 5574"/>
                  <a:gd name="T79" fmla="*/ 2147483647 h 2886"/>
                  <a:gd name="T80" fmla="*/ 2147483647 w 5574"/>
                  <a:gd name="T81" fmla="*/ 2147483647 h 2886"/>
                  <a:gd name="T82" fmla="*/ 2147483647 w 5574"/>
                  <a:gd name="T83" fmla="*/ 2147483647 h 2886"/>
                  <a:gd name="T84" fmla="*/ 2147483647 w 5574"/>
                  <a:gd name="T85" fmla="*/ 2147483647 h 2886"/>
                  <a:gd name="T86" fmla="*/ 2147483647 w 5574"/>
                  <a:gd name="T87" fmla="*/ 2147483647 h 2886"/>
                  <a:gd name="T88" fmla="*/ 2147483647 w 5574"/>
                  <a:gd name="T89" fmla="*/ 2147483647 h 2886"/>
                  <a:gd name="T90" fmla="*/ 2147483647 w 5574"/>
                  <a:gd name="T91" fmla="*/ 2147483647 h 2886"/>
                  <a:gd name="T92" fmla="*/ 2147483647 w 5574"/>
                  <a:gd name="T93" fmla="*/ 2147483647 h 2886"/>
                  <a:gd name="T94" fmla="*/ 2147483647 w 5574"/>
                  <a:gd name="T95" fmla="*/ 2147483647 h 2886"/>
                  <a:gd name="T96" fmla="*/ 2147483647 w 5574"/>
                  <a:gd name="T97" fmla="*/ 2147483647 h 2886"/>
                  <a:gd name="T98" fmla="*/ 2147483647 w 5574"/>
                  <a:gd name="T99" fmla="*/ 2147483647 h 2886"/>
                  <a:gd name="T100" fmla="*/ 2147483647 w 5574"/>
                  <a:gd name="T101" fmla="*/ 2147483647 h 2886"/>
                  <a:gd name="T102" fmla="*/ 2147483647 w 5574"/>
                  <a:gd name="T103" fmla="*/ 2147483647 h 2886"/>
                  <a:gd name="T104" fmla="*/ 2147483647 w 5574"/>
                  <a:gd name="T105" fmla="*/ 2147483647 h 2886"/>
                  <a:gd name="T106" fmla="*/ 2147483647 w 5574"/>
                  <a:gd name="T107" fmla="*/ 2147483647 h 2886"/>
                  <a:gd name="T108" fmla="*/ 2147483647 w 5574"/>
                  <a:gd name="T109" fmla="*/ 2147483647 h 2886"/>
                  <a:gd name="T110" fmla="*/ 2147483647 w 5574"/>
                  <a:gd name="T111" fmla="*/ 2147483647 h 2886"/>
                  <a:gd name="T112" fmla="*/ 2147483647 w 5574"/>
                  <a:gd name="T113" fmla="*/ 2147483647 h 2886"/>
                  <a:gd name="T114" fmla="*/ 2147483647 w 5574"/>
                  <a:gd name="T115" fmla="*/ 2147483647 h 2886"/>
                  <a:gd name="T116" fmla="*/ 2147483647 w 5574"/>
                  <a:gd name="T117" fmla="*/ 2147483647 h 2886"/>
                  <a:gd name="T118" fmla="*/ 2147483647 w 5574"/>
                  <a:gd name="T119" fmla="*/ 2147483647 h 2886"/>
                  <a:gd name="T120" fmla="*/ 2147483647 w 5574"/>
                  <a:gd name="T121" fmla="*/ 2147483647 h 2886"/>
                  <a:gd name="T122" fmla="*/ 2147483647 w 5574"/>
                  <a:gd name="T123" fmla="*/ 2147483647 h 2886"/>
                  <a:gd name="T124" fmla="*/ 2147483647 w 5574"/>
                  <a:gd name="T125" fmla="*/ 2147483647 h 288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574"/>
                  <a:gd name="T190" fmla="*/ 0 h 2886"/>
                  <a:gd name="T191" fmla="*/ 5574 w 5574"/>
                  <a:gd name="T192" fmla="*/ 2886 h 288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574" h="2886">
                    <a:moveTo>
                      <a:pt x="3114" y="252"/>
                    </a:moveTo>
                    <a:lnTo>
                      <a:pt x="3138" y="252"/>
                    </a:lnTo>
                    <a:lnTo>
                      <a:pt x="3150" y="258"/>
                    </a:lnTo>
                    <a:lnTo>
                      <a:pt x="3168" y="258"/>
                    </a:lnTo>
                    <a:lnTo>
                      <a:pt x="3174" y="252"/>
                    </a:lnTo>
                    <a:lnTo>
                      <a:pt x="3174" y="246"/>
                    </a:lnTo>
                    <a:lnTo>
                      <a:pt x="3168" y="234"/>
                    </a:lnTo>
                    <a:lnTo>
                      <a:pt x="3156" y="228"/>
                    </a:lnTo>
                    <a:lnTo>
                      <a:pt x="3108" y="228"/>
                    </a:lnTo>
                    <a:lnTo>
                      <a:pt x="3066" y="234"/>
                    </a:lnTo>
                    <a:lnTo>
                      <a:pt x="3036" y="246"/>
                    </a:lnTo>
                    <a:lnTo>
                      <a:pt x="3018" y="246"/>
                    </a:lnTo>
                    <a:lnTo>
                      <a:pt x="3060" y="246"/>
                    </a:lnTo>
                    <a:lnTo>
                      <a:pt x="3096" y="252"/>
                    </a:lnTo>
                    <a:lnTo>
                      <a:pt x="3114" y="252"/>
                    </a:lnTo>
                    <a:close/>
                    <a:moveTo>
                      <a:pt x="2988" y="318"/>
                    </a:moveTo>
                    <a:lnTo>
                      <a:pt x="3036" y="318"/>
                    </a:lnTo>
                    <a:lnTo>
                      <a:pt x="3048" y="312"/>
                    </a:lnTo>
                    <a:lnTo>
                      <a:pt x="3060" y="312"/>
                    </a:lnTo>
                    <a:lnTo>
                      <a:pt x="3072" y="300"/>
                    </a:lnTo>
                    <a:lnTo>
                      <a:pt x="3072" y="294"/>
                    </a:lnTo>
                    <a:lnTo>
                      <a:pt x="3066" y="282"/>
                    </a:lnTo>
                    <a:lnTo>
                      <a:pt x="3138" y="270"/>
                    </a:lnTo>
                    <a:lnTo>
                      <a:pt x="3120" y="264"/>
                    </a:lnTo>
                    <a:lnTo>
                      <a:pt x="3054" y="264"/>
                    </a:lnTo>
                    <a:lnTo>
                      <a:pt x="3042" y="276"/>
                    </a:lnTo>
                    <a:lnTo>
                      <a:pt x="3030" y="276"/>
                    </a:lnTo>
                    <a:lnTo>
                      <a:pt x="2994" y="270"/>
                    </a:lnTo>
                    <a:lnTo>
                      <a:pt x="2958" y="270"/>
                    </a:lnTo>
                    <a:lnTo>
                      <a:pt x="2940" y="282"/>
                    </a:lnTo>
                    <a:lnTo>
                      <a:pt x="2940" y="294"/>
                    </a:lnTo>
                    <a:lnTo>
                      <a:pt x="2946" y="300"/>
                    </a:lnTo>
                    <a:lnTo>
                      <a:pt x="2970" y="312"/>
                    </a:lnTo>
                    <a:lnTo>
                      <a:pt x="2976" y="318"/>
                    </a:lnTo>
                    <a:lnTo>
                      <a:pt x="2988" y="318"/>
                    </a:lnTo>
                    <a:close/>
                    <a:moveTo>
                      <a:pt x="2682" y="384"/>
                    </a:moveTo>
                    <a:lnTo>
                      <a:pt x="2628" y="408"/>
                    </a:lnTo>
                    <a:lnTo>
                      <a:pt x="2634" y="408"/>
                    </a:lnTo>
                    <a:lnTo>
                      <a:pt x="2646" y="414"/>
                    </a:lnTo>
                    <a:lnTo>
                      <a:pt x="2652" y="414"/>
                    </a:lnTo>
                    <a:lnTo>
                      <a:pt x="2658" y="420"/>
                    </a:lnTo>
                    <a:lnTo>
                      <a:pt x="2658" y="426"/>
                    </a:lnTo>
                    <a:lnTo>
                      <a:pt x="2622" y="426"/>
                    </a:lnTo>
                    <a:lnTo>
                      <a:pt x="2586" y="432"/>
                    </a:lnTo>
                    <a:lnTo>
                      <a:pt x="2556" y="438"/>
                    </a:lnTo>
                    <a:lnTo>
                      <a:pt x="2544" y="438"/>
                    </a:lnTo>
                    <a:lnTo>
                      <a:pt x="2520" y="456"/>
                    </a:lnTo>
                    <a:lnTo>
                      <a:pt x="2580" y="450"/>
                    </a:lnTo>
                    <a:lnTo>
                      <a:pt x="2586" y="450"/>
                    </a:lnTo>
                    <a:lnTo>
                      <a:pt x="2592" y="456"/>
                    </a:lnTo>
                    <a:lnTo>
                      <a:pt x="2610" y="456"/>
                    </a:lnTo>
                    <a:lnTo>
                      <a:pt x="2628" y="462"/>
                    </a:lnTo>
                    <a:lnTo>
                      <a:pt x="2658" y="462"/>
                    </a:lnTo>
                    <a:lnTo>
                      <a:pt x="2694" y="450"/>
                    </a:lnTo>
                    <a:lnTo>
                      <a:pt x="2730" y="444"/>
                    </a:lnTo>
                    <a:lnTo>
                      <a:pt x="2742" y="438"/>
                    </a:lnTo>
                    <a:lnTo>
                      <a:pt x="2742" y="450"/>
                    </a:lnTo>
                    <a:lnTo>
                      <a:pt x="2760" y="450"/>
                    </a:lnTo>
                    <a:lnTo>
                      <a:pt x="2796" y="444"/>
                    </a:lnTo>
                    <a:lnTo>
                      <a:pt x="2856" y="444"/>
                    </a:lnTo>
                    <a:lnTo>
                      <a:pt x="2850" y="444"/>
                    </a:lnTo>
                    <a:lnTo>
                      <a:pt x="2844" y="450"/>
                    </a:lnTo>
                    <a:lnTo>
                      <a:pt x="2832" y="450"/>
                    </a:lnTo>
                    <a:lnTo>
                      <a:pt x="2790" y="456"/>
                    </a:lnTo>
                    <a:lnTo>
                      <a:pt x="2730" y="468"/>
                    </a:lnTo>
                    <a:lnTo>
                      <a:pt x="2706" y="468"/>
                    </a:lnTo>
                    <a:lnTo>
                      <a:pt x="2688" y="474"/>
                    </a:lnTo>
                    <a:lnTo>
                      <a:pt x="2670" y="474"/>
                    </a:lnTo>
                    <a:lnTo>
                      <a:pt x="2652" y="480"/>
                    </a:lnTo>
                    <a:lnTo>
                      <a:pt x="2646" y="486"/>
                    </a:lnTo>
                    <a:lnTo>
                      <a:pt x="2640" y="486"/>
                    </a:lnTo>
                    <a:lnTo>
                      <a:pt x="2658" y="486"/>
                    </a:lnTo>
                    <a:lnTo>
                      <a:pt x="2694" y="492"/>
                    </a:lnTo>
                    <a:lnTo>
                      <a:pt x="2760" y="498"/>
                    </a:lnTo>
                    <a:lnTo>
                      <a:pt x="2808" y="492"/>
                    </a:lnTo>
                    <a:lnTo>
                      <a:pt x="2850" y="480"/>
                    </a:lnTo>
                    <a:lnTo>
                      <a:pt x="2874" y="474"/>
                    </a:lnTo>
                    <a:lnTo>
                      <a:pt x="2886" y="468"/>
                    </a:lnTo>
                    <a:lnTo>
                      <a:pt x="2958" y="450"/>
                    </a:lnTo>
                    <a:lnTo>
                      <a:pt x="3000" y="450"/>
                    </a:lnTo>
                    <a:lnTo>
                      <a:pt x="3054" y="444"/>
                    </a:lnTo>
                    <a:lnTo>
                      <a:pt x="3096" y="438"/>
                    </a:lnTo>
                    <a:lnTo>
                      <a:pt x="3120" y="432"/>
                    </a:lnTo>
                    <a:lnTo>
                      <a:pt x="3138" y="420"/>
                    </a:lnTo>
                    <a:lnTo>
                      <a:pt x="3156" y="414"/>
                    </a:lnTo>
                    <a:lnTo>
                      <a:pt x="3168" y="408"/>
                    </a:lnTo>
                    <a:lnTo>
                      <a:pt x="3168" y="396"/>
                    </a:lnTo>
                    <a:lnTo>
                      <a:pt x="3156" y="384"/>
                    </a:lnTo>
                    <a:lnTo>
                      <a:pt x="3144" y="378"/>
                    </a:lnTo>
                    <a:lnTo>
                      <a:pt x="3120" y="378"/>
                    </a:lnTo>
                    <a:lnTo>
                      <a:pt x="3114" y="384"/>
                    </a:lnTo>
                    <a:lnTo>
                      <a:pt x="3108" y="384"/>
                    </a:lnTo>
                    <a:lnTo>
                      <a:pt x="3108" y="396"/>
                    </a:lnTo>
                    <a:lnTo>
                      <a:pt x="3072" y="396"/>
                    </a:lnTo>
                    <a:lnTo>
                      <a:pt x="3078" y="390"/>
                    </a:lnTo>
                    <a:lnTo>
                      <a:pt x="3078" y="378"/>
                    </a:lnTo>
                    <a:lnTo>
                      <a:pt x="3102" y="354"/>
                    </a:lnTo>
                    <a:lnTo>
                      <a:pt x="3102" y="342"/>
                    </a:lnTo>
                    <a:lnTo>
                      <a:pt x="3096" y="342"/>
                    </a:lnTo>
                    <a:lnTo>
                      <a:pt x="3054" y="348"/>
                    </a:lnTo>
                    <a:lnTo>
                      <a:pt x="2988" y="372"/>
                    </a:lnTo>
                    <a:lnTo>
                      <a:pt x="2976" y="378"/>
                    </a:lnTo>
                    <a:lnTo>
                      <a:pt x="3024" y="378"/>
                    </a:lnTo>
                    <a:lnTo>
                      <a:pt x="3018" y="408"/>
                    </a:lnTo>
                    <a:lnTo>
                      <a:pt x="2898" y="420"/>
                    </a:lnTo>
                    <a:lnTo>
                      <a:pt x="2898" y="414"/>
                    </a:lnTo>
                    <a:lnTo>
                      <a:pt x="2892" y="408"/>
                    </a:lnTo>
                    <a:lnTo>
                      <a:pt x="2892" y="372"/>
                    </a:lnTo>
                    <a:lnTo>
                      <a:pt x="2886" y="366"/>
                    </a:lnTo>
                    <a:lnTo>
                      <a:pt x="2874" y="366"/>
                    </a:lnTo>
                    <a:lnTo>
                      <a:pt x="2856" y="360"/>
                    </a:lnTo>
                    <a:lnTo>
                      <a:pt x="2814" y="360"/>
                    </a:lnTo>
                    <a:lnTo>
                      <a:pt x="2682" y="384"/>
                    </a:lnTo>
                    <a:close/>
                    <a:moveTo>
                      <a:pt x="2832" y="342"/>
                    </a:moveTo>
                    <a:lnTo>
                      <a:pt x="2844" y="330"/>
                    </a:lnTo>
                    <a:lnTo>
                      <a:pt x="2844" y="318"/>
                    </a:lnTo>
                    <a:lnTo>
                      <a:pt x="2838" y="312"/>
                    </a:lnTo>
                    <a:lnTo>
                      <a:pt x="2814" y="312"/>
                    </a:lnTo>
                    <a:lnTo>
                      <a:pt x="2802" y="318"/>
                    </a:lnTo>
                    <a:lnTo>
                      <a:pt x="2796" y="324"/>
                    </a:lnTo>
                    <a:lnTo>
                      <a:pt x="2796" y="330"/>
                    </a:lnTo>
                    <a:lnTo>
                      <a:pt x="2802" y="336"/>
                    </a:lnTo>
                    <a:lnTo>
                      <a:pt x="2814" y="336"/>
                    </a:lnTo>
                    <a:lnTo>
                      <a:pt x="2820" y="342"/>
                    </a:lnTo>
                    <a:lnTo>
                      <a:pt x="2832" y="342"/>
                    </a:lnTo>
                    <a:close/>
                    <a:moveTo>
                      <a:pt x="3012" y="564"/>
                    </a:moveTo>
                    <a:lnTo>
                      <a:pt x="2988" y="540"/>
                    </a:lnTo>
                    <a:lnTo>
                      <a:pt x="2958" y="540"/>
                    </a:lnTo>
                    <a:lnTo>
                      <a:pt x="2952" y="534"/>
                    </a:lnTo>
                    <a:lnTo>
                      <a:pt x="2946" y="534"/>
                    </a:lnTo>
                    <a:lnTo>
                      <a:pt x="2934" y="528"/>
                    </a:lnTo>
                    <a:lnTo>
                      <a:pt x="2916" y="528"/>
                    </a:lnTo>
                    <a:lnTo>
                      <a:pt x="2898" y="534"/>
                    </a:lnTo>
                    <a:lnTo>
                      <a:pt x="2892" y="540"/>
                    </a:lnTo>
                    <a:lnTo>
                      <a:pt x="2892" y="552"/>
                    </a:lnTo>
                    <a:lnTo>
                      <a:pt x="2928" y="570"/>
                    </a:lnTo>
                    <a:lnTo>
                      <a:pt x="2934" y="576"/>
                    </a:lnTo>
                    <a:lnTo>
                      <a:pt x="2946" y="582"/>
                    </a:lnTo>
                    <a:lnTo>
                      <a:pt x="3012" y="564"/>
                    </a:lnTo>
                    <a:close/>
                    <a:moveTo>
                      <a:pt x="2460" y="414"/>
                    </a:moveTo>
                    <a:lnTo>
                      <a:pt x="2442" y="420"/>
                    </a:lnTo>
                    <a:lnTo>
                      <a:pt x="2430" y="426"/>
                    </a:lnTo>
                    <a:lnTo>
                      <a:pt x="2430" y="438"/>
                    </a:lnTo>
                    <a:lnTo>
                      <a:pt x="2442" y="438"/>
                    </a:lnTo>
                    <a:lnTo>
                      <a:pt x="2472" y="432"/>
                    </a:lnTo>
                    <a:lnTo>
                      <a:pt x="2490" y="426"/>
                    </a:lnTo>
                    <a:lnTo>
                      <a:pt x="2502" y="420"/>
                    </a:lnTo>
                    <a:lnTo>
                      <a:pt x="2502" y="414"/>
                    </a:lnTo>
                    <a:lnTo>
                      <a:pt x="2496" y="408"/>
                    </a:lnTo>
                    <a:lnTo>
                      <a:pt x="2484" y="408"/>
                    </a:lnTo>
                    <a:lnTo>
                      <a:pt x="2460" y="414"/>
                    </a:lnTo>
                    <a:close/>
                    <a:moveTo>
                      <a:pt x="2970" y="858"/>
                    </a:moveTo>
                    <a:lnTo>
                      <a:pt x="2988" y="858"/>
                    </a:lnTo>
                    <a:lnTo>
                      <a:pt x="3006" y="864"/>
                    </a:lnTo>
                    <a:lnTo>
                      <a:pt x="3018" y="870"/>
                    </a:lnTo>
                    <a:lnTo>
                      <a:pt x="3036" y="876"/>
                    </a:lnTo>
                    <a:lnTo>
                      <a:pt x="3060" y="882"/>
                    </a:lnTo>
                    <a:lnTo>
                      <a:pt x="3096" y="882"/>
                    </a:lnTo>
                    <a:lnTo>
                      <a:pt x="3126" y="876"/>
                    </a:lnTo>
                    <a:lnTo>
                      <a:pt x="3138" y="876"/>
                    </a:lnTo>
                    <a:lnTo>
                      <a:pt x="3120" y="810"/>
                    </a:lnTo>
                    <a:lnTo>
                      <a:pt x="3018" y="792"/>
                    </a:lnTo>
                    <a:lnTo>
                      <a:pt x="2988" y="828"/>
                    </a:lnTo>
                    <a:lnTo>
                      <a:pt x="2958" y="828"/>
                    </a:lnTo>
                    <a:lnTo>
                      <a:pt x="2952" y="834"/>
                    </a:lnTo>
                    <a:lnTo>
                      <a:pt x="2952" y="846"/>
                    </a:lnTo>
                    <a:lnTo>
                      <a:pt x="2958" y="852"/>
                    </a:lnTo>
                    <a:lnTo>
                      <a:pt x="2970" y="858"/>
                    </a:lnTo>
                    <a:close/>
                    <a:moveTo>
                      <a:pt x="168" y="2034"/>
                    </a:moveTo>
                    <a:lnTo>
                      <a:pt x="168" y="2040"/>
                    </a:lnTo>
                    <a:lnTo>
                      <a:pt x="174" y="2046"/>
                    </a:lnTo>
                    <a:lnTo>
                      <a:pt x="192" y="2046"/>
                    </a:lnTo>
                    <a:lnTo>
                      <a:pt x="186" y="2070"/>
                    </a:lnTo>
                    <a:lnTo>
                      <a:pt x="216" y="2052"/>
                    </a:lnTo>
                    <a:lnTo>
                      <a:pt x="216" y="2028"/>
                    </a:lnTo>
                    <a:lnTo>
                      <a:pt x="174" y="2028"/>
                    </a:lnTo>
                    <a:lnTo>
                      <a:pt x="168" y="2034"/>
                    </a:lnTo>
                    <a:close/>
                    <a:moveTo>
                      <a:pt x="252" y="2298"/>
                    </a:moveTo>
                    <a:lnTo>
                      <a:pt x="252" y="2292"/>
                    </a:lnTo>
                    <a:lnTo>
                      <a:pt x="246" y="2286"/>
                    </a:lnTo>
                    <a:lnTo>
                      <a:pt x="246" y="2268"/>
                    </a:lnTo>
                    <a:lnTo>
                      <a:pt x="252" y="2256"/>
                    </a:lnTo>
                    <a:lnTo>
                      <a:pt x="252" y="2238"/>
                    </a:lnTo>
                    <a:lnTo>
                      <a:pt x="246" y="2226"/>
                    </a:lnTo>
                    <a:lnTo>
                      <a:pt x="228" y="2226"/>
                    </a:lnTo>
                    <a:lnTo>
                      <a:pt x="216" y="2220"/>
                    </a:lnTo>
                    <a:lnTo>
                      <a:pt x="204" y="2220"/>
                    </a:lnTo>
                    <a:lnTo>
                      <a:pt x="192" y="2214"/>
                    </a:lnTo>
                    <a:lnTo>
                      <a:pt x="186" y="2208"/>
                    </a:lnTo>
                    <a:lnTo>
                      <a:pt x="174" y="2202"/>
                    </a:lnTo>
                    <a:lnTo>
                      <a:pt x="150" y="2178"/>
                    </a:lnTo>
                    <a:lnTo>
                      <a:pt x="138" y="2172"/>
                    </a:lnTo>
                    <a:lnTo>
                      <a:pt x="126" y="2172"/>
                    </a:lnTo>
                    <a:lnTo>
                      <a:pt x="102" y="2184"/>
                    </a:lnTo>
                    <a:lnTo>
                      <a:pt x="96" y="2196"/>
                    </a:lnTo>
                    <a:lnTo>
                      <a:pt x="96" y="2202"/>
                    </a:lnTo>
                    <a:lnTo>
                      <a:pt x="108" y="2208"/>
                    </a:lnTo>
                    <a:lnTo>
                      <a:pt x="114" y="2214"/>
                    </a:lnTo>
                    <a:lnTo>
                      <a:pt x="120" y="2214"/>
                    </a:lnTo>
                    <a:lnTo>
                      <a:pt x="132" y="2202"/>
                    </a:lnTo>
                    <a:lnTo>
                      <a:pt x="144" y="2208"/>
                    </a:lnTo>
                    <a:lnTo>
                      <a:pt x="132" y="2220"/>
                    </a:lnTo>
                    <a:lnTo>
                      <a:pt x="120" y="2220"/>
                    </a:lnTo>
                    <a:lnTo>
                      <a:pt x="114" y="2226"/>
                    </a:lnTo>
                    <a:lnTo>
                      <a:pt x="102" y="2232"/>
                    </a:lnTo>
                    <a:lnTo>
                      <a:pt x="102" y="2244"/>
                    </a:lnTo>
                    <a:lnTo>
                      <a:pt x="108" y="2250"/>
                    </a:lnTo>
                    <a:lnTo>
                      <a:pt x="126" y="2250"/>
                    </a:lnTo>
                    <a:lnTo>
                      <a:pt x="138" y="2244"/>
                    </a:lnTo>
                    <a:lnTo>
                      <a:pt x="132" y="2262"/>
                    </a:lnTo>
                    <a:lnTo>
                      <a:pt x="150" y="2262"/>
                    </a:lnTo>
                    <a:lnTo>
                      <a:pt x="132" y="2280"/>
                    </a:lnTo>
                    <a:lnTo>
                      <a:pt x="168" y="2274"/>
                    </a:lnTo>
                    <a:lnTo>
                      <a:pt x="156" y="2280"/>
                    </a:lnTo>
                    <a:lnTo>
                      <a:pt x="144" y="2292"/>
                    </a:lnTo>
                    <a:lnTo>
                      <a:pt x="138" y="2292"/>
                    </a:lnTo>
                    <a:lnTo>
                      <a:pt x="138" y="2298"/>
                    </a:lnTo>
                    <a:lnTo>
                      <a:pt x="150" y="2298"/>
                    </a:lnTo>
                    <a:lnTo>
                      <a:pt x="162" y="2286"/>
                    </a:lnTo>
                    <a:lnTo>
                      <a:pt x="168" y="2286"/>
                    </a:lnTo>
                    <a:lnTo>
                      <a:pt x="174" y="2292"/>
                    </a:lnTo>
                    <a:lnTo>
                      <a:pt x="174" y="2304"/>
                    </a:lnTo>
                    <a:lnTo>
                      <a:pt x="162" y="2316"/>
                    </a:lnTo>
                    <a:lnTo>
                      <a:pt x="162" y="2328"/>
                    </a:lnTo>
                    <a:lnTo>
                      <a:pt x="210" y="2328"/>
                    </a:lnTo>
                    <a:lnTo>
                      <a:pt x="228" y="2316"/>
                    </a:lnTo>
                    <a:lnTo>
                      <a:pt x="210" y="2340"/>
                    </a:lnTo>
                    <a:lnTo>
                      <a:pt x="192" y="2340"/>
                    </a:lnTo>
                    <a:lnTo>
                      <a:pt x="186" y="2346"/>
                    </a:lnTo>
                    <a:lnTo>
                      <a:pt x="186" y="2352"/>
                    </a:lnTo>
                    <a:lnTo>
                      <a:pt x="210" y="2364"/>
                    </a:lnTo>
                    <a:lnTo>
                      <a:pt x="216" y="2364"/>
                    </a:lnTo>
                    <a:lnTo>
                      <a:pt x="228" y="2370"/>
                    </a:lnTo>
                    <a:lnTo>
                      <a:pt x="234" y="2376"/>
                    </a:lnTo>
                    <a:lnTo>
                      <a:pt x="246" y="2376"/>
                    </a:lnTo>
                    <a:lnTo>
                      <a:pt x="258" y="2382"/>
                    </a:lnTo>
                    <a:lnTo>
                      <a:pt x="270" y="2376"/>
                    </a:lnTo>
                    <a:lnTo>
                      <a:pt x="288" y="2358"/>
                    </a:lnTo>
                    <a:lnTo>
                      <a:pt x="294" y="2346"/>
                    </a:lnTo>
                    <a:lnTo>
                      <a:pt x="294" y="2340"/>
                    </a:lnTo>
                    <a:lnTo>
                      <a:pt x="288" y="2334"/>
                    </a:lnTo>
                    <a:lnTo>
                      <a:pt x="282" y="2322"/>
                    </a:lnTo>
                    <a:lnTo>
                      <a:pt x="270" y="2316"/>
                    </a:lnTo>
                    <a:lnTo>
                      <a:pt x="264" y="2304"/>
                    </a:lnTo>
                    <a:lnTo>
                      <a:pt x="252" y="2298"/>
                    </a:lnTo>
                    <a:close/>
                    <a:moveTo>
                      <a:pt x="2304" y="372"/>
                    </a:moveTo>
                    <a:lnTo>
                      <a:pt x="2316" y="372"/>
                    </a:lnTo>
                    <a:lnTo>
                      <a:pt x="2328" y="366"/>
                    </a:lnTo>
                    <a:lnTo>
                      <a:pt x="2376" y="366"/>
                    </a:lnTo>
                    <a:lnTo>
                      <a:pt x="2388" y="378"/>
                    </a:lnTo>
                    <a:lnTo>
                      <a:pt x="2388" y="390"/>
                    </a:lnTo>
                    <a:lnTo>
                      <a:pt x="2424" y="390"/>
                    </a:lnTo>
                    <a:lnTo>
                      <a:pt x="2442" y="384"/>
                    </a:lnTo>
                    <a:lnTo>
                      <a:pt x="2454" y="384"/>
                    </a:lnTo>
                    <a:lnTo>
                      <a:pt x="2466" y="390"/>
                    </a:lnTo>
                    <a:lnTo>
                      <a:pt x="2472" y="396"/>
                    </a:lnTo>
                    <a:lnTo>
                      <a:pt x="2490" y="396"/>
                    </a:lnTo>
                    <a:lnTo>
                      <a:pt x="2514" y="384"/>
                    </a:lnTo>
                    <a:lnTo>
                      <a:pt x="2520" y="372"/>
                    </a:lnTo>
                    <a:lnTo>
                      <a:pt x="2520" y="354"/>
                    </a:lnTo>
                    <a:lnTo>
                      <a:pt x="2550" y="354"/>
                    </a:lnTo>
                    <a:lnTo>
                      <a:pt x="2616" y="336"/>
                    </a:lnTo>
                    <a:lnTo>
                      <a:pt x="2580" y="366"/>
                    </a:lnTo>
                    <a:lnTo>
                      <a:pt x="2634" y="378"/>
                    </a:lnTo>
                    <a:lnTo>
                      <a:pt x="2688" y="354"/>
                    </a:lnTo>
                    <a:lnTo>
                      <a:pt x="2784" y="312"/>
                    </a:lnTo>
                    <a:lnTo>
                      <a:pt x="2778" y="312"/>
                    </a:lnTo>
                    <a:lnTo>
                      <a:pt x="2772" y="306"/>
                    </a:lnTo>
                    <a:lnTo>
                      <a:pt x="2754" y="300"/>
                    </a:lnTo>
                    <a:lnTo>
                      <a:pt x="2736" y="300"/>
                    </a:lnTo>
                    <a:lnTo>
                      <a:pt x="2724" y="294"/>
                    </a:lnTo>
                    <a:lnTo>
                      <a:pt x="2706" y="288"/>
                    </a:lnTo>
                    <a:lnTo>
                      <a:pt x="2676" y="288"/>
                    </a:lnTo>
                    <a:lnTo>
                      <a:pt x="2646" y="282"/>
                    </a:lnTo>
                    <a:lnTo>
                      <a:pt x="2604" y="282"/>
                    </a:lnTo>
                    <a:lnTo>
                      <a:pt x="2526" y="294"/>
                    </a:lnTo>
                    <a:lnTo>
                      <a:pt x="2526" y="318"/>
                    </a:lnTo>
                    <a:lnTo>
                      <a:pt x="2406" y="324"/>
                    </a:lnTo>
                    <a:lnTo>
                      <a:pt x="2400" y="324"/>
                    </a:lnTo>
                    <a:lnTo>
                      <a:pt x="2394" y="318"/>
                    </a:lnTo>
                    <a:lnTo>
                      <a:pt x="2334" y="318"/>
                    </a:lnTo>
                    <a:lnTo>
                      <a:pt x="2322" y="324"/>
                    </a:lnTo>
                    <a:lnTo>
                      <a:pt x="2310" y="324"/>
                    </a:lnTo>
                    <a:lnTo>
                      <a:pt x="2304" y="330"/>
                    </a:lnTo>
                    <a:lnTo>
                      <a:pt x="2304" y="372"/>
                    </a:lnTo>
                    <a:close/>
                    <a:moveTo>
                      <a:pt x="150" y="1980"/>
                    </a:moveTo>
                    <a:lnTo>
                      <a:pt x="162" y="2004"/>
                    </a:lnTo>
                    <a:lnTo>
                      <a:pt x="174" y="2010"/>
                    </a:lnTo>
                    <a:lnTo>
                      <a:pt x="186" y="1980"/>
                    </a:lnTo>
                    <a:lnTo>
                      <a:pt x="180" y="1974"/>
                    </a:lnTo>
                    <a:lnTo>
                      <a:pt x="174" y="1974"/>
                    </a:lnTo>
                    <a:lnTo>
                      <a:pt x="162" y="1968"/>
                    </a:lnTo>
                    <a:lnTo>
                      <a:pt x="156" y="1968"/>
                    </a:lnTo>
                    <a:lnTo>
                      <a:pt x="150" y="1974"/>
                    </a:lnTo>
                    <a:lnTo>
                      <a:pt x="150" y="1980"/>
                    </a:lnTo>
                    <a:close/>
                    <a:moveTo>
                      <a:pt x="126" y="1932"/>
                    </a:moveTo>
                    <a:lnTo>
                      <a:pt x="120" y="1932"/>
                    </a:lnTo>
                    <a:lnTo>
                      <a:pt x="108" y="1938"/>
                    </a:lnTo>
                    <a:lnTo>
                      <a:pt x="96" y="1938"/>
                    </a:lnTo>
                    <a:lnTo>
                      <a:pt x="84" y="1944"/>
                    </a:lnTo>
                    <a:lnTo>
                      <a:pt x="78" y="1944"/>
                    </a:lnTo>
                    <a:lnTo>
                      <a:pt x="78" y="1950"/>
                    </a:lnTo>
                    <a:lnTo>
                      <a:pt x="72" y="1962"/>
                    </a:lnTo>
                    <a:lnTo>
                      <a:pt x="66" y="1968"/>
                    </a:lnTo>
                    <a:lnTo>
                      <a:pt x="48" y="1968"/>
                    </a:lnTo>
                    <a:lnTo>
                      <a:pt x="42" y="1962"/>
                    </a:lnTo>
                    <a:lnTo>
                      <a:pt x="48" y="1956"/>
                    </a:lnTo>
                    <a:lnTo>
                      <a:pt x="60" y="1956"/>
                    </a:lnTo>
                    <a:lnTo>
                      <a:pt x="66" y="1950"/>
                    </a:lnTo>
                    <a:lnTo>
                      <a:pt x="72" y="1950"/>
                    </a:lnTo>
                    <a:lnTo>
                      <a:pt x="78" y="1944"/>
                    </a:lnTo>
                    <a:lnTo>
                      <a:pt x="84" y="1944"/>
                    </a:lnTo>
                    <a:lnTo>
                      <a:pt x="78" y="1938"/>
                    </a:lnTo>
                    <a:lnTo>
                      <a:pt x="54" y="1938"/>
                    </a:lnTo>
                    <a:lnTo>
                      <a:pt x="48" y="1944"/>
                    </a:lnTo>
                    <a:lnTo>
                      <a:pt x="48" y="1932"/>
                    </a:lnTo>
                    <a:lnTo>
                      <a:pt x="36" y="1932"/>
                    </a:lnTo>
                    <a:lnTo>
                      <a:pt x="24" y="1944"/>
                    </a:lnTo>
                    <a:lnTo>
                      <a:pt x="6" y="1980"/>
                    </a:lnTo>
                    <a:lnTo>
                      <a:pt x="6" y="2004"/>
                    </a:lnTo>
                    <a:lnTo>
                      <a:pt x="12" y="2004"/>
                    </a:lnTo>
                    <a:lnTo>
                      <a:pt x="12" y="2010"/>
                    </a:lnTo>
                    <a:lnTo>
                      <a:pt x="18" y="2016"/>
                    </a:lnTo>
                    <a:lnTo>
                      <a:pt x="0" y="2022"/>
                    </a:lnTo>
                    <a:lnTo>
                      <a:pt x="12" y="2076"/>
                    </a:lnTo>
                    <a:lnTo>
                      <a:pt x="12" y="2082"/>
                    </a:lnTo>
                    <a:lnTo>
                      <a:pt x="6" y="2082"/>
                    </a:lnTo>
                    <a:lnTo>
                      <a:pt x="12" y="2088"/>
                    </a:lnTo>
                    <a:lnTo>
                      <a:pt x="12" y="2094"/>
                    </a:lnTo>
                    <a:lnTo>
                      <a:pt x="30" y="2094"/>
                    </a:lnTo>
                    <a:lnTo>
                      <a:pt x="30" y="2070"/>
                    </a:lnTo>
                    <a:lnTo>
                      <a:pt x="24" y="2058"/>
                    </a:lnTo>
                    <a:lnTo>
                      <a:pt x="24" y="2040"/>
                    </a:lnTo>
                    <a:lnTo>
                      <a:pt x="36" y="2028"/>
                    </a:lnTo>
                    <a:lnTo>
                      <a:pt x="42" y="2028"/>
                    </a:lnTo>
                    <a:lnTo>
                      <a:pt x="48" y="2016"/>
                    </a:lnTo>
                    <a:lnTo>
                      <a:pt x="54" y="2010"/>
                    </a:lnTo>
                    <a:lnTo>
                      <a:pt x="54" y="1986"/>
                    </a:lnTo>
                    <a:lnTo>
                      <a:pt x="84" y="1956"/>
                    </a:lnTo>
                    <a:lnTo>
                      <a:pt x="108" y="1944"/>
                    </a:lnTo>
                    <a:lnTo>
                      <a:pt x="114" y="1944"/>
                    </a:lnTo>
                    <a:lnTo>
                      <a:pt x="126" y="1938"/>
                    </a:lnTo>
                    <a:lnTo>
                      <a:pt x="126" y="1932"/>
                    </a:lnTo>
                    <a:close/>
                    <a:moveTo>
                      <a:pt x="1896" y="678"/>
                    </a:moveTo>
                    <a:lnTo>
                      <a:pt x="1896" y="690"/>
                    </a:lnTo>
                    <a:lnTo>
                      <a:pt x="1884" y="702"/>
                    </a:lnTo>
                    <a:lnTo>
                      <a:pt x="1884" y="714"/>
                    </a:lnTo>
                    <a:lnTo>
                      <a:pt x="1902" y="714"/>
                    </a:lnTo>
                    <a:lnTo>
                      <a:pt x="1926" y="708"/>
                    </a:lnTo>
                    <a:lnTo>
                      <a:pt x="1944" y="708"/>
                    </a:lnTo>
                    <a:lnTo>
                      <a:pt x="1980" y="696"/>
                    </a:lnTo>
                    <a:lnTo>
                      <a:pt x="1986" y="690"/>
                    </a:lnTo>
                    <a:lnTo>
                      <a:pt x="1992" y="690"/>
                    </a:lnTo>
                    <a:lnTo>
                      <a:pt x="2034" y="702"/>
                    </a:lnTo>
                    <a:lnTo>
                      <a:pt x="2112" y="642"/>
                    </a:lnTo>
                    <a:lnTo>
                      <a:pt x="2244" y="600"/>
                    </a:lnTo>
                    <a:lnTo>
                      <a:pt x="2370" y="564"/>
                    </a:lnTo>
                    <a:lnTo>
                      <a:pt x="2466" y="546"/>
                    </a:lnTo>
                    <a:lnTo>
                      <a:pt x="2454" y="540"/>
                    </a:lnTo>
                    <a:lnTo>
                      <a:pt x="2448" y="528"/>
                    </a:lnTo>
                    <a:lnTo>
                      <a:pt x="2436" y="522"/>
                    </a:lnTo>
                    <a:lnTo>
                      <a:pt x="2424" y="510"/>
                    </a:lnTo>
                    <a:lnTo>
                      <a:pt x="2412" y="504"/>
                    </a:lnTo>
                    <a:lnTo>
                      <a:pt x="2400" y="492"/>
                    </a:lnTo>
                    <a:lnTo>
                      <a:pt x="2352" y="492"/>
                    </a:lnTo>
                    <a:lnTo>
                      <a:pt x="2340" y="498"/>
                    </a:lnTo>
                    <a:lnTo>
                      <a:pt x="2328" y="498"/>
                    </a:lnTo>
                    <a:lnTo>
                      <a:pt x="2262" y="504"/>
                    </a:lnTo>
                    <a:lnTo>
                      <a:pt x="2226" y="480"/>
                    </a:lnTo>
                    <a:lnTo>
                      <a:pt x="2142" y="486"/>
                    </a:lnTo>
                    <a:lnTo>
                      <a:pt x="2094" y="504"/>
                    </a:lnTo>
                    <a:lnTo>
                      <a:pt x="2076" y="522"/>
                    </a:lnTo>
                    <a:lnTo>
                      <a:pt x="2064" y="552"/>
                    </a:lnTo>
                    <a:lnTo>
                      <a:pt x="2010" y="564"/>
                    </a:lnTo>
                    <a:lnTo>
                      <a:pt x="1944" y="588"/>
                    </a:lnTo>
                    <a:lnTo>
                      <a:pt x="1962" y="600"/>
                    </a:lnTo>
                    <a:lnTo>
                      <a:pt x="1842" y="654"/>
                    </a:lnTo>
                    <a:lnTo>
                      <a:pt x="1854" y="654"/>
                    </a:lnTo>
                    <a:lnTo>
                      <a:pt x="1890" y="672"/>
                    </a:lnTo>
                    <a:lnTo>
                      <a:pt x="1896" y="678"/>
                    </a:lnTo>
                    <a:close/>
                    <a:moveTo>
                      <a:pt x="198" y="1968"/>
                    </a:moveTo>
                    <a:lnTo>
                      <a:pt x="192" y="1992"/>
                    </a:lnTo>
                    <a:lnTo>
                      <a:pt x="192" y="2010"/>
                    </a:lnTo>
                    <a:lnTo>
                      <a:pt x="216" y="1998"/>
                    </a:lnTo>
                    <a:lnTo>
                      <a:pt x="198" y="1968"/>
                    </a:lnTo>
                    <a:close/>
                    <a:moveTo>
                      <a:pt x="4182" y="600"/>
                    </a:moveTo>
                    <a:lnTo>
                      <a:pt x="4194" y="606"/>
                    </a:lnTo>
                    <a:lnTo>
                      <a:pt x="4206" y="600"/>
                    </a:lnTo>
                    <a:lnTo>
                      <a:pt x="4218" y="600"/>
                    </a:lnTo>
                    <a:lnTo>
                      <a:pt x="4242" y="588"/>
                    </a:lnTo>
                    <a:lnTo>
                      <a:pt x="4308" y="588"/>
                    </a:lnTo>
                    <a:lnTo>
                      <a:pt x="4314" y="594"/>
                    </a:lnTo>
                    <a:lnTo>
                      <a:pt x="4350" y="594"/>
                    </a:lnTo>
                    <a:lnTo>
                      <a:pt x="4356" y="588"/>
                    </a:lnTo>
                    <a:lnTo>
                      <a:pt x="4356" y="582"/>
                    </a:lnTo>
                    <a:lnTo>
                      <a:pt x="4344" y="558"/>
                    </a:lnTo>
                    <a:lnTo>
                      <a:pt x="4338" y="552"/>
                    </a:lnTo>
                    <a:lnTo>
                      <a:pt x="4326" y="546"/>
                    </a:lnTo>
                    <a:lnTo>
                      <a:pt x="4230" y="546"/>
                    </a:lnTo>
                    <a:lnTo>
                      <a:pt x="4224" y="540"/>
                    </a:lnTo>
                    <a:lnTo>
                      <a:pt x="4212" y="540"/>
                    </a:lnTo>
                    <a:lnTo>
                      <a:pt x="4200" y="534"/>
                    </a:lnTo>
                    <a:lnTo>
                      <a:pt x="4188" y="534"/>
                    </a:lnTo>
                    <a:lnTo>
                      <a:pt x="4176" y="540"/>
                    </a:lnTo>
                    <a:lnTo>
                      <a:pt x="4158" y="558"/>
                    </a:lnTo>
                    <a:lnTo>
                      <a:pt x="4158" y="564"/>
                    </a:lnTo>
                    <a:lnTo>
                      <a:pt x="4176" y="576"/>
                    </a:lnTo>
                    <a:lnTo>
                      <a:pt x="4170" y="582"/>
                    </a:lnTo>
                    <a:lnTo>
                      <a:pt x="4170" y="594"/>
                    </a:lnTo>
                    <a:lnTo>
                      <a:pt x="4176" y="594"/>
                    </a:lnTo>
                    <a:lnTo>
                      <a:pt x="4182" y="600"/>
                    </a:lnTo>
                    <a:close/>
                    <a:moveTo>
                      <a:pt x="3708" y="516"/>
                    </a:moveTo>
                    <a:lnTo>
                      <a:pt x="3678" y="516"/>
                    </a:lnTo>
                    <a:lnTo>
                      <a:pt x="3624" y="510"/>
                    </a:lnTo>
                    <a:lnTo>
                      <a:pt x="3564" y="504"/>
                    </a:lnTo>
                    <a:lnTo>
                      <a:pt x="3468" y="504"/>
                    </a:lnTo>
                    <a:lnTo>
                      <a:pt x="3468" y="516"/>
                    </a:lnTo>
                    <a:lnTo>
                      <a:pt x="3462" y="522"/>
                    </a:lnTo>
                    <a:lnTo>
                      <a:pt x="3426" y="540"/>
                    </a:lnTo>
                    <a:lnTo>
                      <a:pt x="3396" y="546"/>
                    </a:lnTo>
                    <a:lnTo>
                      <a:pt x="3378" y="552"/>
                    </a:lnTo>
                    <a:lnTo>
                      <a:pt x="3372" y="552"/>
                    </a:lnTo>
                    <a:lnTo>
                      <a:pt x="3372" y="558"/>
                    </a:lnTo>
                    <a:lnTo>
                      <a:pt x="3384" y="570"/>
                    </a:lnTo>
                    <a:lnTo>
                      <a:pt x="3390" y="582"/>
                    </a:lnTo>
                    <a:lnTo>
                      <a:pt x="3390" y="594"/>
                    </a:lnTo>
                    <a:lnTo>
                      <a:pt x="3372" y="618"/>
                    </a:lnTo>
                    <a:lnTo>
                      <a:pt x="3402" y="636"/>
                    </a:lnTo>
                    <a:lnTo>
                      <a:pt x="3480" y="606"/>
                    </a:lnTo>
                    <a:lnTo>
                      <a:pt x="3474" y="600"/>
                    </a:lnTo>
                    <a:lnTo>
                      <a:pt x="3468" y="600"/>
                    </a:lnTo>
                    <a:lnTo>
                      <a:pt x="3468" y="594"/>
                    </a:lnTo>
                    <a:lnTo>
                      <a:pt x="3474" y="588"/>
                    </a:lnTo>
                    <a:lnTo>
                      <a:pt x="3486" y="582"/>
                    </a:lnTo>
                    <a:lnTo>
                      <a:pt x="3522" y="582"/>
                    </a:lnTo>
                    <a:lnTo>
                      <a:pt x="3546" y="594"/>
                    </a:lnTo>
                    <a:lnTo>
                      <a:pt x="3552" y="600"/>
                    </a:lnTo>
                    <a:lnTo>
                      <a:pt x="3606" y="594"/>
                    </a:lnTo>
                    <a:lnTo>
                      <a:pt x="3600" y="570"/>
                    </a:lnTo>
                    <a:lnTo>
                      <a:pt x="3630" y="570"/>
                    </a:lnTo>
                    <a:lnTo>
                      <a:pt x="3648" y="564"/>
                    </a:lnTo>
                    <a:lnTo>
                      <a:pt x="3666" y="564"/>
                    </a:lnTo>
                    <a:lnTo>
                      <a:pt x="3690" y="552"/>
                    </a:lnTo>
                    <a:lnTo>
                      <a:pt x="3696" y="546"/>
                    </a:lnTo>
                    <a:lnTo>
                      <a:pt x="3702" y="534"/>
                    </a:lnTo>
                    <a:lnTo>
                      <a:pt x="3714" y="522"/>
                    </a:lnTo>
                    <a:lnTo>
                      <a:pt x="3720" y="522"/>
                    </a:lnTo>
                    <a:lnTo>
                      <a:pt x="3714" y="516"/>
                    </a:lnTo>
                    <a:lnTo>
                      <a:pt x="3708" y="516"/>
                    </a:lnTo>
                    <a:close/>
                    <a:moveTo>
                      <a:pt x="3792" y="150"/>
                    </a:moveTo>
                    <a:lnTo>
                      <a:pt x="3738" y="156"/>
                    </a:lnTo>
                    <a:lnTo>
                      <a:pt x="3756" y="180"/>
                    </a:lnTo>
                    <a:lnTo>
                      <a:pt x="3792" y="150"/>
                    </a:lnTo>
                    <a:close/>
                    <a:moveTo>
                      <a:pt x="3612" y="480"/>
                    </a:moveTo>
                    <a:lnTo>
                      <a:pt x="3636" y="468"/>
                    </a:lnTo>
                    <a:lnTo>
                      <a:pt x="3642" y="456"/>
                    </a:lnTo>
                    <a:lnTo>
                      <a:pt x="3654" y="450"/>
                    </a:lnTo>
                    <a:lnTo>
                      <a:pt x="3660" y="438"/>
                    </a:lnTo>
                    <a:lnTo>
                      <a:pt x="3660" y="432"/>
                    </a:lnTo>
                    <a:lnTo>
                      <a:pt x="3654" y="426"/>
                    </a:lnTo>
                    <a:lnTo>
                      <a:pt x="3642" y="426"/>
                    </a:lnTo>
                    <a:lnTo>
                      <a:pt x="3630" y="420"/>
                    </a:lnTo>
                    <a:lnTo>
                      <a:pt x="3588" y="420"/>
                    </a:lnTo>
                    <a:lnTo>
                      <a:pt x="3570" y="426"/>
                    </a:lnTo>
                    <a:lnTo>
                      <a:pt x="3552" y="426"/>
                    </a:lnTo>
                    <a:lnTo>
                      <a:pt x="3534" y="438"/>
                    </a:lnTo>
                    <a:lnTo>
                      <a:pt x="3516" y="444"/>
                    </a:lnTo>
                    <a:lnTo>
                      <a:pt x="3504" y="450"/>
                    </a:lnTo>
                    <a:lnTo>
                      <a:pt x="3504" y="462"/>
                    </a:lnTo>
                    <a:lnTo>
                      <a:pt x="3528" y="468"/>
                    </a:lnTo>
                    <a:lnTo>
                      <a:pt x="3600" y="480"/>
                    </a:lnTo>
                    <a:lnTo>
                      <a:pt x="3612" y="480"/>
                    </a:lnTo>
                    <a:close/>
                    <a:moveTo>
                      <a:pt x="3954" y="180"/>
                    </a:moveTo>
                    <a:lnTo>
                      <a:pt x="3900" y="192"/>
                    </a:lnTo>
                    <a:lnTo>
                      <a:pt x="3936" y="210"/>
                    </a:lnTo>
                    <a:lnTo>
                      <a:pt x="3924" y="216"/>
                    </a:lnTo>
                    <a:lnTo>
                      <a:pt x="3918" y="222"/>
                    </a:lnTo>
                    <a:lnTo>
                      <a:pt x="3918" y="228"/>
                    </a:lnTo>
                    <a:lnTo>
                      <a:pt x="3924" y="234"/>
                    </a:lnTo>
                    <a:lnTo>
                      <a:pt x="3936" y="240"/>
                    </a:lnTo>
                    <a:lnTo>
                      <a:pt x="3966" y="240"/>
                    </a:lnTo>
                    <a:lnTo>
                      <a:pt x="3942" y="252"/>
                    </a:lnTo>
                    <a:lnTo>
                      <a:pt x="3954" y="252"/>
                    </a:lnTo>
                    <a:lnTo>
                      <a:pt x="4002" y="276"/>
                    </a:lnTo>
                    <a:lnTo>
                      <a:pt x="4014" y="276"/>
                    </a:lnTo>
                    <a:lnTo>
                      <a:pt x="4026" y="270"/>
                    </a:lnTo>
                    <a:lnTo>
                      <a:pt x="4032" y="264"/>
                    </a:lnTo>
                    <a:lnTo>
                      <a:pt x="4044" y="258"/>
                    </a:lnTo>
                    <a:lnTo>
                      <a:pt x="4050" y="252"/>
                    </a:lnTo>
                    <a:lnTo>
                      <a:pt x="4074" y="246"/>
                    </a:lnTo>
                    <a:lnTo>
                      <a:pt x="4086" y="258"/>
                    </a:lnTo>
                    <a:lnTo>
                      <a:pt x="4092" y="270"/>
                    </a:lnTo>
                    <a:lnTo>
                      <a:pt x="4098" y="276"/>
                    </a:lnTo>
                    <a:lnTo>
                      <a:pt x="4104" y="270"/>
                    </a:lnTo>
                    <a:lnTo>
                      <a:pt x="4116" y="270"/>
                    </a:lnTo>
                    <a:lnTo>
                      <a:pt x="4128" y="264"/>
                    </a:lnTo>
                    <a:lnTo>
                      <a:pt x="4134" y="258"/>
                    </a:lnTo>
                    <a:lnTo>
                      <a:pt x="4146" y="258"/>
                    </a:lnTo>
                    <a:lnTo>
                      <a:pt x="4152" y="252"/>
                    </a:lnTo>
                    <a:lnTo>
                      <a:pt x="4158" y="252"/>
                    </a:lnTo>
                    <a:lnTo>
                      <a:pt x="4170" y="246"/>
                    </a:lnTo>
                    <a:lnTo>
                      <a:pt x="4176" y="234"/>
                    </a:lnTo>
                    <a:lnTo>
                      <a:pt x="4182" y="228"/>
                    </a:lnTo>
                    <a:lnTo>
                      <a:pt x="4194" y="246"/>
                    </a:lnTo>
                    <a:lnTo>
                      <a:pt x="4218" y="222"/>
                    </a:lnTo>
                    <a:lnTo>
                      <a:pt x="4218" y="216"/>
                    </a:lnTo>
                    <a:lnTo>
                      <a:pt x="4236" y="210"/>
                    </a:lnTo>
                    <a:lnTo>
                      <a:pt x="4326" y="210"/>
                    </a:lnTo>
                    <a:lnTo>
                      <a:pt x="4332" y="204"/>
                    </a:lnTo>
                    <a:lnTo>
                      <a:pt x="4332" y="192"/>
                    </a:lnTo>
                    <a:lnTo>
                      <a:pt x="4266" y="186"/>
                    </a:lnTo>
                    <a:lnTo>
                      <a:pt x="4302" y="174"/>
                    </a:lnTo>
                    <a:lnTo>
                      <a:pt x="4302" y="132"/>
                    </a:lnTo>
                    <a:lnTo>
                      <a:pt x="4278" y="132"/>
                    </a:lnTo>
                    <a:lnTo>
                      <a:pt x="4266" y="138"/>
                    </a:lnTo>
                    <a:lnTo>
                      <a:pt x="4260" y="144"/>
                    </a:lnTo>
                    <a:lnTo>
                      <a:pt x="4248" y="150"/>
                    </a:lnTo>
                    <a:lnTo>
                      <a:pt x="4242" y="126"/>
                    </a:lnTo>
                    <a:lnTo>
                      <a:pt x="4194" y="132"/>
                    </a:lnTo>
                    <a:lnTo>
                      <a:pt x="4194" y="120"/>
                    </a:lnTo>
                    <a:lnTo>
                      <a:pt x="4176" y="84"/>
                    </a:lnTo>
                    <a:lnTo>
                      <a:pt x="4140" y="84"/>
                    </a:lnTo>
                    <a:lnTo>
                      <a:pt x="4122" y="90"/>
                    </a:lnTo>
                    <a:lnTo>
                      <a:pt x="4110" y="96"/>
                    </a:lnTo>
                    <a:lnTo>
                      <a:pt x="4104" y="102"/>
                    </a:lnTo>
                    <a:lnTo>
                      <a:pt x="4098" y="102"/>
                    </a:lnTo>
                    <a:lnTo>
                      <a:pt x="4020" y="108"/>
                    </a:lnTo>
                    <a:lnTo>
                      <a:pt x="4044" y="126"/>
                    </a:lnTo>
                    <a:lnTo>
                      <a:pt x="3996" y="126"/>
                    </a:lnTo>
                    <a:lnTo>
                      <a:pt x="3984" y="132"/>
                    </a:lnTo>
                    <a:lnTo>
                      <a:pt x="3972" y="132"/>
                    </a:lnTo>
                    <a:lnTo>
                      <a:pt x="3966" y="138"/>
                    </a:lnTo>
                    <a:lnTo>
                      <a:pt x="3984" y="156"/>
                    </a:lnTo>
                    <a:lnTo>
                      <a:pt x="3972" y="156"/>
                    </a:lnTo>
                    <a:lnTo>
                      <a:pt x="3936" y="150"/>
                    </a:lnTo>
                    <a:lnTo>
                      <a:pt x="3906" y="156"/>
                    </a:lnTo>
                    <a:lnTo>
                      <a:pt x="3888" y="168"/>
                    </a:lnTo>
                    <a:lnTo>
                      <a:pt x="3888" y="174"/>
                    </a:lnTo>
                    <a:lnTo>
                      <a:pt x="3894" y="180"/>
                    </a:lnTo>
                    <a:lnTo>
                      <a:pt x="3954" y="180"/>
                    </a:lnTo>
                    <a:close/>
                    <a:moveTo>
                      <a:pt x="3972" y="294"/>
                    </a:moveTo>
                    <a:lnTo>
                      <a:pt x="3954" y="300"/>
                    </a:lnTo>
                    <a:lnTo>
                      <a:pt x="3942" y="306"/>
                    </a:lnTo>
                    <a:lnTo>
                      <a:pt x="3936" y="312"/>
                    </a:lnTo>
                    <a:lnTo>
                      <a:pt x="3936" y="318"/>
                    </a:lnTo>
                    <a:lnTo>
                      <a:pt x="3966" y="324"/>
                    </a:lnTo>
                    <a:lnTo>
                      <a:pt x="3972" y="324"/>
                    </a:lnTo>
                    <a:lnTo>
                      <a:pt x="3990" y="306"/>
                    </a:lnTo>
                    <a:lnTo>
                      <a:pt x="3990" y="300"/>
                    </a:lnTo>
                    <a:lnTo>
                      <a:pt x="3984" y="294"/>
                    </a:lnTo>
                    <a:lnTo>
                      <a:pt x="3972" y="294"/>
                    </a:lnTo>
                    <a:close/>
                    <a:moveTo>
                      <a:pt x="3738" y="336"/>
                    </a:moveTo>
                    <a:lnTo>
                      <a:pt x="3726" y="336"/>
                    </a:lnTo>
                    <a:lnTo>
                      <a:pt x="3720" y="330"/>
                    </a:lnTo>
                    <a:lnTo>
                      <a:pt x="3672" y="330"/>
                    </a:lnTo>
                    <a:lnTo>
                      <a:pt x="3636" y="336"/>
                    </a:lnTo>
                    <a:lnTo>
                      <a:pt x="3624" y="342"/>
                    </a:lnTo>
                    <a:lnTo>
                      <a:pt x="3642" y="360"/>
                    </a:lnTo>
                    <a:lnTo>
                      <a:pt x="3654" y="360"/>
                    </a:lnTo>
                    <a:lnTo>
                      <a:pt x="3660" y="378"/>
                    </a:lnTo>
                    <a:lnTo>
                      <a:pt x="3768" y="378"/>
                    </a:lnTo>
                    <a:lnTo>
                      <a:pt x="3768" y="390"/>
                    </a:lnTo>
                    <a:lnTo>
                      <a:pt x="3762" y="396"/>
                    </a:lnTo>
                    <a:lnTo>
                      <a:pt x="3762" y="408"/>
                    </a:lnTo>
                    <a:lnTo>
                      <a:pt x="3708" y="450"/>
                    </a:lnTo>
                    <a:lnTo>
                      <a:pt x="3732" y="456"/>
                    </a:lnTo>
                    <a:lnTo>
                      <a:pt x="3720" y="468"/>
                    </a:lnTo>
                    <a:lnTo>
                      <a:pt x="3714" y="468"/>
                    </a:lnTo>
                    <a:lnTo>
                      <a:pt x="3708" y="474"/>
                    </a:lnTo>
                    <a:lnTo>
                      <a:pt x="3708" y="480"/>
                    </a:lnTo>
                    <a:lnTo>
                      <a:pt x="3726" y="480"/>
                    </a:lnTo>
                    <a:lnTo>
                      <a:pt x="3738" y="474"/>
                    </a:lnTo>
                    <a:lnTo>
                      <a:pt x="3744" y="474"/>
                    </a:lnTo>
                    <a:lnTo>
                      <a:pt x="3756" y="468"/>
                    </a:lnTo>
                    <a:lnTo>
                      <a:pt x="3756" y="480"/>
                    </a:lnTo>
                    <a:lnTo>
                      <a:pt x="3792" y="480"/>
                    </a:lnTo>
                    <a:lnTo>
                      <a:pt x="3810" y="474"/>
                    </a:lnTo>
                    <a:lnTo>
                      <a:pt x="3822" y="468"/>
                    </a:lnTo>
                    <a:lnTo>
                      <a:pt x="3840" y="468"/>
                    </a:lnTo>
                    <a:lnTo>
                      <a:pt x="3846" y="462"/>
                    </a:lnTo>
                    <a:lnTo>
                      <a:pt x="3852" y="462"/>
                    </a:lnTo>
                    <a:lnTo>
                      <a:pt x="3858" y="486"/>
                    </a:lnTo>
                    <a:lnTo>
                      <a:pt x="3924" y="480"/>
                    </a:lnTo>
                    <a:lnTo>
                      <a:pt x="4002" y="498"/>
                    </a:lnTo>
                    <a:lnTo>
                      <a:pt x="4098" y="486"/>
                    </a:lnTo>
                    <a:lnTo>
                      <a:pt x="4128" y="468"/>
                    </a:lnTo>
                    <a:lnTo>
                      <a:pt x="4122" y="474"/>
                    </a:lnTo>
                    <a:lnTo>
                      <a:pt x="4122" y="486"/>
                    </a:lnTo>
                    <a:lnTo>
                      <a:pt x="4260" y="486"/>
                    </a:lnTo>
                    <a:lnTo>
                      <a:pt x="4272" y="468"/>
                    </a:lnTo>
                    <a:lnTo>
                      <a:pt x="4338" y="438"/>
                    </a:lnTo>
                    <a:lnTo>
                      <a:pt x="4320" y="432"/>
                    </a:lnTo>
                    <a:lnTo>
                      <a:pt x="4320" y="420"/>
                    </a:lnTo>
                    <a:lnTo>
                      <a:pt x="4314" y="420"/>
                    </a:lnTo>
                    <a:lnTo>
                      <a:pt x="4308" y="414"/>
                    </a:lnTo>
                    <a:lnTo>
                      <a:pt x="4290" y="414"/>
                    </a:lnTo>
                    <a:lnTo>
                      <a:pt x="4278" y="408"/>
                    </a:lnTo>
                    <a:lnTo>
                      <a:pt x="4260" y="408"/>
                    </a:lnTo>
                    <a:lnTo>
                      <a:pt x="4242" y="402"/>
                    </a:lnTo>
                    <a:lnTo>
                      <a:pt x="4206" y="402"/>
                    </a:lnTo>
                    <a:lnTo>
                      <a:pt x="4164" y="414"/>
                    </a:lnTo>
                    <a:lnTo>
                      <a:pt x="4116" y="420"/>
                    </a:lnTo>
                    <a:lnTo>
                      <a:pt x="4074" y="426"/>
                    </a:lnTo>
                    <a:lnTo>
                      <a:pt x="4038" y="438"/>
                    </a:lnTo>
                    <a:lnTo>
                      <a:pt x="4026" y="438"/>
                    </a:lnTo>
                    <a:lnTo>
                      <a:pt x="4014" y="432"/>
                    </a:lnTo>
                    <a:lnTo>
                      <a:pt x="4008" y="426"/>
                    </a:lnTo>
                    <a:lnTo>
                      <a:pt x="3996" y="420"/>
                    </a:lnTo>
                    <a:lnTo>
                      <a:pt x="3984" y="420"/>
                    </a:lnTo>
                    <a:lnTo>
                      <a:pt x="3972" y="426"/>
                    </a:lnTo>
                    <a:lnTo>
                      <a:pt x="3960" y="426"/>
                    </a:lnTo>
                    <a:lnTo>
                      <a:pt x="3948" y="432"/>
                    </a:lnTo>
                    <a:lnTo>
                      <a:pt x="3942" y="438"/>
                    </a:lnTo>
                    <a:lnTo>
                      <a:pt x="3936" y="438"/>
                    </a:lnTo>
                    <a:lnTo>
                      <a:pt x="3912" y="414"/>
                    </a:lnTo>
                    <a:lnTo>
                      <a:pt x="3894" y="426"/>
                    </a:lnTo>
                    <a:lnTo>
                      <a:pt x="3864" y="420"/>
                    </a:lnTo>
                    <a:lnTo>
                      <a:pt x="3894" y="408"/>
                    </a:lnTo>
                    <a:lnTo>
                      <a:pt x="3876" y="396"/>
                    </a:lnTo>
                    <a:lnTo>
                      <a:pt x="3822" y="408"/>
                    </a:lnTo>
                    <a:lnTo>
                      <a:pt x="3858" y="396"/>
                    </a:lnTo>
                    <a:lnTo>
                      <a:pt x="3858" y="390"/>
                    </a:lnTo>
                    <a:lnTo>
                      <a:pt x="3924" y="384"/>
                    </a:lnTo>
                    <a:lnTo>
                      <a:pt x="3888" y="372"/>
                    </a:lnTo>
                    <a:lnTo>
                      <a:pt x="3870" y="372"/>
                    </a:lnTo>
                    <a:lnTo>
                      <a:pt x="3876" y="366"/>
                    </a:lnTo>
                    <a:lnTo>
                      <a:pt x="3876" y="360"/>
                    </a:lnTo>
                    <a:lnTo>
                      <a:pt x="3870" y="354"/>
                    </a:lnTo>
                    <a:lnTo>
                      <a:pt x="3840" y="354"/>
                    </a:lnTo>
                    <a:lnTo>
                      <a:pt x="3822" y="360"/>
                    </a:lnTo>
                    <a:lnTo>
                      <a:pt x="3804" y="360"/>
                    </a:lnTo>
                    <a:lnTo>
                      <a:pt x="3786" y="366"/>
                    </a:lnTo>
                    <a:lnTo>
                      <a:pt x="3774" y="354"/>
                    </a:lnTo>
                    <a:lnTo>
                      <a:pt x="3762" y="348"/>
                    </a:lnTo>
                    <a:lnTo>
                      <a:pt x="3756" y="342"/>
                    </a:lnTo>
                    <a:lnTo>
                      <a:pt x="3744" y="336"/>
                    </a:lnTo>
                    <a:lnTo>
                      <a:pt x="3738" y="336"/>
                    </a:lnTo>
                    <a:close/>
                    <a:moveTo>
                      <a:pt x="3264" y="420"/>
                    </a:moveTo>
                    <a:lnTo>
                      <a:pt x="3282" y="420"/>
                    </a:lnTo>
                    <a:lnTo>
                      <a:pt x="3300" y="426"/>
                    </a:lnTo>
                    <a:lnTo>
                      <a:pt x="3318" y="426"/>
                    </a:lnTo>
                    <a:lnTo>
                      <a:pt x="3330" y="432"/>
                    </a:lnTo>
                    <a:lnTo>
                      <a:pt x="3342" y="432"/>
                    </a:lnTo>
                    <a:lnTo>
                      <a:pt x="3330" y="444"/>
                    </a:lnTo>
                    <a:lnTo>
                      <a:pt x="3324" y="444"/>
                    </a:lnTo>
                    <a:lnTo>
                      <a:pt x="3324" y="456"/>
                    </a:lnTo>
                    <a:lnTo>
                      <a:pt x="3438" y="456"/>
                    </a:lnTo>
                    <a:lnTo>
                      <a:pt x="3462" y="444"/>
                    </a:lnTo>
                    <a:lnTo>
                      <a:pt x="3462" y="432"/>
                    </a:lnTo>
                    <a:lnTo>
                      <a:pt x="3468" y="426"/>
                    </a:lnTo>
                    <a:lnTo>
                      <a:pt x="3480" y="426"/>
                    </a:lnTo>
                    <a:lnTo>
                      <a:pt x="3492" y="420"/>
                    </a:lnTo>
                    <a:lnTo>
                      <a:pt x="3504" y="420"/>
                    </a:lnTo>
                    <a:lnTo>
                      <a:pt x="3510" y="414"/>
                    </a:lnTo>
                    <a:lnTo>
                      <a:pt x="3510" y="408"/>
                    </a:lnTo>
                    <a:lnTo>
                      <a:pt x="3522" y="396"/>
                    </a:lnTo>
                    <a:lnTo>
                      <a:pt x="3534" y="390"/>
                    </a:lnTo>
                    <a:lnTo>
                      <a:pt x="3540" y="384"/>
                    </a:lnTo>
                    <a:lnTo>
                      <a:pt x="3552" y="378"/>
                    </a:lnTo>
                    <a:lnTo>
                      <a:pt x="3552" y="372"/>
                    </a:lnTo>
                    <a:lnTo>
                      <a:pt x="3546" y="366"/>
                    </a:lnTo>
                    <a:lnTo>
                      <a:pt x="3534" y="360"/>
                    </a:lnTo>
                    <a:lnTo>
                      <a:pt x="3510" y="360"/>
                    </a:lnTo>
                    <a:lnTo>
                      <a:pt x="3504" y="366"/>
                    </a:lnTo>
                    <a:lnTo>
                      <a:pt x="3492" y="366"/>
                    </a:lnTo>
                    <a:lnTo>
                      <a:pt x="3486" y="360"/>
                    </a:lnTo>
                    <a:lnTo>
                      <a:pt x="3474" y="360"/>
                    </a:lnTo>
                    <a:lnTo>
                      <a:pt x="3462" y="354"/>
                    </a:lnTo>
                    <a:lnTo>
                      <a:pt x="3450" y="354"/>
                    </a:lnTo>
                    <a:lnTo>
                      <a:pt x="3432" y="348"/>
                    </a:lnTo>
                    <a:lnTo>
                      <a:pt x="3426" y="354"/>
                    </a:lnTo>
                    <a:lnTo>
                      <a:pt x="3420" y="354"/>
                    </a:lnTo>
                    <a:lnTo>
                      <a:pt x="3414" y="366"/>
                    </a:lnTo>
                    <a:lnTo>
                      <a:pt x="3414" y="396"/>
                    </a:lnTo>
                    <a:lnTo>
                      <a:pt x="3396" y="378"/>
                    </a:lnTo>
                    <a:lnTo>
                      <a:pt x="3384" y="372"/>
                    </a:lnTo>
                    <a:lnTo>
                      <a:pt x="3366" y="372"/>
                    </a:lnTo>
                    <a:lnTo>
                      <a:pt x="3354" y="384"/>
                    </a:lnTo>
                    <a:lnTo>
                      <a:pt x="3348" y="396"/>
                    </a:lnTo>
                    <a:lnTo>
                      <a:pt x="3330" y="414"/>
                    </a:lnTo>
                    <a:lnTo>
                      <a:pt x="3324" y="414"/>
                    </a:lnTo>
                    <a:lnTo>
                      <a:pt x="3300" y="366"/>
                    </a:lnTo>
                    <a:lnTo>
                      <a:pt x="3288" y="360"/>
                    </a:lnTo>
                    <a:lnTo>
                      <a:pt x="3258" y="360"/>
                    </a:lnTo>
                    <a:lnTo>
                      <a:pt x="3246" y="366"/>
                    </a:lnTo>
                    <a:lnTo>
                      <a:pt x="3240" y="372"/>
                    </a:lnTo>
                    <a:lnTo>
                      <a:pt x="3240" y="396"/>
                    </a:lnTo>
                    <a:lnTo>
                      <a:pt x="3246" y="408"/>
                    </a:lnTo>
                    <a:lnTo>
                      <a:pt x="3258" y="414"/>
                    </a:lnTo>
                    <a:lnTo>
                      <a:pt x="3264" y="420"/>
                    </a:lnTo>
                    <a:close/>
                    <a:moveTo>
                      <a:pt x="3720" y="288"/>
                    </a:moveTo>
                    <a:lnTo>
                      <a:pt x="3726" y="288"/>
                    </a:lnTo>
                    <a:lnTo>
                      <a:pt x="3732" y="294"/>
                    </a:lnTo>
                    <a:lnTo>
                      <a:pt x="3738" y="306"/>
                    </a:lnTo>
                    <a:lnTo>
                      <a:pt x="3768" y="306"/>
                    </a:lnTo>
                    <a:lnTo>
                      <a:pt x="3780" y="300"/>
                    </a:lnTo>
                    <a:lnTo>
                      <a:pt x="3834" y="300"/>
                    </a:lnTo>
                    <a:lnTo>
                      <a:pt x="3834" y="294"/>
                    </a:lnTo>
                    <a:lnTo>
                      <a:pt x="3828" y="294"/>
                    </a:lnTo>
                    <a:lnTo>
                      <a:pt x="3822" y="288"/>
                    </a:lnTo>
                    <a:lnTo>
                      <a:pt x="3810" y="288"/>
                    </a:lnTo>
                    <a:lnTo>
                      <a:pt x="3804" y="282"/>
                    </a:lnTo>
                    <a:lnTo>
                      <a:pt x="3792" y="282"/>
                    </a:lnTo>
                    <a:lnTo>
                      <a:pt x="3804" y="270"/>
                    </a:lnTo>
                    <a:lnTo>
                      <a:pt x="3816" y="264"/>
                    </a:lnTo>
                    <a:lnTo>
                      <a:pt x="3822" y="264"/>
                    </a:lnTo>
                    <a:lnTo>
                      <a:pt x="3828" y="258"/>
                    </a:lnTo>
                    <a:lnTo>
                      <a:pt x="3822" y="258"/>
                    </a:lnTo>
                    <a:lnTo>
                      <a:pt x="3810" y="252"/>
                    </a:lnTo>
                    <a:lnTo>
                      <a:pt x="3738" y="228"/>
                    </a:lnTo>
                    <a:lnTo>
                      <a:pt x="3732" y="228"/>
                    </a:lnTo>
                    <a:lnTo>
                      <a:pt x="3726" y="234"/>
                    </a:lnTo>
                    <a:lnTo>
                      <a:pt x="3714" y="240"/>
                    </a:lnTo>
                    <a:lnTo>
                      <a:pt x="3702" y="240"/>
                    </a:lnTo>
                    <a:lnTo>
                      <a:pt x="3690" y="252"/>
                    </a:lnTo>
                    <a:lnTo>
                      <a:pt x="3690" y="258"/>
                    </a:lnTo>
                    <a:lnTo>
                      <a:pt x="3696" y="264"/>
                    </a:lnTo>
                    <a:lnTo>
                      <a:pt x="3702" y="276"/>
                    </a:lnTo>
                    <a:lnTo>
                      <a:pt x="3714" y="282"/>
                    </a:lnTo>
                    <a:lnTo>
                      <a:pt x="3720" y="288"/>
                    </a:lnTo>
                    <a:close/>
                    <a:moveTo>
                      <a:pt x="3288" y="504"/>
                    </a:moveTo>
                    <a:lnTo>
                      <a:pt x="3270" y="504"/>
                    </a:lnTo>
                    <a:lnTo>
                      <a:pt x="3234" y="510"/>
                    </a:lnTo>
                    <a:lnTo>
                      <a:pt x="3186" y="516"/>
                    </a:lnTo>
                    <a:lnTo>
                      <a:pt x="3144" y="528"/>
                    </a:lnTo>
                    <a:lnTo>
                      <a:pt x="3132" y="534"/>
                    </a:lnTo>
                    <a:lnTo>
                      <a:pt x="3126" y="540"/>
                    </a:lnTo>
                    <a:lnTo>
                      <a:pt x="3132" y="540"/>
                    </a:lnTo>
                    <a:lnTo>
                      <a:pt x="3150" y="558"/>
                    </a:lnTo>
                    <a:lnTo>
                      <a:pt x="3156" y="570"/>
                    </a:lnTo>
                    <a:lnTo>
                      <a:pt x="3156" y="576"/>
                    </a:lnTo>
                    <a:lnTo>
                      <a:pt x="3138" y="582"/>
                    </a:lnTo>
                    <a:lnTo>
                      <a:pt x="3120" y="570"/>
                    </a:lnTo>
                    <a:lnTo>
                      <a:pt x="3090" y="564"/>
                    </a:lnTo>
                    <a:lnTo>
                      <a:pt x="3048" y="570"/>
                    </a:lnTo>
                    <a:lnTo>
                      <a:pt x="3066" y="606"/>
                    </a:lnTo>
                    <a:lnTo>
                      <a:pt x="3072" y="612"/>
                    </a:lnTo>
                    <a:lnTo>
                      <a:pt x="3084" y="618"/>
                    </a:lnTo>
                    <a:lnTo>
                      <a:pt x="3102" y="624"/>
                    </a:lnTo>
                    <a:lnTo>
                      <a:pt x="3114" y="630"/>
                    </a:lnTo>
                    <a:lnTo>
                      <a:pt x="3120" y="642"/>
                    </a:lnTo>
                    <a:lnTo>
                      <a:pt x="3120" y="654"/>
                    </a:lnTo>
                    <a:lnTo>
                      <a:pt x="3126" y="666"/>
                    </a:lnTo>
                    <a:lnTo>
                      <a:pt x="3126" y="678"/>
                    </a:lnTo>
                    <a:lnTo>
                      <a:pt x="3144" y="678"/>
                    </a:lnTo>
                    <a:lnTo>
                      <a:pt x="3228" y="666"/>
                    </a:lnTo>
                    <a:lnTo>
                      <a:pt x="3264" y="660"/>
                    </a:lnTo>
                    <a:lnTo>
                      <a:pt x="3276" y="654"/>
                    </a:lnTo>
                    <a:lnTo>
                      <a:pt x="3282" y="642"/>
                    </a:lnTo>
                    <a:lnTo>
                      <a:pt x="3288" y="624"/>
                    </a:lnTo>
                    <a:lnTo>
                      <a:pt x="3300" y="600"/>
                    </a:lnTo>
                    <a:lnTo>
                      <a:pt x="3300" y="588"/>
                    </a:lnTo>
                    <a:lnTo>
                      <a:pt x="3228" y="576"/>
                    </a:lnTo>
                    <a:lnTo>
                      <a:pt x="3240" y="570"/>
                    </a:lnTo>
                    <a:lnTo>
                      <a:pt x="3348" y="534"/>
                    </a:lnTo>
                    <a:lnTo>
                      <a:pt x="3360" y="528"/>
                    </a:lnTo>
                    <a:lnTo>
                      <a:pt x="3354" y="522"/>
                    </a:lnTo>
                    <a:lnTo>
                      <a:pt x="3342" y="516"/>
                    </a:lnTo>
                    <a:lnTo>
                      <a:pt x="3324" y="510"/>
                    </a:lnTo>
                    <a:lnTo>
                      <a:pt x="3312" y="510"/>
                    </a:lnTo>
                    <a:lnTo>
                      <a:pt x="3300" y="504"/>
                    </a:lnTo>
                    <a:lnTo>
                      <a:pt x="3288" y="504"/>
                    </a:lnTo>
                    <a:close/>
                    <a:moveTo>
                      <a:pt x="2898" y="744"/>
                    </a:moveTo>
                    <a:lnTo>
                      <a:pt x="2880" y="738"/>
                    </a:lnTo>
                    <a:lnTo>
                      <a:pt x="2796" y="738"/>
                    </a:lnTo>
                    <a:lnTo>
                      <a:pt x="2874" y="696"/>
                    </a:lnTo>
                    <a:lnTo>
                      <a:pt x="2880" y="684"/>
                    </a:lnTo>
                    <a:lnTo>
                      <a:pt x="2886" y="654"/>
                    </a:lnTo>
                    <a:lnTo>
                      <a:pt x="2898" y="624"/>
                    </a:lnTo>
                    <a:lnTo>
                      <a:pt x="2898" y="588"/>
                    </a:lnTo>
                    <a:lnTo>
                      <a:pt x="2880" y="570"/>
                    </a:lnTo>
                    <a:lnTo>
                      <a:pt x="2850" y="570"/>
                    </a:lnTo>
                    <a:lnTo>
                      <a:pt x="2814" y="576"/>
                    </a:lnTo>
                    <a:lnTo>
                      <a:pt x="2796" y="582"/>
                    </a:lnTo>
                    <a:lnTo>
                      <a:pt x="2784" y="588"/>
                    </a:lnTo>
                    <a:lnTo>
                      <a:pt x="2784" y="594"/>
                    </a:lnTo>
                    <a:lnTo>
                      <a:pt x="2766" y="612"/>
                    </a:lnTo>
                    <a:lnTo>
                      <a:pt x="2760" y="630"/>
                    </a:lnTo>
                    <a:lnTo>
                      <a:pt x="2736" y="654"/>
                    </a:lnTo>
                    <a:lnTo>
                      <a:pt x="2718" y="666"/>
                    </a:lnTo>
                    <a:lnTo>
                      <a:pt x="2706" y="672"/>
                    </a:lnTo>
                    <a:lnTo>
                      <a:pt x="2700" y="672"/>
                    </a:lnTo>
                    <a:lnTo>
                      <a:pt x="2694" y="666"/>
                    </a:lnTo>
                    <a:lnTo>
                      <a:pt x="2694" y="660"/>
                    </a:lnTo>
                    <a:lnTo>
                      <a:pt x="2700" y="654"/>
                    </a:lnTo>
                    <a:lnTo>
                      <a:pt x="2706" y="642"/>
                    </a:lnTo>
                    <a:lnTo>
                      <a:pt x="2712" y="636"/>
                    </a:lnTo>
                    <a:lnTo>
                      <a:pt x="2718" y="624"/>
                    </a:lnTo>
                    <a:lnTo>
                      <a:pt x="2718" y="612"/>
                    </a:lnTo>
                    <a:lnTo>
                      <a:pt x="2724" y="606"/>
                    </a:lnTo>
                    <a:lnTo>
                      <a:pt x="2724" y="600"/>
                    </a:lnTo>
                    <a:lnTo>
                      <a:pt x="2706" y="594"/>
                    </a:lnTo>
                    <a:lnTo>
                      <a:pt x="2676" y="588"/>
                    </a:lnTo>
                    <a:lnTo>
                      <a:pt x="2628" y="588"/>
                    </a:lnTo>
                    <a:lnTo>
                      <a:pt x="2622" y="606"/>
                    </a:lnTo>
                    <a:lnTo>
                      <a:pt x="2610" y="612"/>
                    </a:lnTo>
                    <a:lnTo>
                      <a:pt x="2586" y="618"/>
                    </a:lnTo>
                    <a:lnTo>
                      <a:pt x="2550" y="624"/>
                    </a:lnTo>
                    <a:lnTo>
                      <a:pt x="2508" y="630"/>
                    </a:lnTo>
                    <a:lnTo>
                      <a:pt x="2490" y="630"/>
                    </a:lnTo>
                    <a:lnTo>
                      <a:pt x="2496" y="624"/>
                    </a:lnTo>
                    <a:lnTo>
                      <a:pt x="2508" y="618"/>
                    </a:lnTo>
                    <a:lnTo>
                      <a:pt x="2520" y="618"/>
                    </a:lnTo>
                    <a:lnTo>
                      <a:pt x="2538" y="612"/>
                    </a:lnTo>
                    <a:lnTo>
                      <a:pt x="2550" y="606"/>
                    </a:lnTo>
                    <a:lnTo>
                      <a:pt x="2586" y="594"/>
                    </a:lnTo>
                    <a:lnTo>
                      <a:pt x="2598" y="588"/>
                    </a:lnTo>
                    <a:lnTo>
                      <a:pt x="2604" y="588"/>
                    </a:lnTo>
                    <a:lnTo>
                      <a:pt x="2604" y="582"/>
                    </a:lnTo>
                    <a:lnTo>
                      <a:pt x="2592" y="576"/>
                    </a:lnTo>
                    <a:lnTo>
                      <a:pt x="2556" y="576"/>
                    </a:lnTo>
                    <a:lnTo>
                      <a:pt x="2496" y="594"/>
                    </a:lnTo>
                    <a:lnTo>
                      <a:pt x="2460" y="600"/>
                    </a:lnTo>
                    <a:lnTo>
                      <a:pt x="2466" y="594"/>
                    </a:lnTo>
                    <a:lnTo>
                      <a:pt x="2478" y="588"/>
                    </a:lnTo>
                    <a:lnTo>
                      <a:pt x="2490" y="576"/>
                    </a:lnTo>
                    <a:lnTo>
                      <a:pt x="2502" y="570"/>
                    </a:lnTo>
                    <a:lnTo>
                      <a:pt x="2514" y="558"/>
                    </a:lnTo>
                    <a:lnTo>
                      <a:pt x="2508" y="558"/>
                    </a:lnTo>
                    <a:lnTo>
                      <a:pt x="2508" y="552"/>
                    </a:lnTo>
                    <a:lnTo>
                      <a:pt x="2496" y="552"/>
                    </a:lnTo>
                    <a:lnTo>
                      <a:pt x="2346" y="600"/>
                    </a:lnTo>
                    <a:lnTo>
                      <a:pt x="2328" y="600"/>
                    </a:lnTo>
                    <a:lnTo>
                      <a:pt x="2244" y="624"/>
                    </a:lnTo>
                    <a:lnTo>
                      <a:pt x="2250" y="642"/>
                    </a:lnTo>
                    <a:lnTo>
                      <a:pt x="2190" y="660"/>
                    </a:lnTo>
                    <a:lnTo>
                      <a:pt x="2172" y="678"/>
                    </a:lnTo>
                    <a:lnTo>
                      <a:pt x="2202" y="690"/>
                    </a:lnTo>
                    <a:lnTo>
                      <a:pt x="2208" y="684"/>
                    </a:lnTo>
                    <a:lnTo>
                      <a:pt x="2220" y="678"/>
                    </a:lnTo>
                    <a:lnTo>
                      <a:pt x="2238" y="678"/>
                    </a:lnTo>
                    <a:lnTo>
                      <a:pt x="2244" y="684"/>
                    </a:lnTo>
                    <a:lnTo>
                      <a:pt x="2244" y="690"/>
                    </a:lnTo>
                    <a:lnTo>
                      <a:pt x="2238" y="696"/>
                    </a:lnTo>
                    <a:lnTo>
                      <a:pt x="2226" y="696"/>
                    </a:lnTo>
                    <a:lnTo>
                      <a:pt x="2208" y="702"/>
                    </a:lnTo>
                    <a:lnTo>
                      <a:pt x="2196" y="702"/>
                    </a:lnTo>
                    <a:lnTo>
                      <a:pt x="2160" y="720"/>
                    </a:lnTo>
                    <a:lnTo>
                      <a:pt x="2166" y="732"/>
                    </a:lnTo>
                    <a:lnTo>
                      <a:pt x="2196" y="732"/>
                    </a:lnTo>
                    <a:lnTo>
                      <a:pt x="2238" y="738"/>
                    </a:lnTo>
                    <a:lnTo>
                      <a:pt x="2322" y="738"/>
                    </a:lnTo>
                    <a:lnTo>
                      <a:pt x="2352" y="744"/>
                    </a:lnTo>
                    <a:lnTo>
                      <a:pt x="2352" y="750"/>
                    </a:lnTo>
                    <a:lnTo>
                      <a:pt x="2322" y="762"/>
                    </a:lnTo>
                    <a:lnTo>
                      <a:pt x="2280" y="762"/>
                    </a:lnTo>
                    <a:lnTo>
                      <a:pt x="2172" y="774"/>
                    </a:lnTo>
                    <a:lnTo>
                      <a:pt x="2136" y="774"/>
                    </a:lnTo>
                    <a:lnTo>
                      <a:pt x="2112" y="786"/>
                    </a:lnTo>
                    <a:lnTo>
                      <a:pt x="2106" y="792"/>
                    </a:lnTo>
                    <a:lnTo>
                      <a:pt x="2118" y="804"/>
                    </a:lnTo>
                    <a:lnTo>
                      <a:pt x="2130" y="810"/>
                    </a:lnTo>
                    <a:lnTo>
                      <a:pt x="2148" y="810"/>
                    </a:lnTo>
                    <a:lnTo>
                      <a:pt x="2160" y="816"/>
                    </a:lnTo>
                    <a:lnTo>
                      <a:pt x="2178" y="822"/>
                    </a:lnTo>
                    <a:lnTo>
                      <a:pt x="2190" y="828"/>
                    </a:lnTo>
                    <a:lnTo>
                      <a:pt x="2190" y="834"/>
                    </a:lnTo>
                    <a:lnTo>
                      <a:pt x="2184" y="840"/>
                    </a:lnTo>
                    <a:lnTo>
                      <a:pt x="2172" y="840"/>
                    </a:lnTo>
                    <a:lnTo>
                      <a:pt x="2154" y="858"/>
                    </a:lnTo>
                    <a:lnTo>
                      <a:pt x="2166" y="870"/>
                    </a:lnTo>
                    <a:lnTo>
                      <a:pt x="2322" y="870"/>
                    </a:lnTo>
                    <a:lnTo>
                      <a:pt x="2370" y="864"/>
                    </a:lnTo>
                    <a:lnTo>
                      <a:pt x="2436" y="858"/>
                    </a:lnTo>
                    <a:lnTo>
                      <a:pt x="2508" y="846"/>
                    </a:lnTo>
                    <a:lnTo>
                      <a:pt x="2574" y="840"/>
                    </a:lnTo>
                    <a:lnTo>
                      <a:pt x="2616" y="828"/>
                    </a:lnTo>
                    <a:lnTo>
                      <a:pt x="2652" y="828"/>
                    </a:lnTo>
                    <a:lnTo>
                      <a:pt x="2736" y="864"/>
                    </a:lnTo>
                    <a:lnTo>
                      <a:pt x="2778" y="876"/>
                    </a:lnTo>
                    <a:lnTo>
                      <a:pt x="2796" y="876"/>
                    </a:lnTo>
                    <a:lnTo>
                      <a:pt x="2814" y="870"/>
                    </a:lnTo>
                    <a:lnTo>
                      <a:pt x="2832" y="852"/>
                    </a:lnTo>
                    <a:lnTo>
                      <a:pt x="2838" y="840"/>
                    </a:lnTo>
                    <a:lnTo>
                      <a:pt x="2844" y="834"/>
                    </a:lnTo>
                    <a:lnTo>
                      <a:pt x="2844" y="822"/>
                    </a:lnTo>
                    <a:lnTo>
                      <a:pt x="2766" y="822"/>
                    </a:lnTo>
                    <a:lnTo>
                      <a:pt x="2802" y="798"/>
                    </a:lnTo>
                    <a:lnTo>
                      <a:pt x="2850" y="798"/>
                    </a:lnTo>
                    <a:lnTo>
                      <a:pt x="2898" y="792"/>
                    </a:lnTo>
                    <a:lnTo>
                      <a:pt x="2910" y="786"/>
                    </a:lnTo>
                    <a:lnTo>
                      <a:pt x="2916" y="786"/>
                    </a:lnTo>
                    <a:lnTo>
                      <a:pt x="2922" y="780"/>
                    </a:lnTo>
                    <a:lnTo>
                      <a:pt x="2916" y="768"/>
                    </a:lnTo>
                    <a:lnTo>
                      <a:pt x="2898" y="750"/>
                    </a:lnTo>
                    <a:lnTo>
                      <a:pt x="2898" y="744"/>
                    </a:lnTo>
                    <a:close/>
                    <a:moveTo>
                      <a:pt x="2868" y="882"/>
                    </a:moveTo>
                    <a:lnTo>
                      <a:pt x="2886" y="882"/>
                    </a:lnTo>
                    <a:lnTo>
                      <a:pt x="2904" y="876"/>
                    </a:lnTo>
                    <a:lnTo>
                      <a:pt x="2910" y="870"/>
                    </a:lnTo>
                    <a:lnTo>
                      <a:pt x="2910" y="864"/>
                    </a:lnTo>
                    <a:lnTo>
                      <a:pt x="2904" y="858"/>
                    </a:lnTo>
                    <a:lnTo>
                      <a:pt x="2880" y="858"/>
                    </a:lnTo>
                    <a:lnTo>
                      <a:pt x="2868" y="870"/>
                    </a:lnTo>
                    <a:lnTo>
                      <a:pt x="2868" y="882"/>
                    </a:lnTo>
                    <a:close/>
                    <a:moveTo>
                      <a:pt x="3276" y="330"/>
                    </a:moveTo>
                    <a:lnTo>
                      <a:pt x="3288" y="330"/>
                    </a:lnTo>
                    <a:lnTo>
                      <a:pt x="3294" y="324"/>
                    </a:lnTo>
                    <a:lnTo>
                      <a:pt x="3300" y="312"/>
                    </a:lnTo>
                    <a:lnTo>
                      <a:pt x="3300" y="306"/>
                    </a:lnTo>
                    <a:lnTo>
                      <a:pt x="3294" y="294"/>
                    </a:lnTo>
                    <a:lnTo>
                      <a:pt x="3288" y="288"/>
                    </a:lnTo>
                    <a:lnTo>
                      <a:pt x="3276" y="288"/>
                    </a:lnTo>
                    <a:lnTo>
                      <a:pt x="3270" y="300"/>
                    </a:lnTo>
                    <a:lnTo>
                      <a:pt x="3264" y="306"/>
                    </a:lnTo>
                    <a:lnTo>
                      <a:pt x="3264" y="324"/>
                    </a:lnTo>
                    <a:lnTo>
                      <a:pt x="3270" y="330"/>
                    </a:lnTo>
                    <a:lnTo>
                      <a:pt x="3276" y="330"/>
                    </a:lnTo>
                    <a:close/>
                    <a:moveTo>
                      <a:pt x="3462" y="228"/>
                    </a:moveTo>
                    <a:lnTo>
                      <a:pt x="3450" y="240"/>
                    </a:lnTo>
                    <a:lnTo>
                      <a:pt x="3450" y="252"/>
                    </a:lnTo>
                    <a:lnTo>
                      <a:pt x="3456" y="258"/>
                    </a:lnTo>
                    <a:lnTo>
                      <a:pt x="3528" y="258"/>
                    </a:lnTo>
                    <a:lnTo>
                      <a:pt x="3546" y="276"/>
                    </a:lnTo>
                    <a:lnTo>
                      <a:pt x="3558" y="282"/>
                    </a:lnTo>
                    <a:lnTo>
                      <a:pt x="3588" y="282"/>
                    </a:lnTo>
                    <a:lnTo>
                      <a:pt x="3612" y="270"/>
                    </a:lnTo>
                    <a:lnTo>
                      <a:pt x="3618" y="264"/>
                    </a:lnTo>
                    <a:lnTo>
                      <a:pt x="3606" y="252"/>
                    </a:lnTo>
                    <a:lnTo>
                      <a:pt x="3636" y="246"/>
                    </a:lnTo>
                    <a:lnTo>
                      <a:pt x="3594" y="210"/>
                    </a:lnTo>
                    <a:lnTo>
                      <a:pt x="3552" y="216"/>
                    </a:lnTo>
                    <a:lnTo>
                      <a:pt x="3534" y="198"/>
                    </a:lnTo>
                    <a:lnTo>
                      <a:pt x="3450" y="198"/>
                    </a:lnTo>
                    <a:lnTo>
                      <a:pt x="3438" y="204"/>
                    </a:lnTo>
                    <a:lnTo>
                      <a:pt x="3426" y="204"/>
                    </a:lnTo>
                    <a:lnTo>
                      <a:pt x="3420" y="210"/>
                    </a:lnTo>
                    <a:lnTo>
                      <a:pt x="3438" y="228"/>
                    </a:lnTo>
                    <a:lnTo>
                      <a:pt x="3462" y="228"/>
                    </a:lnTo>
                    <a:close/>
                    <a:moveTo>
                      <a:pt x="3432" y="1302"/>
                    </a:moveTo>
                    <a:lnTo>
                      <a:pt x="3408" y="1326"/>
                    </a:lnTo>
                    <a:lnTo>
                      <a:pt x="3408" y="1344"/>
                    </a:lnTo>
                    <a:lnTo>
                      <a:pt x="3438" y="1344"/>
                    </a:lnTo>
                    <a:lnTo>
                      <a:pt x="3462" y="1332"/>
                    </a:lnTo>
                    <a:lnTo>
                      <a:pt x="3468" y="1332"/>
                    </a:lnTo>
                    <a:lnTo>
                      <a:pt x="3480" y="1326"/>
                    </a:lnTo>
                    <a:lnTo>
                      <a:pt x="3486" y="1326"/>
                    </a:lnTo>
                    <a:lnTo>
                      <a:pt x="3504" y="1308"/>
                    </a:lnTo>
                    <a:lnTo>
                      <a:pt x="3516" y="1290"/>
                    </a:lnTo>
                    <a:lnTo>
                      <a:pt x="3516" y="1266"/>
                    </a:lnTo>
                    <a:lnTo>
                      <a:pt x="3510" y="1260"/>
                    </a:lnTo>
                    <a:lnTo>
                      <a:pt x="3498" y="1260"/>
                    </a:lnTo>
                    <a:lnTo>
                      <a:pt x="3480" y="1266"/>
                    </a:lnTo>
                    <a:lnTo>
                      <a:pt x="3432" y="1302"/>
                    </a:lnTo>
                    <a:close/>
                    <a:moveTo>
                      <a:pt x="4416" y="1392"/>
                    </a:moveTo>
                    <a:lnTo>
                      <a:pt x="4428" y="1380"/>
                    </a:lnTo>
                    <a:lnTo>
                      <a:pt x="4428" y="1374"/>
                    </a:lnTo>
                    <a:lnTo>
                      <a:pt x="4386" y="1374"/>
                    </a:lnTo>
                    <a:lnTo>
                      <a:pt x="4386" y="1380"/>
                    </a:lnTo>
                    <a:lnTo>
                      <a:pt x="4404" y="1398"/>
                    </a:lnTo>
                    <a:lnTo>
                      <a:pt x="4416" y="1392"/>
                    </a:lnTo>
                    <a:close/>
                    <a:moveTo>
                      <a:pt x="3120" y="2034"/>
                    </a:moveTo>
                    <a:lnTo>
                      <a:pt x="3132" y="2034"/>
                    </a:lnTo>
                    <a:lnTo>
                      <a:pt x="3138" y="2028"/>
                    </a:lnTo>
                    <a:lnTo>
                      <a:pt x="3132" y="2022"/>
                    </a:lnTo>
                    <a:lnTo>
                      <a:pt x="3120" y="2016"/>
                    </a:lnTo>
                    <a:lnTo>
                      <a:pt x="3114" y="2010"/>
                    </a:lnTo>
                    <a:lnTo>
                      <a:pt x="3108" y="2010"/>
                    </a:lnTo>
                    <a:lnTo>
                      <a:pt x="3090" y="2016"/>
                    </a:lnTo>
                    <a:lnTo>
                      <a:pt x="3078" y="2022"/>
                    </a:lnTo>
                    <a:lnTo>
                      <a:pt x="3072" y="2022"/>
                    </a:lnTo>
                    <a:lnTo>
                      <a:pt x="3072" y="2028"/>
                    </a:lnTo>
                    <a:lnTo>
                      <a:pt x="3078" y="2034"/>
                    </a:lnTo>
                    <a:lnTo>
                      <a:pt x="3120" y="2034"/>
                    </a:lnTo>
                    <a:close/>
                    <a:moveTo>
                      <a:pt x="4758" y="996"/>
                    </a:moveTo>
                    <a:lnTo>
                      <a:pt x="4746" y="996"/>
                    </a:lnTo>
                    <a:lnTo>
                      <a:pt x="4734" y="984"/>
                    </a:lnTo>
                    <a:lnTo>
                      <a:pt x="4704" y="1008"/>
                    </a:lnTo>
                    <a:lnTo>
                      <a:pt x="4704" y="978"/>
                    </a:lnTo>
                    <a:lnTo>
                      <a:pt x="4662" y="978"/>
                    </a:lnTo>
                    <a:lnTo>
                      <a:pt x="4668" y="978"/>
                    </a:lnTo>
                    <a:lnTo>
                      <a:pt x="4674" y="972"/>
                    </a:lnTo>
                    <a:lnTo>
                      <a:pt x="4686" y="972"/>
                    </a:lnTo>
                    <a:lnTo>
                      <a:pt x="4698" y="966"/>
                    </a:lnTo>
                    <a:lnTo>
                      <a:pt x="4704" y="954"/>
                    </a:lnTo>
                    <a:lnTo>
                      <a:pt x="4704" y="948"/>
                    </a:lnTo>
                    <a:lnTo>
                      <a:pt x="4698" y="942"/>
                    </a:lnTo>
                    <a:lnTo>
                      <a:pt x="4680" y="942"/>
                    </a:lnTo>
                    <a:lnTo>
                      <a:pt x="4668" y="936"/>
                    </a:lnTo>
                    <a:lnTo>
                      <a:pt x="4650" y="936"/>
                    </a:lnTo>
                    <a:lnTo>
                      <a:pt x="4632" y="930"/>
                    </a:lnTo>
                    <a:lnTo>
                      <a:pt x="4620" y="930"/>
                    </a:lnTo>
                    <a:lnTo>
                      <a:pt x="4614" y="918"/>
                    </a:lnTo>
                    <a:lnTo>
                      <a:pt x="4566" y="912"/>
                    </a:lnTo>
                    <a:lnTo>
                      <a:pt x="4500" y="870"/>
                    </a:lnTo>
                    <a:lnTo>
                      <a:pt x="4566" y="864"/>
                    </a:lnTo>
                    <a:lnTo>
                      <a:pt x="4536" y="840"/>
                    </a:lnTo>
                    <a:lnTo>
                      <a:pt x="4542" y="840"/>
                    </a:lnTo>
                    <a:lnTo>
                      <a:pt x="4548" y="834"/>
                    </a:lnTo>
                    <a:lnTo>
                      <a:pt x="4584" y="834"/>
                    </a:lnTo>
                    <a:lnTo>
                      <a:pt x="4596" y="840"/>
                    </a:lnTo>
                    <a:lnTo>
                      <a:pt x="4638" y="840"/>
                    </a:lnTo>
                    <a:lnTo>
                      <a:pt x="4638" y="834"/>
                    </a:lnTo>
                    <a:lnTo>
                      <a:pt x="4632" y="828"/>
                    </a:lnTo>
                    <a:lnTo>
                      <a:pt x="4614" y="822"/>
                    </a:lnTo>
                    <a:lnTo>
                      <a:pt x="4596" y="822"/>
                    </a:lnTo>
                    <a:lnTo>
                      <a:pt x="4578" y="816"/>
                    </a:lnTo>
                    <a:lnTo>
                      <a:pt x="4518" y="816"/>
                    </a:lnTo>
                    <a:lnTo>
                      <a:pt x="4536" y="816"/>
                    </a:lnTo>
                    <a:lnTo>
                      <a:pt x="4620" y="804"/>
                    </a:lnTo>
                    <a:lnTo>
                      <a:pt x="4638" y="798"/>
                    </a:lnTo>
                    <a:lnTo>
                      <a:pt x="4638" y="792"/>
                    </a:lnTo>
                    <a:lnTo>
                      <a:pt x="4632" y="792"/>
                    </a:lnTo>
                    <a:lnTo>
                      <a:pt x="4626" y="786"/>
                    </a:lnTo>
                    <a:lnTo>
                      <a:pt x="4608" y="786"/>
                    </a:lnTo>
                    <a:lnTo>
                      <a:pt x="4500" y="798"/>
                    </a:lnTo>
                    <a:lnTo>
                      <a:pt x="4560" y="762"/>
                    </a:lnTo>
                    <a:lnTo>
                      <a:pt x="4620" y="762"/>
                    </a:lnTo>
                    <a:lnTo>
                      <a:pt x="4626" y="756"/>
                    </a:lnTo>
                    <a:lnTo>
                      <a:pt x="4620" y="750"/>
                    </a:lnTo>
                    <a:lnTo>
                      <a:pt x="4584" y="738"/>
                    </a:lnTo>
                    <a:lnTo>
                      <a:pt x="4572" y="732"/>
                    </a:lnTo>
                    <a:lnTo>
                      <a:pt x="4554" y="732"/>
                    </a:lnTo>
                    <a:lnTo>
                      <a:pt x="4518" y="750"/>
                    </a:lnTo>
                    <a:lnTo>
                      <a:pt x="4500" y="744"/>
                    </a:lnTo>
                    <a:lnTo>
                      <a:pt x="4458" y="774"/>
                    </a:lnTo>
                    <a:lnTo>
                      <a:pt x="4464" y="756"/>
                    </a:lnTo>
                    <a:lnTo>
                      <a:pt x="4440" y="774"/>
                    </a:lnTo>
                    <a:lnTo>
                      <a:pt x="4464" y="744"/>
                    </a:lnTo>
                    <a:lnTo>
                      <a:pt x="4500" y="744"/>
                    </a:lnTo>
                    <a:lnTo>
                      <a:pt x="4506" y="738"/>
                    </a:lnTo>
                    <a:lnTo>
                      <a:pt x="4518" y="714"/>
                    </a:lnTo>
                    <a:lnTo>
                      <a:pt x="4518" y="708"/>
                    </a:lnTo>
                    <a:lnTo>
                      <a:pt x="4512" y="702"/>
                    </a:lnTo>
                    <a:lnTo>
                      <a:pt x="4506" y="708"/>
                    </a:lnTo>
                    <a:lnTo>
                      <a:pt x="4494" y="714"/>
                    </a:lnTo>
                    <a:lnTo>
                      <a:pt x="4488" y="726"/>
                    </a:lnTo>
                    <a:lnTo>
                      <a:pt x="4452" y="726"/>
                    </a:lnTo>
                    <a:lnTo>
                      <a:pt x="4428" y="738"/>
                    </a:lnTo>
                    <a:lnTo>
                      <a:pt x="4452" y="708"/>
                    </a:lnTo>
                    <a:lnTo>
                      <a:pt x="4482" y="708"/>
                    </a:lnTo>
                    <a:lnTo>
                      <a:pt x="4494" y="702"/>
                    </a:lnTo>
                    <a:lnTo>
                      <a:pt x="4500" y="702"/>
                    </a:lnTo>
                    <a:lnTo>
                      <a:pt x="4506" y="696"/>
                    </a:lnTo>
                    <a:lnTo>
                      <a:pt x="4506" y="690"/>
                    </a:lnTo>
                    <a:lnTo>
                      <a:pt x="4500" y="684"/>
                    </a:lnTo>
                    <a:lnTo>
                      <a:pt x="4458" y="684"/>
                    </a:lnTo>
                    <a:lnTo>
                      <a:pt x="4446" y="690"/>
                    </a:lnTo>
                    <a:lnTo>
                      <a:pt x="4428" y="696"/>
                    </a:lnTo>
                    <a:lnTo>
                      <a:pt x="4422" y="702"/>
                    </a:lnTo>
                    <a:lnTo>
                      <a:pt x="4416" y="702"/>
                    </a:lnTo>
                    <a:lnTo>
                      <a:pt x="4404" y="684"/>
                    </a:lnTo>
                    <a:lnTo>
                      <a:pt x="4380" y="702"/>
                    </a:lnTo>
                    <a:lnTo>
                      <a:pt x="4398" y="672"/>
                    </a:lnTo>
                    <a:lnTo>
                      <a:pt x="4344" y="696"/>
                    </a:lnTo>
                    <a:lnTo>
                      <a:pt x="4344" y="672"/>
                    </a:lnTo>
                    <a:lnTo>
                      <a:pt x="4350" y="672"/>
                    </a:lnTo>
                    <a:lnTo>
                      <a:pt x="4356" y="666"/>
                    </a:lnTo>
                    <a:lnTo>
                      <a:pt x="4368" y="666"/>
                    </a:lnTo>
                    <a:lnTo>
                      <a:pt x="4386" y="660"/>
                    </a:lnTo>
                    <a:lnTo>
                      <a:pt x="4392" y="660"/>
                    </a:lnTo>
                    <a:lnTo>
                      <a:pt x="4398" y="654"/>
                    </a:lnTo>
                    <a:lnTo>
                      <a:pt x="4356" y="654"/>
                    </a:lnTo>
                    <a:lnTo>
                      <a:pt x="4338" y="660"/>
                    </a:lnTo>
                    <a:lnTo>
                      <a:pt x="4326" y="660"/>
                    </a:lnTo>
                    <a:lnTo>
                      <a:pt x="4320" y="648"/>
                    </a:lnTo>
                    <a:lnTo>
                      <a:pt x="4332" y="648"/>
                    </a:lnTo>
                    <a:lnTo>
                      <a:pt x="4356" y="636"/>
                    </a:lnTo>
                    <a:lnTo>
                      <a:pt x="4368" y="636"/>
                    </a:lnTo>
                    <a:lnTo>
                      <a:pt x="4380" y="630"/>
                    </a:lnTo>
                    <a:lnTo>
                      <a:pt x="4386" y="624"/>
                    </a:lnTo>
                    <a:lnTo>
                      <a:pt x="4368" y="618"/>
                    </a:lnTo>
                    <a:lnTo>
                      <a:pt x="4326" y="612"/>
                    </a:lnTo>
                    <a:lnTo>
                      <a:pt x="4290" y="612"/>
                    </a:lnTo>
                    <a:lnTo>
                      <a:pt x="4266" y="606"/>
                    </a:lnTo>
                    <a:lnTo>
                      <a:pt x="4236" y="606"/>
                    </a:lnTo>
                    <a:lnTo>
                      <a:pt x="4230" y="612"/>
                    </a:lnTo>
                    <a:lnTo>
                      <a:pt x="4230" y="618"/>
                    </a:lnTo>
                    <a:lnTo>
                      <a:pt x="4236" y="624"/>
                    </a:lnTo>
                    <a:lnTo>
                      <a:pt x="4242" y="636"/>
                    </a:lnTo>
                    <a:lnTo>
                      <a:pt x="4206" y="630"/>
                    </a:lnTo>
                    <a:lnTo>
                      <a:pt x="4212" y="660"/>
                    </a:lnTo>
                    <a:lnTo>
                      <a:pt x="4194" y="636"/>
                    </a:lnTo>
                    <a:lnTo>
                      <a:pt x="4152" y="660"/>
                    </a:lnTo>
                    <a:lnTo>
                      <a:pt x="4158" y="654"/>
                    </a:lnTo>
                    <a:lnTo>
                      <a:pt x="4158" y="636"/>
                    </a:lnTo>
                    <a:lnTo>
                      <a:pt x="4152" y="630"/>
                    </a:lnTo>
                    <a:lnTo>
                      <a:pt x="4140" y="630"/>
                    </a:lnTo>
                    <a:lnTo>
                      <a:pt x="4122" y="636"/>
                    </a:lnTo>
                    <a:lnTo>
                      <a:pt x="4110" y="642"/>
                    </a:lnTo>
                    <a:lnTo>
                      <a:pt x="4098" y="642"/>
                    </a:lnTo>
                    <a:lnTo>
                      <a:pt x="4086" y="648"/>
                    </a:lnTo>
                    <a:lnTo>
                      <a:pt x="4080" y="654"/>
                    </a:lnTo>
                    <a:lnTo>
                      <a:pt x="4074" y="654"/>
                    </a:lnTo>
                    <a:lnTo>
                      <a:pt x="4092" y="618"/>
                    </a:lnTo>
                    <a:lnTo>
                      <a:pt x="4110" y="618"/>
                    </a:lnTo>
                    <a:lnTo>
                      <a:pt x="4122" y="612"/>
                    </a:lnTo>
                    <a:lnTo>
                      <a:pt x="4134" y="612"/>
                    </a:lnTo>
                    <a:lnTo>
                      <a:pt x="4146" y="606"/>
                    </a:lnTo>
                    <a:lnTo>
                      <a:pt x="4152" y="600"/>
                    </a:lnTo>
                    <a:lnTo>
                      <a:pt x="4152" y="594"/>
                    </a:lnTo>
                    <a:lnTo>
                      <a:pt x="4146" y="582"/>
                    </a:lnTo>
                    <a:lnTo>
                      <a:pt x="4134" y="570"/>
                    </a:lnTo>
                    <a:lnTo>
                      <a:pt x="4152" y="552"/>
                    </a:lnTo>
                    <a:lnTo>
                      <a:pt x="4152" y="540"/>
                    </a:lnTo>
                    <a:lnTo>
                      <a:pt x="4050" y="540"/>
                    </a:lnTo>
                    <a:lnTo>
                      <a:pt x="4026" y="558"/>
                    </a:lnTo>
                    <a:lnTo>
                      <a:pt x="3942" y="558"/>
                    </a:lnTo>
                    <a:lnTo>
                      <a:pt x="3948" y="576"/>
                    </a:lnTo>
                    <a:lnTo>
                      <a:pt x="3978" y="588"/>
                    </a:lnTo>
                    <a:lnTo>
                      <a:pt x="3936" y="576"/>
                    </a:lnTo>
                    <a:lnTo>
                      <a:pt x="3948" y="600"/>
                    </a:lnTo>
                    <a:lnTo>
                      <a:pt x="3936" y="594"/>
                    </a:lnTo>
                    <a:lnTo>
                      <a:pt x="3930" y="594"/>
                    </a:lnTo>
                    <a:lnTo>
                      <a:pt x="3918" y="588"/>
                    </a:lnTo>
                    <a:lnTo>
                      <a:pt x="3894" y="588"/>
                    </a:lnTo>
                    <a:lnTo>
                      <a:pt x="3882" y="594"/>
                    </a:lnTo>
                    <a:lnTo>
                      <a:pt x="3876" y="606"/>
                    </a:lnTo>
                    <a:lnTo>
                      <a:pt x="3882" y="612"/>
                    </a:lnTo>
                    <a:lnTo>
                      <a:pt x="3888" y="624"/>
                    </a:lnTo>
                    <a:lnTo>
                      <a:pt x="3894" y="630"/>
                    </a:lnTo>
                    <a:lnTo>
                      <a:pt x="3900" y="660"/>
                    </a:lnTo>
                    <a:lnTo>
                      <a:pt x="3894" y="660"/>
                    </a:lnTo>
                    <a:lnTo>
                      <a:pt x="3888" y="654"/>
                    </a:lnTo>
                    <a:lnTo>
                      <a:pt x="3864" y="642"/>
                    </a:lnTo>
                    <a:lnTo>
                      <a:pt x="3852" y="642"/>
                    </a:lnTo>
                    <a:lnTo>
                      <a:pt x="3828" y="666"/>
                    </a:lnTo>
                    <a:lnTo>
                      <a:pt x="3828" y="678"/>
                    </a:lnTo>
                    <a:lnTo>
                      <a:pt x="3846" y="678"/>
                    </a:lnTo>
                    <a:lnTo>
                      <a:pt x="3858" y="690"/>
                    </a:lnTo>
                    <a:lnTo>
                      <a:pt x="3810" y="714"/>
                    </a:lnTo>
                    <a:lnTo>
                      <a:pt x="3750" y="720"/>
                    </a:lnTo>
                    <a:lnTo>
                      <a:pt x="3762" y="720"/>
                    </a:lnTo>
                    <a:lnTo>
                      <a:pt x="3798" y="702"/>
                    </a:lnTo>
                    <a:lnTo>
                      <a:pt x="3810" y="690"/>
                    </a:lnTo>
                    <a:lnTo>
                      <a:pt x="3810" y="684"/>
                    </a:lnTo>
                    <a:lnTo>
                      <a:pt x="3804" y="684"/>
                    </a:lnTo>
                    <a:lnTo>
                      <a:pt x="3792" y="672"/>
                    </a:lnTo>
                    <a:lnTo>
                      <a:pt x="3786" y="672"/>
                    </a:lnTo>
                    <a:lnTo>
                      <a:pt x="3786" y="660"/>
                    </a:lnTo>
                    <a:lnTo>
                      <a:pt x="3804" y="642"/>
                    </a:lnTo>
                    <a:lnTo>
                      <a:pt x="3816" y="636"/>
                    </a:lnTo>
                    <a:lnTo>
                      <a:pt x="3828" y="636"/>
                    </a:lnTo>
                    <a:lnTo>
                      <a:pt x="3828" y="606"/>
                    </a:lnTo>
                    <a:lnTo>
                      <a:pt x="3840" y="600"/>
                    </a:lnTo>
                    <a:lnTo>
                      <a:pt x="3858" y="582"/>
                    </a:lnTo>
                    <a:lnTo>
                      <a:pt x="3876" y="576"/>
                    </a:lnTo>
                    <a:lnTo>
                      <a:pt x="3882" y="570"/>
                    </a:lnTo>
                    <a:lnTo>
                      <a:pt x="3894" y="564"/>
                    </a:lnTo>
                    <a:lnTo>
                      <a:pt x="3906" y="564"/>
                    </a:lnTo>
                    <a:lnTo>
                      <a:pt x="3918" y="558"/>
                    </a:lnTo>
                    <a:lnTo>
                      <a:pt x="3936" y="552"/>
                    </a:lnTo>
                    <a:lnTo>
                      <a:pt x="3954" y="552"/>
                    </a:lnTo>
                    <a:lnTo>
                      <a:pt x="3966" y="546"/>
                    </a:lnTo>
                    <a:lnTo>
                      <a:pt x="3972" y="540"/>
                    </a:lnTo>
                    <a:lnTo>
                      <a:pt x="3942" y="534"/>
                    </a:lnTo>
                    <a:lnTo>
                      <a:pt x="3852" y="534"/>
                    </a:lnTo>
                    <a:lnTo>
                      <a:pt x="3822" y="540"/>
                    </a:lnTo>
                    <a:lnTo>
                      <a:pt x="3786" y="558"/>
                    </a:lnTo>
                    <a:lnTo>
                      <a:pt x="3744" y="576"/>
                    </a:lnTo>
                    <a:lnTo>
                      <a:pt x="3720" y="594"/>
                    </a:lnTo>
                    <a:lnTo>
                      <a:pt x="3708" y="600"/>
                    </a:lnTo>
                    <a:lnTo>
                      <a:pt x="3702" y="600"/>
                    </a:lnTo>
                    <a:lnTo>
                      <a:pt x="3696" y="606"/>
                    </a:lnTo>
                    <a:lnTo>
                      <a:pt x="3684" y="606"/>
                    </a:lnTo>
                    <a:lnTo>
                      <a:pt x="3660" y="618"/>
                    </a:lnTo>
                    <a:lnTo>
                      <a:pt x="3654" y="618"/>
                    </a:lnTo>
                    <a:lnTo>
                      <a:pt x="3642" y="624"/>
                    </a:lnTo>
                    <a:lnTo>
                      <a:pt x="3630" y="636"/>
                    </a:lnTo>
                    <a:lnTo>
                      <a:pt x="3618" y="642"/>
                    </a:lnTo>
                    <a:lnTo>
                      <a:pt x="3600" y="660"/>
                    </a:lnTo>
                    <a:lnTo>
                      <a:pt x="3588" y="666"/>
                    </a:lnTo>
                    <a:lnTo>
                      <a:pt x="3582" y="678"/>
                    </a:lnTo>
                    <a:lnTo>
                      <a:pt x="3582" y="684"/>
                    </a:lnTo>
                    <a:lnTo>
                      <a:pt x="3588" y="690"/>
                    </a:lnTo>
                    <a:lnTo>
                      <a:pt x="3612" y="690"/>
                    </a:lnTo>
                    <a:lnTo>
                      <a:pt x="3648" y="696"/>
                    </a:lnTo>
                    <a:lnTo>
                      <a:pt x="3672" y="696"/>
                    </a:lnTo>
                    <a:lnTo>
                      <a:pt x="3684" y="708"/>
                    </a:lnTo>
                    <a:lnTo>
                      <a:pt x="3666" y="714"/>
                    </a:lnTo>
                    <a:lnTo>
                      <a:pt x="3594" y="726"/>
                    </a:lnTo>
                    <a:lnTo>
                      <a:pt x="3570" y="732"/>
                    </a:lnTo>
                    <a:lnTo>
                      <a:pt x="3576" y="738"/>
                    </a:lnTo>
                    <a:lnTo>
                      <a:pt x="3594" y="750"/>
                    </a:lnTo>
                    <a:lnTo>
                      <a:pt x="3630" y="762"/>
                    </a:lnTo>
                    <a:lnTo>
                      <a:pt x="3642" y="768"/>
                    </a:lnTo>
                    <a:lnTo>
                      <a:pt x="3648" y="768"/>
                    </a:lnTo>
                    <a:lnTo>
                      <a:pt x="3690" y="750"/>
                    </a:lnTo>
                    <a:lnTo>
                      <a:pt x="3690" y="762"/>
                    </a:lnTo>
                    <a:lnTo>
                      <a:pt x="3702" y="774"/>
                    </a:lnTo>
                    <a:lnTo>
                      <a:pt x="3744" y="774"/>
                    </a:lnTo>
                    <a:lnTo>
                      <a:pt x="3786" y="780"/>
                    </a:lnTo>
                    <a:lnTo>
                      <a:pt x="3834" y="786"/>
                    </a:lnTo>
                    <a:lnTo>
                      <a:pt x="3876" y="792"/>
                    </a:lnTo>
                    <a:lnTo>
                      <a:pt x="3894" y="792"/>
                    </a:lnTo>
                    <a:lnTo>
                      <a:pt x="3900" y="786"/>
                    </a:lnTo>
                    <a:lnTo>
                      <a:pt x="3894" y="780"/>
                    </a:lnTo>
                    <a:lnTo>
                      <a:pt x="3882" y="774"/>
                    </a:lnTo>
                    <a:lnTo>
                      <a:pt x="3876" y="768"/>
                    </a:lnTo>
                    <a:lnTo>
                      <a:pt x="3894" y="768"/>
                    </a:lnTo>
                    <a:lnTo>
                      <a:pt x="3930" y="774"/>
                    </a:lnTo>
                    <a:lnTo>
                      <a:pt x="3966" y="774"/>
                    </a:lnTo>
                    <a:lnTo>
                      <a:pt x="3990" y="780"/>
                    </a:lnTo>
                    <a:lnTo>
                      <a:pt x="4002" y="780"/>
                    </a:lnTo>
                    <a:lnTo>
                      <a:pt x="4020" y="786"/>
                    </a:lnTo>
                    <a:lnTo>
                      <a:pt x="4032" y="792"/>
                    </a:lnTo>
                    <a:lnTo>
                      <a:pt x="4050" y="792"/>
                    </a:lnTo>
                    <a:lnTo>
                      <a:pt x="4062" y="786"/>
                    </a:lnTo>
                    <a:lnTo>
                      <a:pt x="4062" y="774"/>
                    </a:lnTo>
                    <a:lnTo>
                      <a:pt x="4056" y="768"/>
                    </a:lnTo>
                    <a:lnTo>
                      <a:pt x="4050" y="756"/>
                    </a:lnTo>
                    <a:lnTo>
                      <a:pt x="4044" y="750"/>
                    </a:lnTo>
                    <a:lnTo>
                      <a:pt x="4092" y="738"/>
                    </a:lnTo>
                    <a:lnTo>
                      <a:pt x="4092" y="744"/>
                    </a:lnTo>
                    <a:lnTo>
                      <a:pt x="4098" y="750"/>
                    </a:lnTo>
                    <a:lnTo>
                      <a:pt x="4104" y="762"/>
                    </a:lnTo>
                    <a:lnTo>
                      <a:pt x="4104" y="768"/>
                    </a:lnTo>
                    <a:lnTo>
                      <a:pt x="4110" y="774"/>
                    </a:lnTo>
                    <a:lnTo>
                      <a:pt x="4116" y="774"/>
                    </a:lnTo>
                    <a:lnTo>
                      <a:pt x="4122" y="780"/>
                    </a:lnTo>
                    <a:lnTo>
                      <a:pt x="4134" y="786"/>
                    </a:lnTo>
                    <a:lnTo>
                      <a:pt x="4140" y="792"/>
                    </a:lnTo>
                    <a:lnTo>
                      <a:pt x="4170" y="786"/>
                    </a:lnTo>
                    <a:lnTo>
                      <a:pt x="4170" y="792"/>
                    </a:lnTo>
                    <a:lnTo>
                      <a:pt x="4164" y="798"/>
                    </a:lnTo>
                    <a:lnTo>
                      <a:pt x="4164" y="816"/>
                    </a:lnTo>
                    <a:lnTo>
                      <a:pt x="4170" y="816"/>
                    </a:lnTo>
                    <a:lnTo>
                      <a:pt x="4182" y="822"/>
                    </a:lnTo>
                    <a:lnTo>
                      <a:pt x="4200" y="822"/>
                    </a:lnTo>
                    <a:lnTo>
                      <a:pt x="4206" y="828"/>
                    </a:lnTo>
                    <a:lnTo>
                      <a:pt x="4212" y="828"/>
                    </a:lnTo>
                    <a:lnTo>
                      <a:pt x="4194" y="846"/>
                    </a:lnTo>
                    <a:lnTo>
                      <a:pt x="4194" y="858"/>
                    </a:lnTo>
                    <a:lnTo>
                      <a:pt x="4230" y="858"/>
                    </a:lnTo>
                    <a:lnTo>
                      <a:pt x="4224" y="882"/>
                    </a:lnTo>
                    <a:lnTo>
                      <a:pt x="4236" y="882"/>
                    </a:lnTo>
                    <a:lnTo>
                      <a:pt x="4248" y="888"/>
                    </a:lnTo>
                    <a:lnTo>
                      <a:pt x="4254" y="888"/>
                    </a:lnTo>
                    <a:lnTo>
                      <a:pt x="4278" y="900"/>
                    </a:lnTo>
                    <a:lnTo>
                      <a:pt x="4278" y="924"/>
                    </a:lnTo>
                    <a:lnTo>
                      <a:pt x="4266" y="948"/>
                    </a:lnTo>
                    <a:lnTo>
                      <a:pt x="4254" y="966"/>
                    </a:lnTo>
                    <a:lnTo>
                      <a:pt x="4248" y="978"/>
                    </a:lnTo>
                    <a:lnTo>
                      <a:pt x="4236" y="990"/>
                    </a:lnTo>
                    <a:lnTo>
                      <a:pt x="4218" y="996"/>
                    </a:lnTo>
                    <a:lnTo>
                      <a:pt x="4182" y="1014"/>
                    </a:lnTo>
                    <a:lnTo>
                      <a:pt x="4140" y="1026"/>
                    </a:lnTo>
                    <a:lnTo>
                      <a:pt x="4092" y="1050"/>
                    </a:lnTo>
                    <a:lnTo>
                      <a:pt x="4098" y="1056"/>
                    </a:lnTo>
                    <a:lnTo>
                      <a:pt x="4110" y="1062"/>
                    </a:lnTo>
                    <a:lnTo>
                      <a:pt x="4122" y="1074"/>
                    </a:lnTo>
                    <a:lnTo>
                      <a:pt x="4122" y="1080"/>
                    </a:lnTo>
                    <a:lnTo>
                      <a:pt x="4116" y="1086"/>
                    </a:lnTo>
                    <a:lnTo>
                      <a:pt x="4080" y="1098"/>
                    </a:lnTo>
                    <a:lnTo>
                      <a:pt x="4062" y="1098"/>
                    </a:lnTo>
                    <a:lnTo>
                      <a:pt x="3984" y="1110"/>
                    </a:lnTo>
                    <a:lnTo>
                      <a:pt x="3978" y="1128"/>
                    </a:lnTo>
                    <a:lnTo>
                      <a:pt x="3960" y="1110"/>
                    </a:lnTo>
                    <a:lnTo>
                      <a:pt x="3954" y="1110"/>
                    </a:lnTo>
                    <a:lnTo>
                      <a:pt x="3948" y="1104"/>
                    </a:lnTo>
                    <a:lnTo>
                      <a:pt x="3930" y="1104"/>
                    </a:lnTo>
                    <a:lnTo>
                      <a:pt x="3918" y="1098"/>
                    </a:lnTo>
                    <a:lnTo>
                      <a:pt x="3900" y="1098"/>
                    </a:lnTo>
                    <a:lnTo>
                      <a:pt x="3888" y="1104"/>
                    </a:lnTo>
                    <a:lnTo>
                      <a:pt x="3882" y="1110"/>
                    </a:lnTo>
                    <a:lnTo>
                      <a:pt x="3882" y="1122"/>
                    </a:lnTo>
                    <a:lnTo>
                      <a:pt x="3870" y="1122"/>
                    </a:lnTo>
                    <a:lnTo>
                      <a:pt x="3858" y="1128"/>
                    </a:lnTo>
                    <a:lnTo>
                      <a:pt x="3840" y="1134"/>
                    </a:lnTo>
                    <a:lnTo>
                      <a:pt x="3828" y="1140"/>
                    </a:lnTo>
                    <a:lnTo>
                      <a:pt x="3822" y="1146"/>
                    </a:lnTo>
                    <a:lnTo>
                      <a:pt x="3816" y="1158"/>
                    </a:lnTo>
                    <a:lnTo>
                      <a:pt x="3816" y="1170"/>
                    </a:lnTo>
                    <a:lnTo>
                      <a:pt x="3822" y="1182"/>
                    </a:lnTo>
                    <a:lnTo>
                      <a:pt x="3834" y="1188"/>
                    </a:lnTo>
                    <a:lnTo>
                      <a:pt x="3864" y="1188"/>
                    </a:lnTo>
                    <a:lnTo>
                      <a:pt x="3876" y="1182"/>
                    </a:lnTo>
                    <a:lnTo>
                      <a:pt x="3894" y="1182"/>
                    </a:lnTo>
                    <a:lnTo>
                      <a:pt x="3906" y="1176"/>
                    </a:lnTo>
                    <a:lnTo>
                      <a:pt x="3924" y="1170"/>
                    </a:lnTo>
                    <a:lnTo>
                      <a:pt x="3936" y="1164"/>
                    </a:lnTo>
                    <a:lnTo>
                      <a:pt x="3966" y="1164"/>
                    </a:lnTo>
                    <a:lnTo>
                      <a:pt x="3978" y="1176"/>
                    </a:lnTo>
                    <a:lnTo>
                      <a:pt x="3996" y="1176"/>
                    </a:lnTo>
                    <a:lnTo>
                      <a:pt x="4002" y="1170"/>
                    </a:lnTo>
                    <a:lnTo>
                      <a:pt x="4002" y="1152"/>
                    </a:lnTo>
                    <a:lnTo>
                      <a:pt x="4026" y="1128"/>
                    </a:lnTo>
                    <a:lnTo>
                      <a:pt x="4014" y="1140"/>
                    </a:lnTo>
                    <a:lnTo>
                      <a:pt x="4014" y="1146"/>
                    </a:lnTo>
                    <a:lnTo>
                      <a:pt x="4020" y="1152"/>
                    </a:lnTo>
                    <a:lnTo>
                      <a:pt x="4086" y="1152"/>
                    </a:lnTo>
                    <a:lnTo>
                      <a:pt x="4080" y="1158"/>
                    </a:lnTo>
                    <a:lnTo>
                      <a:pt x="4068" y="1164"/>
                    </a:lnTo>
                    <a:lnTo>
                      <a:pt x="4062" y="1170"/>
                    </a:lnTo>
                    <a:lnTo>
                      <a:pt x="4062" y="1176"/>
                    </a:lnTo>
                    <a:lnTo>
                      <a:pt x="4068" y="1182"/>
                    </a:lnTo>
                    <a:lnTo>
                      <a:pt x="4080" y="1182"/>
                    </a:lnTo>
                    <a:lnTo>
                      <a:pt x="4086" y="1188"/>
                    </a:lnTo>
                    <a:lnTo>
                      <a:pt x="4098" y="1188"/>
                    </a:lnTo>
                    <a:lnTo>
                      <a:pt x="4086" y="1200"/>
                    </a:lnTo>
                    <a:lnTo>
                      <a:pt x="4086" y="1206"/>
                    </a:lnTo>
                    <a:lnTo>
                      <a:pt x="4092" y="1212"/>
                    </a:lnTo>
                    <a:lnTo>
                      <a:pt x="4116" y="1224"/>
                    </a:lnTo>
                    <a:lnTo>
                      <a:pt x="4146" y="1224"/>
                    </a:lnTo>
                    <a:lnTo>
                      <a:pt x="4098" y="1242"/>
                    </a:lnTo>
                    <a:lnTo>
                      <a:pt x="4098" y="1248"/>
                    </a:lnTo>
                    <a:lnTo>
                      <a:pt x="4110" y="1260"/>
                    </a:lnTo>
                    <a:lnTo>
                      <a:pt x="4110" y="1266"/>
                    </a:lnTo>
                    <a:lnTo>
                      <a:pt x="4116" y="1272"/>
                    </a:lnTo>
                    <a:lnTo>
                      <a:pt x="4122" y="1266"/>
                    </a:lnTo>
                    <a:lnTo>
                      <a:pt x="4128" y="1266"/>
                    </a:lnTo>
                    <a:lnTo>
                      <a:pt x="4140" y="1260"/>
                    </a:lnTo>
                    <a:lnTo>
                      <a:pt x="4146" y="1272"/>
                    </a:lnTo>
                    <a:lnTo>
                      <a:pt x="4158" y="1284"/>
                    </a:lnTo>
                    <a:lnTo>
                      <a:pt x="4182" y="1284"/>
                    </a:lnTo>
                    <a:lnTo>
                      <a:pt x="4194" y="1290"/>
                    </a:lnTo>
                    <a:lnTo>
                      <a:pt x="4206" y="1290"/>
                    </a:lnTo>
                    <a:lnTo>
                      <a:pt x="4206" y="1308"/>
                    </a:lnTo>
                    <a:lnTo>
                      <a:pt x="4212" y="1314"/>
                    </a:lnTo>
                    <a:lnTo>
                      <a:pt x="4224" y="1320"/>
                    </a:lnTo>
                    <a:lnTo>
                      <a:pt x="4272" y="1320"/>
                    </a:lnTo>
                    <a:lnTo>
                      <a:pt x="4290" y="1326"/>
                    </a:lnTo>
                    <a:lnTo>
                      <a:pt x="4350" y="1356"/>
                    </a:lnTo>
                    <a:lnTo>
                      <a:pt x="4356" y="1362"/>
                    </a:lnTo>
                    <a:lnTo>
                      <a:pt x="4362" y="1362"/>
                    </a:lnTo>
                    <a:lnTo>
                      <a:pt x="4362" y="1356"/>
                    </a:lnTo>
                    <a:lnTo>
                      <a:pt x="4368" y="1350"/>
                    </a:lnTo>
                    <a:lnTo>
                      <a:pt x="4368" y="1320"/>
                    </a:lnTo>
                    <a:lnTo>
                      <a:pt x="4362" y="1308"/>
                    </a:lnTo>
                    <a:lnTo>
                      <a:pt x="4350" y="1296"/>
                    </a:lnTo>
                    <a:lnTo>
                      <a:pt x="4338" y="1290"/>
                    </a:lnTo>
                    <a:lnTo>
                      <a:pt x="4320" y="1272"/>
                    </a:lnTo>
                    <a:lnTo>
                      <a:pt x="4314" y="1272"/>
                    </a:lnTo>
                    <a:lnTo>
                      <a:pt x="4308" y="1260"/>
                    </a:lnTo>
                    <a:lnTo>
                      <a:pt x="4302" y="1254"/>
                    </a:lnTo>
                    <a:lnTo>
                      <a:pt x="4290" y="1230"/>
                    </a:lnTo>
                    <a:lnTo>
                      <a:pt x="4290" y="1224"/>
                    </a:lnTo>
                    <a:lnTo>
                      <a:pt x="4308" y="1224"/>
                    </a:lnTo>
                    <a:lnTo>
                      <a:pt x="4314" y="1230"/>
                    </a:lnTo>
                    <a:lnTo>
                      <a:pt x="4326" y="1236"/>
                    </a:lnTo>
                    <a:lnTo>
                      <a:pt x="4332" y="1242"/>
                    </a:lnTo>
                    <a:lnTo>
                      <a:pt x="4332" y="1212"/>
                    </a:lnTo>
                    <a:lnTo>
                      <a:pt x="4332" y="1218"/>
                    </a:lnTo>
                    <a:lnTo>
                      <a:pt x="4344" y="1230"/>
                    </a:lnTo>
                    <a:lnTo>
                      <a:pt x="4350" y="1242"/>
                    </a:lnTo>
                    <a:lnTo>
                      <a:pt x="4362" y="1254"/>
                    </a:lnTo>
                    <a:lnTo>
                      <a:pt x="4374" y="1254"/>
                    </a:lnTo>
                    <a:lnTo>
                      <a:pt x="4386" y="1248"/>
                    </a:lnTo>
                    <a:lnTo>
                      <a:pt x="4398" y="1248"/>
                    </a:lnTo>
                    <a:lnTo>
                      <a:pt x="4398" y="1272"/>
                    </a:lnTo>
                    <a:lnTo>
                      <a:pt x="4404" y="1278"/>
                    </a:lnTo>
                    <a:lnTo>
                      <a:pt x="4416" y="1278"/>
                    </a:lnTo>
                    <a:lnTo>
                      <a:pt x="4428" y="1290"/>
                    </a:lnTo>
                    <a:lnTo>
                      <a:pt x="4452" y="1272"/>
                    </a:lnTo>
                    <a:lnTo>
                      <a:pt x="4464" y="1284"/>
                    </a:lnTo>
                    <a:lnTo>
                      <a:pt x="4470" y="1284"/>
                    </a:lnTo>
                    <a:lnTo>
                      <a:pt x="4476" y="1278"/>
                    </a:lnTo>
                    <a:lnTo>
                      <a:pt x="4476" y="1260"/>
                    </a:lnTo>
                    <a:lnTo>
                      <a:pt x="4470" y="1254"/>
                    </a:lnTo>
                    <a:lnTo>
                      <a:pt x="4488" y="1212"/>
                    </a:lnTo>
                    <a:lnTo>
                      <a:pt x="4488" y="1236"/>
                    </a:lnTo>
                    <a:lnTo>
                      <a:pt x="4500" y="1248"/>
                    </a:lnTo>
                    <a:lnTo>
                      <a:pt x="4512" y="1236"/>
                    </a:lnTo>
                    <a:lnTo>
                      <a:pt x="4518" y="1218"/>
                    </a:lnTo>
                    <a:lnTo>
                      <a:pt x="4518" y="1206"/>
                    </a:lnTo>
                    <a:lnTo>
                      <a:pt x="4494" y="1182"/>
                    </a:lnTo>
                    <a:lnTo>
                      <a:pt x="4518" y="1176"/>
                    </a:lnTo>
                    <a:lnTo>
                      <a:pt x="4500" y="1164"/>
                    </a:lnTo>
                    <a:lnTo>
                      <a:pt x="4500" y="1146"/>
                    </a:lnTo>
                    <a:lnTo>
                      <a:pt x="4470" y="1146"/>
                    </a:lnTo>
                    <a:lnTo>
                      <a:pt x="4470" y="1134"/>
                    </a:lnTo>
                    <a:lnTo>
                      <a:pt x="4446" y="1134"/>
                    </a:lnTo>
                    <a:lnTo>
                      <a:pt x="4446" y="1080"/>
                    </a:lnTo>
                    <a:lnTo>
                      <a:pt x="4416" y="1086"/>
                    </a:lnTo>
                    <a:lnTo>
                      <a:pt x="4410" y="1080"/>
                    </a:lnTo>
                    <a:lnTo>
                      <a:pt x="4410" y="1056"/>
                    </a:lnTo>
                    <a:lnTo>
                      <a:pt x="4416" y="1050"/>
                    </a:lnTo>
                    <a:lnTo>
                      <a:pt x="4428" y="1050"/>
                    </a:lnTo>
                    <a:lnTo>
                      <a:pt x="4434" y="1056"/>
                    </a:lnTo>
                    <a:lnTo>
                      <a:pt x="4446" y="1062"/>
                    </a:lnTo>
                    <a:lnTo>
                      <a:pt x="4452" y="1068"/>
                    </a:lnTo>
                    <a:lnTo>
                      <a:pt x="4458" y="1068"/>
                    </a:lnTo>
                    <a:lnTo>
                      <a:pt x="4464" y="1062"/>
                    </a:lnTo>
                    <a:lnTo>
                      <a:pt x="4464" y="1026"/>
                    </a:lnTo>
                    <a:lnTo>
                      <a:pt x="4488" y="1032"/>
                    </a:lnTo>
                    <a:lnTo>
                      <a:pt x="4524" y="1014"/>
                    </a:lnTo>
                    <a:lnTo>
                      <a:pt x="4524" y="1026"/>
                    </a:lnTo>
                    <a:lnTo>
                      <a:pt x="4530" y="1038"/>
                    </a:lnTo>
                    <a:lnTo>
                      <a:pt x="4530" y="1044"/>
                    </a:lnTo>
                    <a:lnTo>
                      <a:pt x="4536" y="1050"/>
                    </a:lnTo>
                    <a:lnTo>
                      <a:pt x="4548" y="1044"/>
                    </a:lnTo>
                    <a:lnTo>
                      <a:pt x="4566" y="1044"/>
                    </a:lnTo>
                    <a:lnTo>
                      <a:pt x="4554" y="1062"/>
                    </a:lnTo>
                    <a:lnTo>
                      <a:pt x="4578" y="1062"/>
                    </a:lnTo>
                    <a:lnTo>
                      <a:pt x="4566" y="1092"/>
                    </a:lnTo>
                    <a:lnTo>
                      <a:pt x="4566" y="1098"/>
                    </a:lnTo>
                    <a:lnTo>
                      <a:pt x="4584" y="1116"/>
                    </a:lnTo>
                    <a:lnTo>
                      <a:pt x="4590" y="1128"/>
                    </a:lnTo>
                    <a:lnTo>
                      <a:pt x="4614" y="1140"/>
                    </a:lnTo>
                    <a:lnTo>
                      <a:pt x="4626" y="1134"/>
                    </a:lnTo>
                    <a:lnTo>
                      <a:pt x="4638" y="1122"/>
                    </a:lnTo>
                    <a:lnTo>
                      <a:pt x="4656" y="1086"/>
                    </a:lnTo>
                    <a:lnTo>
                      <a:pt x="4656" y="1080"/>
                    </a:lnTo>
                    <a:lnTo>
                      <a:pt x="4662" y="1068"/>
                    </a:lnTo>
                    <a:lnTo>
                      <a:pt x="4668" y="1074"/>
                    </a:lnTo>
                    <a:lnTo>
                      <a:pt x="4680" y="1080"/>
                    </a:lnTo>
                    <a:lnTo>
                      <a:pt x="4692" y="1080"/>
                    </a:lnTo>
                    <a:lnTo>
                      <a:pt x="4698" y="1086"/>
                    </a:lnTo>
                    <a:lnTo>
                      <a:pt x="4710" y="1080"/>
                    </a:lnTo>
                    <a:lnTo>
                      <a:pt x="4722" y="1068"/>
                    </a:lnTo>
                    <a:lnTo>
                      <a:pt x="4728" y="1056"/>
                    </a:lnTo>
                    <a:lnTo>
                      <a:pt x="4728" y="1038"/>
                    </a:lnTo>
                    <a:lnTo>
                      <a:pt x="4794" y="1038"/>
                    </a:lnTo>
                    <a:lnTo>
                      <a:pt x="4806" y="1026"/>
                    </a:lnTo>
                    <a:lnTo>
                      <a:pt x="4812" y="1014"/>
                    </a:lnTo>
                    <a:lnTo>
                      <a:pt x="4800" y="1002"/>
                    </a:lnTo>
                    <a:lnTo>
                      <a:pt x="4788" y="996"/>
                    </a:lnTo>
                    <a:lnTo>
                      <a:pt x="4758" y="996"/>
                    </a:lnTo>
                    <a:close/>
                    <a:moveTo>
                      <a:pt x="4476" y="1308"/>
                    </a:moveTo>
                    <a:lnTo>
                      <a:pt x="4446" y="1308"/>
                    </a:lnTo>
                    <a:lnTo>
                      <a:pt x="4440" y="1326"/>
                    </a:lnTo>
                    <a:lnTo>
                      <a:pt x="4476" y="1320"/>
                    </a:lnTo>
                    <a:lnTo>
                      <a:pt x="4476" y="1308"/>
                    </a:lnTo>
                    <a:close/>
                    <a:moveTo>
                      <a:pt x="4140" y="1290"/>
                    </a:moveTo>
                    <a:lnTo>
                      <a:pt x="4134" y="1290"/>
                    </a:lnTo>
                    <a:lnTo>
                      <a:pt x="4128" y="1296"/>
                    </a:lnTo>
                    <a:lnTo>
                      <a:pt x="4128" y="1308"/>
                    </a:lnTo>
                    <a:lnTo>
                      <a:pt x="4134" y="1314"/>
                    </a:lnTo>
                    <a:lnTo>
                      <a:pt x="4158" y="1314"/>
                    </a:lnTo>
                    <a:lnTo>
                      <a:pt x="4164" y="1308"/>
                    </a:lnTo>
                    <a:lnTo>
                      <a:pt x="4164" y="1296"/>
                    </a:lnTo>
                    <a:lnTo>
                      <a:pt x="4158" y="1290"/>
                    </a:lnTo>
                    <a:lnTo>
                      <a:pt x="4140" y="1290"/>
                    </a:lnTo>
                    <a:close/>
                    <a:moveTo>
                      <a:pt x="3834" y="1242"/>
                    </a:moveTo>
                    <a:lnTo>
                      <a:pt x="3840" y="1236"/>
                    </a:lnTo>
                    <a:lnTo>
                      <a:pt x="3834" y="1230"/>
                    </a:lnTo>
                    <a:lnTo>
                      <a:pt x="3828" y="1230"/>
                    </a:lnTo>
                    <a:lnTo>
                      <a:pt x="3822" y="1224"/>
                    </a:lnTo>
                    <a:lnTo>
                      <a:pt x="3810" y="1224"/>
                    </a:lnTo>
                    <a:lnTo>
                      <a:pt x="3810" y="1236"/>
                    </a:lnTo>
                    <a:lnTo>
                      <a:pt x="3816" y="1242"/>
                    </a:lnTo>
                    <a:lnTo>
                      <a:pt x="3816" y="1248"/>
                    </a:lnTo>
                    <a:lnTo>
                      <a:pt x="3828" y="1248"/>
                    </a:lnTo>
                    <a:lnTo>
                      <a:pt x="3834" y="1242"/>
                    </a:lnTo>
                    <a:close/>
                    <a:moveTo>
                      <a:pt x="4206" y="1452"/>
                    </a:moveTo>
                    <a:lnTo>
                      <a:pt x="4170" y="1452"/>
                    </a:lnTo>
                    <a:lnTo>
                      <a:pt x="4206" y="1476"/>
                    </a:lnTo>
                    <a:lnTo>
                      <a:pt x="4218" y="1470"/>
                    </a:lnTo>
                    <a:lnTo>
                      <a:pt x="4218" y="1458"/>
                    </a:lnTo>
                    <a:lnTo>
                      <a:pt x="4212" y="1458"/>
                    </a:lnTo>
                    <a:lnTo>
                      <a:pt x="4206" y="1452"/>
                    </a:lnTo>
                    <a:close/>
                    <a:moveTo>
                      <a:pt x="4170" y="870"/>
                    </a:moveTo>
                    <a:lnTo>
                      <a:pt x="4152" y="870"/>
                    </a:lnTo>
                    <a:lnTo>
                      <a:pt x="4152" y="876"/>
                    </a:lnTo>
                    <a:lnTo>
                      <a:pt x="4158" y="882"/>
                    </a:lnTo>
                    <a:lnTo>
                      <a:pt x="4164" y="882"/>
                    </a:lnTo>
                    <a:lnTo>
                      <a:pt x="4170" y="888"/>
                    </a:lnTo>
                    <a:lnTo>
                      <a:pt x="4182" y="882"/>
                    </a:lnTo>
                    <a:lnTo>
                      <a:pt x="4188" y="882"/>
                    </a:lnTo>
                    <a:lnTo>
                      <a:pt x="4194" y="876"/>
                    </a:lnTo>
                    <a:lnTo>
                      <a:pt x="4188" y="870"/>
                    </a:lnTo>
                    <a:lnTo>
                      <a:pt x="4170" y="870"/>
                    </a:lnTo>
                    <a:close/>
                    <a:moveTo>
                      <a:pt x="4170" y="936"/>
                    </a:moveTo>
                    <a:lnTo>
                      <a:pt x="4236" y="936"/>
                    </a:lnTo>
                    <a:lnTo>
                      <a:pt x="4236" y="918"/>
                    </a:lnTo>
                    <a:lnTo>
                      <a:pt x="4188" y="918"/>
                    </a:lnTo>
                    <a:lnTo>
                      <a:pt x="4170" y="936"/>
                    </a:lnTo>
                    <a:close/>
                    <a:moveTo>
                      <a:pt x="5574" y="36"/>
                    </a:moveTo>
                    <a:lnTo>
                      <a:pt x="5490" y="36"/>
                    </a:lnTo>
                    <a:lnTo>
                      <a:pt x="5496" y="24"/>
                    </a:lnTo>
                    <a:lnTo>
                      <a:pt x="5490" y="24"/>
                    </a:lnTo>
                    <a:lnTo>
                      <a:pt x="5484" y="18"/>
                    </a:lnTo>
                    <a:lnTo>
                      <a:pt x="5448" y="18"/>
                    </a:lnTo>
                    <a:lnTo>
                      <a:pt x="5430" y="12"/>
                    </a:lnTo>
                    <a:lnTo>
                      <a:pt x="5400" y="12"/>
                    </a:lnTo>
                    <a:lnTo>
                      <a:pt x="5364" y="18"/>
                    </a:lnTo>
                    <a:lnTo>
                      <a:pt x="5334" y="30"/>
                    </a:lnTo>
                    <a:lnTo>
                      <a:pt x="5304" y="36"/>
                    </a:lnTo>
                    <a:lnTo>
                      <a:pt x="5292" y="36"/>
                    </a:lnTo>
                    <a:lnTo>
                      <a:pt x="5346" y="12"/>
                    </a:lnTo>
                    <a:lnTo>
                      <a:pt x="5274" y="18"/>
                    </a:lnTo>
                    <a:lnTo>
                      <a:pt x="5268" y="18"/>
                    </a:lnTo>
                    <a:lnTo>
                      <a:pt x="5262" y="12"/>
                    </a:lnTo>
                    <a:lnTo>
                      <a:pt x="5250" y="12"/>
                    </a:lnTo>
                    <a:lnTo>
                      <a:pt x="5226" y="0"/>
                    </a:lnTo>
                    <a:lnTo>
                      <a:pt x="5196" y="0"/>
                    </a:lnTo>
                    <a:lnTo>
                      <a:pt x="5190" y="6"/>
                    </a:lnTo>
                    <a:lnTo>
                      <a:pt x="5184" y="18"/>
                    </a:lnTo>
                    <a:lnTo>
                      <a:pt x="5178" y="18"/>
                    </a:lnTo>
                    <a:lnTo>
                      <a:pt x="5172" y="12"/>
                    </a:lnTo>
                    <a:lnTo>
                      <a:pt x="5160" y="6"/>
                    </a:lnTo>
                    <a:lnTo>
                      <a:pt x="5148" y="6"/>
                    </a:lnTo>
                    <a:lnTo>
                      <a:pt x="5136" y="0"/>
                    </a:lnTo>
                    <a:lnTo>
                      <a:pt x="5124" y="0"/>
                    </a:lnTo>
                    <a:lnTo>
                      <a:pt x="5112" y="6"/>
                    </a:lnTo>
                    <a:lnTo>
                      <a:pt x="5106" y="12"/>
                    </a:lnTo>
                    <a:lnTo>
                      <a:pt x="5094" y="18"/>
                    </a:lnTo>
                    <a:lnTo>
                      <a:pt x="5088" y="24"/>
                    </a:lnTo>
                    <a:lnTo>
                      <a:pt x="5046" y="12"/>
                    </a:lnTo>
                    <a:lnTo>
                      <a:pt x="4938" y="6"/>
                    </a:lnTo>
                    <a:lnTo>
                      <a:pt x="4968" y="36"/>
                    </a:lnTo>
                    <a:lnTo>
                      <a:pt x="4902" y="12"/>
                    </a:lnTo>
                    <a:lnTo>
                      <a:pt x="4842" y="24"/>
                    </a:lnTo>
                    <a:lnTo>
                      <a:pt x="4830" y="24"/>
                    </a:lnTo>
                    <a:lnTo>
                      <a:pt x="4812" y="18"/>
                    </a:lnTo>
                    <a:lnTo>
                      <a:pt x="4746" y="18"/>
                    </a:lnTo>
                    <a:lnTo>
                      <a:pt x="4710" y="24"/>
                    </a:lnTo>
                    <a:lnTo>
                      <a:pt x="4686" y="36"/>
                    </a:lnTo>
                    <a:lnTo>
                      <a:pt x="4674" y="36"/>
                    </a:lnTo>
                    <a:lnTo>
                      <a:pt x="4764" y="60"/>
                    </a:lnTo>
                    <a:lnTo>
                      <a:pt x="4674" y="48"/>
                    </a:lnTo>
                    <a:lnTo>
                      <a:pt x="4662" y="48"/>
                    </a:lnTo>
                    <a:lnTo>
                      <a:pt x="4590" y="36"/>
                    </a:lnTo>
                    <a:lnTo>
                      <a:pt x="4542" y="36"/>
                    </a:lnTo>
                    <a:lnTo>
                      <a:pt x="4530" y="48"/>
                    </a:lnTo>
                    <a:lnTo>
                      <a:pt x="4530" y="60"/>
                    </a:lnTo>
                    <a:lnTo>
                      <a:pt x="4512" y="60"/>
                    </a:lnTo>
                    <a:lnTo>
                      <a:pt x="4482" y="54"/>
                    </a:lnTo>
                    <a:lnTo>
                      <a:pt x="4392" y="54"/>
                    </a:lnTo>
                    <a:lnTo>
                      <a:pt x="4350" y="60"/>
                    </a:lnTo>
                    <a:lnTo>
                      <a:pt x="4302" y="66"/>
                    </a:lnTo>
                    <a:lnTo>
                      <a:pt x="4260" y="66"/>
                    </a:lnTo>
                    <a:lnTo>
                      <a:pt x="4242" y="72"/>
                    </a:lnTo>
                    <a:lnTo>
                      <a:pt x="4260" y="72"/>
                    </a:lnTo>
                    <a:lnTo>
                      <a:pt x="4266" y="78"/>
                    </a:lnTo>
                    <a:lnTo>
                      <a:pt x="4278" y="78"/>
                    </a:lnTo>
                    <a:lnTo>
                      <a:pt x="4362" y="84"/>
                    </a:lnTo>
                    <a:lnTo>
                      <a:pt x="4278" y="96"/>
                    </a:lnTo>
                    <a:lnTo>
                      <a:pt x="4284" y="96"/>
                    </a:lnTo>
                    <a:lnTo>
                      <a:pt x="4290" y="102"/>
                    </a:lnTo>
                    <a:lnTo>
                      <a:pt x="4314" y="114"/>
                    </a:lnTo>
                    <a:lnTo>
                      <a:pt x="4338" y="114"/>
                    </a:lnTo>
                    <a:lnTo>
                      <a:pt x="4356" y="108"/>
                    </a:lnTo>
                    <a:lnTo>
                      <a:pt x="4392" y="108"/>
                    </a:lnTo>
                    <a:lnTo>
                      <a:pt x="4398" y="102"/>
                    </a:lnTo>
                    <a:lnTo>
                      <a:pt x="4410" y="102"/>
                    </a:lnTo>
                    <a:lnTo>
                      <a:pt x="4416" y="96"/>
                    </a:lnTo>
                    <a:lnTo>
                      <a:pt x="4440" y="96"/>
                    </a:lnTo>
                    <a:lnTo>
                      <a:pt x="4458" y="90"/>
                    </a:lnTo>
                    <a:lnTo>
                      <a:pt x="4500" y="90"/>
                    </a:lnTo>
                    <a:lnTo>
                      <a:pt x="4518" y="96"/>
                    </a:lnTo>
                    <a:lnTo>
                      <a:pt x="4536" y="96"/>
                    </a:lnTo>
                    <a:lnTo>
                      <a:pt x="4548" y="102"/>
                    </a:lnTo>
                    <a:lnTo>
                      <a:pt x="4560" y="102"/>
                    </a:lnTo>
                    <a:lnTo>
                      <a:pt x="4494" y="102"/>
                    </a:lnTo>
                    <a:lnTo>
                      <a:pt x="4482" y="108"/>
                    </a:lnTo>
                    <a:lnTo>
                      <a:pt x="4458" y="108"/>
                    </a:lnTo>
                    <a:lnTo>
                      <a:pt x="4446" y="114"/>
                    </a:lnTo>
                    <a:lnTo>
                      <a:pt x="4434" y="114"/>
                    </a:lnTo>
                    <a:lnTo>
                      <a:pt x="4422" y="120"/>
                    </a:lnTo>
                    <a:lnTo>
                      <a:pt x="4410" y="120"/>
                    </a:lnTo>
                    <a:lnTo>
                      <a:pt x="4404" y="126"/>
                    </a:lnTo>
                    <a:lnTo>
                      <a:pt x="4398" y="126"/>
                    </a:lnTo>
                    <a:lnTo>
                      <a:pt x="4434" y="126"/>
                    </a:lnTo>
                    <a:lnTo>
                      <a:pt x="4452" y="132"/>
                    </a:lnTo>
                    <a:lnTo>
                      <a:pt x="4488" y="132"/>
                    </a:lnTo>
                    <a:lnTo>
                      <a:pt x="4500" y="126"/>
                    </a:lnTo>
                    <a:lnTo>
                      <a:pt x="4506" y="126"/>
                    </a:lnTo>
                    <a:lnTo>
                      <a:pt x="4512" y="120"/>
                    </a:lnTo>
                    <a:lnTo>
                      <a:pt x="4638" y="120"/>
                    </a:lnTo>
                    <a:lnTo>
                      <a:pt x="4656" y="114"/>
                    </a:lnTo>
                    <a:lnTo>
                      <a:pt x="4680" y="114"/>
                    </a:lnTo>
                    <a:lnTo>
                      <a:pt x="4698" y="108"/>
                    </a:lnTo>
                    <a:lnTo>
                      <a:pt x="4710" y="108"/>
                    </a:lnTo>
                    <a:lnTo>
                      <a:pt x="4722" y="96"/>
                    </a:lnTo>
                    <a:lnTo>
                      <a:pt x="4734" y="96"/>
                    </a:lnTo>
                    <a:lnTo>
                      <a:pt x="4752" y="90"/>
                    </a:lnTo>
                    <a:lnTo>
                      <a:pt x="4770" y="90"/>
                    </a:lnTo>
                    <a:lnTo>
                      <a:pt x="4782" y="84"/>
                    </a:lnTo>
                    <a:lnTo>
                      <a:pt x="4830" y="84"/>
                    </a:lnTo>
                    <a:lnTo>
                      <a:pt x="4746" y="114"/>
                    </a:lnTo>
                    <a:lnTo>
                      <a:pt x="4782" y="114"/>
                    </a:lnTo>
                    <a:lnTo>
                      <a:pt x="4734" y="126"/>
                    </a:lnTo>
                    <a:lnTo>
                      <a:pt x="4716" y="126"/>
                    </a:lnTo>
                    <a:lnTo>
                      <a:pt x="4674" y="132"/>
                    </a:lnTo>
                    <a:lnTo>
                      <a:pt x="4620" y="132"/>
                    </a:lnTo>
                    <a:lnTo>
                      <a:pt x="4566" y="138"/>
                    </a:lnTo>
                    <a:lnTo>
                      <a:pt x="4536" y="138"/>
                    </a:lnTo>
                    <a:lnTo>
                      <a:pt x="4524" y="150"/>
                    </a:lnTo>
                    <a:lnTo>
                      <a:pt x="4524" y="156"/>
                    </a:lnTo>
                    <a:lnTo>
                      <a:pt x="4602" y="174"/>
                    </a:lnTo>
                    <a:lnTo>
                      <a:pt x="4596" y="174"/>
                    </a:lnTo>
                    <a:lnTo>
                      <a:pt x="4590" y="180"/>
                    </a:lnTo>
                    <a:lnTo>
                      <a:pt x="4578" y="180"/>
                    </a:lnTo>
                    <a:lnTo>
                      <a:pt x="4566" y="186"/>
                    </a:lnTo>
                    <a:lnTo>
                      <a:pt x="4542" y="186"/>
                    </a:lnTo>
                    <a:lnTo>
                      <a:pt x="4518" y="174"/>
                    </a:lnTo>
                    <a:lnTo>
                      <a:pt x="4500" y="162"/>
                    </a:lnTo>
                    <a:lnTo>
                      <a:pt x="4476" y="150"/>
                    </a:lnTo>
                    <a:lnTo>
                      <a:pt x="4470" y="144"/>
                    </a:lnTo>
                    <a:lnTo>
                      <a:pt x="4356" y="144"/>
                    </a:lnTo>
                    <a:lnTo>
                      <a:pt x="4350" y="150"/>
                    </a:lnTo>
                    <a:lnTo>
                      <a:pt x="4344" y="162"/>
                    </a:lnTo>
                    <a:lnTo>
                      <a:pt x="4338" y="168"/>
                    </a:lnTo>
                    <a:lnTo>
                      <a:pt x="4368" y="186"/>
                    </a:lnTo>
                    <a:lnTo>
                      <a:pt x="4386" y="204"/>
                    </a:lnTo>
                    <a:lnTo>
                      <a:pt x="4410" y="216"/>
                    </a:lnTo>
                    <a:lnTo>
                      <a:pt x="4458" y="216"/>
                    </a:lnTo>
                    <a:lnTo>
                      <a:pt x="4476" y="210"/>
                    </a:lnTo>
                    <a:lnTo>
                      <a:pt x="4488" y="210"/>
                    </a:lnTo>
                    <a:lnTo>
                      <a:pt x="4476" y="216"/>
                    </a:lnTo>
                    <a:lnTo>
                      <a:pt x="4470" y="228"/>
                    </a:lnTo>
                    <a:lnTo>
                      <a:pt x="4398" y="228"/>
                    </a:lnTo>
                    <a:lnTo>
                      <a:pt x="4380" y="222"/>
                    </a:lnTo>
                    <a:lnTo>
                      <a:pt x="4350" y="222"/>
                    </a:lnTo>
                    <a:lnTo>
                      <a:pt x="4314" y="228"/>
                    </a:lnTo>
                    <a:lnTo>
                      <a:pt x="4272" y="234"/>
                    </a:lnTo>
                    <a:lnTo>
                      <a:pt x="4230" y="234"/>
                    </a:lnTo>
                    <a:lnTo>
                      <a:pt x="4218" y="240"/>
                    </a:lnTo>
                    <a:lnTo>
                      <a:pt x="4200" y="246"/>
                    </a:lnTo>
                    <a:lnTo>
                      <a:pt x="4188" y="258"/>
                    </a:lnTo>
                    <a:lnTo>
                      <a:pt x="4176" y="264"/>
                    </a:lnTo>
                    <a:lnTo>
                      <a:pt x="4170" y="270"/>
                    </a:lnTo>
                    <a:lnTo>
                      <a:pt x="4164" y="270"/>
                    </a:lnTo>
                    <a:lnTo>
                      <a:pt x="4236" y="258"/>
                    </a:lnTo>
                    <a:lnTo>
                      <a:pt x="4236" y="276"/>
                    </a:lnTo>
                    <a:lnTo>
                      <a:pt x="4296" y="258"/>
                    </a:lnTo>
                    <a:lnTo>
                      <a:pt x="4224" y="288"/>
                    </a:lnTo>
                    <a:lnTo>
                      <a:pt x="4230" y="288"/>
                    </a:lnTo>
                    <a:lnTo>
                      <a:pt x="4236" y="294"/>
                    </a:lnTo>
                    <a:lnTo>
                      <a:pt x="4248" y="300"/>
                    </a:lnTo>
                    <a:lnTo>
                      <a:pt x="4278" y="300"/>
                    </a:lnTo>
                    <a:lnTo>
                      <a:pt x="4314" y="288"/>
                    </a:lnTo>
                    <a:lnTo>
                      <a:pt x="4326" y="288"/>
                    </a:lnTo>
                    <a:lnTo>
                      <a:pt x="4344" y="282"/>
                    </a:lnTo>
                    <a:lnTo>
                      <a:pt x="4350" y="276"/>
                    </a:lnTo>
                    <a:lnTo>
                      <a:pt x="4356" y="276"/>
                    </a:lnTo>
                    <a:lnTo>
                      <a:pt x="4254" y="312"/>
                    </a:lnTo>
                    <a:lnTo>
                      <a:pt x="4188" y="312"/>
                    </a:lnTo>
                    <a:lnTo>
                      <a:pt x="4176" y="288"/>
                    </a:lnTo>
                    <a:lnTo>
                      <a:pt x="4164" y="288"/>
                    </a:lnTo>
                    <a:lnTo>
                      <a:pt x="4146" y="282"/>
                    </a:lnTo>
                    <a:lnTo>
                      <a:pt x="4110" y="282"/>
                    </a:lnTo>
                    <a:lnTo>
                      <a:pt x="4104" y="288"/>
                    </a:lnTo>
                    <a:lnTo>
                      <a:pt x="4104" y="300"/>
                    </a:lnTo>
                    <a:lnTo>
                      <a:pt x="4110" y="312"/>
                    </a:lnTo>
                    <a:lnTo>
                      <a:pt x="4110" y="318"/>
                    </a:lnTo>
                    <a:lnTo>
                      <a:pt x="4116" y="324"/>
                    </a:lnTo>
                    <a:lnTo>
                      <a:pt x="4092" y="324"/>
                    </a:lnTo>
                    <a:lnTo>
                      <a:pt x="4074" y="330"/>
                    </a:lnTo>
                    <a:lnTo>
                      <a:pt x="4032" y="330"/>
                    </a:lnTo>
                    <a:lnTo>
                      <a:pt x="4020" y="336"/>
                    </a:lnTo>
                    <a:lnTo>
                      <a:pt x="4002" y="342"/>
                    </a:lnTo>
                    <a:lnTo>
                      <a:pt x="3990" y="348"/>
                    </a:lnTo>
                    <a:lnTo>
                      <a:pt x="3972" y="354"/>
                    </a:lnTo>
                    <a:lnTo>
                      <a:pt x="3936" y="354"/>
                    </a:lnTo>
                    <a:lnTo>
                      <a:pt x="3924" y="360"/>
                    </a:lnTo>
                    <a:lnTo>
                      <a:pt x="3918" y="360"/>
                    </a:lnTo>
                    <a:lnTo>
                      <a:pt x="3924" y="360"/>
                    </a:lnTo>
                    <a:lnTo>
                      <a:pt x="3936" y="366"/>
                    </a:lnTo>
                    <a:lnTo>
                      <a:pt x="3978" y="366"/>
                    </a:lnTo>
                    <a:lnTo>
                      <a:pt x="3990" y="360"/>
                    </a:lnTo>
                    <a:lnTo>
                      <a:pt x="3996" y="354"/>
                    </a:lnTo>
                    <a:lnTo>
                      <a:pt x="3984" y="372"/>
                    </a:lnTo>
                    <a:lnTo>
                      <a:pt x="4020" y="366"/>
                    </a:lnTo>
                    <a:lnTo>
                      <a:pt x="4044" y="354"/>
                    </a:lnTo>
                    <a:lnTo>
                      <a:pt x="4044" y="372"/>
                    </a:lnTo>
                    <a:lnTo>
                      <a:pt x="4074" y="366"/>
                    </a:lnTo>
                    <a:lnTo>
                      <a:pt x="4098" y="366"/>
                    </a:lnTo>
                    <a:lnTo>
                      <a:pt x="4098" y="372"/>
                    </a:lnTo>
                    <a:lnTo>
                      <a:pt x="4104" y="378"/>
                    </a:lnTo>
                    <a:lnTo>
                      <a:pt x="4122" y="378"/>
                    </a:lnTo>
                    <a:lnTo>
                      <a:pt x="4146" y="366"/>
                    </a:lnTo>
                    <a:lnTo>
                      <a:pt x="4152" y="366"/>
                    </a:lnTo>
                    <a:lnTo>
                      <a:pt x="4164" y="360"/>
                    </a:lnTo>
                    <a:lnTo>
                      <a:pt x="4170" y="372"/>
                    </a:lnTo>
                    <a:lnTo>
                      <a:pt x="4200" y="354"/>
                    </a:lnTo>
                    <a:lnTo>
                      <a:pt x="4206" y="360"/>
                    </a:lnTo>
                    <a:lnTo>
                      <a:pt x="4212" y="372"/>
                    </a:lnTo>
                    <a:lnTo>
                      <a:pt x="4224" y="372"/>
                    </a:lnTo>
                    <a:lnTo>
                      <a:pt x="4236" y="366"/>
                    </a:lnTo>
                    <a:lnTo>
                      <a:pt x="4242" y="360"/>
                    </a:lnTo>
                    <a:lnTo>
                      <a:pt x="4248" y="360"/>
                    </a:lnTo>
                    <a:lnTo>
                      <a:pt x="4254" y="366"/>
                    </a:lnTo>
                    <a:lnTo>
                      <a:pt x="4266" y="372"/>
                    </a:lnTo>
                    <a:lnTo>
                      <a:pt x="4284" y="372"/>
                    </a:lnTo>
                    <a:lnTo>
                      <a:pt x="4290" y="366"/>
                    </a:lnTo>
                    <a:lnTo>
                      <a:pt x="4290" y="360"/>
                    </a:lnTo>
                    <a:lnTo>
                      <a:pt x="4284" y="354"/>
                    </a:lnTo>
                    <a:lnTo>
                      <a:pt x="4338" y="372"/>
                    </a:lnTo>
                    <a:lnTo>
                      <a:pt x="4344" y="378"/>
                    </a:lnTo>
                    <a:lnTo>
                      <a:pt x="4350" y="390"/>
                    </a:lnTo>
                    <a:lnTo>
                      <a:pt x="4374" y="390"/>
                    </a:lnTo>
                    <a:lnTo>
                      <a:pt x="4410" y="378"/>
                    </a:lnTo>
                    <a:lnTo>
                      <a:pt x="4440" y="372"/>
                    </a:lnTo>
                    <a:lnTo>
                      <a:pt x="4476" y="372"/>
                    </a:lnTo>
                    <a:lnTo>
                      <a:pt x="4494" y="366"/>
                    </a:lnTo>
                    <a:lnTo>
                      <a:pt x="4506" y="360"/>
                    </a:lnTo>
                    <a:lnTo>
                      <a:pt x="4524" y="342"/>
                    </a:lnTo>
                    <a:lnTo>
                      <a:pt x="4464" y="342"/>
                    </a:lnTo>
                    <a:lnTo>
                      <a:pt x="4470" y="336"/>
                    </a:lnTo>
                    <a:lnTo>
                      <a:pt x="4470" y="330"/>
                    </a:lnTo>
                    <a:lnTo>
                      <a:pt x="4416" y="330"/>
                    </a:lnTo>
                    <a:lnTo>
                      <a:pt x="4362" y="318"/>
                    </a:lnTo>
                    <a:lnTo>
                      <a:pt x="4380" y="300"/>
                    </a:lnTo>
                    <a:lnTo>
                      <a:pt x="4440" y="318"/>
                    </a:lnTo>
                    <a:lnTo>
                      <a:pt x="4452" y="318"/>
                    </a:lnTo>
                    <a:lnTo>
                      <a:pt x="4488" y="312"/>
                    </a:lnTo>
                    <a:lnTo>
                      <a:pt x="4566" y="312"/>
                    </a:lnTo>
                    <a:lnTo>
                      <a:pt x="4578" y="300"/>
                    </a:lnTo>
                    <a:lnTo>
                      <a:pt x="4578" y="288"/>
                    </a:lnTo>
                    <a:lnTo>
                      <a:pt x="4584" y="288"/>
                    </a:lnTo>
                    <a:lnTo>
                      <a:pt x="4590" y="282"/>
                    </a:lnTo>
                    <a:lnTo>
                      <a:pt x="4608" y="282"/>
                    </a:lnTo>
                    <a:lnTo>
                      <a:pt x="4626" y="276"/>
                    </a:lnTo>
                    <a:lnTo>
                      <a:pt x="4662" y="276"/>
                    </a:lnTo>
                    <a:lnTo>
                      <a:pt x="4680" y="270"/>
                    </a:lnTo>
                    <a:lnTo>
                      <a:pt x="4710" y="270"/>
                    </a:lnTo>
                    <a:lnTo>
                      <a:pt x="4722" y="264"/>
                    </a:lnTo>
                    <a:lnTo>
                      <a:pt x="4728" y="264"/>
                    </a:lnTo>
                    <a:lnTo>
                      <a:pt x="4704" y="246"/>
                    </a:lnTo>
                    <a:lnTo>
                      <a:pt x="4746" y="246"/>
                    </a:lnTo>
                    <a:lnTo>
                      <a:pt x="4770" y="240"/>
                    </a:lnTo>
                    <a:lnTo>
                      <a:pt x="4782" y="234"/>
                    </a:lnTo>
                    <a:lnTo>
                      <a:pt x="4776" y="228"/>
                    </a:lnTo>
                    <a:lnTo>
                      <a:pt x="4770" y="228"/>
                    </a:lnTo>
                    <a:lnTo>
                      <a:pt x="4758" y="222"/>
                    </a:lnTo>
                    <a:lnTo>
                      <a:pt x="4746" y="222"/>
                    </a:lnTo>
                    <a:lnTo>
                      <a:pt x="4734" y="216"/>
                    </a:lnTo>
                    <a:lnTo>
                      <a:pt x="4686" y="216"/>
                    </a:lnTo>
                    <a:lnTo>
                      <a:pt x="4674" y="210"/>
                    </a:lnTo>
                    <a:lnTo>
                      <a:pt x="4662" y="210"/>
                    </a:lnTo>
                    <a:lnTo>
                      <a:pt x="4662" y="204"/>
                    </a:lnTo>
                    <a:lnTo>
                      <a:pt x="4674" y="198"/>
                    </a:lnTo>
                    <a:lnTo>
                      <a:pt x="4686" y="198"/>
                    </a:lnTo>
                    <a:lnTo>
                      <a:pt x="4704" y="192"/>
                    </a:lnTo>
                    <a:lnTo>
                      <a:pt x="4716" y="186"/>
                    </a:lnTo>
                    <a:lnTo>
                      <a:pt x="4764" y="186"/>
                    </a:lnTo>
                    <a:lnTo>
                      <a:pt x="4782" y="192"/>
                    </a:lnTo>
                    <a:lnTo>
                      <a:pt x="4860" y="192"/>
                    </a:lnTo>
                    <a:lnTo>
                      <a:pt x="4878" y="186"/>
                    </a:lnTo>
                    <a:lnTo>
                      <a:pt x="4902" y="186"/>
                    </a:lnTo>
                    <a:lnTo>
                      <a:pt x="4896" y="180"/>
                    </a:lnTo>
                    <a:lnTo>
                      <a:pt x="4878" y="180"/>
                    </a:lnTo>
                    <a:lnTo>
                      <a:pt x="4866" y="174"/>
                    </a:lnTo>
                    <a:lnTo>
                      <a:pt x="4872" y="168"/>
                    </a:lnTo>
                    <a:lnTo>
                      <a:pt x="4902" y="162"/>
                    </a:lnTo>
                    <a:lnTo>
                      <a:pt x="4944" y="168"/>
                    </a:lnTo>
                    <a:lnTo>
                      <a:pt x="4974" y="174"/>
                    </a:lnTo>
                    <a:lnTo>
                      <a:pt x="4986" y="174"/>
                    </a:lnTo>
                    <a:lnTo>
                      <a:pt x="4992" y="168"/>
                    </a:lnTo>
                    <a:lnTo>
                      <a:pt x="4992" y="150"/>
                    </a:lnTo>
                    <a:lnTo>
                      <a:pt x="5070" y="156"/>
                    </a:lnTo>
                    <a:lnTo>
                      <a:pt x="5070" y="132"/>
                    </a:lnTo>
                    <a:lnTo>
                      <a:pt x="5082" y="132"/>
                    </a:lnTo>
                    <a:lnTo>
                      <a:pt x="5094" y="138"/>
                    </a:lnTo>
                    <a:lnTo>
                      <a:pt x="5112" y="138"/>
                    </a:lnTo>
                    <a:lnTo>
                      <a:pt x="5136" y="126"/>
                    </a:lnTo>
                    <a:lnTo>
                      <a:pt x="5148" y="126"/>
                    </a:lnTo>
                    <a:lnTo>
                      <a:pt x="5154" y="120"/>
                    </a:lnTo>
                    <a:lnTo>
                      <a:pt x="5172" y="120"/>
                    </a:lnTo>
                    <a:lnTo>
                      <a:pt x="5208" y="114"/>
                    </a:lnTo>
                    <a:lnTo>
                      <a:pt x="5256" y="102"/>
                    </a:lnTo>
                    <a:lnTo>
                      <a:pt x="5298" y="96"/>
                    </a:lnTo>
                    <a:lnTo>
                      <a:pt x="5322" y="90"/>
                    </a:lnTo>
                    <a:lnTo>
                      <a:pt x="5340" y="90"/>
                    </a:lnTo>
                    <a:lnTo>
                      <a:pt x="5346" y="84"/>
                    </a:lnTo>
                    <a:lnTo>
                      <a:pt x="5238" y="84"/>
                    </a:lnTo>
                    <a:lnTo>
                      <a:pt x="5214" y="96"/>
                    </a:lnTo>
                    <a:lnTo>
                      <a:pt x="5142" y="96"/>
                    </a:lnTo>
                    <a:lnTo>
                      <a:pt x="5226" y="90"/>
                    </a:lnTo>
                    <a:lnTo>
                      <a:pt x="5220" y="78"/>
                    </a:lnTo>
                    <a:lnTo>
                      <a:pt x="5268" y="84"/>
                    </a:lnTo>
                    <a:lnTo>
                      <a:pt x="5274" y="78"/>
                    </a:lnTo>
                    <a:lnTo>
                      <a:pt x="5286" y="72"/>
                    </a:lnTo>
                    <a:lnTo>
                      <a:pt x="5358" y="72"/>
                    </a:lnTo>
                    <a:lnTo>
                      <a:pt x="5406" y="66"/>
                    </a:lnTo>
                    <a:lnTo>
                      <a:pt x="5454" y="66"/>
                    </a:lnTo>
                    <a:lnTo>
                      <a:pt x="5484" y="60"/>
                    </a:lnTo>
                    <a:lnTo>
                      <a:pt x="5496" y="60"/>
                    </a:lnTo>
                    <a:lnTo>
                      <a:pt x="5514" y="54"/>
                    </a:lnTo>
                    <a:lnTo>
                      <a:pt x="5532" y="54"/>
                    </a:lnTo>
                    <a:lnTo>
                      <a:pt x="5550" y="48"/>
                    </a:lnTo>
                    <a:lnTo>
                      <a:pt x="5562" y="42"/>
                    </a:lnTo>
                    <a:lnTo>
                      <a:pt x="5574" y="42"/>
                    </a:lnTo>
                    <a:lnTo>
                      <a:pt x="5574" y="36"/>
                    </a:lnTo>
                    <a:close/>
                    <a:moveTo>
                      <a:pt x="4032" y="966"/>
                    </a:moveTo>
                    <a:lnTo>
                      <a:pt x="4086" y="966"/>
                    </a:lnTo>
                    <a:lnTo>
                      <a:pt x="4134" y="942"/>
                    </a:lnTo>
                    <a:lnTo>
                      <a:pt x="4140" y="930"/>
                    </a:lnTo>
                    <a:lnTo>
                      <a:pt x="4134" y="918"/>
                    </a:lnTo>
                    <a:lnTo>
                      <a:pt x="4134" y="912"/>
                    </a:lnTo>
                    <a:lnTo>
                      <a:pt x="4122" y="906"/>
                    </a:lnTo>
                    <a:lnTo>
                      <a:pt x="4074" y="906"/>
                    </a:lnTo>
                    <a:lnTo>
                      <a:pt x="4062" y="912"/>
                    </a:lnTo>
                    <a:lnTo>
                      <a:pt x="4050" y="912"/>
                    </a:lnTo>
                    <a:lnTo>
                      <a:pt x="4026" y="924"/>
                    </a:lnTo>
                    <a:lnTo>
                      <a:pt x="4014" y="936"/>
                    </a:lnTo>
                    <a:lnTo>
                      <a:pt x="4002" y="942"/>
                    </a:lnTo>
                    <a:lnTo>
                      <a:pt x="4002" y="954"/>
                    </a:lnTo>
                    <a:lnTo>
                      <a:pt x="4014" y="960"/>
                    </a:lnTo>
                    <a:lnTo>
                      <a:pt x="4032" y="966"/>
                    </a:lnTo>
                    <a:close/>
                    <a:moveTo>
                      <a:pt x="4014" y="840"/>
                    </a:moveTo>
                    <a:lnTo>
                      <a:pt x="4002" y="840"/>
                    </a:lnTo>
                    <a:lnTo>
                      <a:pt x="3990" y="846"/>
                    </a:lnTo>
                    <a:lnTo>
                      <a:pt x="3984" y="852"/>
                    </a:lnTo>
                    <a:lnTo>
                      <a:pt x="3972" y="852"/>
                    </a:lnTo>
                    <a:lnTo>
                      <a:pt x="3990" y="852"/>
                    </a:lnTo>
                    <a:lnTo>
                      <a:pt x="4008" y="846"/>
                    </a:lnTo>
                    <a:lnTo>
                      <a:pt x="4026" y="846"/>
                    </a:lnTo>
                    <a:lnTo>
                      <a:pt x="4044" y="840"/>
                    </a:lnTo>
                    <a:lnTo>
                      <a:pt x="4050" y="834"/>
                    </a:lnTo>
                    <a:lnTo>
                      <a:pt x="4056" y="834"/>
                    </a:lnTo>
                    <a:lnTo>
                      <a:pt x="4068" y="822"/>
                    </a:lnTo>
                    <a:lnTo>
                      <a:pt x="4050" y="822"/>
                    </a:lnTo>
                    <a:lnTo>
                      <a:pt x="4044" y="828"/>
                    </a:lnTo>
                    <a:lnTo>
                      <a:pt x="4032" y="828"/>
                    </a:lnTo>
                    <a:lnTo>
                      <a:pt x="4020" y="834"/>
                    </a:lnTo>
                    <a:lnTo>
                      <a:pt x="4014" y="840"/>
                    </a:lnTo>
                    <a:close/>
                    <a:moveTo>
                      <a:pt x="4122" y="822"/>
                    </a:moveTo>
                    <a:lnTo>
                      <a:pt x="4104" y="822"/>
                    </a:lnTo>
                    <a:lnTo>
                      <a:pt x="4098" y="828"/>
                    </a:lnTo>
                    <a:lnTo>
                      <a:pt x="4098" y="840"/>
                    </a:lnTo>
                    <a:lnTo>
                      <a:pt x="4104" y="846"/>
                    </a:lnTo>
                    <a:lnTo>
                      <a:pt x="4110" y="840"/>
                    </a:lnTo>
                    <a:lnTo>
                      <a:pt x="4116" y="840"/>
                    </a:lnTo>
                    <a:lnTo>
                      <a:pt x="4128" y="828"/>
                    </a:lnTo>
                    <a:lnTo>
                      <a:pt x="4122" y="822"/>
                    </a:lnTo>
                    <a:close/>
                    <a:moveTo>
                      <a:pt x="3528" y="1062"/>
                    </a:moveTo>
                    <a:lnTo>
                      <a:pt x="3522" y="1062"/>
                    </a:lnTo>
                    <a:lnTo>
                      <a:pt x="3504" y="1080"/>
                    </a:lnTo>
                    <a:lnTo>
                      <a:pt x="3504" y="1086"/>
                    </a:lnTo>
                    <a:lnTo>
                      <a:pt x="3510" y="1092"/>
                    </a:lnTo>
                    <a:lnTo>
                      <a:pt x="3528" y="1092"/>
                    </a:lnTo>
                    <a:lnTo>
                      <a:pt x="3534" y="1086"/>
                    </a:lnTo>
                    <a:lnTo>
                      <a:pt x="3540" y="1074"/>
                    </a:lnTo>
                    <a:lnTo>
                      <a:pt x="3540" y="1068"/>
                    </a:lnTo>
                    <a:lnTo>
                      <a:pt x="3534" y="1062"/>
                    </a:lnTo>
                    <a:lnTo>
                      <a:pt x="3528" y="1062"/>
                    </a:lnTo>
                    <a:close/>
                    <a:moveTo>
                      <a:pt x="3588" y="1062"/>
                    </a:moveTo>
                    <a:lnTo>
                      <a:pt x="3582" y="1062"/>
                    </a:lnTo>
                    <a:lnTo>
                      <a:pt x="3576" y="1068"/>
                    </a:lnTo>
                    <a:lnTo>
                      <a:pt x="3576" y="1080"/>
                    </a:lnTo>
                    <a:lnTo>
                      <a:pt x="3582" y="1086"/>
                    </a:lnTo>
                    <a:lnTo>
                      <a:pt x="3594" y="1086"/>
                    </a:lnTo>
                    <a:lnTo>
                      <a:pt x="3600" y="1080"/>
                    </a:lnTo>
                    <a:lnTo>
                      <a:pt x="3600" y="1068"/>
                    </a:lnTo>
                    <a:lnTo>
                      <a:pt x="3588" y="1062"/>
                    </a:lnTo>
                    <a:close/>
                    <a:moveTo>
                      <a:pt x="3756" y="1242"/>
                    </a:moveTo>
                    <a:lnTo>
                      <a:pt x="3744" y="1248"/>
                    </a:lnTo>
                    <a:lnTo>
                      <a:pt x="3744" y="1260"/>
                    </a:lnTo>
                    <a:lnTo>
                      <a:pt x="3750" y="1266"/>
                    </a:lnTo>
                    <a:lnTo>
                      <a:pt x="3762" y="1272"/>
                    </a:lnTo>
                    <a:lnTo>
                      <a:pt x="3768" y="1272"/>
                    </a:lnTo>
                    <a:lnTo>
                      <a:pt x="3786" y="1254"/>
                    </a:lnTo>
                    <a:lnTo>
                      <a:pt x="3786" y="1242"/>
                    </a:lnTo>
                    <a:lnTo>
                      <a:pt x="3780" y="1236"/>
                    </a:lnTo>
                    <a:lnTo>
                      <a:pt x="3768" y="1236"/>
                    </a:lnTo>
                    <a:lnTo>
                      <a:pt x="3756" y="1242"/>
                    </a:lnTo>
                    <a:close/>
                    <a:moveTo>
                      <a:pt x="3984" y="2532"/>
                    </a:moveTo>
                    <a:lnTo>
                      <a:pt x="3948" y="2520"/>
                    </a:lnTo>
                    <a:lnTo>
                      <a:pt x="3942" y="2514"/>
                    </a:lnTo>
                    <a:lnTo>
                      <a:pt x="3936" y="2514"/>
                    </a:lnTo>
                    <a:lnTo>
                      <a:pt x="3924" y="2526"/>
                    </a:lnTo>
                    <a:lnTo>
                      <a:pt x="3930" y="2532"/>
                    </a:lnTo>
                    <a:lnTo>
                      <a:pt x="3942" y="2538"/>
                    </a:lnTo>
                    <a:lnTo>
                      <a:pt x="3948" y="2544"/>
                    </a:lnTo>
                    <a:lnTo>
                      <a:pt x="3954" y="2544"/>
                    </a:lnTo>
                    <a:lnTo>
                      <a:pt x="3960" y="2550"/>
                    </a:lnTo>
                    <a:lnTo>
                      <a:pt x="3996" y="2550"/>
                    </a:lnTo>
                    <a:lnTo>
                      <a:pt x="4008" y="2556"/>
                    </a:lnTo>
                    <a:lnTo>
                      <a:pt x="4020" y="2556"/>
                    </a:lnTo>
                    <a:lnTo>
                      <a:pt x="4038" y="2538"/>
                    </a:lnTo>
                    <a:lnTo>
                      <a:pt x="4008" y="2538"/>
                    </a:lnTo>
                    <a:lnTo>
                      <a:pt x="3984" y="2532"/>
                    </a:lnTo>
                    <a:close/>
                    <a:moveTo>
                      <a:pt x="4098" y="2280"/>
                    </a:moveTo>
                    <a:lnTo>
                      <a:pt x="4092" y="2280"/>
                    </a:lnTo>
                    <a:lnTo>
                      <a:pt x="4086" y="2274"/>
                    </a:lnTo>
                    <a:lnTo>
                      <a:pt x="4050" y="2274"/>
                    </a:lnTo>
                    <a:lnTo>
                      <a:pt x="4032" y="2268"/>
                    </a:lnTo>
                    <a:lnTo>
                      <a:pt x="3996" y="2268"/>
                    </a:lnTo>
                    <a:lnTo>
                      <a:pt x="4002" y="2274"/>
                    </a:lnTo>
                    <a:lnTo>
                      <a:pt x="4008" y="2274"/>
                    </a:lnTo>
                    <a:lnTo>
                      <a:pt x="4014" y="2280"/>
                    </a:lnTo>
                    <a:lnTo>
                      <a:pt x="4026" y="2286"/>
                    </a:lnTo>
                    <a:lnTo>
                      <a:pt x="4032" y="2286"/>
                    </a:lnTo>
                    <a:lnTo>
                      <a:pt x="4032" y="2304"/>
                    </a:lnTo>
                    <a:lnTo>
                      <a:pt x="4044" y="2304"/>
                    </a:lnTo>
                    <a:lnTo>
                      <a:pt x="4080" y="2310"/>
                    </a:lnTo>
                    <a:lnTo>
                      <a:pt x="4128" y="2316"/>
                    </a:lnTo>
                    <a:lnTo>
                      <a:pt x="4164" y="2316"/>
                    </a:lnTo>
                    <a:lnTo>
                      <a:pt x="4170" y="2310"/>
                    </a:lnTo>
                    <a:lnTo>
                      <a:pt x="4170" y="2304"/>
                    </a:lnTo>
                    <a:lnTo>
                      <a:pt x="4164" y="2304"/>
                    </a:lnTo>
                    <a:lnTo>
                      <a:pt x="4152" y="2292"/>
                    </a:lnTo>
                    <a:lnTo>
                      <a:pt x="4128" y="2286"/>
                    </a:lnTo>
                    <a:lnTo>
                      <a:pt x="4098" y="2280"/>
                    </a:lnTo>
                    <a:close/>
                    <a:moveTo>
                      <a:pt x="4194" y="2550"/>
                    </a:moveTo>
                    <a:lnTo>
                      <a:pt x="4164" y="2550"/>
                    </a:lnTo>
                    <a:lnTo>
                      <a:pt x="4152" y="2556"/>
                    </a:lnTo>
                    <a:lnTo>
                      <a:pt x="4146" y="2562"/>
                    </a:lnTo>
                    <a:lnTo>
                      <a:pt x="4182" y="2526"/>
                    </a:lnTo>
                    <a:lnTo>
                      <a:pt x="4176" y="2520"/>
                    </a:lnTo>
                    <a:lnTo>
                      <a:pt x="4152" y="2520"/>
                    </a:lnTo>
                    <a:lnTo>
                      <a:pt x="4140" y="2526"/>
                    </a:lnTo>
                    <a:lnTo>
                      <a:pt x="4128" y="2538"/>
                    </a:lnTo>
                    <a:lnTo>
                      <a:pt x="4104" y="2574"/>
                    </a:lnTo>
                    <a:lnTo>
                      <a:pt x="4164" y="2568"/>
                    </a:lnTo>
                    <a:lnTo>
                      <a:pt x="4176" y="2568"/>
                    </a:lnTo>
                    <a:lnTo>
                      <a:pt x="4182" y="2562"/>
                    </a:lnTo>
                    <a:lnTo>
                      <a:pt x="4194" y="2562"/>
                    </a:lnTo>
                    <a:lnTo>
                      <a:pt x="4200" y="2556"/>
                    </a:lnTo>
                    <a:lnTo>
                      <a:pt x="4200" y="2550"/>
                    </a:lnTo>
                    <a:lnTo>
                      <a:pt x="4194" y="2550"/>
                    </a:lnTo>
                    <a:close/>
                    <a:moveTo>
                      <a:pt x="4590" y="1962"/>
                    </a:moveTo>
                    <a:lnTo>
                      <a:pt x="4578" y="1974"/>
                    </a:lnTo>
                    <a:lnTo>
                      <a:pt x="4578" y="1980"/>
                    </a:lnTo>
                    <a:lnTo>
                      <a:pt x="4572" y="1986"/>
                    </a:lnTo>
                    <a:lnTo>
                      <a:pt x="4566" y="1986"/>
                    </a:lnTo>
                    <a:lnTo>
                      <a:pt x="4554" y="1974"/>
                    </a:lnTo>
                    <a:lnTo>
                      <a:pt x="4554" y="1962"/>
                    </a:lnTo>
                    <a:lnTo>
                      <a:pt x="4566" y="1962"/>
                    </a:lnTo>
                    <a:lnTo>
                      <a:pt x="4572" y="1956"/>
                    </a:lnTo>
                    <a:lnTo>
                      <a:pt x="4566" y="1932"/>
                    </a:lnTo>
                    <a:lnTo>
                      <a:pt x="4536" y="1926"/>
                    </a:lnTo>
                    <a:lnTo>
                      <a:pt x="4530" y="1926"/>
                    </a:lnTo>
                    <a:lnTo>
                      <a:pt x="4524" y="1932"/>
                    </a:lnTo>
                    <a:lnTo>
                      <a:pt x="4512" y="1938"/>
                    </a:lnTo>
                    <a:lnTo>
                      <a:pt x="4494" y="1944"/>
                    </a:lnTo>
                    <a:lnTo>
                      <a:pt x="4470" y="1956"/>
                    </a:lnTo>
                    <a:lnTo>
                      <a:pt x="4464" y="1962"/>
                    </a:lnTo>
                    <a:lnTo>
                      <a:pt x="4458" y="1962"/>
                    </a:lnTo>
                    <a:lnTo>
                      <a:pt x="4446" y="1968"/>
                    </a:lnTo>
                    <a:lnTo>
                      <a:pt x="4434" y="1968"/>
                    </a:lnTo>
                    <a:lnTo>
                      <a:pt x="4416" y="1974"/>
                    </a:lnTo>
                    <a:lnTo>
                      <a:pt x="4404" y="1974"/>
                    </a:lnTo>
                    <a:lnTo>
                      <a:pt x="4374" y="1998"/>
                    </a:lnTo>
                    <a:lnTo>
                      <a:pt x="4386" y="1974"/>
                    </a:lnTo>
                    <a:lnTo>
                      <a:pt x="4362" y="1956"/>
                    </a:lnTo>
                    <a:lnTo>
                      <a:pt x="4398" y="1968"/>
                    </a:lnTo>
                    <a:lnTo>
                      <a:pt x="4410" y="1956"/>
                    </a:lnTo>
                    <a:lnTo>
                      <a:pt x="4440" y="1950"/>
                    </a:lnTo>
                    <a:lnTo>
                      <a:pt x="4440" y="1932"/>
                    </a:lnTo>
                    <a:lnTo>
                      <a:pt x="4494" y="1932"/>
                    </a:lnTo>
                    <a:lnTo>
                      <a:pt x="4518" y="1920"/>
                    </a:lnTo>
                    <a:lnTo>
                      <a:pt x="4524" y="1914"/>
                    </a:lnTo>
                    <a:lnTo>
                      <a:pt x="4536" y="1908"/>
                    </a:lnTo>
                    <a:lnTo>
                      <a:pt x="4608" y="1908"/>
                    </a:lnTo>
                    <a:lnTo>
                      <a:pt x="4602" y="1902"/>
                    </a:lnTo>
                    <a:lnTo>
                      <a:pt x="4596" y="1902"/>
                    </a:lnTo>
                    <a:lnTo>
                      <a:pt x="4584" y="1896"/>
                    </a:lnTo>
                    <a:lnTo>
                      <a:pt x="4578" y="1890"/>
                    </a:lnTo>
                    <a:lnTo>
                      <a:pt x="4578" y="1866"/>
                    </a:lnTo>
                    <a:lnTo>
                      <a:pt x="4572" y="1866"/>
                    </a:lnTo>
                    <a:lnTo>
                      <a:pt x="4566" y="1872"/>
                    </a:lnTo>
                    <a:lnTo>
                      <a:pt x="4542" y="1872"/>
                    </a:lnTo>
                    <a:lnTo>
                      <a:pt x="4530" y="1878"/>
                    </a:lnTo>
                    <a:lnTo>
                      <a:pt x="4518" y="1878"/>
                    </a:lnTo>
                    <a:lnTo>
                      <a:pt x="4518" y="1866"/>
                    </a:lnTo>
                    <a:lnTo>
                      <a:pt x="4512" y="1860"/>
                    </a:lnTo>
                    <a:lnTo>
                      <a:pt x="4452" y="1878"/>
                    </a:lnTo>
                    <a:lnTo>
                      <a:pt x="4458" y="1848"/>
                    </a:lnTo>
                    <a:lnTo>
                      <a:pt x="4410" y="1860"/>
                    </a:lnTo>
                    <a:lnTo>
                      <a:pt x="4416" y="1854"/>
                    </a:lnTo>
                    <a:lnTo>
                      <a:pt x="4422" y="1842"/>
                    </a:lnTo>
                    <a:lnTo>
                      <a:pt x="4440" y="1824"/>
                    </a:lnTo>
                    <a:lnTo>
                      <a:pt x="4446" y="1812"/>
                    </a:lnTo>
                    <a:lnTo>
                      <a:pt x="4446" y="1800"/>
                    </a:lnTo>
                    <a:lnTo>
                      <a:pt x="4434" y="1800"/>
                    </a:lnTo>
                    <a:lnTo>
                      <a:pt x="4422" y="1794"/>
                    </a:lnTo>
                    <a:lnTo>
                      <a:pt x="4398" y="1794"/>
                    </a:lnTo>
                    <a:lnTo>
                      <a:pt x="4404" y="1770"/>
                    </a:lnTo>
                    <a:lnTo>
                      <a:pt x="4368" y="1770"/>
                    </a:lnTo>
                    <a:lnTo>
                      <a:pt x="4380" y="1752"/>
                    </a:lnTo>
                    <a:lnTo>
                      <a:pt x="4356" y="1728"/>
                    </a:lnTo>
                    <a:lnTo>
                      <a:pt x="4368" y="1728"/>
                    </a:lnTo>
                    <a:lnTo>
                      <a:pt x="4380" y="1734"/>
                    </a:lnTo>
                    <a:lnTo>
                      <a:pt x="4404" y="1734"/>
                    </a:lnTo>
                    <a:lnTo>
                      <a:pt x="4410" y="1728"/>
                    </a:lnTo>
                    <a:lnTo>
                      <a:pt x="4422" y="1722"/>
                    </a:lnTo>
                    <a:lnTo>
                      <a:pt x="4434" y="1710"/>
                    </a:lnTo>
                    <a:lnTo>
                      <a:pt x="4440" y="1710"/>
                    </a:lnTo>
                    <a:lnTo>
                      <a:pt x="4398" y="1686"/>
                    </a:lnTo>
                    <a:lnTo>
                      <a:pt x="4446" y="1656"/>
                    </a:lnTo>
                    <a:lnTo>
                      <a:pt x="4398" y="1632"/>
                    </a:lnTo>
                    <a:lnTo>
                      <a:pt x="4350" y="1638"/>
                    </a:lnTo>
                    <a:lnTo>
                      <a:pt x="4404" y="1614"/>
                    </a:lnTo>
                    <a:lnTo>
                      <a:pt x="4368" y="1608"/>
                    </a:lnTo>
                    <a:lnTo>
                      <a:pt x="4410" y="1584"/>
                    </a:lnTo>
                    <a:lnTo>
                      <a:pt x="4404" y="1560"/>
                    </a:lnTo>
                    <a:lnTo>
                      <a:pt x="4374" y="1560"/>
                    </a:lnTo>
                    <a:lnTo>
                      <a:pt x="4380" y="1554"/>
                    </a:lnTo>
                    <a:lnTo>
                      <a:pt x="4392" y="1530"/>
                    </a:lnTo>
                    <a:lnTo>
                      <a:pt x="4374" y="1494"/>
                    </a:lnTo>
                    <a:lnTo>
                      <a:pt x="4362" y="1494"/>
                    </a:lnTo>
                    <a:lnTo>
                      <a:pt x="4374" y="1470"/>
                    </a:lnTo>
                    <a:lnTo>
                      <a:pt x="4362" y="1476"/>
                    </a:lnTo>
                    <a:lnTo>
                      <a:pt x="4356" y="1482"/>
                    </a:lnTo>
                    <a:lnTo>
                      <a:pt x="4344" y="1488"/>
                    </a:lnTo>
                    <a:lnTo>
                      <a:pt x="4332" y="1500"/>
                    </a:lnTo>
                    <a:lnTo>
                      <a:pt x="4332" y="1518"/>
                    </a:lnTo>
                    <a:lnTo>
                      <a:pt x="4302" y="1506"/>
                    </a:lnTo>
                    <a:lnTo>
                      <a:pt x="4308" y="1542"/>
                    </a:lnTo>
                    <a:lnTo>
                      <a:pt x="4284" y="1542"/>
                    </a:lnTo>
                    <a:lnTo>
                      <a:pt x="4272" y="1560"/>
                    </a:lnTo>
                    <a:lnTo>
                      <a:pt x="4278" y="1572"/>
                    </a:lnTo>
                    <a:lnTo>
                      <a:pt x="4254" y="1572"/>
                    </a:lnTo>
                    <a:lnTo>
                      <a:pt x="4230" y="1614"/>
                    </a:lnTo>
                    <a:lnTo>
                      <a:pt x="4218" y="1614"/>
                    </a:lnTo>
                    <a:lnTo>
                      <a:pt x="4236" y="1578"/>
                    </a:lnTo>
                    <a:lnTo>
                      <a:pt x="4224" y="1566"/>
                    </a:lnTo>
                    <a:lnTo>
                      <a:pt x="4212" y="1566"/>
                    </a:lnTo>
                    <a:lnTo>
                      <a:pt x="4194" y="1584"/>
                    </a:lnTo>
                    <a:lnTo>
                      <a:pt x="4182" y="1590"/>
                    </a:lnTo>
                    <a:lnTo>
                      <a:pt x="4176" y="1596"/>
                    </a:lnTo>
                    <a:lnTo>
                      <a:pt x="4164" y="1602"/>
                    </a:lnTo>
                    <a:lnTo>
                      <a:pt x="4158" y="1608"/>
                    </a:lnTo>
                    <a:lnTo>
                      <a:pt x="4146" y="1614"/>
                    </a:lnTo>
                    <a:lnTo>
                      <a:pt x="4140" y="1620"/>
                    </a:lnTo>
                    <a:lnTo>
                      <a:pt x="4116" y="1632"/>
                    </a:lnTo>
                    <a:lnTo>
                      <a:pt x="4110" y="1638"/>
                    </a:lnTo>
                    <a:lnTo>
                      <a:pt x="4116" y="1614"/>
                    </a:lnTo>
                    <a:lnTo>
                      <a:pt x="4116" y="1596"/>
                    </a:lnTo>
                    <a:lnTo>
                      <a:pt x="4080" y="1632"/>
                    </a:lnTo>
                    <a:lnTo>
                      <a:pt x="4014" y="1644"/>
                    </a:lnTo>
                    <a:lnTo>
                      <a:pt x="4074" y="1626"/>
                    </a:lnTo>
                    <a:lnTo>
                      <a:pt x="4080" y="1620"/>
                    </a:lnTo>
                    <a:lnTo>
                      <a:pt x="4092" y="1596"/>
                    </a:lnTo>
                    <a:lnTo>
                      <a:pt x="4098" y="1590"/>
                    </a:lnTo>
                    <a:lnTo>
                      <a:pt x="4098" y="1578"/>
                    </a:lnTo>
                    <a:lnTo>
                      <a:pt x="4092" y="1572"/>
                    </a:lnTo>
                    <a:lnTo>
                      <a:pt x="4050" y="1572"/>
                    </a:lnTo>
                    <a:lnTo>
                      <a:pt x="4038" y="1578"/>
                    </a:lnTo>
                    <a:lnTo>
                      <a:pt x="4032" y="1578"/>
                    </a:lnTo>
                    <a:lnTo>
                      <a:pt x="4020" y="1584"/>
                    </a:lnTo>
                    <a:lnTo>
                      <a:pt x="4002" y="1584"/>
                    </a:lnTo>
                    <a:lnTo>
                      <a:pt x="4002" y="1578"/>
                    </a:lnTo>
                    <a:lnTo>
                      <a:pt x="4008" y="1572"/>
                    </a:lnTo>
                    <a:lnTo>
                      <a:pt x="4020" y="1566"/>
                    </a:lnTo>
                    <a:lnTo>
                      <a:pt x="4026" y="1560"/>
                    </a:lnTo>
                    <a:lnTo>
                      <a:pt x="4032" y="1560"/>
                    </a:lnTo>
                    <a:lnTo>
                      <a:pt x="4032" y="1572"/>
                    </a:lnTo>
                    <a:lnTo>
                      <a:pt x="4050" y="1560"/>
                    </a:lnTo>
                    <a:lnTo>
                      <a:pt x="4044" y="1536"/>
                    </a:lnTo>
                    <a:lnTo>
                      <a:pt x="4050" y="1530"/>
                    </a:lnTo>
                    <a:lnTo>
                      <a:pt x="4062" y="1524"/>
                    </a:lnTo>
                    <a:lnTo>
                      <a:pt x="4074" y="1512"/>
                    </a:lnTo>
                    <a:lnTo>
                      <a:pt x="4074" y="1506"/>
                    </a:lnTo>
                    <a:lnTo>
                      <a:pt x="4068" y="1500"/>
                    </a:lnTo>
                    <a:lnTo>
                      <a:pt x="4056" y="1494"/>
                    </a:lnTo>
                    <a:lnTo>
                      <a:pt x="4044" y="1494"/>
                    </a:lnTo>
                    <a:lnTo>
                      <a:pt x="4032" y="1488"/>
                    </a:lnTo>
                    <a:lnTo>
                      <a:pt x="4014" y="1488"/>
                    </a:lnTo>
                    <a:lnTo>
                      <a:pt x="4044" y="1488"/>
                    </a:lnTo>
                    <a:lnTo>
                      <a:pt x="4056" y="1482"/>
                    </a:lnTo>
                    <a:lnTo>
                      <a:pt x="4074" y="1482"/>
                    </a:lnTo>
                    <a:lnTo>
                      <a:pt x="4086" y="1470"/>
                    </a:lnTo>
                    <a:lnTo>
                      <a:pt x="4098" y="1446"/>
                    </a:lnTo>
                    <a:lnTo>
                      <a:pt x="4104" y="1440"/>
                    </a:lnTo>
                    <a:lnTo>
                      <a:pt x="4110" y="1440"/>
                    </a:lnTo>
                    <a:lnTo>
                      <a:pt x="4122" y="1434"/>
                    </a:lnTo>
                    <a:lnTo>
                      <a:pt x="4128" y="1434"/>
                    </a:lnTo>
                    <a:lnTo>
                      <a:pt x="4134" y="1428"/>
                    </a:lnTo>
                    <a:lnTo>
                      <a:pt x="4122" y="1416"/>
                    </a:lnTo>
                    <a:lnTo>
                      <a:pt x="4110" y="1422"/>
                    </a:lnTo>
                    <a:lnTo>
                      <a:pt x="4098" y="1434"/>
                    </a:lnTo>
                    <a:lnTo>
                      <a:pt x="4092" y="1404"/>
                    </a:lnTo>
                    <a:lnTo>
                      <a:pt x="4068" y="1404"/>
                    </a:lnTo>
                    <a:lnTo>
                      <a:pt x="4050" y="1410"/>
                    </a:lnTo>
                    <a:lnTo>
                      <a:pt x="4026" y="1410"/>
                    </a:lnTo>
                    <a:lnTo>
                      <a:pt x="4020" y="1404"/>
                    </a:lnTo>
                    <a:lnTo>
                      <a:pt x="4020" y="1386"/>
                    </a:lnTo>
                    <a:lnTo>
                      <a:pt x="4038" y="1368"/>
                    </a:lnTo>
                    <a:lnTo>
                      <a:pt x="4032" y="1362"/>
                    </a:lnTo>
                    <a:lnTo>
                      <a:pt x="4014" y="1362"/>
                    </a:lnTo>
                    <a:lnTo>
                      <a:pt x="4008" y="1368"/>
                    </a:lnTo>
                    <a:lnTo>
                      <a:pt x="4020" y="1344"/>
                    </a:lnTo>
                    <a:lnTo>
                      <a:pt x="3984" y="1350"/>
                    </a:lnTo>
                    <a:lnTo>
                      <a:pt x="3984" y="1326"/>
                    </a:lnTo>
                    <a:lnTo>
                      <a:pt x="3978" y="1314"/>
                    </a:lnTo>
                    <a:lnTo>
                      <a:pt x="3972" y="1308"/>
                    </a:lnTo>
                    <a:lnTo>
                      <a:pt x="3948" y="1308"/>
                    </a:lnTo>
                    <a:lnTo>
                      <a:pt x="3930" y="1314"/>
                    </a:lnTo>
                    <a:lnTo>
                      <a:pt x="3906" y="1326"/>
                    </a:lnTo>
                    <a:lnTo>
                      <a:pt x="3900" y="1332"/>
                    </a:lnTo>
                    <a:lnTo>
                      <a:pt x="3894" y="1332"/>
                    </a:lnTo>
                    <a:lnTo>
                      <a:pt x="3888" y="1326"/>
                    </a:lnTo>
                    <a:lnTo>
                      <a:pt x="3876" y="1320"/>
                    </a:lnTo>
                    <a:lnTo>
                      <a:pt x="3864" y="1320"/>
                    </a:lnTo>
                    <a:lnTo>
                      <a:pt x="3852" y="1326"/>
                    </a:lnTo>
                    <a:lnTo>
                      <a:pt x="3846" y="1326"/>
                    </a:lnTo>
                    <a:lnTo>
                      <a:pt x="3834" y="1332"/>
                    </a:lnTo>
                    <a:lnTo>
                      <a:pt x="3822" y="1326"/>
                    </a:lnTo>
                    <a:lnTo>
                      <a:pt x="3762" y="1302"/>
                    </a:lnTo>
                    <a:lnTo>
                      <a:pt x="3738" y="1302"/>
                    </a:lnTo>
                    <a:lnTo>
                      <a:pt x="3714" y="1314"/>
                    </a:lnTo>
                    <a:lnTo>
                      <a:pt x="3708" y="1326"/>
                    </a:lnTo>
                    <a:lnTo>
                      <a:pt x="3702" y="1326"/>
                    </a:lnTo>
                    <a:lnTo>
                      <a:pt x="3684" y="1344"/>
                    </a:lnTo>
                    <a:lnTo>
                      <a:pt x="3684" y="1350"/>
                    </a:lnTo>
                    <a:lnTo>
                      <a:pt x="3696" y="1356"/>
                    </a:lnTo>
                    <a:lnTo>
                      <a:pt x="3702" y="1362"/>
                    </a:lnTo>
                    <a:lnTo>
                      <a:pt x="3708" y="1374"/>
                    </a:lnTo>
                    <a:lnTo>
                      <a:pt x="3708" y="1380"/>
                    </a:lnTo>
                    <a:lnTo>
                      <a:pt x="3702" y="1386"/>
                    </a:lnTo>
                    <a:lnTo>
                      <a:pt x="3690" y="1392"/>
                    </a:lnTo>
                    <a:lnTo>
                      <a:pt x="3672" y="1410"/>
                    </a:lnTo>
                    <a:lnTo>
                      <a:pt x="3660" y="1416"/>
                    </a:lnTo>
                    <a:lnTo>
                      <a:pt x="3636" y="1422"/>
                    </a:lnTo>
                    <a:lnTo>
                      <a:pt x="3660" y="1440"/>
                    </a:lnTo>
                    <a:lnTo>
                      <a:pt x="3654" y="1446"/>
                    </a:lnTo>
                    <a:lnTo>
                      <a:pt x="3642" y="1446"/>
                    </a:lnTo>
                    <a:lnTo>
                      <a:pt x="3636" y="1452"/>
                    </a:lnTo>
                    <a:lnTo>
                      <a:pt x="3636" y="1470"/>
                    </a:lnTo>
                    <a:lnTo>
                      <a:pt x="3642" y="1482"/>
                    </a:lnTo>
                    <a:lnTo>
                      <a:pt x="3642" y="1488"/>
                    </a:lnTo>
                    <a:lnTo>
                      <a:pt x="3636" y="1500"/>
                    </a:lnTo>
                    <a:lnTo>
                      <a:pt x="3624" y="1506"/>
                    </a:lnTo>
                    <a:lnTo>
                      <a:pt x="3618" y="1512"/>
                    </a:lnTo>
                    <a:lnTo>
                      <a:pt x="3606" y="1512"/>
                    </a:lnTo>
                    <a:lnTo>
                      <a:pt x="3582" y="1524"/>
                    </a:lnTo>
                    <a:lnTo>
                      <a:pt x="3576" y="1536"/>
                    </a:lnTo>
                    <a:lnTo>
                      <a:pt x="3576" y="1548"/>
                    </a:lnTo>
                    <a:lnTo>
                      <a:pt x="3570" y="1548"/>
                    </a:lnTo>
                    <a:lnTo>
                      <a:pt x="3564" y="1554"/>
                    </a:lnTo>
                    <a:lnTo>
                      <a:pt x="3552" y="1554"/>
                    </a:lnTo>
                    <a:lnTo>
                      <a:pt x="3540" y="1560"/>
                    </a:lnTo>
                    <a:lnTo>
                      <a:pt x="3534" y="1566"/>
                    </a:lnTo>
                    <a:lnTo>
                      <a:pt x="3522" y="1572"/>
                    </a:lnTo>
                    <a:lnTo>
                      <a:pt x="3504" y="1590"/>
                    </a:lnTo>
                    <a:lnTo>
                      <a:pt x="3510" y="1596"/>
                    </a:lnTo>
                    <a:lnTo>
                      <a:pt x="3522" y="1602"/>
                    </a:lnTo>
                    <a:lnTo>
                      <a:pt x="3534" y="1614"/>
                    </a:lnTo>
                    <a:lnTo>
                      <a:pt x="3552" y="1620"/>
                    </a:lnTo>
                    <a:lnTo>
                      <a:pt x="3558" y="1632"/>
                    </a:lnTo>
                    <a:lnTo>
                      <a:pt x="3564" y="1638"/>
                    </a:lnTo>
                    <a:lnTo>
                      <a:pt x="3564" y="1662"/>
                    </a:lnTo>
                    <a:lnTo>
                      <a:pt x="3558" y="1698"/>
                    </a:lnTo>
                    <a:lnTo>
                      <a:pt x="3540" y="1746"/>
                    </a:lnTo>
                    <a:lnTo>
                      <a:pt x="3510" y="1776"/>
                    </a:lnTo>
                    <a:lnTo>
                      <a:pt x="3468" y="1800"/>
                    </a:lnTo>
                    <a:lnTo>
                      <a:pt x="3426" y="1830"/>
                    </a:lnTo>
                    <a:lnTo>
                      <a:pt x="3390" y="1854"/>
                    </a:lnTo>
                    <a:lnTo>
                      <a:pt x="3366" y="1860"/>
                    </a:lnTo>
                    <a:lnTo>
                      <a:pt x="3336" y="1860"/>
                    </a:lnTo>
                    <a:lnTo>
                      <a:pt x="3300" y="1866"/>
                    </a:lnTo>
                    <a:lnTo>
                      <a:pt x="3276" y="1872"/>
                    </a:lnTo>
                    <a:lnTo>
                      <a:pt x="3258" y="1878"/>
                    </a:lnTo>
                    <a:lnTo>
                      <a:pt x="3258" y="1902"/>
                    </a:lnTo>
                    <a:lnTo>
                      <a:pt x="3264" y="1914"/>
                    </a:lnTo>
                    <a:lnTo>
                      <a:pt x="3264" y="1926"/>
                    </a:lnTo>
                    <a:lnTo>
                      <a:pt x="3270" y="1938"/>
                    </a:lnTo>
                    <a:lnTo>
                      <a:pt x="3270" y="1950"/>
                    </a:lnTo>
                    <a:lnTo>
                      <a:pt x="3252" y="1968"/>
                    </a:lnTo>
                    <a:lnTo>
                      <a:pt x="3234" y="2004"/>
                    </a:lnTo>
                    <a:lnTo>
                      <a:pt x="3234" y="2076"/>
                    </a:lnTo>
                    <a:lnTo>
                      <a:pt x="3210" y="2088"/>
                    </a:lnTo>
                    <a:lnTo>
                      <a:pt x="3204" y="2094"/>
                    </a:lnTo>
                    <a:lnTo>
                      <a:pt x="3180" y="2106"/>
                    </a:lnTo>
                    <a:lnTo>
                      <a:pt x="3180" y="2142"/>
                    </a:lnTo>
                    <a:lnTo>
                      <a:pt x="3156" y="2166"/>
                    </a:lnTo>
                    <a:lnTo>
                      <a:pt x="3156" y="2154"/>
                    </a:lnTo>
                    <a:lnTo>
                      <a:pt x="3162" y="2148"/>
                    </a:lnTo>
                    <a:lnTo>
                      <a:pt x="3162" y="2142"/>
                    </a:lnTo>
                    <a:lnTo>
                      <a:pt x="3156" y="2130"/>
                    </a:lnTo>
                    <a:lnTo>
                      <a:pt x="3138" y="2130"/>
                    </a:lnTo>
                    <a:lnTo>
                      <a:pt x="3126" y="2136"/>
                    </a:lnTo>
                    <a:lnTo>
                      <a:pt x="3108" y="2154"/>
                    </a:lnTo>
                    <a:lnTo>
                      <a:pt x="3108" y="2166"/>
                    </a:lnTo>
                    <a:lnTo>
                      <a:pt x="3114" y="2178"/>
                    </a:lnTo>
                    <a:lnTo>
                      <a:pt x="3114" y="2190"/>
                    </a:lnTo>
                    <a:lnTo>
                      <a:pt x="3108" y="2196"/>
                    </a:lnTo>
                    <a:lnTo>
                      <a:pt x="3108" y="2178"/>
                    </a:lnTo>
                    <a:lnTo>
                      <a:pt x="3102" y="2166"/>
                    </a:lnTo>
                    <a:lnTo>
                      <a:pt x="3090" y="2154"/>
                    </a:lnTo>
                    <a:lnTo>
                      <a:pt x="3078" y="2154"/>
                    </a:lnTo>
                    <a:lnTo>
                      <a:pt x="3066" y="2160"/>
                    </a:lnTo>
                    <a:lnTo>
                      <a:pt x="3042" y="2160"/>
                    </a:lnTo>
                    <a:lnTo>
                      <a:pt x="3036" y="2166"/>
                    </a:lnTo>
                    <a:lnTo>
                      <a:pt x="3030" y="2166"/>
                    </a:lnTo>
                    <a:lnTo>
                      <a:pt x="3042" y="2160"/>
                    </a:lnTo>
                    <a:lnTo>
                      <a:pt x="3060" y="2142"/>
                    </a:lnTo>
                    <a:lnTo>
                      <a:pt x="3072" y="2136"/>
                    </a:lnTo>
                    <a:lnTo>
                      <a:pt x="3078" y="2124"/>
                    </a:lnTo>
                    <a:lnTo>
                      <a:pt x="3078" y="2118"/>
                    </a:lnTo>
                    <a:lnTo>
                      <a:pt x="3072" y="2106"/>
                    </a:lnTo>
                    <a:lnTo>
                      <a:pt x="3060" y="2100"/>
                    </a:lnTo>
                    <a:lnTo>
                      <a:pt x="3048" y="2088"/>
                    </a:lnTo>
                    <a:lnTo>
                      <a:pt x="3030" y="2088"/>
                    </a:lnTo>
                    <a:lnTo>
                      <a:pt x="3024" y="2082"/>
                    </a:lnTo>
                    <a:lnTo>
                      <a:pt x="3018" y="2082"/>
                    </a:lnTo>
                    <a:lnTo>
                      <a:pt x="3024" y="2082"/>
                    </a:lnTo>
                    <a:lnTo>
                      <a:pt x="3042" y="2064"/>
                    </a:lnTo>
                    <a:lnTo>
                      <a:pt x="3042" y="2058"/>
                    </a:lnTo>
                    <a:lnTo>
                      <a:pt x="3030" y="2034"/>
                    </a:lnTo>
                    <a:lnTo>
                      <a:pt x="3030" y="2028"/>
                    </a:lnTo>
                    <a:lnTo>
                      <a:pt x="3024" y="2016"/>
                    </a:lnTo>
                    <a:lnTo>
                      <a:pt x="3060" y="1992"/>
                    </a:lnTo>
                    <a:lnTo>
                      <a:pt x="3060" y="1968"/>
                    </a:lnTo>
                    <a:lnTo>
                      <a:pt x="3084" y="1956"/>
                    </a:lnTo>
                    <a:lnTo>
                      <a:pt x="3084" y="1914"/>
                    </a:lnTo>
                    <a:lnTo>
                      <a:pt x="3090" y="1914"/>
                    </a:lnTo>
                    <a:lnTo>
                      <a:pt x="3102" y="1902"/>
                    </a:lnTo>
                    <a:lnTo>
                      <a:pt x="3114" y="1896"/>
                    </a:lnTo>
                    <a:lnTo>
                      <a:pt x="3132" y="1878"/>
                    </a:lnTo>
                    <a:lnTo>
                      <a:pt x="3126" y="1866"/>
                    </a:lnTo>
                    <a:lnTo>
                      <a:pt x="3120" y="1860"/>
                    </a:lnTo>
                    <a:lnTo>
                      <a:pt x="3084" y="1848"/>
                    </a:lnTo>
                    <a:lnTo>
                      <a:pt x="2976" y="1848"/>
                    </a:lnTo>
                    <a:lnTo>
                      <a:pt x="2940" y="1860"/>
                    </a:lnTo>
                    <a:lnTo>
                      <a:pt x="2946" y="1848"/>
                    </a:lnTo>
                    <a:lnTo>
                      <a:pt x="2952" y="1842"/>
                    </a:lnTo>
                    <a:lnTo>
                      <a:pt x="2952" y="1830"/>
                    </a:lnTo>
                    <a:lnTo>
                      <a:pt x="2958" y="1824"/>
                    </a:lnTo>
                    <a:lnTo>
                      <a:pt x="2952" y="1818"/>
                    </a:lnTo>
                    <a:lnTo>
                      <a:pt x="2940" y="1812"/>
                    </a:lnTo>
                    <a:lnTo>
                      <a:pt x="2928" y="1812"/>
                    </a:lnTo>
                    <a:lnTo>
                      <a:pt x="2892" y="1800"/>
                    </a:lnTo>
                    <a:lnTo>
                      <a:pt x="2874" y="1800"/>
                    </a:lnTo>
                    <a:lnTo>
                      <a:pt x="2868" y="1794"/>
                    </a:lnTo>
                    <a:lnTo>
                      <a:pt x="2862" y="1794"/>
                    </a:lnTo>
                    <a:lnTo>
                      <a:pt x="2862" y="1770"/>
                    </a:lnTo>
                    <a:lnTo>
                      <a:pt x="2856" y="1752"/>
                    </a:lnTo>
                    <a:lnTo>
                      <a:pt x="2844" y="1740"/>
                    </a:lnTo>
                    <a:lnTo>
                      <a:pt x="2790" y="1722"/>
                    </a:lnTo>
                    <a:lnTo>
                      <a:pt x="2778" y="1722"/>
                    </a:lnTo>
                    <a:lnTo>
                      <a:pt x="2778" y="1716"/>
                    </a:lnTo>
                    <a:lnTo>
                      <a:pt x="2766" y="1704"/>
                    </a:lnTo>
                    <a:lnTo>
                      <a:pt x="2754" y="1704"/>
                    </a:lnTo>
                    <a:lnTo>
                      <a:pt x="2736" y="1698"/>
                    </a:lnTo>
                    <a:lnTo>
                      <a:pt x="2694" y="1698"/>
                    </a:lnTo>
                    <a:lnTo>
                      <a:pt x="2646" y="1704"/>
                    </a:lnTo>
                    <a:lnTo>
                      <a:pt x="2610" y="1716"/>
                    </a:lnTo>
                    <a:lnTo>
                      <a:pt x="2592" y="1716"/>
                    </a:lnTo>
                    <a:lnTo>
                      <a:pt x="2598" y="1716"/>
                    </a:lnTo>
                    <a:lnTo>
                      <a:pt x="2604" y="1710"/>
                    </a:lnTo>
                    <a:lnTo>
                      <a:pt x="2616" y="1710"/>
                    </a:lnTo>
                    <a:lnTo>
                      <a:pt x="2628" y="1704"/>
                    </a:lnTo>
                    <a:lnTo>
                      <a:pt x="2634" y="1692"/>
                    </a:lnTo>
                    <a:lnTo>
                      <a:pt x="2640" y="1686"/>
                    </a:lnTo>
                    <a:lnTo>
                      <a:pt x="2646" y="1662"/>
                    </a:lnTo>
                    <a:lnTo>
                      <a:pt x="2658" y="1632"/>
                    </a:lnTo>
                    <a:lnTo>
                      <a:pt x="2664" y="1602"/>
                    </a:lnTo>
                    <a:lnTo>
                      <a:pt x="2670" y="1590"/>
                    </a:lnTo>
                    <a:lnTo>
                      <a:pt x="2658" y="1590"/>
                    </a:lnTo>
                    <a:lnTo>
                      <a:pt x="2646" y="1584"/>
                    </a:lnTo>
                    <a:lnTo>
                      <a:pt x="2616" y="1584"/>
                    </a:lnTo>
                    <a:lnTo>
                      <a:pt x="2610" y="1590"/>
                    </a:lnTo>
                    <a:lnTo>
                      <a:pt x="2598" y="1596"/>
                    </a:lnTo>
                    <a:lnTo>
                      <a:pt x="2592" y="1602"/>
                    </a:lnTo>
                    <a:lnTo>
                      <a:pt x="2580" y="1608"/>
                    </a:lnTo>
                    <a:lnTo>
                      <a:pt x="2598" y="1578"/>
                    </a:lnTo>
                    <a:lnTo>
                      <a:pt x="2592" y="1560"/>
                    </a:lnTo>
                    <a:lnTo>
                      <a:pt x="2610" y="1542"/>
                    </a:lnTo>
                    <a:lnTo>
                      <a:pt x="2616" y="1530"/>
                    </a:lnTo>
                    <a:lnTo>
                      <a:pt x="2640" y="1506"/>
                    </a:lnTo>
                    <a:lnTo>
                      <a:pt x="2646" y="1494"/>
                    </a:lnTo>
                    <a:lnTo>
                      <a:pt x="2664" y="1476"/>
                    </a:lnTo>
                    <a:lnTo>
                      <a:pt x="2694" y="1452"/>
                    </a:lnTo>
                    <a:lnTo>
                      <a:pt x="2730" y="1428"/>
                    </a:lnTo>
                    <a:lnTo>
                      <a:pt x="2754" y="1410"/>
                    </a:lnTo>
                    <a:lnTo>
                      <a:pt x="2766" y="1404"/>
                    </a:lnTo>
                    <a:lnTo>
                      <a:pt x="2760" y="1392"/>
                    </a:lnTo>
                    <a:lnTo>
                      <a:pt x="2826" y="1368"/>
                    </a:lnTo>
                    <a:lnTo>
                      <a:pt x="2826" y="1350"/>
                    </a:lnTo>
                    <a:lnTo>
                      <a:pt x="2868" y="1344"/>
                    </a:lnTo>
                    <a:lnTo>
                      <a:pt x="2868" y="1326"/>
                    </a:lnTo>
                    <a:lnTo>
                      <a:pt x="2898" y="1320"/>
                    </a:lnTo>
                    <a:lnTo>
                      <a:pt x="2952" y="1284"/>
                    </a:lnTo>
                    <a:lnTo>
                      <a:pt x="3006" y="1284"/>
                    </a:lnTo>
                    <a:lnTo>
                      <a:pt x="3042" y="1278"/>
                    </a:lnTo>
                    <a:lnTo>
                      <a:pt x="3060" y="1266"/>
                    </a:lnTo>
                    <a:lnTo>
                      <a:pt x="3060" y="1254"/>
                    </a:lnTo>
                    <a:lnTo>
                      <a:pt x="3030" y="1224"/>
                    </a:lnTo>
                    <a:lnTo>
                      <a:pt x="2970" y="1230"/>
                    </a:lnTo>
                    <a:lnTo>
                      <a:pt x="2982" y="1218"/>
                    </a:lnTo>
                    <a:lnTo>
                      <a:pt x="2928" y="1194"/>
                    </a:lnTo>
                    <a:lnTo>
                      <a:pt x="2952" y="1188"/>
                    </a:lnTo>
                    <a:lnTo>
                      <a:pt x="3036" y="1212"/>
                    </a:lnTo>
                    <a:lnTo>
                      <a:pt x="3054" y="1230"/>
                    </a:lnTo>
                    <a:lnTo>
                      <a:pt x="3066" y="1236"/>
                    </a:lnTo>
                    <a:lnTo>
                      <a:pt x="3096" y="1236"/>
                    </a:lnTo>
                    <a:lnTo>
                      <a:pt x="3108" y="1230"/>
                    </a:lnTo>
                    <a:lnTo>
                      <a:pt x="3114" y="1218"/>
                    </a:lnTo>
                    <a:lnTo>
                      <a:pt x="3126" y="1206"/>
                    </a:lnTo>
                    <a:lnTo>
                      <a:pt x="3132" y="1194"/>
                    </a:lnTo>
                    <a:lnTo>
                      <a:pt x="3144" y="1188"/>
                    </a:lnTo>
                    <a:lnTo>
                      <a:pt x="3150" y="1182"/>
                    </a:lnTo>
                    <a:lnTo>
                      <a:pt x="3156" y="1182"/>
                    </a:lnTo>
                    <a:lnTo>
                      <a:pt x="3180" y="1194"/>
                    </a:lnTo>
                    <a:lnTo>
                      <a:pt x="3198" y="1200"/>
                    </a:lnTo>
                    <a:lnTo>
                      <a:pt x="3210" y="1200"/>
                    </a:lnTo>
                    <a:lnTo>
                      <a:pt x="3246" y="1182"/>
                    </a:lnTo>
                    <a:lnTo>
                      <a:pt x="3282" y="1170"/>
                    </a:lnTo>
                    <a:lnTo>
                      <a:pt x="3318" y="1152"/>
                    </a:lnTo>
                    <a:lnTo>
                      <a:pt x="3336" y="1146"/>
                    </a:lnTo>
                    <a:lnTo>
                      <a:pt x="3360" y="1134"/>
                    </a:lnTo>
                    <a:lnTo>
                      <a:pt x="3372" y="1122"/>
                    </a:lnTo>
                    <a:lnTo>
                      <a:pt x="3366" y="1116"/>
                    </a:lnTo>
                    <a:lnTo>
                      <a:pt x="3342" y="1110"/>
                    </a:lnTo>
                    <a:lnTo>
                      <a:pt x="3264" y="1110"/>
                    </a:lnTo>
                    <a:lnTo>
                      <a:pt x="3258" y="1086"/>
                    </a:lnTo>
                    <a:lnTo>
                      <a:pt x="3174" y="1056"/>
                    </a:lnTo>
                    <a:lnTo>
                      <a:pt x="3186" y="1056"/>
                    </a:lnTo>
                    <a:lnTo>
                      <a:pt x="3216" y="1050"/>
                    </a:lnTo>
                    <a:lnTo>
                      <a:pt x="3252" y="1050"/>
                    </a:lnTo>
                    <a:lnTo>
                      <a:pt x="3282" y="1056"/>
                    </a:lnTo>
                    <a:lnTo>
                      <a:pt x="3294" y="1062"/>
                    </a:lnTo>
                    <a:lnTo>
                      <a:pt x="3306" y="1074"/>
                    </a:lnTo>
                    <a:lnTo>
                      <a:pt x="3324" y="1086"/>
                    </a:lnTo>
                    <a:lnTo>
                      <a:pt x="3336" y="1098"/>
                    </a:lnTo>
                    <a:lnTo>
                      <a:pt x="3348" y="1104"/>
                    </a:lnTo>
                    <a:lnTo>
                      <a:pt x="3372" y="1098"/>
                    </a:lnTo>
                    <a:lnTo>
                      <a:pt x="3408" y="1080"/>
                    </a:lnTo>
                    <a:lnTo>
                      <a:pt x="3444" y="1068"/>
                    </a:lnTo>
                    <a:lnTo>
                      <a:pt x="3474" y="1050"/>
                    </a:lnTo>
                    <a:lnTo>
                      <a:pt x="3486" y="1044"/>
                    </a:lnTo>
                    <a:lnTo>
                      <a:pt x="3462" y="1032"/>
                    </a:lnTo>
                    <a:lnTo>
                      <a:pt x="3468" y="1026"/>
                    </a:lnTo>
                    <a:lnTo>
                      <a:pt x="3492" y="1014"/>
                    </a:lnTo>
                    <a:lnTo>
                      <a:pt x="3522" y="1014"/>
                    </a:lnTo>
                    <a:lnTo>
                      <a:pt x="3528" y="1020"/>
                    </a:lnTo>
                    <a:lnTo>
                      <a:pt x="3534" y="1032"/>
                    </a:lnTo>
                    <a:lnTo>
                      <a:pt x="3540" y="1038"/>
                    </a:lnTo>
                    <a:lnTo>
                      <a:pt x="3570" y="1050"/>
                    </a:lnTo>
                    <a:lnTo>
                      <a:pt x="3576" y="1026"/>
                    </a:lnTo>
                    <a:lnTo>
                      <a:pt x="3594" y="1044"/>
                    </a:lnTo>
                    <a:lnTo>
                      <a:pt x="3600" y="1038"/>
                    </a:lnTo>
                    <a:lnTo>
                      <a:pt x="3600" y="1026"/>
                    </a:lnTo>
                    <a:lnTo>
                      <a:pt x="3594" y="1014"/>
                    </a:lnTo>
                    <a:lnTo>
                      <a:pt x="3582" y="1002"/>
                    </a:lnTo>
                    <a:lnTo>
                      <a:pt x="3564" y="990"/>
                    </a:lnTo>
                    <a:lnTo>
                      <a:pt x="3606" y="984"/>
                    </a:lnTo>
                    <a:lnTo>
                      <a:pt x="3606" y="990"/>
                    </a:lnTo>
                    <a:lnTo>
                      <a:pt x="3612" y="996"/>
                    </a:lnTo>
                    <a:lnTo>
                      <a:pt x="3612" y="1008"/>
                    </a:lnTo>
                    <a:lnTo>
                      <a:pt x="3624" y="1032"/>
                    </a:lnTo>
                    <a:lnTo>
                      <a:pt x="3630" y="1038"/>
                    </a:lnTo>
                    <a:lnTo>
                      <a:pt x="3636" y="1038"/>
                    </a:lnTo>
                    <a:lnTo>
                      <a:pt x="3654" y="1032"/>
                    </a:lnTo>
                    <a:lnTo>
                      <a:pt x="3690" y="1026"/>
                    </a:lnTo>
                    <a:lnTo>
                      <a:pt x="3732" y="1008"/>
                    </a:lnTo>
                    <a:lnTo>
                      <a:pt x="3768" y="990"/>
                    </a:lnTo>
                    <a:lnTo>
                      <a:pt x="3798" y="972"/>
                    </a:lnTo>
                    <a:lnTo>
                      <a:pt x="3798" y="960"/>
                    </a:lnTo>
                    <a:lnTo>
                      <a:pt x="3786" y="942"/>
                    </a:lnTo>
                    <a:lnTo>
                      <a:pt x="3780" y="930"/>
                    </a:lnTo>
                    <a:lnTo>
                      <a:pt x="3774" y="912"/>
                    </a:lnTo>
                    <a:lnTo>
                      <a:pt x="3774" y="900"/>
                    </a:lnTo>
                    <a:lnTo>
                      <a:pt x="3780" y="894"/>
                    </a:lnTo>
                    <a:lnTo>
                      <a:pt x="3792" y="894"/>
                    </a:lnTo>
                    <a:lnTo>
                      <a:pt x="3804" y="888"/>
                    </a:lnTo>
                    <a:lnTo>
                      <a:pt x="3822" y="888"/>
                    </a:lnTo>
                    <a:lnTo>
                      <a:pt x="3840" y="882"/>
                    </a:lnTo>
                    <a:lnTo>
                      <a:pt x="3858" y="882"/>
                    </a:lnTo>
                    <a:lnTo>
                      <a:pt x="3864" y="876"/>
                    </a:lnTo>
                    <a:lnTo>
                      <a:pt x="3870" y="876"/>
                    </a:lnTo>
                    <a:lnTo>
                      <a:pt x="3870" y="858"/>
                    </a:lnTo>
                    <a:lnTo>
                      <a:pt x="3864" y="846"/>
                    </a:lnTo>
                    <a:lnTo>
                      <a:pt x="3864" y="840"/>
                    </a:lnTo>
                    <a:lnTo>
                      <a:pt x="3858" y="828"/>
                    </a:lnTo>
                    <a:lnTo>
                      <a:pt x="3840" y="804"/>
                    </a:lnTo>
                    <a:lnTo>
                      <a:pt x="3822" y="798"/>
                    </a:lnTo>
                    <a:lnTo>
                      <a:pt x="3786" y="792"/>
                    </a:lnTo>
                    <a:lnTo>
                      <a:pt x="3744" y="792"/>
                    </a:lnTo>
                    <a:lnTo>
                      <a:pt x="3708" y="804"/>
                    </a:lnTo>
                    <a:lnTo>
                      <a:pt x="3690" y="822"/>
                    </a:lnTo>
                    <a:lnTo>
                      <a:pt x="3690" y="840"/>
                    </a:lnTo>
                    <a:lnTo>
                      <a:pt x="3696" y="840"/>
                    </a:lnTo>
                    <a:lnTo>
                      <a:pt x="3702" y="846"/>
                    </a:lnTo>
                    <a:lnTo>
                      <a:pt x="3666" y="870"/>
                    </a:lnTo>
                    <a:lnTo>
                      <a:pt x="3642" y="870"/>
                    </a:lnTo>
                    <a:lnTo>
                      <a:pt x="3576" y="918"/>
                    </a:lnTo>
                    <a:lnTo>
                      <a:pt x="3552" y="930"/>
                    </a:lnTo>
                    <a:lnTo>
                      <a:pt x="3546" y="936"/>
                    </a:lnTo>
                    <a:lnTo>
                      <a:pt x="3540" y="948"/>
                    </a:lnTo>
                    <a:lnTo>
                      <a:pt x="3522" y="966"/>
                    </a:lnTo>
                    <a:lnTo>
                      <a:pt x="3492" y="966"/>
                    </a:lnTo>
                    <a:lnTo>
                      <a:pt x="3456" y="984"/>
                    </a:lnTo>
                    <a:lnTo>
                      <a:pt x="3456" y="972"/>
                    </a:lnTo>
                    <a:lnTo>
                      <a:pt x="3450" y="954"/>
                    </a:lnTo>
                    <a:lnTo>
                      <a:pt x="3450" y="918"/>
                    </a:lnTo>
                    <a:lnTo>
                      <a:pt x="3456" y="912"/>
                    </a:lnTo>
                    <a:lnTo>
                      <a:pt x="3480" y="900"/>
                    </a:lnTo>
                    <a:lnTo>
                      <a:pt x="3498" y="900"/>
                    </a:lnTo>
                    <a:lnTo>
                      <a:pt x="3510" y="894"/>
                    </a:lnTo>
                    <a:lnTo>
                      <a:pt x="3516" y="882"/>
                    </a:lnTo>
                    <a:lnTo>
                      <a:pt x="3516" y="870"/>
                    </a:lnTo>
                    <a:lnTo>
                      <a:pt x="3510" y="852"/>
                    </a:lnTo>
                    <a:lnTo>
                      <a:pt x="3504" y="846"/>
                    </a:lnTo>
                    <a:lnTo>
                      <a:pt x="3498" y="834"/>
                    </a:lnTo>
                    <a:lnTo>
                      <a:pt x="3486" y="834"/>
                    </a:lnTo>
                    <a:lnTo>
                      <a:pt x="3450" y="852"/>
                    </a:lnTo>
                    <a:lnTo>
                      <a:pt x="3432" y="858"/>
                    </a:lnTo>
                    <a:lnTo>
                      <a:pt x="3420" y="864"/>
                    </a:lnTo>
                    <a:lnTo>
                      <a:pt x="3414" y="870"/>
                    </a:lnTo>
                    <a:lnTo>
                      <a:pt x="3408" y="870"/>
                    </a:lnTo>
                    <a:lnTo>
                      <a:pt x="3378" y="900"/>
                    </a:lnTo>
                    <a:lnTo>
                      <a:pt x="3372" y="888"/>
                    </a:lnTo>
                    <a:lnTo>
                      <a:pt x="3396" y="858"/>
                    </a:lnTo>
                    <a:lnTo>
                      <a:pt x="3396" y="840"/>
                    </a:lnTo>
                    <a:lnTo>
                      <a:pt x="3438" y="822"/>
                    </a:lnTo>
                    <a:lnTo>
                      <a:pt x="3402" y="816"/>
                    </a:lnTo>
                    <a:lnTo>
                      <a:pt x="3408" y="804"/>
                    </a:lnTo>
                    <a:lnTo>
                      <a:pt x="3360" y="816"/>
                    </a:lnTo>
                    <a:lnTo>
                      <a:pt x="3336" y="804"/>
                    </a:lnTo>
                    <a:lnTo>
                      <a:pt x="3378" y="792"/>
                    </a:lnTo>
                    <a:lnTo>
                      <a:pt x="3378" y="774"/>
                    </a:lnTo>
                    <a:lnTo>
                      <a:pt x="3390" y="774"/>
                    </a:lnTo>
                    <a:lnTo>
                      <a:pt x="3396" y="780"/>
                    </a:lnTo>
                    <a:lnTo>
                      <a:pt x="3420" y="780"/>
                    </a:lnTo>
                    <a:lnTo>
                      <a:pt x="3426" y="774"/>
                    </a:lnTo>
                    <a:lnTo>
                      <a:pt x="3426" y="762"/>
                    </a:lnTo>
                    <a:lnTo>
                      <a:pt x="3420" y="756"/>
                    </a:lnTo>
                    <a:lnTo>
                      <a:pt x="3408" y="756"/>
                    </a:lnTo>
                    <a:lnTo>
                      <a:pt x="3396" y="744"/>
                    </a:lnTo>
                    <a:lnTo>
                      <a:pt x="3396" y="738"/>
                    </a:lnTo>
                    <a:lnTo>
                      <a:pt x="3420" y="690"/>
                    </a:lnTo>
                    <a:lnTo>
                      <a:pt x="3426" y="684"/>
                    </a:lnTo>
                    <a:lnTo>
                      <a:pt x="3426" y="672"/>
                    </a:lnTo>
                    <a:lnTo>
                      <a:pt x="3420" y="666"/>
                    </a:lnTo>
                    <a:lnTo>
                      <a:pt x="3414" y="666"/>
                    </a:lnTo>
                    <a:lnTo>
                      <a:pt x="3372" y="648"/>
                    </a:lnTo>
                    <a:lnTo>
                      <a:pt x="3348" y="660"/>
                    </a:lnTo>
                    <a:lnTo>
                      <a:pt x="3336" y="660"/>
                    </a:lnTo>
                    <a:lnTo>
                      <a:pt x="3318" y="666"/>
                    </a:lnTo>
                    <a:lnTo>
                      <a:pt x="3312" y="666"/>
                    </a:lnTo>
                    <a:lnTo>
                      <a:pt x="3306" y="672"/>
                    </a:lnTo>
                    <a:lnTo>
                      <a:pt x="3306" y="690"/>
                    </a:lnTo>
                    <a:lnTo>
                      <a:pt x="3240" y="690"/>
                    </a:lnTo>
                    <a:lnTo>
                      <a:pt x="3228" y="696"/>
                    </a:lnTo>
                    <a:lnTo>
                      <a:pt x="3222" y="702"/>
                    </a:lnTo>
                    <a:lnTo>
                      <a:pt x="3210" y="708"/>
                    </a:lnTo>
                    <a:lnTo>
                      <a:pt x="3198" y="720"/>
                    </a:lnTo>
                    <a:lnTo>
                      <a:pt x="3204" y="726"/>
                    </a:lnTo>
                    <a:lnTo>
                      <a:pt x="3216" y="732"/>
                    </a:lnTo>
                    <a:lnTo>
                      <a:pt x="3228" y="732"/>
                    </a:lnTo>
                    <a:lnTo>
                      <a:pt x="3234" y="738"/>
                    </a:lnTo>
                    <a:lnTo>
                      <a:pt x="3228" y="738"/>
                    </a:lnTo>
                    <a:lnTo>
                      <a:pt x="3222" y="744"/>
                    </a:lnTo>
                    <a:lnTo>
                      <a:pt x="3204" y="744"/>
                    </a:lnTo>
                    <a:lnTo>
                      <a:pt x="3180" y="756"/>
                    </a:lnTo>
                    <a:lnTo>
                      <a:pt x="3168" y="768"/>
                    </a:lnTo>
                    <a:lnTo>
                      <a:pt x="3168" y="774"/>
                    </a:lnTo>
                    <a:lnTo>
                      <a:pt x="3174" y="786"/>
                    </a:lnTo>
                    <a:lnTo>
                      <a:pt x="3186" y="798"/>
                    </a:lnTo>
                    <a:lnTo>
                      <a:pt x="3198" y="804"/>
                    </a:lnTo>
                    <a:lnTo>
                      <a:pt x="3204" y="810"/>
                    </a:lnTo>
                    <a:lnTo>
                      <a:pt x="3210" y="810"/>
                    </a:lnTo>
                    <a:lnTo>
                      <a:pt x="3234" y="798"/>
                    </a:lnTo>
                    <a:lnTo>
                      <a:pt x="3234" y="822"/>
                    </a:lnTo>
                    <a:lnTo>
                      <a:pt x="3240" y="828"/>
                    </a:lnTo>
                    <a:lnTo>
                      <a:pt x="3246" y="828"/>
                    </a:lnTo>
                    <a:lnTo>
                      <a:pt x="3258" y="822"/>
                    </a:lnTo>
                    <a:lnTo>
                      <a:pt x="3282" y="822"/>
                    </a:lnTo>
                    <a:lnTo>
                      <a:pt x="3276" y="828"/>
                    </a:lnTo>
                    <a:lnTo>
                      <a:pt x="3252" y="840"/>
                    </a:lnTo>
                    <a:lnTo>
                      <a:pt x="3246" y="840"/>
                    </a:lnTo>
                    <a:lnTo>
                      <a:pt x="3228" y="828"/>
                    </a:lnTo>
                    <a:lnTo>
                      <a:pt x="3222" y="846"/>
                    </a:lnTo>
                    <a:lnTo>
                      <a:pt x="3204" y="846"/>
                    </a:lnTo>
                    <a:lnTo>
                      <a:pt x="3192" y="852"/>
                    </a:lnTo>
                    <a:lnTo>
                      <a:pt x="3186" y="852"/>
                    </a:lnTo>
                    <a:lnTo>
                      <a:pt x="3180" y="858"/>
                    </a:lnTo>
                    <a:lnTo>
                      <a:pt x="3204" y="858"/>
                    </a:lnTo>
                    <a:lnTo>
                      <a:pt x="3228" y="846"/>
                    </a:lnTo>
                    <a:lnTo>
                      <a:pt x="3240" y="846"/>
                    </a:lnTo>
                    <a:lnTo>
                      <a:pt x="3240" y="852"/>
                    </a:lnTo>
                    <a:lnTo>
                      <a:pt x="3228" y="870"/>
                    </a:lnTo>
                    <a:lnTo>
                      <a:pt x="3210" y="882"/>
                    </a:lnTo>
                    <a:lnTo>
                      <a:pt x="3198" y="888"/>
                    </a:lnTo>
                    <a:lnTo>
                      <a:pt x="3180" y="894"/>
                    </a:lnTo>
                    <a:lnTo>
                      <a:pt x="3168" y="900"/>
                    </a:lnTo>
                    <a:lnTo>
                      <a:pt x="3162" y="906"/>
                    </a:lnTo>
                    <a:lnTo>
                      <a:pt x="3138" y="918"/>
                    </a:lnTo>
                    <a:lnTo>
                      <a:pt x="3132" y="924"/>
                    </a:lnTo>
                    <a:lnTo>
                      <a:pt x="3120" y="918"/>
                    </a:lnTo>
                    <a:lnTo>
                      <a:pt x="3114" y="918"/>
                    </a:lnTo>
                    <a:lnTo>
                      <a:pt x="3102" y="912"/>
                    </a:lnTo>
                    <a:lnTo>
                      <a:pt x="3090" y="912"/>
                    </a:lnTo>
                    <a:lnTo>
                      <a:pt x="3072" y="930"/>
                    </a:lnTo>
                    <a:lnTo>
                      <a:pt x="3060" y="936"/>
                    </a:lnTo>
                    <a:lnTo>
                      <a:pt x="3054" y="948"/>
                    </a:lnTo>
                    <a:lnTo>
                      <a:pt x="3054" y="972"/>
                    </a:lnTo>
                    <a:lnTo>
                      <a:pt x="3048" y="978"/>
                    </a:lnTo>
                    <a:lnTo>
                      <a:pt x="3042" y="966"/>
                    </a:lnTo>
                    <a:lnTo>
                      <a:pt x="3030" y="966"/>
                    </a:lnTo>
                    <a:lnTo>
                      <a:pt x="3018" y="960"/>
                    </a:lnTo>
                    <a:lnTo>
                      <a:pt x="3012" y="960"/>
                    </a:lnTo>
                    <a:lnTo>
                      <a:pt x="3006" y="954"/>
                    </a:lnTo>
                    <a:lnTo>
                      <a:pt x="3030" y="930"/>
                    </a:lnTo>
                    <a:lnTo>
                      <a:pt x="3042" y="924"/>
                    </a:lnTo>
                    <a:lnTo>
                      <a:pt x="3060" y="906"/>
                    </a:lnTo>
                    <a:lnTo>
                      <a:pt x="3072" y="900"/>
                    </a:lnTo>
                    <a:lnTo>
                      <a:pt x="3036" y="900"/>
                    </a:lnTo>
                    <a:lnTo>
                      <a:pt x="3030" y="888"/>
                    </a:lnTo>
                    <a:lnTo>
                      <a:pt x="3018" y="882"/>
                    </a:lnTo>
                    <a:lnTo>
                      <a:pt x="2994" y="882"/>
                    </a:lnTo>
                    <a:lnTo>
                      <a:pt x="2988" y="888"/>
                    </a:lnTo>
                    <a:lnTo>
                      <a:pt x="2946" y="888"/>
                    </a:lnTo>
                    <a:lnTo>
                      <a:pt x="2946" y="894"/>
                    </a:lnTo>
                    <a:lnTo>
                      <a:pt x="2940" y="906"/>
                    </a:lnTo>
                    <a:lnTo>
                      <a:pt x="2940" y="918"/>
                    </a:lnTo>
                    <a:lnTo>
                      <a:pt x="2946" y="918"/>
                    </a:lnTo>
                    <a:lnTo>
                      <a:pt x="2952" y="924"/>
                    </a:lnTo>
                    <a:lnTo>
                      <a:pt x="2964" y="924"/>
                    </a:lnTo>
                    <a:lnTo>
                      <a:pt x="2976" y="936"/>
                    </a:lnTo>
                    <a:lnTo>
                      <a:pt x="2982" y="936"/>
                    </a:lnTo>
                    <a:lnTo>
                      <a:pt x="2976" y="942"/>
                    </a:lnTo>
                    <a:lnTo>
                      <a:pt x="2958" y="942"/>
                    </a:lnTo>
                    <a:lnTo>
                      <a:pt x="2952" y="936"/>
                    </a:lnTo>
                    <a:lnTo>
                      <a:pt x="2940" y="930"/>
                    </a:lnTo>
                    <a:lnTo>
                      <a:pt x="2934" y="924"/>
                    </a:lnTo>
                    <a:lnTo>
                      <a:pt x="2916" y="912"/>
                    </a:lnTo>
                    <a:lnTo>
                      <a:pt x="2910" y="942"/>
                    </a:lnTo>
                    <a:lnTo>
                      <a:pt x="2904" y="942"/>
                    </a:lnTo>
                    <a:lnTo>
                      <a:pt x="2898" y="948"/>
                    </a:lnTo>
                    <a:lnTo>
                      <a:pt x="2862" y="948"/>
                    </a:lnTo>
                    <a:lnTo>
                      <a:pt x="2844" y="942"/>
                    </a:lnTo>
                    <a:lnTo>
                      <a:pt x="2826" y="942"/>
                    </a:lnTo>
                    <a:lnTo>
                      <a:pt x="2808" y="936"/>
                    </a:lnTo>
                    <a:lnTo>
                      <a:pt x="2718" y="936"/>
                    </a:lnTo>
                    <a:lnTo>
                      <a:pt x="2706" y="930"/>
                    </a:lnTo>
                    <a:lnTo>
                      <a:pt x="2700" y="918"/>
                    </a:lnTo>
                    <a:lnTo>
                      <a:pt x="2688" y="912"/>
                    </a:lnTo>
                    <a:lnTo>
                      <a:pt x="2628" y="918"/>
                    </a:lnTo>
                    <a:lnTo>
                      <a:pt x="2622" y="912"/>
                    </a:lnTo>
                    <a:lnTo>
                      <a:pt x="2616" y="900"/>
                    </a:lnTo>
                    <a:lnTo>
                      <a:pt x="2604" y="894"/>
                    </a:lnTo>
                    <a:lnTo>
                      <a:pt x="2598" y="894"/>
                    </a:lnTo>
                    <a:lnTo>
                      <a:pt x="2586" y="888"/>
                    </a:lnTo>
                    <a:lnTo>
                      <a:pt x="2568" y="888"/>
                    </a:lnTo>
                    <a:lnTo>
                      <a:pt x="2556" y="894"/>
                    </a:lnTo>
                    <a:lnTo>
                      <a:pt x="2538" y="900"/>
                    </a:lnTo>
                    <a:lnTo>
                      <a:pt x="2532" y="906"/>
                    </a:lnTo>
                    <a:lnTo>
                      <a:pt x="2526" y="906"/>
                    </a:lnTo>
                    <a:lnTo>
                      <a:pt x="2526" y="912"/>
                    </a:lnTo>
                    <a:lnTo>
                      <a:pt x="2484" y="912"/>
                    </a:lnTo>
                    <a:lnTo>
                      <a:pt x="2472" y="906"/>
                    </a:lnTo>
                    <a:lnTo>
                      <a:pt x="2442" y="906"/>
                    </a:lnTo>
                    <a:lnTo>
                      <a:pt x="2430" y="918"/>
                    </a:lnTo>
                    <a:lnTo>
                      <a:pt x="2430" y="930"/>
                    </a:lnTo>
                    <a:lnTo>
                      <a:pt x="2418" y="954"/>
                    </a:lnTo>
                    <a:lnTo>
                      <a:pt x="2412" y="960"/>
                    </a:lnTo>
                    <a:lnTo>
                      <a:pt x="2412" y="966"/>
                    </a:lnTo>
                    <a:lnTo>
                      <a:pt x="2400" y="996"/>
                    </a:lnTo>
                    <a:lnTo>
                      <a:pt x="2364" y="996"/>
                    </a:lnTo>
                    <a:lnTo>
                      <a:pt x="2358" y="1026"/>
                    </a:lnTo>
                    <a:lnTo>
                      <a:pt x="2334" y="978"/>
                    </a:lnTo>
                    <a:lnTo>
                      <a:pt x="2340" y="978"/>
                    </a:lnTo>
                    <a:lnTo>
                      <a:pt x="2352" y="984"/>
                    </a:lnTo>
                    <a:lnTo>
                      <a:pt x="2376" y="984"/>
                    </a:lnTo>
                    <a:lnTo>
                      <a:pt x="2388" y="972"/>
                    </a:lnTo>
                    <a:lnTo>
                      <a:pt x="2358" y="942"/>
                    </a:lnTo>
                    <a:lnTo>
                      <a:pt x="2340" y="942"/>
                    </a:lnTo>
                    <a:lnTo>
                      <a:pt x="2328" y="936"/>
                    </a:lnTo>
                    <a:lnTo>
                      <a:pt x="2316" y="936"/>
                    </a:lnTo>
                    <a:lnTo>
                      <a:pt x="2322" y="918"/>
                    </a:lnTo>
                    <a:lnTo>
                      <a:pt x="2304" y="924"/>
                    </a:lnTo>
                    <a:lnTo>
                      <a:pt x="2262" y="930"/>
                    </a:lnTo>
                    <a:lnTo>
                      <a:pt x="2208" y="936"/>
                    </a:lnTo>
                    <a:lnTo>
                      <a:pt x="2160" y="942"/>
                    </a:lnTo>
                    <a:lnTo>
                      <a:pt x="2112" y="942"/>
                    </a:lnTo>
                    <a:lnTo>
                      <a:pt x="2064" y="936"/>
                    </a:lnTo>
                    <a:lnTo>
                      <a:pt x="2034" y="930"/>
                    </a:lnTo>
                    <a:lnTo>
                      <a:pt x="2028" y="924"/>
                    </a:lnTo>
                    <a:lnTo>
                      <a:pt x="2052" y="918"/>
                    </a:lnTo>
                    <a:lnTo>
                      <a:pt x="2082" y="918"/>
                    </a:lnTo>
                    <a:lnTo>
                      <a:pt x="2118" y="912"/>
                    </a:lnTo>
                    <a:lnTo>
                      <a:pt x="2142" y="900"/>
                    </a:lnTo>
                    <a:lnTo>
                      <a:pt x="2142" y="888"/>
                    </a:lnTo>
                    <a:lnTo>
                      <a:pt x="2112" y="864"/>
                    </a:lnTo>
                    <a:lnTo>
                      <a:pt x="2082" y="852"/>
                    </a:lnTo>
                    <a:lnTo>
                      <a:pt x="2004" y="852"/>
                    </a:lnTo>
                    <a:lnTo>
                      <a:pt x="1968" y="840"/>
                    </a:lnTo>
                    <a:lnTo>
                      <a:pt x="1944" y="834"/>
                    </a:lnTo>
                    <a:lnTo>
                      <a:pt x="1938" y="828"/>
                    </a:lnTo>
                    <a:lnTo>
                      <a:pt x="1908" y="828"/>
                    </a:lnTo>
                    <a:lnTo>
                      <a:pt x="1896" y="822"/>
                    </a:lnTo>
                    <a:lnTo>
                      <a:pt x="1866" y="804"/>
                    </a:lnTo>
                    <a:lnTo>
                      <a:pt x="1836" y="792"/>
                    </a:lnTo>
                    <a:lnTo>
                      <a:pt x="1812" y="786"/>
                    </a:lnTo>
                    <a:lnTo>
                      <a:pt x="1800" y="792"/>
                    </a:lnTo>
                    <a:lnTo>
                      <a:pt x="1782" y="798"/>
                    </a:lnTo>
                    <a:lnTo>
                      <a:pt x="1770" y="804"/>
                    </a:lnTo>
                    <a:lnTo>
                      <a:pt x="1758" y="816"/>
                    </a:lnTo>
                    <a:lnTo>
                      <a:pt x="1734" y="828"/>
                    </a:lnTo>
                    <a:lnTo>
                      <a:pt x="1680" y="828"/>
                    </a:lnTo>
                    <a:lnTo>
                      <a:pt x="1710" y="810"/>
                    </a:lnTo>
                    <a:lnTo>
                      <a:pt x="1710" y="798"/>
                    </a:lnTo>
                    <a:lnTo>
                      <a:pt x="1734" y="768"/>
                    </a:lnTo>
                    <a:lnTo>
                      <a:pt x="1728" y="768"/>
                    </a:lnTo>
                    <a:lnTo>
                      <a:pt x="1722" y="774"/>
                    </a:lnTo>
                    <a:lnTo>
                      <a:pt x="1674" y="798"/>
                    </a:lnTo>
                    <a:lnTo>
                      <a:pt x="1650" y="822"/>
                    </a:lnTo>
                    <a:lnTo>
                      <a:pt x="1638" y="828"/>
                    </a:lnTo>
                    <a:lnTo>
                      <a:pt x="1620" y="834"/>
                    </a:lnTo>
                    <a:lnTo>
                      <a:pt x="1608" y="828"/>
                    </a:lnTo>
                    <a:lnTo>
                      <a:pt x="1602" y="816"/>
                    </a:lnTo>
                    <a:lnTo>
                      <a:pt x="1602" y="798"/>
                    </a:lnTo>
                    <a:lnTo>
                      <a:pt x="1614" y="774"/>
                    </a:lnTo>
                    <a:lnTo>
                      <a:pt x="1614" y="762"/>
                    </a:lnTo>
                    <a:lnTo>
                      <a:pt x="1608" y="750"/>
                    </a:lnTo>
                    <a:lnTo>
                      <a:pt x="1596" y="744"/>
                    </a:lnTo>
                    <a:lnTo>
                      <a:pt x="1590" y="738"/>
                    </a:lnTo>
                    <a:lnTo>
                      <a:pt x="1578" y="738"/>
                    </a:lnTo>
                    <a:lnTo>
                      <a:pt x="1572" y="744"/>
                    </a:lnTo>
                    <a:lnTo>
                      <a:pt x="1572" y="750"/>
                    </a:lnTo>
                    <a:lnTo>
                      <a:pt x="1578" y="762"/>
                    </a:lnTo>
                    <a:lnTo>
                      <a:pt x="1584" y="768"/>
                    </a:lnTo>
                    <a:lnTo>
                      <a:pt x="1542" y="768"/>
                    </a:lnTo>
                    <a:lnTo>
                      <a:pt x="1530" y="774"/>
                    </a:lnTo>
                    <a:lnTo>
                      <a:pt x="1512" y="780"/>
                    </a:lnTo>
                    <a:lnTo>
                      <a:pt x="1494" y="798"/>
                    </a:lnTo>
                    <a:lnTo>
                      <a:pt x="1446" y="798"/>
                    </a:lnTo>
                    <a:lnTo>
                      <a:pt x="1428" y="804"/>
                    </a:lnTo>
                    <a:lnTo>
                      <a:pt x="1416" y="804"/>
                    </a:lnTo>
                    <a:lnTo>
                      <a:pt x="1398" y="810"/>
                    </a:lnTo>
                    <a:lnTo>
                      <a:pt x="1380" y="810"/>
                    </a:lnTo>
                    <a:lnTo>
                      <a:pt x="1374" y="816"/>
                    </a:lnTo>
                    <a:lnTo>
                      <a:pt x="1368" y="816"/>
                    </a:lnTo>
                    <a:lnTo>
                      <a:pt x="1356" y="822"/>
                    </a:lnTo>
                    <a:lnTo>
                      <a:pt x="1350" y="828"/>
                    </a:lnTo>
                    <a:lnTo>
                      <a:pt x="1338" y="834"/>
                    </a:lnTo>
                    <a:lnTo>
                      <a:pt x="1314" y="816"/>
                    </a:lnTo>
                    <a:lnTo>
                      <a:pt x="1302" y="822"/>
                    </a:lnTo>
                    <a:lnTo>
                      <a:pt x="1296" y="828"/>
                    </a:lnTo>
                    <a:lnTo>
                      <a:pt x="1272" y="840"/>
                    </a:lnTo>
                    <a:lnTo>
                      <a:pt x="1260" y="840"/>
                    </a:lnTo>
                    <a:lnTo>
                      <a:pt x="1254" y="846"/>
                    </a:lnTo>
                    <a:lnTo>
                      <a:pt x="1242" y="846"/>
                    </a:lnTo>
                    <a:lnTo>
                      <a:pt x="1230" y="852"/>
                    </a:lnTo>
                    <a:lnTo>
                      <a:pt x="1224" y="858"/>
                    </a:lnTo>
                    <a:lnTo>
                      <a:pt x="1212" y="864"/>
                    </a:lnTo>
                    <a:lnTo>
                      <a:pt x="1176" y="864"/>
                    </a:lnTo>
                    <a:lnTo>
                      <a:pt x="1188" y="858"/>
                    </a:lnTo>
                    <a:lnTo>
                      <a:pt x="1194" y="846"/>
                    </a:lnTo>
                    <a:lnTo>
                      <a:pt x="1212" y="840"/>
                    </a:lnTo>
                    <a:lnTo>
                      <a:pt x="1236" y="828"/>
                    </a:lnTo>
                    <a:lnTo>
                      <a:pt x="1254" y="828"/>
                    </a:lnTo>
                    <a:lnTo>
                      <a:pt x="1266" y="822"/>
                    </a:lnTo>
                    <a:lnTo>
                      <a:pt x="1284" y="816"/>
                    </a:lnTo>
                    <a:lnTo>
                      <a:pt x="1290" y="810"/>
                    </a:lnTo>
                    <a:lnTo>
                      <a:pt x="1362" y="810"/>
                    </a:lnTo>
                    <a:lnTo>
                      <a:pt x="1386" y="798"/>
                    </a:lnTo>
                    <a:lnTo>
                      <a:pt x="1422" y="792"/>
                    </a:lnTo>
                    <a:lnTo>
                      <a:pt x="1458" y="780"/>
                    </a:lnTo>
                    <a:lnTo>
                      <a:pt x="1470" y="780"/>
                    </a:lnTo>
                    <a:lnTo>
                      <a:pt x="1476" y="774"/>
                    </a:lnTo>
                    <a:lnTo>
                      <a:pt x="1482" y="774"/>
                    </a:lnTo>
                    <a:lnTo>
                      <a:pt x="1476" y="768"/>
                    </a:lnTo>
                    <a:lnTo>
                      <a:pt x="1410" y="768"/>
                    </a:lnTo>
                    <a:lnTo>
                      <a:pt x="1398" y="774"/>
                    </a:lnTo>
                    <a:lnTo>
                      <a:pt x="1392" y="774"/>
                    </a:lnTo>
                    <a:lnTo>
                      <a:pt x="1380" y="780"/>
                    </a:lnTo>
                    <a:lnTo>
                      <a:pt x="1374" y="786"/>
                    </a:lnTo>
                    <a:lnTo>
                      <a:pt x="1368" y="786"/>
                    </a:lnTo>
                    <a:lnTo>
                      <a:pt x="1362" y="792"/>
                    </a:lnTo>
                    <a:lnTo>
                      <a:pt x="1278" y="792"/>
                    </a:lnTo>
                    <a:lnTo>
                      <a:pt x="1254" y="804"/>
                    </a:lnTo>
                    <a:lnTo>
                      <a:pt x="1248" y="810"/>
                    </a:lnTo>
                    <a:lnTo>
                      <a:pt x="1236" y="816"/>
                    </a:lnTo>
                    <a:lnTo>
                      <a:pt x="1230" y="822"/>
                    </a:lnTo>
                    <a:lnTo>
                      <a:pt x="1212" y="822"/>
                    </a:lnTo>
                    <a:lnTo>
                      <a:pt x="1158" y="846"/>
                    </a:lnTo>
                    <a:lnTo>
                      <a:pt x="1140" y="846"/>
                    </a:lnTo>
                    <a:lnTo>
                      <a:pt x="1128" y="858"/>
                    </a:lnTo>
                    <a:lnTo>
                      <a:pt x="1122" y="870"/>
                    </a:lnTo>
                    <a:lnTo>
                      <a:pt x="1122" y="876"/>
                    </a:lnTo>
                    <a:lnTo>
                      <a:pt x="1116" y="876"/>
                    </a:lnTo>
                    <a:lnTo>
                      <a:pt x="1110" y="870"/>
                    </a:lnTo>
                    <a:lnTo>
                      <a:pt x="1110" y="846"/>
                    </a:lnTo>
                    <a:lnTo>
                      <a:pt x="1116" y="846"/>
                    </a:lnTo>
                    <a:lnTo>
                      <a:pt x="1152" y="834"/>
                    </a:lnTo>
                    <a:lnTo>
                      <a:pt x="1176" y="822"/>
                    </a:lnTo>
                    <a:lnTo>
                      <a:pt x="1194" y="816"/>
                    </a:lnTo>
                    <a:lnTo>
                      <a:pt x="1188" y="810"/>
                    </a:lnTo>
                    <a:lnTo>
                      <a:pt x="1176" y="810"/>
                    </a:lnTo>
                    <a:lnTo>
                      <a:pt x="1164" y="804"/>
                    </a:lnTo>
                    <a:lnTo>
                      <a:pt x="1140" y="804"/>
                    </a:lnTo>
                    <a:lnTo>
                      <a:pt x="1122" y="822"/>
                    </a:lnTo>
                    <a:lnTo>
                      <a:pt x="1110" y="828"/>
                    </a:lnTo>
                    <a:lnTo>
                      <a:pt x="1092" y="828"/>
                    </a:lnTo>
                    <a:lnTo>
                      <a:pt x="1080" y="834"/>
                    </a:lnTo>
                    <a:lnTo>
                      <a:pt x="1068" y="834"/>
                    </a:lnTo>
                    <a:lnTo>
                      <a:pt x="1068" y="840"/>
                    </a:lnTo>
                    <a:lnTo>
                      <a:pt x="1062" y="846"/>
                    </a:lnTo>
                    <a:lnTo>
                      <a:pt x="1062" y="876"/>
                    </a:lnTo>
                    <a:lnTo>
                      <a:pt x="1038" y="858"/>
                    </a:lnTo>
                    <a:lnTo>
                      <a:pt x="972" y="852"/>
                    </a:lnTo>
                    <a:lnTo>
                      <a:pt x="960" y="846"/>
                    </a:lnTo>
                    <a:lnTo>
                      <a:pt x="948" y="834"/>
                    </a:lnTo>
                    <a:lnTo>
                      <a:pt x="936" y="834"/>
                    </a:lnTo>
                    <a:lnTo>
                      <a:pt x="936" y="828"/>
                    </a:lnTo>
                    <a:lnTo>
                      <a:pt x="942" y="822"/>
                    </a:lnTo>
                    <a:lnTo>
                      <a:pt x="942" y="810"/>
                    </a:lnTo>
                    <a:lnTo>
                      <a:pt x="948" y="804"/>
                    </a:lnTo>
                    <a:lnTo>
                      <a:pt x="834" y="804"/>
                    </a:lnTo>
                    <a:lnTo>
                      <a:pt x="852" y="804"/>
                    </a:lnTo>
                    <a:lnTo>
                      <a:pt x="78" y="1440"/>
                    </a:lnTo>
                    <a:lnTo>
                      <a:pt x="72" y="1446"/>
                    </a:lnTo>
                    <a:lnTo>
                      <a:pt x="60" y="1452"/>
                    </a:lnTo>
                    <a:lnTo>
                      <a:pt x="54" y="1464"/>
                    </a:lnTo>
                    <a:lnTo>
                      <a:pt x="54" y="1476"/>
                    </a:lnTo>
                    <a:lnTo>
                      <a:pt x="108" y="1476"/>
                    </a:lnTo>
                    <a:lnTo>
                      <a:pt x="120" y="1464"/>
                    </a:lnTo>
                    <a:lnTo>
                      <a:pt x="156" y="1464"/>
                    </a:lnTo>
                    <a:lnTo>
                      <a:pt x="132" y="1488"/>
                    </a:lnTo>
                    <a:lnTo>
                      <a:pt x="132" y="1494"/>
                    </a:lnTo>
                    <a:lnTo>
                      <a:pt x="138" y="1506"/>
                    </a:lnTo>
                    <a:lnTo>
                      <a:pt x="138" y="1524"/>
                    </a:lnTo>
                    <a:lnTo>
                      <a:pt x="144" y="1530"/>
                    </a:lnTo>
                    <a:lnTo>
                      <a:pt x="156" y="1536"/>
                    </a:lnTo>
                    <a:lnTo>
                      <a:pt x="162" y="1542"/>
                    </a:lnTo>
                    <a:lnTo>
                      <a:pt x="144" y="1560"/>
                    </a:lnTo>
                    <a:lnTo>
                      <a:pt x="144" y="1572"/>
                    </a:lnTo>
                    <a:lnTo>
                      <a:pt x="150" y="1572"/>
                    </a:lnTo>
                    <a:lnTo>
                      <a:pt x="156" y="1566"/>
                    </a:lnTo>
                    <a:lnTo>
                      <a:pt x="168" y="1560"/>
                    </a:lnTo>
                    <a:lnTo>
                      <a:pt x="174" y="1554"/>
                    </a:lnTo>
                    <a:lnTo>
                      <a:pt x="180" y="1554"/>
                    </a:lnTo>
                    <a:lnTo>
                      <a:pt x="186" y="1548"/>
                    </a:lnTo>
                    <a:lnTo>
                      <a:pt x="198" y="1548"/>
                    </a:lnTo>
                    <a:lnTo>
                      <a:pt x="210" y="1542"/>
                    </a:lnTo>
                    <a:lnTo>
                      <a:pt x="222" y="1542"/>
                    </a:lnTo>
                    <a:lnTo>
                      <a:pt x="234" y="1536"/>
                    </a:lnTo>
                    <a:lnTo>
                      <a:pt x="240" y="1530"/>
                    </a:lnTo>
                    <a:lnTo>
                      <a:pt x="258" y="1530"/>
                    </a:lnTo>
                    <a:lnTo>
                      <a:pt x="258" y="1518"/>
                    </a:lnTo>
                    <a:lnTo>
                      <a:pt x="264" y="1518"/>
                    </a:lnTo>
                    <a:lnTo>
                      <a:pt x="270" y="1512"/>
                    </a:lnTo>
                    <a:lnTo>
                      <a:pt x="282" y="1512"/>
                    </a:lnTo>
                    <a:lnTo>
                      <a:pt x="300" y="1506"/>
                    </a:lnTo>
                    <a:lnTo>
                      <a:pt x="312" y="1506"/>
                    </a:lnTo>
                    <a:lnTo>
                      <a:pt x="330" y="1512"/>
                    </a:lnTo>
                    <a:lnTo>
                      <a:pt x="336" y="1518"/>
                    </a:lnTo>
                    <a:lnTo>
                      <a:pt x="330" y="1524"/>
                    </a:lnTo>
                    <a:lnTo>
                      <a:pt x="324" y="1524"/>
                    </a:lnTo>
                    <a:lnTo>
                      <a:pt x="318" y="1530"/>
                    </a:lnTo>
                    <a:lnTo>
                      <a:pt x="318" y="1560"/>
                    </a:lnTo>
                    <a:lnTo>
                      <a:pt x="306" y="1572"/>
                    </a:lnTo>
                    <a:lnTo>
                      <a:pt x="324" y="1590"/>
                    </a:lnTo>
                    <a:lnTo>
                      <a:pt x="330" y="1602"/>
                    </a:lnTo>
                    <a:lnTo>
                      <a:pt x="330" y="1620"/>
                    </a:lnTo>
                    <a:lnTo>
                      <a:pt x="312" y="1656"/>
                    </a:lnTo>
                    <a:lnTo>
                      <a:pt x="312" y="1698"/>
                    </a:lnTo>
                    <a:lnTo>
                      <a:pt x="306" y="1704"/>
                    </a:lnTo>
                    <a:lnTo>
                      <a:pt x="300" y="1716"/>
                    </a:lnTo>
                    <a:lnTo>
                      <a:pt x="300" y="1728"/>
                    </a:lnTo>
                    <a:lnTo>
                      <a:pt x="294" y="1740"/>
                    </a:lnTo>
                    <a:lnTo>
                      <a:pt x="294" y="1746"/>
                    </a:lnTo>
                    <a:lnTo>
                      <a:pt x="300" y="1752"/>
                    </a:lnTo>
                    <a:lnTo>
                      <a:pt x="312" y="1758"/>
                    </a:lnTo>
                    <a:lnTo>
                      <a:pt x="318" y="1764"/>
                    </a:lnTo>
                    <a:lnTo>
                      <a:pt x="324" y="1764"/>
                    </a:lnTo>
                    <a:lnTo>
                      <a:pt x="330" y="1770"/>
                    </a:lnTo>
                    <a:lnTo>
                      <a:pt x="330" y="1776"/>
                    </a:lnTo>
                    <a:lnTo>
                      <a:pt x="348" y="1776"/>
                    </a:lnTo>
                    <a:lnTo>
                      <a:pt x="354" y="1782"/>
                    </a:lnTo>
                    <a:lnTo>
                      <a:pt x="354" y="1794"/>
                    </a:lnTo>
                    <a:lnTo>
                      <a:pt x="342" y="1800"/>
                    </a:lnTo>
                    <a:lnTo>
                      <a:pt x="330" y="1812"/>
                    </a:lnTo>
                    <a:lnTo>
                      <a:pt x="318" y="1818"/>
                    </a:lnTo>
                    <a:lnTo>
                      <a:pt x="318" y="1830"/>
                    </a:lnTo>
                    <a:lnTo>
                      <a:pt x="312" y="1842"/>
                    </a:lnTo>
                    <a:lnTo>
                      <a:pt x="294" y="1860"/>
                    </a:lnTo>
                    <a:lnTo>
                      <a:pt x="282" y="1866"/>
                    </a:lnTo>
                    <a:lnTo>
                      <a:pt x="270" y="1878"/>
                    </a:lnTo>
                    <a:lnTo>
                      <a:pt x="252" y="1884"/>
                    </a:lnTo>
                    <a:lnTo>
                      <a:pt x="234" y="1896"/>
                    </a:lnTo>
                    <a:lnTo>
                      <a:pt x="228" y="1902"/>
                    </a:lnTo>
                    <a:lnTo>
                      <a:pt x="222" y="1914"/>
                    </a:lnTo>
                    <a:lnTo>
                      <a:pt x="222" y="1926"/>
                    </a:lnTo>
                    <a:lnTo>
                      <a:pt x="216" y="1932"/>
                    </a:lnTo>
                    <a:lnTo>
                      <a:pt x="216" y="1944"/>
                    </a:lnTo>
                    <a:lnTo>
                      <a:pt x="204" y="1956"/>
                    </a:lnTo>
                    <a:lnTo>
                      <a:pt x="210" y="1962"/>
                    </a:lnTo>
                    <a:lnTo>
                      <a:pt x="216" y="1962"/>
                    </a:lnTo>
                    <a:lnTo>
                      <a:pt x="216" y="1974"/>
                    </a:lnTo>
                    <a:lnTo>
                      <a:pt x="228" y="1986"/>
                    </a:lnTo>
                    <a:lnTo>
                      <a:pt x="240" y="1980"/>
                    </a:lnTo>
                    <a:lnTo>
                      <a:pt x="246" y="1968"/>
                    </a:lnTo>
                    <a:lnTo>
                      <a:pt x="258" y="1962"/>
                    </a:lnTo>
                    <a:lnTo>
                      <a:pt x="276" y="1956"/>
                    </a:lnTo>
                    <a:lnTo>
                      <a:pt x="294" y="1938"/>
                    </a:lnTo>
                    <a:lnTo>
                      <a:pt x="306" y="1938"/>
                    </a:lnTo>
                    <a:lnTo>
                      <a:pt x="306" y="1944"/>
                    </a:lnTo>
                    <a:lnTo>
                      <a:pt x="300" y="1950"/>
                    </a:lnTo>
                    <a:lnTo>
                      <a:pt x="288" y="1956"/>
                    </a:lnTo>
                    <a:lnTo>
                      <a:pt x="282" y="1956"/>
                    </a:lnTo>
                    <a:lnTo>
                      <a:pt x="276" y="1962"/>
                    </a:lnTo>
                    <a:lnTo>
                      <a:pt x="276" y="1974"/>
                    </a:lnTo>
                    <a:lnTo>
                      <a:pt x="282" y="1986"/>
                    </a:lnTo>
                    <a:lnTo>
                      <a:pt x="294" y="1998"/>
                    </a:lnTo>
                    <a:lnTo>
                      <a:pt x="252" y="1992"/>
                    </a:lnTo>
                    <a:lnTo>
                      <a:pt x="246" y="1998"/>
                    </a:lnTo>
                    <a:lnTo>
                      <a:pt x="240" y="2010"/>
                    </a:lnTo>
                    <a:lnTo>
                      <a:pt x="234" y="2016"/>
                    </a:lnTo>
                    <a:lnTo>
                      <a:pt x="228" y="2028"/>
                    </a:lnTo>
                    <a:lnTo>
                      <a:pt x="228" y="2034"/>
                    </a:lnTo>
                    <a:lnTo>
                      <a:pt x="234" y="2034"/>
                    </a:lnTo>
                    <a:lnTo>
                      <a:pt x="240" y="2040"/>
                    </a:lnTo>
                    <a:lnTo>
                      <a:pt x="252" y="2040"/>
                    </a:lnTo>
                    <a:lnTo>
                      <a:pt x="258" y="2046"/>
                    </a:lnTo>
                    <a:lnTo>
                      <a:pt x="252" y="2052"/>
                    </a:lnTo>
                    <a:lnTo>
                      <a:pt x="252" y="2058"/>
                    </a:lnTo>
                    <a:lnTo>
                      <a:pt x="246" y="2070"/>
                    </a:lnTo>
                    <a:lnTo>
                      <a:pt x="246" y="2076"/>
                    </a:lnTo>
                    <a:lnTo>
                      <a:pt x="252" y="2070"/>
                    </a:lnTo>
                    <a:lnTo>
                      <a:pt x="288" y="2052"/>
                    </a:lnTo>
                    <a:lnTo>
                      <a:pt x="306" y="2034"/>
                    </a:lnTo>
                    <a:lnTo>
                      <a:pt x="318" y="2028"/>
                    </a:lnTo>
                    <a:lnTo>
                      <a:pt x="318" y="2040"/>
                    </a:lnTo>
                    <a:lnTo>
                      <a:pt x="288" y="2058"/>
                    </a:lnTo>
                    <a:lnTo>
                      <a:pt x="312" y="2064"/>
                    </a:lnTo>
                    <a:lnTo>
                      <a:pt x="312" y="2076"/>
                    </a:lnTo>
                    <a:lnTo>
                      <a:pt x="294" y="2094"/>
                    </a:lnTo>
                    <a:lnTo>
                      <a:pt x="276" y="2076"/>
                    </a:lnTo>
                    <a:lnTo>
                      <a:pt x="270" y="2076"/>
                    </a:lnTo>
                    <a:lnTo>
                      <a:pt x="264" y="2082"/>
                    </a:lnTo>
                    <a:lnTo>
                      <a:pt x="240" y="2094"/>
                    </a:lnTo>
                    <a:lnTo>
                      <a:pt x="228" y="2094"/>
                    </a:lnTo>
                    <a:lnTo>
                      <a:pt x="216" y="2106"/>
                    </a:lnTo>
                    <a:lnTo>
                      <a:pt x="210" y="2118"/>
                    </a:lnTo>
                    <a:lnTo>
                      <a:pt x="204" y="2124"/>
                    </a:lnTo>
                    <a:lnTo>
                      <a:pt x="210" y="2118"/>
                    </a:lnTo>
                    <a:lnTo>
                      <a:pt x="222" y="2118"/>
                    </a:lnTo>
                    <a:lnTo>
                      <a:pt x="228" y="2112"/>
                    </a:lnTo>
                    <a:lnTo>
                      <a:pt x="276" y="2112"/>
                    </a:lnTo>
                    <a:lnTo>
                      <a:pt x="270" y="2112"/>
                    </a:lnTo>
                    <a:lnTo>
                      <a:pt x="264" y="2118"/>
                    </a:lnTo>
                    <a:lnTo>
                      <a:pt x="252" y="2118"/>
                    </a:lnTo>
                    <a:lnTo>
                      <a:pt x="240" y="2124"/>
                    </a:lnTo>
                    <a:lnTo>
                      <a:pt x="228" y="2124"/>
                    </a:lnTo>
                    <a:lnTo>
                      <a:pt x="216" y="2130"/>
                    </a:lnTo>
                    <a:lnTo>
                      <a:pt x="210" y="2130"/>
                    </a:lnTo>
                    <a:lnTo>
                      <a:pt x="210" y="2148"/>
                    </a:lnTo>
                    <a:lnTo>
                      <a:pt x="204" y="2148"/>
                    </a:lnTo>
                    <a:lnTo>
                      <a:pt x="198" y="2142"/>
                    </a:lnTo>
                    <a:lnTo>
                      <a:pt x="174" y="2142"/>
                    </a:lnTo>
                    <a:lnTo>
                      <a:pt x="174" y="2154"/>
                    </a:lnTo>
                    <a:lnTo>
                      <a:pt x="180" y="2166"/>
                    </a:lnTo>
                    <a:lnTo>
                      <a:pt x="192" y="2172"/>
                    </a:lnTo>
                    <a:lnTo>
                      <a:pt x="198" y="2178"/>
                    </a:lnTo>
                    <a:lnTo>
                      <a:pt x="246" y="2160"/>
                    </a:lnTo>
                    <a:lnTo>
                      <a:pt x="264" y="2184"/>
                    </a:lnTo>
                    <a:lnTo>
                      <a:pt x="300" y="2166"/>
                    </a:lnTo>
                    <a:lnTo>
                      <a:pt x="294" y="2172"/>
                    </a:lnTo>
                    <a:lnTo>
                      <a:pt x="288" y="2184"/>
                    </a:lnTo>
                    <a:lnTo>
                      <a:pt x="276" y="2190"/>
                    </a:lnTo>
                    <a:lnTo>
                      <a:pt x="270" y="2196"/>
                    </a:lnTo>
                    <a:lnTo>
                      <a:pt x="264" y="2208"/>
                    </a:lnTo>
                    <a:lnTo>
                      <a:pt x="264" y="2214"/>
                    </a:lnTo>
                    <a:lnTo>
                      <a:pt x="276" y="2214"/>
                    </a:lnTo>
                    <a:lnTo>
                      <a:pt x="282" y="2208"/>
                    </a:lnTo>
                    <a:lnTo>
                      <a:pt x="300" y="2202"/>
                    </a:lnTo>
                    <a:lnTo>
                      <a:pt x="318" y="2184"/>
                    </a:lnTo>
                    <a:lnTo>
                      <a:pt x="330" y="2178"/>
                    </a:lnTo>
                    <a:lnTo>
                      <a:pt x="306" y="2202"/>
                    </a:lnTo>
                    <a:lnTo>
                      <a:pt x="300" y="2214"/>
                    </a:lnTo>
                    <a:lnTo>
                      <a:pt x="294" y="2220"/>
                    </a:lnTo>
                    <a:lnTo>
                      <a:pt x="300" y="2220"/>
                    </a:lnTo>
                    <a:lnTo>
                      <a:pt x="312" y="2214"/>
                    </a:lnTo>
                    <a:lnTo>
                      <a:pt x="324" y="2214"/>
                    </a:lnTo>
                    <a:lnTo>
                      <a:pt x="318" y="2220"/>
                    </a:lnTo>
                    <a:lnTo>
                      <a:pt x="306" y="2226"/>
                    </a:lnTo>
                    <a:lnTo>
                      <a:pt x="300" y="2238"/>
                    </a:lnTo>
                    <a:lnTo>
                      <a:pt x="282" y="2256"/>
                    </a:lnTo>
                    <a:lnTo>
                      <a:pt x="288" y="2262"/>
                    </a:lnTo>
                    <a:lnTo>
                      <a:pt x="294" y="2262"/>
                    </a:lnTo>
                    <a:lnTo>
                      <a:pt x="342" y="2238"/>
                    </a:lnTo>
                    <a:lnTo>
                      <a:pt x="348" y="2232"/>
                    </a:lnTo>
                    <a:lnTo>
                      <a:pt x="324" y="2256"/>
                    </a:lnTo>
                    <a:lnTo>
                      <a:pt x="318" y="2268"/>
                    </a:lnTo>
                    <a:lnTo>
                      <a:pt x="318" y="2274"/>
                    </a:lnTo>
                    <a:lnTo>
                      <a:pt x="330" y="2280"/>
                    </a:lnTo>
                    <a:lnTo>
                      <a:pt x="342" y="2280"/>
                    </a:lnTo>
                    <a:lnTo>
                      <a:pt x="354" y="2292"/>
                    </a:lnTo>
                    <a:lnTo>
                      <a:pt x="354" y="2298"/>
                    </a:lnTo>
                    <a:lnTo>
                      <a:pt x="348" y="2304"/>
                    </a:lnTo>
                    <a:lnTo>
                      <a:pt x="348" y="2340"/>
                    </a:lnTo>
                    <a:lnTo>
                      <a:pt x="2058" y="2340"/>
                    </a:lnTo>
                    <a:lnTo>
                      <a:pt x="2064" y="2328"/>
                    </a:lnTo>
                    <a:lnTo>
                      <a:pt x="2064" y="2322"/>
                    </a:lnTo>
                    <a:lnTo>
                      <a:pt x="2070" y="2310"/>
                    </a:lnTo>
                    <a:lnTo>
                      <a:pt x="2076" y="2304"/>
                    </a:lnTo>
                    <a:lnTo>
                      <a:pt x="2088" y="2298"/>
                    </a:lnTo>
                    <a:lnTo>
                      <a:pt x="2100" y="2310"/>
                    </a:lnTo>
                    <a:lnTo>
                      <a:pt x="2088" y="2322"/>
                    </a:lnTo>
                    <a:lnTo>
                      <a:pt x="2082" y="2334"/>
                    </a:lnTo>
                    <a:lnTo>
                      <a:pt x="2082" y="2346"/>
                    </a:lnTo>
                    <a:lnTo>
                      <a:pt x="2094" y="2352"/>
                    </a:lnTo>
                    <a:lnTo>
                      <a:pt x="2112" y="2358"/>
                    </a:lnTo>
                    <a:lnTo>
                      <a:pt x="2124" y="2358"/>
                    </a:lnTo>
                    <a:lnTo>
                      <a:pt x="2142" y="2376"/>
                    </a:lnTo>
                    <a:lnTo>
                      <a:pt x="2154" y="2376"/>
                    </a:lnTo>
                    <a:lnTo>
                      <a:pt x="2154" y="2370"/>
                    </a:lnTo>
                    <a:lnTo>
                      <a:pt x="2166" y="2358"/>
                    </a:lnTo>
                    <a:lnTo>
                      <a:pt x="2178" y="2358"/>
                    </a:lnTo>
                    <a:lnTo>
                      <a:pt x="2190" y="2364"/>
                    </a:lnTo>
                    <a:lnTo>
                      <a:pt x="2202" y="2376"/>
                    </a:lnTo>
                    <a:lnTo>
                      <a:pt x="2202" y="2382"/>
                    </a:lnTo>
                    <a:lnTo>
                      <a:pt x="2208" y="2388"/>
                    </a:lnTo>
                    <a:lnTo>
                      <a:pt x="2238" y="2388"/>
                    </a:lnTo>
                    <a:lnTo>
                      <a:pt x="2256" y="2406"/>
                    </a:lnTo>
                    <a:lnTo>
                      <a:pt x="2268" y="2406"/>
                    </a:lnTo>
                    <a:lnTo>
                      <a:pt x="2280" y="2394"/>
                    </a:lnTo>
                    <a:lnTo>
                      <a:pt x="2292" y="2388"/>
                    </a:lnTo>
                    <a:lnTo>
                      <a:pt x="2298" y="2382"/>
                    </a:lnTo>
                    <a:lnTo>
                      <a:pt x="2298" y="2400"/>
                    </a:lnTo>
                    <a:lnTo>
                      <a:pt x="2346" y="2394"/>
                    </a:lnTo>
                    <a:lnTo>
                      <a:pt x="2346" y="2400"/>
                    </a:lnTo>
                    <a:lnTo>
                      <a:pt x="2352" y="2400"/>
                    </a:lnTo>
                    <a:lnTo>
                      <a:pt x="2364" y="2406"/>
                    </a:lnTo>
                    <a:lnTo>
                      <a:pt x="2382" y="2406"/>
                    </a:lnTo>
                    <a:lnTo>
                      <a:pt x="2394" y="2394"/>
                    </a:lnTo>
                    <a:lnTo>
                      <a:pt x="2406" y="2388"/>
                    </a:lnTo>
                    <a:lnTo>
                      <a:pt x="2412" y="2376"/>
                    </a:lnTo>
                    <a:lnTo>
                      <a:pt x="2412" y="2370"/>
                    </a:lnTo>
                    <a:lnTo>
                      <a:pt x="2430" y="2370"/>
                    </a:lnTo>
                    <a:lnTo>
                      <a:pt x="2436" y="2376"/>
                    </a:lnTo>
                    <a:lnTo>
                      <a:pt x="2442" y="2376"/>
                    </a:lnTo>
                    <a:lnTo>
                      <a:pt x="2454" y="2364"/>
                    </a:lnTo>
                    <a:lnTo>
                      <a:pt x="2460" y="2352"/>
                    </a:lnTo>
                    <a:lnTo>
                      <a:pt x="2466" y="2346"/>
                    </a:lnTo>
                    <a:lnTo>
                      <a:pt x="2472" y="2346"/>
                    </a:lnTo>
                    <a:lnTo>
                      <a:pt x="2472" y="2352"/>
                    </a:lnTo>
                    <a:lnTo>
                      <a:pt x="2478" y="2358"/>
                    </a:lnTo>
                    <a:lnTo>
                      <a:pt x="2502" y="2352"/>
                    </a:lnTo>
                    <a:lnTo>
                      <a:pt x="2496" y="2346"/>
                    </a:lnTo>
                    <a:lnTo>
                      <a:pt x="2496" y="2334"/>
                    </a:lnTo>
                    <a:lnTo>
                      <a:pt x="2502" y="2328"/>
                    </a:lnTo>
                    <a:lnTo>
                      <a:pt x="2514" y="2322"/>
                    </a:lnTo>
                    <a:lnTo>
                      <a:pt x="2532" y="2340"/>
                    </a:lnTo>
                    <a:lnTo>
                      <a:pt x="2556" y="2340"/>
                    </a:lnTo>
                    <a:lnTo>
                      <a:pt x="2562" y="2346"/>
                    </a:lnTo>
                    <a:lnTo>
                      <a:pt x="2580" y="2346"/>
                    </a:lnTo>
                    <a:lnTo>
                      <a:pt x="2604" y="2358"/>
                    </a:lnTo>
                    <a:lnTo>
                      <a:pt x="2604" y="2370"/>
                    </a:lnTo>
                    <a:lnTo>
                      <a:pt x="2598" y="2382"/>
                    </a:lnTo>
                    <a:lnTo>
                      <a:pt x="2598" y="2388"/>
                    </a:lnTo>
                    <a:lnTo>
                      <a:pt x="2592" y="2400"/>
                    </a:lnTo>
                    <a:lnTo>
                      <a:pt x="2604" y="2412"/>
                    </a:lnTo>
                    <a:lnTo>
                      <a:pt x="2592" y="2436"/>
                    </a:lnTo>
                    <a:lnTo>
                      <a:pt x="2598" y="2436"/>
                    </a:lnTo>
                    <a:lnTo>
                      <a:pt x="2604" y="2430"/>
                    </a:lnTo>
                    <a:lnTo>
                      <a:pt x="2616" y="2424"/>
                    </a:lnTo>
                    <a:lnTo>
                      <a:pt x="2634" y="2418"/>
                    </a:lnTo>
                    <a:lnTo>
                      <a:pt x="2646" y="2412"/>
                    </a:lnTo>
                    <a:lnTo>
                      <a:pt x="2670" y="2412"/>
                    </a:lnTo>
                    <a:lnTo>
                      <a:pt x="2670" y="2424"/>
                    </a:lnTo>
                    <a:lnTo>
                      <a:pt x="2658" y="2430"/>
                    </a:lnTo>
                    <a:lnTo>
                      <a:pt x="2652" y="2436"/>
                    </a:lnTo>
                    <a:lnTo>
                      <a:pt x="2646" y="2436"/>
                    </a:lnTo>
                    <a:lnTo>
                      <a:pt x="2640" y="2442"/>
                    </a:lnTo>
                    <a:lnTo>
                      <a:pt x="2646" y="2448"/>
                    </a:lnTo>
                    <a:lnTo>
                      <a:pt x="2652" y="2448"/>
                    </a:lnTo>
                    <a:lnTo>
                      <a:pt x="2664" y="2460"/>
                    </a:lnTo>
                    <a:lnTo>
                      <a:pt x="2640" y="2484"/>
                    </a:lnTo>
                    <a:lnTo>
                      <a:pt x="2640" y="2490"/>
                    </a:lnTo>
                    <a:lnTo>
                      <a:pt x="2652" y="2490"/>
                    </a:lnTo>
                    <a:lnTo>
                      <a:pt x="2652" y="2502"/>
                    </a:lnTo>
                    <a:lnTo>
                      <a:pt x="2640" y="2514"/>
                    </a:lnTo>
                    <a:lnTo>
                      <a:pt x="2640" y="2526"/>
                    </a:lnTo>
                    <a:lnTo>
                      <a:pt x="2658" y="2526"/>
                    </a:lnTo>
                    <a:lnTo>
                      <a:pt x="2652" y="2544"/>
                    </a:lnTo>
                    <a:lnTo>
                      <a:pt x="2658" y="2544"/>
                    </a:lnTo>
                    <a:lnTo>
                      <a:pt x="2670" y="2550"/>
                    </a:lnTo>
                    <a:lnTo>
                      <a:pt x="2754" y="2550"/>
                    </a:lnTo>
                    <a:lnTo>
                      <a:pt x="2766" y="2556"/>
                    </a:lnTo>
                    <a:lnTo>
                      <a:pt x="2784" y="2568"/>
                    </a:lnTo>
                    <a:lnTo>
                      <a:pt x="2838" y="2568"/>
                    </a:lnTo>
                    <a:lnTo>
                      <a:pt x="2850" y="2574"/>
                    </a:lnTo>
                    <a:lnTo>
                      <a:pt x="2856" y="2580"/>
                    </a:lnTo>
                    <a:lnTo>
                      <a:pt x="2856" y="2610"/>
                    </a:lnTo>
                    <a:lnTo>
                      <a:pt x="2874" y="2610"/>
                    </a:lnTo>
                    <a:lnTo>
                      <a:pt x="2874" y="2628"/>
                    </a:lnTo>
                    <a:lnTo>
                      <a:pt x="2862" y="2640"/>
                    </a:lnTo>
                    <a:lnTo>
                      <a:pt x="2862" y="2652"/>
                    </a:lnTo>
                    <a:lnTo>
                      <a:pt x="2874" y="2664"/>
                    </a:lnTo>
                    <a:lnTo>
                      <a:pt x="2880" y="2664"/>
                    </a:lnTo>
                    <a:lnTo>
                      <a:pt x="2856" y="2658"/>
                    </a:lnTo>
                    <a:lnTo>
                      <a:pt x="2856" y="2670"/>
                    </a:lnTo>
                    <a:lnTo>
                      <a:pt x="2850" y="2676"/>
                    </a:lnTo>
                    <a:lnTo>
                      <a:pt x="2844" y="2688"/>
                    </a:lnTo>
                    <a:lnTo>
                      <a:pt x="2838" y="2694"/>
                    </a:lnTo>
                    <a:lnTo>
                      <a:pt x="2832" y="2688"/>
                    </a:lnTo>
                    <a:lnTo>
                      <a:pt x="2820" y="2682"/>
                    </a:lnTo>
                    <a:lnTo>
                      <a:pt x="2802" y="2670"/>
                    </a:lnTo>
                    <a:lnTo>
                      <a:pt x="2790" y="2664"/>
                    </a:lnTo>
                    <a:lnTo>
                      <a:pt x="2784" y="2652"/>
                    </a:lnTo>
                    <a:lnTo>
                      <a:pt x="2784" y="2628"/>
                    </a:lnTo>
                    <a:lnTo>
                      <a:pt x="2766" y="2622"/>
                    </a:lnTo>
                    <a:lnTo>
                      <a:pt x="2772" y="2640"/>
                    </a:lnTo>
                    <a:lnTo>
                      <a:pt x="2772" y="2646"/>
                    </a:lnTo>
                    <a:lnTo>
                      <a:pt x="2778" y="2652"/>
                    </a:lnTo>
                    <a:lnTo>
                      <a:pt x="2778" y="2664"/>
                    </a:lnTo>
                    <a:lnTo>
                      <a:pt x="2772" y="2676"/>
                    </a:lnTo>
                    <a:lnTo>
                      <a:pt x="2760" y="2688"/>
                    </a:lnTo>
                    <a:lnTo>
                      <a:pt x="2754" y="2700"/>
                    </a:lnTo>
                    <a:lnTo>
                      <a:pt x="2736" y="2706"/>
                    </a:lnTo>
                    <a:lnTo>
                      <a:pt x="2718" y="2724"/>
                    </a:lnTo>
                    <a:lnTo>
                      <a:pt x="2712" y="2742"/>
                    </a:lnTo>
                    <a:lnTo>
                      <a:pt x="2700" y="2760"/>
                    </a:lnTo>
                    <a:lnTo>
                      <a:pt x="2694" y="2778"/>
                    </a:lnTo>
                    <a:lnTo>
                      <a:pt x="2688" y="2784"/>
                    </a:lnTo>
                    <a:lnTo>
                      <a:pt x="2664" y="2796"/>
                    </a:lnTo>
                    <a:lnTo>
                      <a:pt x="2652" y="2796"/>
                    </a:lnTo>
                    <a:lnTo>
                      <a:pt x="2646" y="2790"/>
                    </a:lnTo>
                    <a:lnTo>
                      <a:pt x="2640" y="2802"/>
                    </a:lnTo>
                    <a:lnTo>
                      <a:pt x="2634" y="2808"/>
                    </a:lnTo>
                    <a:lnTo>
                      <a:pt x="2634" y="2832"/>
                    </a:lnTo>
                    <a:lnTo>
                      <a:pt x="2628" y="2838"/>
                    </a:lnTo>
                    <a:lnTo>
                      <a:pt x="2622" y="2838"/>
                    </a:lnTo>
                    <a:lnTo>
                      <a:pt x="2586" y="2856"/>
                    </a:lnTo>
                    <a:lnTo>
                      <a:pt x="2562" y="2880"/>
                    </a:lnTo>
                    <a:lnTo>
                      <a:pt x="2562" y="2886"/>
                    </a:lnTo>
                    <a:lnTo>
                      <a:pt x="2568" y="2886"/>
                    </a:lnTo>
                    <a:lnTo>
                      <a:pt x="2580" y="2880"/>
                    </a:lnTo>
                    <a:lnTo>
                      <a:pt x="2592" y="2880"/>
                    </a:lnTo>
                    <a:lnTo>
                      <a:pt x="2598" y="2886"/>
                    </a:lnTo>
                    <a:lnTo>
                      <a:pt x="2610" y="2880"/>
                    </a:lnTo>
                    <a:lnTo>
                      <a:pt x="2616" y="2868"/>
                    </a:lnTo>
                    <a:lnTo>
                      <a:pt x="2628" y="2862"/>
                    </a:lnTo>
                    <a:lnTo>
                      <a:pt x="2658" y="2862"/>
                    </a:lnTo>
                    <a:lnTo>
                      <a:pt x="2658" y="2856"/>
                    </a:lnTo>
                    <a:lnTo>
                      <a:pt x="2664" y="2844"/>
                    </a:lnTo>
                    <a:lnTo>
                      <a:pt x="2676" y="2838"/>
                    </a:lnTo>
                    <a:lnTo>
                      <a:pt x="2682" y="2832"/>
                    </a:lnTo>
                    <a:lnTo>
                      <a:pt x="2754" y="2832"/>
                    </a:lnTo>
                    <a:lnTo>
                      <a:pt x="2766" y="2838"/>
                    </a:lnTo>
                    <a:lnTo>
                      <a:pt x="2790" y="2820"/>
                    </a:lnTo>
                    <a:lnTo>
                      <a:pt x="2856" y="2820"/>
                    </a:lnTo>
                    <a:lnTo>
                      <a:pt x="2862" y="2814"/>
                    </a:lnTo>
                    <a:lnTo>
                      <a:pt x="2862" y="2790"/>
                    </a:lnTo>
                    <a:lnTo>
                      <a:pt x="2844" y="2796"/>
                    </a:lnTo>
                    <a:lnTo>
                      <a:pt x="2832" y="2796"/>
                    </a:lnTo>
                    <a:lnTo>
                      <a:pt x="2826" y="2790"/>
                    </a:lnTo>
                    <a:lnTo>
                      <a:pt x="2826" y="2784"/>
                    </a:lnTo>
                    <a:lnTo>
                      <a:pt x="2832" y="2772"/>
                    </a:lnTo>
                    <a:lnTo>
                      <a:pt x="2850" y="2754"/>
                    </a:lnTo>
                    <a:lnTo>
                      <a:pt x="2868" y="2742"/>
                    </a:lnTo>
                    <a:lnTo>
                      <a:pt x="2880" y="2736"/>
                    </a:lnTo>
                    <a:lnTo>
                      <a:pt x="2910" y="2736"/>
                    </a:lnTo>
                    <a:lnTo>
                      <a:pt x="2928" y="2730"/>
                    </a:lnTo>
                    <a:lnTo>
                      <a:pt x="2952" y="2730"/>
                    </a:lnTo>
                    <a:lnTo>
                      <a:pt x="2964" y="2724"/>
                    </a:lnTo>
                    <a:lnTo>
                      <a:pt x="2970" y="2724"/>
                    </a:lnTo>
                    <a:lnTo>
                      <a:pt x="2976" y="2718"/>
                    </a:lnTo>
                    <a:lnTo>
                      <a:pt x="2982" y="2718"/>
                    </a:lnTo>
                    <a:lnTo>
                      <a:pt x="2994" y="2724"/>
                    </a:lnTo>
                    <a:lnTo>
                      <a:pt x="3000" y="2724"/>
                    </a:lnTo>
                    <a:lnTo>
                      <a:pt x="3012" y="2730"/>
                    </a:lnTo>
                    <a:lnTo>
                      <a:pt x="3018" y="2736"/>
                    </a:lnTo>
                    <a:lnTo>
                      <a:pt x="3024" y="2736"/>
                    </a:lnTo>
                    <a:lnTo>
                      <a:pt x="3030" y="2730"/>
                    </a:lnTo>
                    <a:lnTo>
                      <a:pt x="3030" y="2712"/>
                    </a:lnTo>
                    <a:lnTo>
                      <a:pt x="3036" y="2706"/>
                    </a:lnTo>
                    <a:lnTo>
                      <a:pt x="3048" y="2700"/>
                    </a:lnTo>
                    <a:lnTo>
                      <a:pt x="3060" y="2700"/>
                    </a:lnTo>
                    <a:lnTo>
                      <a:pt x="3066" y="2706"/>
                    </a:lnTo>
                    <a:lnTo>
                      <a:pt x="3072" y="2706"/>
                    </a:lnTo>
                    <a:lnTo>
                      <a:pt x="3072" y="2700"/>
                    </a:lnTo>
                    <a:lnTo>
                      <a:pt x="3102" y="2700"/>
                    </a:lnTo>
                    <a:lnTo>
                      <a:pt x="3114" y="2688"/>
                    </a:lnTo>
                    <a:lnTo>
                      <a:pt x="3126" y="2682"/>
                    </a:lnTo>
                    <a:lnTo>
                      <a:pt x="3150" y="2658"/>
                    </a:lnTo>
                    <a:lnTo>
                      <a:pt x="3162" y="2652"/>
                    </a:lnTo>
                    <a:lnTo>
                      <a:pt x="3174" y="2640"/>
                    </a:lnTo>
                    <a:lnTo>
                      <a:pt x="3408" y="2640"/>
                    </a:lnTo>
                    <a:lnTo>
                      <a:pt x="3408" y="2634"/>
                    </a:lnTo>
                    <a:lnTo>
                      <a:pt x="3420" y="2622"/>
                    </a:lnTo>
                    <a:lnTo>
                      <a:pt x="3438" y="2622"/>
                    </a:lnTo>
                    <a:lnTo>
                      <a:pt x="3450" y="2616"/>
                    </a:lnTo>
                    <a:lnTo>
                      <a:pt x="3456" y="2616"/>
                    </a:lnTo>
                    <a:lnTo>
                      <a:pt x="3456" y="2610"/>
                    </a:lnTo>
                    <a:lnTo>
                      <a:pt x="3468" y="2598"/>
                    </a:lnTo>
                    <a:lnTo>
                      <a:pt x="3480" y="2592"/>
                    </a:lnTo>
                    <a:lnTo>
                      <a:pt x="3486" y="2586"/>
                    </a:lnTo>
                    <a:lnTo>
                      <a:pt x="3498" y="2586"/>
                    </a:lnTo>
                    <a:lnTo>
                      <a:pt x="3504" y="2592"/>
                    </a:lnTo>
                    <a:lnTo>
                      <a:pt x="3510" y="2592"/>
                    </a:lnTo>
                    <a:lnTo>
                      <a:pt x="3510" y="2568"/>
                    </a:lnTo>
                    <a:lnTo>
                      <a:pt x="3516" y="2556"/>
                    </a:lnTo>
                    <a:lnTo>
                      <a:pt x="3528" y="2544"/>
                    </a:lnTo>
                    <a:lnTo>
                      <a:pt x="3534" y="2544"/>
                    </a:lnTo>
                    <a:lnTo>
                      <a:pt x="3546" y="2532"/>
                    </a:lnTo>
                    <a:lnTo>
                      <a:pt x="3546" y="2508"/>
                    </a:lnTo>
                    <a:lnTo>
                      <a:pt x="3588" y="2484"/>
                    </a:lnTo>
                    <a:lnTo>
                      <a:pt x="3594" y="2472"/>
                    </a:lnTo>
                    <a:lnTo>
                      <a:pt x="3618" y="2448"/>
                    </a:lnTo>
                    <a:lnTo>
                      <a:pt x="3630" y="2448"/>
                    </a:lnTo>
                    <a:lnTo>
                      <a:pt x="3636" y="2454"/>
                    </a:lnTo>
                    <a:lnTo>
                      <a:pt x="3636" y="2460"/>
                    </a:lnTo>
                    <a:lnTo>
                      <a:pt x="3642" y="2466"/>
                    </a:lnTo>
                    <a:lnTo>
                      <a:pt x="3654" y="2466"/>
                    </a:lnTo>
                    <a:lnTo>
                      <a:pt x="3666" y="2460"/>
                    </a:lnTo>
                    <a:lnTo>
                      <a:pt x="3702" y="2460"/>
                    </a:lnTo>
                    <a:lnTo>
                      <a:pt x="3708" y="2466"/>
                    </a:lnTo>
                    <a:lnTo>
                      <a:pt x="3708" y="2472"/>
                    </a:lnTo>
                    <a:lnTo>
                      <a:pt x="3702" y="2496"/>
                    </a:lnTo>
                    <a:lnTo>
                      <a:pt x="3690" y="2520"/>
                    </a:lnTo>
                    <a:lnTo>
                      <a:pt x="3678" y="2550"/>
                    </a:lnTo>
                    <a:lnTo>
                      <a:pt x="3666" y="2574"/>
                    </a:lnTo>
                    <a:lnTo>
                      <a:pt x="3666" y="2586"/>
                    </a:lnTo>
                    <a:lnTo>
                      <a:pt x="3672" y="2592"/>
                    </a:lnTo>
                    <a:lnTo>
                      <a:pt x="3678" y="2592"/>
                    </a:lnTo>
                    <a:lnTo>
                      <a:pt x="3684" y="2598"/>
                    </a:lnTo>
                    <a:lnTo>
                      <a:pt x="3672" y="2610"/>
                    </a:lnTo>
                    <a:lnTo>
                      <a:pt x="3666" y="2622"/>
                    </a:lnTo>
                    <a:lnTo>
                      <a:pt x="3666" y="2628"/>
                    </a:lnTo>
                    <a:lnTo>
                      <a:pt x="3690" y="2628"/>
                    </a:lnTo>
                    <a:lnTo>
                      <a:pt x="3690" y="2634"/>
                    </a:lnTo>
                    <a:lnTo>
                      <a:pt x="3696" y="2640"/>
                    </a:lnTo>
                    <a:lnTo>
                      <a:pt x="3714" y="2640"/>
                    </a:lnTo>
                    <a:lnTo>
                      <a:pt x="3750" y="2622"/>
                    </a:lnTo>
                    <a:lnTo>
                      <a:pt x="3768" y="2604"/>
                    </a:lnTo>
                    <a:lnTo>
                      <a:pt x="3780" y="2622"/>
                    </a:lnTo>
                    <a:lnTo>
                      <a:pt x="3786" y="2622"/>
                    </a:lnTo>
                    <a:lnTo>
                      <a:pt x="3792" y="2616"/>
                    </a:lnTo>
                    <a:lnTo>
                      <a:pt x="3816" y="2604"/>
                    </a:lnTo>
                    <a:lnTo>
                      <a:pt x="3828" y="2604"/>
                    </a:lnTo>
                    <a:lnTo>
                      <a:pt x="3840" y="2592"/>
                    </a:lnTo>
                    <a:lnTo>
                      <a:pt x="3852" y="2592"/>
                    </a:lnTo>
                    <a:lnTo>
                      <a:pt x="3864" y="2580"/>
                    </a:lnTo>
                    <a:lnTo>
                      <a:pt x="3870" y="2580"/>
                    </a:lnTo>
                    <a:lnTo>
                      <a:pt x="3888" y="2586"/>
                    </a:lnTo>
                    <a:lnTo>
                      <a:pt x="3846" y="2616"/>
                    </a:lnTo>
                    <a:lnTo>
                      <a:pt x="3936" y="2610"/>
                    </a:lnTo>
                    <a:lnTo>
                      <a:pt x="3918" y="2610"/>
                    </a:lnTo>
                    <a:lnTo>
                      <a:pt x="3906" y="2616"/>
                    </a:lnTo>
                    <a:lnTo>
                      <a:pt x="3894" y="2616"/>
                    </a:lnTo>
                    <a:lnTo>
                      <a:pt x="3888" y="2622"/>
                    </a:lnTo>
                    <a:lnTo>
                      <a:pt x="3888" y="2634"/>
                    </a:lnTo>
                    <a:lnTo>
                      <a:pt x="3882" y="2640"/>
                    </a:lnTo>
                    <a:lnTo>
                      <a:pt x="3876" y="2640"/>
                    </a:lnTo>
                    <a:lnTo>
                      <a:pt x="3870" y="2634"/>
                    </a:lnTo>
                    <a:lnTo>
                      <a:pt x="3864" y="2634"/>
                    </a:lnTo>
                    <a:lnTo>
                      <a:pt x="3852" y="2628"/>
                    </a:lnTo>
                    <a:lnTo>
                      <a:pt x="3846" y="2628"/>
                    </a:lnTo>
                    <a:lnTo>
                      <a:pt x="3828" y="2634"/>
                    </a:lnTo>
                    <a:lnTo>
                      <a:pt x="3738" y="2688"/>
                    </a:lnTo>
                    <a:lnTo>
                      <a:pt x="3726" y="2700"/>
                    </a:lnTo>
                    <a:lnTo>
                      <a:pt x="3720" y="2712"/>
                    </a:lnTo>
                    <a:lnTo>
                      <a:pt x="3720" y="2748"/>
                    </a:lnTo>
                    <a:lnTo>
                      <a:pt x="3726" y="2748"/>
                    </a:lnTo>
                    <a:lnTo>
                      <a:pt x="3732" y="2742"/>
                    </a:lnTo>
                    <a:lnTo>
                      <a:pt x="3738" y="2742"/>
                    </a:lnTo>
                    <a:lnTo>
                      <a:pt x="3738" y="2754"/>
                    </a:lnTo>
                    <a:lnTo>
                      <a:pt x="3744" y="2760"/>
                    </a:lnTo>
                    <a:lnTo>
                      <a:pt x="3756" y="2760"/>
                    </a:lnTo>
                    <a:lnTo>
                      <a:pt x="3762" y="2754"/>
                    </a:lnTo>
                    <a:lnTo>
                      <a:pt x="3768" y="2742"/>
                    </a:lnTo>
                    <a:lnTo>
                      <a:pt x="3774" y="2736"/>
                    </a:lnTo>
                    <a:lnTo>
                      <a:pt x="3786" y="2736"/>
                    </a:lnTo>
                    <a:lnTo>
                      <a:pt x="3804" y="2730"/>
                    </a:lnTo>
                    <a:lnTo>
                      <a:pt x="3816" y="2724"/>
                    </a:lnTo>
                    <a:lnTo>
                      <a:pt x="3834" y="2718"/>
                    </a:lnTo>
                    <a:lnTo>
                      <a:pt x="3846" y="2706"/>
                    </a:lnTo>
                    <a:lnTo>
                      <a:pt x="3852" y="2694"/>
                    </a:lnTo>
                    <a:lnTo>
                      <a:pt x="3870" y="2676"/>
                    </a:lnTo>
                    <a:lnTo>
                      <a:pt x="3876" y="2664"/>
                    </a:lnTo>
                    <a:lnTo>
                      <a:pt x="3876" y="2670"/>
                    </a:lnTo>
                    <a:lnTo>
                      <a:pt x="3882" y="2682"/>
                    </a:lnTo>
                    <a:lnTo>
                      <a:pt x="3888" y="2688"/>
                    </a:lnTo>
                    <a:lnTo>
                      <a:pt x="3894" y="2688"/>
                    </a:lnTo>
                    <a:lnTo>
                      <a:pt x="3930" y="2676"/>
                    </a:lnTo>
                    <a:lnTo>
                      <a:pt x="3954" y="2664"/>
                    </a:lnTo>
                    <a:lnTo>
                      <a:pt x="3972" y="2658"/>
                    </a:lnTo>
                    <a:lnTo>
                      <a:pt x="3984" y="2652"/>
                    </a:lnTo>
                    <a:lnTo>
                      <a:pt x="4008" y="2646"/>
                    </a:lnTo>
                    <a:lnTo>
                      <a:pt x="4068" y="2634"/>
                    </a:lnTo>
                    <a:lnTo>
                      <a:pt x="4080" y="2628"/>
                    </a:lnTo>
                    <a:lnTo>
                      <a:pt x="4068" y="2616"/>
                    </a:lnTo>
                    <a:lnTo>
                      <a:pt x="4074" y="2598"/>
                    </a:lnTo>
                    <a:lnTo>
                      <a:pt x="4038" y="2604"/>
                    </a:lnTo>
                    <a:lnTo>
                      <a:pt x="4038" y="2580"/>
                    </a:lnTo>
                    <a:lnTo>
                      <a:pt x="4026" y="2586"/>
                    </a:lnTo>
                    <a:lnTo>
                      <a:pt x="4020" y="2586"/>
                    </a:lnTo>
                    <a:lnTo>
                      <a:pt x="4008" y="2592"/>
                    </a:lnTo>
                    <a:lnTo>
                      <a:pt x="4002" y="2598"/>
                    </a:lnTo>
                    <a:lnTo>
                      <a:pt x="3990" y="2598"/>
                    </a:lnTo>
                    <a:lnTo>
                      <a:pt x="3990" y="2580"/>
                    </a:lnTo>
                    <a:lnTo>
                      <a:pt x="3930" y="2580"/>
                    </a:lnTo>
                    <a:lnTo>
                      <a:pt x="3924" y="2574"/>
                    </a:lnTo>
                    <a:lnTo>
                      <a:pt x="3924" y="2568"/>
                    </a:lnTo>
                    <a:lnTo>
                      <a:pt x="3918" y="2562"/>
                    </a:lnTo>
                    <a:lnTo>
                      <a:pt x="3918" y="2556"/>
                    </a:lnTo>
                    <a:lnTo>
                      <a:pt x="3930" y="2556"/>
                    </a:lnTo>
                    <a:lnTo>
                      <a:pt x="3918" y="2544"/>
                    </a:lnTo>
                    <a:lnTo>
                      <a:pt x="3888" y="2544"/>
                    </a:lnTo>
                    <a:lnTo>
                      <a:pt x="3882" y="2532"/>
                    </a:lnTo>
                    <a:lnTo>
                      <a:pt x="3882" y="2526"/>
                    </a:lnTo>
                    <a:lnTo>
                      <a:pt x="3876" y="2514"/>
                    </a:lnTo>
                    <a:lnTo>
                      <a:pt x="3876" y="2502"/>
                    </a:lnTo>
                    <a:lnTo>
                      <a:pt x="3894" y="2484"/>
                    </a:lnTo>
                    <a:lnTo>
                      <a:pt x="3870" y="2484"/>
                    </a:lnTo>
                    <a:lnTo>
                      <a:pt x="3876" y="2478"/>
                    </a:lnTo>
                    <a:lnTo>
                      <a:pt x="3888" y="2472"/>
                    </a:lnTo>
                    <a:lnTo>
                      <a:pt x="3894" y="2460"/>
                    </a:lnTo>
                    <a:lnTo>
                      <a:pt x="3906" y="2454"/>
                    </a:lnTo>
                    <a:lnTo>
                      <a:pt x="3918" y="2442"/>
                    </a:lnTo>
                    <a:lnTo>
                      <a:pt x="3924" y="2430"/>
                    </a:lnTo>
                    <a:lnTo>
                      <a:pt x="3936" y="2424"/>
                    </a:lnTo>
                    <a:lnTo>
                      <a:pt x="3942" y="2412"/>
                    </a:lnTo>
                    <a:lnTo>
                      <a:pt x="3948" y="2406"/>
                    </a:lnTo>
                    <a:lnTo>
                      <a:pt x="3936" y="2400"/>
                    </a:lnTo>
                    <a:lnTo>
                      <a:pt x="3912" y="2430"/>
                    </a:lnTo>
                    <a:lnTo>
                      <a:pt x="3894" y="2418"/>
                    </a:lnTo>
                    <a:lnTo>
                      <a:pt x="3864" y="2436"/>
                    </a:lnTo>
                    <a:lnTo>
                      <a:pt x="3858" y="2418"/>
                    </a:lnTo>
                    <a:lnTo>
                      <a:pt x="3828" y="2406"/>
                    </a:lnTo>
                    <a:lnTo>
                      <a:pt x="3810" y="2412"/>
                    </a:lnTo>
                    <a:lnTo>
                      <a:pt x="3864" y="2394"/>
                    </a:lnTo>
                    <a:lnTo>
                      <a:pt x="3870" y="2400"/>
                    </a:lnTo>
                    <a:lnTo>
                      <a:pt x="3882" y="2406"/>
                    </a:lnTo>
                    <a:lnTo>
                      <a:pt x="3900" y="2406"/>
                    </a:lnTo>
                    <a:lnTo>
                      <a:pt x="3918" y="2388"/>
                    </a:lnTo>
                    <a:lnTo>
                      <a:pt x="3930" y="2382"/>
                    </a:lnTo>
                    <a:lnTo>
                      <a:pt x="3936" y="2376"/>
                    </a:lnTo>
                    <a:lnTo>
                      <a:pt x="3978" y="2376"/>
                    </a:lnTo>
                    <a:lnTo>
                      <a:pt x="3978" y="2364"/>
                    </a:lnTo>
                    <a:lnTo>
                      <a:pt x="3972" y="2358"/>
                    </a:lnTo>
                    <a:lnTo>
                      <a:pt x="3966" y="2346"/>
                    </a:lnTo>
                    <a:lnTo>
                      <a:pt x="3990" y="2346"/>
                    </a:lnTo>
                    <a:lnTo>
                      <a:pt x="3978" y="2334"/>
                    </a:lnTo>
                    <a:lnTo>
                      <a:pt x="3972" y="2322"/>
                    </a:lnTo>
                    <a:lnTo>
                      <a:pt x="3960" y="2316"/>
                    </a:lnTo>
                    <a:lnTo>
                      <a:pt x="3942" y="2310"/>
                    </a:lnTo>
                    <a:lnTo>
                      <a:pt x="3918" y="2310"/>
                    </a:lnTo>
                    <a:lnTo>
                      <a:pt x="3852" y="2316"/>
                    </a:lnTo>
                    <a:lnTo>
                      <a:pt x="3792" y="2334"/>
                    </a:lnTo>
                    <a:lnTo>
                      <a:pt x="3744" y="2352"/>
                    </a:lnTo>
                    <a:lnTo>
                      <a:pt x="3684" y="2376"/>
                    </a:lnTo>
                    <a:lnTo>
                      <a:pt x="3660" y="2388"/>
                    </a:lnTo>
                    <a:lnTo>
                      <a:pt x="3642" y="2400"/>
                    </a:lnTo>
                    <a:lnTo>
                      <a:pt x="3624" y="2418"/>
                    </a:lnTo>
                    <a:lnTo>
                      <a:pt x="3606" y="2430"/>
                    </a:lnTo>
                    <a:lnTo>
                      <a:pt x="3594" y="2442"/>
                    </a:lnTo>
                    <a:lnTo>
                      <a:pt x="3576" y="2454"/>
                    </a:lnTo>
                    <a:lnTo>
                      <a:pt x="3564" y="2466"/>
                    </a:lnTo>
                    <a:lnTo>
                      <a:pt x="3528" y="2484"/>
                    </a:lnTo>
                    <a:lnTo>
                      <a:pt x="3516" y="2484"/>
                    </a:lnTo>
                    <a:lnTo>
                      <a:pt x="3498" y="2490"/>
                    </a:lnTo>
                    <a:lnTo>
                      <a:pt x="3486" y="2490"/>
                    </a:lnTo>
                    <a:lnTo>
                      <a:pt x="3492" y="2490"/>
                    </a:lnTo>
                    <a:lnTo>
                      <a:pt x="3498" y="2484"/>
                    </a:lnTo>
                    <a:lnTo>
                      <a:pt x="3510" y="2478"/>
                    </a:lnTo>
                    <a:lnTo>
                      <a:pt x="3522" y="2466"/>
                    </a:lnTo>
                    <a:lnTo>
                      <a:pt x="3540" y="2460"/>
                    </a:lnTo>
                    <a:lnTo>
                      <a:pt x="3552" y="2448"/>
                    </a:lnTo>
                    <a:lnTo>
                      <a:pt x="3576" y="2436"/>
                    </a:lnTo>
                    <a:lnTo>
                      <a:pt x="3600" y="2412"/>
                    </a:lnTo>
                    <a:lnTo>
                      <a:pt x="3606" y="2400"/>
                    </a:lnTo>
                    <a:lnTo>
                      <a:pt x="3582" y="2388"/>
                    </a:lnTo>
                    <a:lnTo>
                      <a:pt x="3588" y="2388"/>
                    </a:lnTo>
                    <a:lnTo>
                      <a:pt x="3594" y="2394"/>
                    </a:lnTo>
                    <a:lnTo>
                      <a:pt x="3624" y="2394"/>
                    </a:lnTo>
                    <a:lnTo>
                      <a:pt x="3642" y="2382"/>
                    </a:lnTo>
                    <a:lnTo>
                      <a:pt x="3702" y="2334"/>
                    </a:lnTo>
                    <a:lnTo>
                      <a:pt x="3750" y="2310"/>
                    </a:lnTo>
                    <a:lnTo>
                      <a:pt x="3768" y="2304"/>
                    </a:lnTo>
                    <a:lnTo>
                      <a:pt x="3804" y="2304"/>
                    </a:lnTo>
                    <a:lnTo>
                      <a:pt x="3852" y="2256"/>
                    </a:lnTo>
                    <a:lnTo>
                      <a:pt x="3870" y="2244"/>
                    </a:lnTo>
                    <a:lnTo>
                      <a:pt x="3888" y="2238"/>
                    </a:lnTo>
                    <a:lnTo>
                      <a:pt x="3936" y="2232"/>
                    </a:lnTo>
                    <a:lnTo>
                      <a:pt x="3990" y="2232"/>
                    </a:lnTo>
                    <a:lnTo>
                      <a:pt x="4044" y="2226"/>
                    </a:lnTo>
                    <a:lnTo>
                      <a:pt x="4074" y="2226"/>
                    </a:lnTo>
                    <a:lnTo>
                      <a:pt x="4104" y="2232"/>
                    </a:lnTo>
                    <a:lnTo>
                      <a:pt x="4176" y="2244"/>
                    </a:lnTo>
                    <a:lnTo>
                      <a:pt x="4200" y="2250"/>
                    </a:lnTo>
                    <a:lnTo>
                      <a:pt x="4212" y="2244"/>
                    </a:lnTo>
                    <a:lnTo>
                      <a:pt x="4248" y="2232"/>
                    </a:lnTo>
                    <a:lnTo>
                      <a:pt x="4260" y="2226"/>
                    </a:lnTo>
                    <a:lnTo>
                      <a:pt x="4278" y="2226"/>
                    </a:lnTo>
                    <a:lnTo>
                      <a:pt x="4296" y="2220"/>
                    </a:lnTo>
                    <a:lnTo>
                      <a:pt x="4320" y="2214"/>
                    </a:lnTo>
                    <a:lnTo>
                      <a:pt x="4338" y="2208"/>
                    </a:lnTo>
                    <a:lnTo>
                      <a:pt x="4374" y="2172"/>
                    </a:lnTo>
                    <a:lnTo>
                      <a:pt x="4392" y="2166"/>
                    </a:lnTo>
                    <a:lnTo>
                      <a:pt x="4404" y="2154"/>
                    </a:lnTo>
                    <a:lnTo>
                      <a:pt x="4410" y="2154"/>
                    </a:lnTo>
                    <a:lnTo>
                      <a:pt x="4422" y="2148"/>
                    </a:lnTo>
                    <a:lnTo>
                      <a:pt x="4452" y="2148"/>
                    </a:lnTo>
                    <a:lnTo>
                      <a:pt x="4458" y="2142"/>
                    </a:lnTo>
                    <a:lnTo>
                      <a:pt x="4470" y="2136"/>
                    </a:lnTo>
                    <a:lnTo>
                      <a:pt x="4476" y="2130"/>
                    </a:lnTo>
                    <a:lnTo>
                      <a:pt x="4494" y="2130"/>
                    </a:lnTo>
                    <a:lnTo>
                      <a:pt x="4500" y="2136"/>
                    </a:lnTo>
                    <a:lnTo>
                      <a:pt x="4518" y="2136"/>
                    </a:lnTo>
                    <a:lnTo>
                      <a:pt x="4530" y="2130"/>
                    </a:lnTo>
                    <a:lnTo>
                      <a:pt x="4536" y="2130"/>
                    </a:lnTo>
                    <a:lnTo>
                      <a:pt x="4542" y="2124"/>
                    </a:lnTo>
                    <a:lnTo>
                      <a:pt x="4596" y="2106"/>
                    </a:lnTo>
                    <a:lnTo>
                      <a:pt x="4620" y="2094"/>
                    </a:lnTo>
                    <a:lnTo>
                      <a:pt x="4620" y="2088"/>
                    </a:lnTo>
                    <a:lnTo>
                      <a:pt x="4614" y="2076"/>
                    </a:lnTo>
                    <a:lnTo>
                      <a:pt x="4602" y="2070"/>
                    </a:lnTo>
                    <a:lnTo>
                      <a:pt x="4584" y="2052"/>
                    </a:lnTo>
                    <a:lnTo>
                      <a:pt x="4578" y="2052"/>
                    </a:lnTo>
                    <a:lnTo>
                      <a:pt x="4602" y="2052"/>
                    </a:lnTo>
                    <a:lnTo>
                      <a:pt x="4614" y="2046"/>
                    </a:lnTo>
                    <a:lnTo>
                      <a:pt x="4614" y="2028"/>
                    </a:lnTo>
                    <a:lnTo>
                      <a:pt x="4608" y="2022"/>
                    </a:lnTo>
                    <a:lnTo>
                      <a:pt x="4608" y="2010"/>
                    </a:lnTo>
                    <a:lnTo>
                      <a:pt x="4632" y="2010"/>
                    </a:lnTo>
                    <a:lnTo>
                      <a:pt x="4644" y="1998"/>
                    </a:lnTo>
                    <a:lnTo>
                      <a:pt x="4644" y="1992"/>
                    </a:lnTo>
                    <a:lnTo>
                      <a:pt x="4632" y="1980"/>
                    </a:lnTo>
                    <a:lnTo>
                      <a:pt x="4626" y="1968"/>
                    </a:lnTo>
                    <a:lnTo>
                      <a:pt x="4608" y="1962"/>
                    </a:lnTo>
                    <a:lnTo>
                      <a:pt x="4602" y="1956"/>
                    </a:lnTo>
                    <a:lnTo>
                      <a:pt x="4590" y="1962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55" name="Cameroon"/>
              <p:cNvSpPr>
                <a:spLocks/>
              </p:cNvSpPr>
              <p:nvPr/>
            </p:nvSpPr>
            <p:spPr bwMode="gray">
              <a:xfrm>
                <a:off x="4459295" y="3651254"/>
                <a:ext cx="220663" cy="373063"/>
              </a:xfrm>
              <a:custGeom>
                <a:avLst/>
                <a:gdLst>
                  <a:gd name="T0" fmla="*/ 2147483647 w 546"/>
                  <a:gd name="T1" fmla="*/ 0 h 924"/>
                  <a:gd name="T2" fmla="*/ 2147483647 w 546"/>
                  <a:gd name="T3" fmla="*/ 2147483647 h 924"/>
                  <a:gd name="T4" fmla="*/ 2147483647 w 546"/>
                  <a:gd name="T5" fmla="*/ 2147483647 h 924"/>
                  <a:gd name="T6" fmla="*/ 2147483647 w 546"/>
                  <a:gd name="T7" fmla="*/ 2147483647 h 924"/>
                  <a:gd name="T8" fmla="*/ 2147483647 w 546"/>
                  <a:gd name="T9" fmla="*/ 2147483647 h 924"/>
                  <a:gd name="T10" fmla="*/ 2147483647 w 546"/>
                  <a:gd name="T11" fmla="*/ 2147483647 h 924"/>
                  <a:gd name="T12" fmla="*/ 2147483647 w 546"/>
                  <a:gd name="T13" fmla="*/ 2147483647 h 924"/>
                  <a:gd name="T14" fmla="*/ 2147483647 w 546"/>
                  <a:gd name="T15" fmla="*/ 2147483647 h 924"/>
                  <a:gd name="T16" fmla="*/ 2147483647 w 546"/>
                  <a:gd name="T17" fmla="*/ 2147483647 h 924"/>
                  <a:gd name="T18" fmla="*/ 2147483647 w 546"/>
                  <a:gd name="T19" fmla="*/ 2147483647 h 924"/>
                  <a:gd name="T20" fmla="*/ 2147483647 w 546"/>
                  <a:gd name="T21" fmla="*/ 2147483647 h 924"/>
                  <a:gd name="T22" fmla="*/ 2147483647 w 546"/>
                  <a:gd name="T23" fmla="*/ 2147483647 h 924"/>
                  <a:gd name="T24" fmla="*/ 2147483647 w 546"/>
                  <a:gd name="T25" fmla="*/ 2147483647 h 924"/>
                  <a:gd name="T26" fmla="*/ 2147483647 w 546"/>
                  <a:gd name="T27" fmla="*/ 2147483647 h 924"/>
                  <a:gd name="T28" fmla="*/ 2147483647 w 546"/>
                  <a:gd name="T29" fmla="*/ 2147483647 h 924"/>
                  <a:gd name="T30" fmla="*/ 2147483647 w 546"/>
                  <a:gd name="T31" fmla="*/ 2147483647 h 924"/>
                  <a:gd name="T32" fmla="*/ 2147483647 w 546"/>
                  <a:gd name="T33" fmla="*/ 2147483647 h 924"/>
                  <a:gd name="T34" fmla="*/ 2147483647 w 546"/>
                  <a:gd name="T35" fmla="*/ 2147483647 h 924"/>
                  <a:gd name="T36" fmla="*/ 2147483647 w 546"/>
                  <a:gd name="T37" fmla="*/ 2147483647 h 924"/>
                  <a:gd name="T38" fmla="*/ 2147483647 w 546"/>
                  <a:gd name="T39" fmla="*/ 2147483647 h 924"/>
                  <a:gd name="T40" fmla="*/ 2147483647 w 546"/>
                  <a:gd name="T41" fmla="*/ 2147483647 h 924"/>
                  <a:gd name="T42" fmla="*/ 2147483647 w 546"/>
                  <a:gd name="T43" fmla="*/ 2147483647 h 924"/>
                  <a:gd name="T44" fmla="*/ 2147483647 w 546"/>
                  <a:gd name="T45" fmla="*/ 2147483647 h 924"/>
                  <a:gd name="T46" fmla="*/ 2147483647 w 546"/>
                  <a:gd name="T47" fmla="*/ 2147483647 h 924"/>
                  <a:gd name="T48" fmla="*/ 2147483647 w 546"/>
                  <a:gd name="T49" fmla="*/ 2147483647 h 924"/>
                  <a:gd name="T50" fmla="*/ 2147483647 w 546"/>
                  <a:gd name="T51" fmla="*/ 2147483647 h 924"/>
                  <a:gd name="T52" fmla="*/ 2147483647 w 546"/>
                  <a:gd name="T53" fmla="*/ 2147483647 h 924"/>
                  <a:gd name="T54" fmla="*/ 2147483647 w 546"/>
                  <a:gd name="T55" fmla="*/ 2147483647 h 924"/>
                  <a:gd name="T56" fmla="*/ 2147483647 w 546"/>
                  <a:gd name="T57" fmla="*/ 2147483647 h 924"/>
                  <a:gd name="T58" fmla="*/ 2147483647 w 546"/>
                  <a:gd name="T59" fmla="*/ 2147483647 h 924"/>
                  <a:gd name="T60" fmla="*/ 2147483647 w 546"/>
                  <a:gd name="T61" fmla="*/ 2147483647 h 924"/>
                  <a:gd name="T62" fmla="*/ 2147483647 w 546"/>
                  <a:gd name="T63" fmla="*/ 2147483647 h 924"/>
                  <a:gd name="T64" fmla="*/ 2147483647 w 546"/>
                  <a:gd name="T65" fmla="*/ 2147483647 h 924"/>
                  <a:gd name="T66" fmla="*/ 2147483647 w 546"/>
                  <a:gd name="T67" fmla="*/ 2147483647 h 924"/>
                  <a:gd name="T68" fmla="*/ 2147483647 w 546"/>
                  <a:gd name="T69" fmla="*/ 2147483647 h 924"/>
                  <a:gd name="T70" fmla="*/ 2147483647 w 546"/>
                  <a:gd name="T71" fmla="*/ 2147483647 h 924"/>
                  <a:gd name="T72" fmla="*/ 2147483647 w 546"/>
                  <a:gd name="T73" fmla="*/ 2147483647 h 924"/>
                  <a:gd name="T74" fmla="*/ 2147483647 w 546"/>
                  <a:gd name="T75" fmla="*/ 2147483647 h 924"/>
                  <a:gd name="T76" fmla="*/ 2147483647 w 546"/>
                  <a:gd name="T77" fmla="*/ 2147483647 h 924"/>
                  <a:gd name="T78" fmla="*/ 2147483647 w 546"/>
                  <a:gd name="T79" fmla="*/ 2147483647 h 924"/>
                  <a:gd name="T80" fmla="*/ 2147483647 w 546"/>
                  <a:gd name="T81" fmla="*/ 2147483647 h 924"/>
                  <a:gd name="T82" fmla="*/ 2147483647 w 546"/>
                  <a:gd name="T83" fmla="*/ 2147483647 h 924"/>
                  <a:gd name="T84" fmla="*/ 2147483647 w 546"/>
                  <a:gd name="T85" fmla="*/ 2147483647 h 924"/>
                  <a:gd name="T86" fmla="*/ 2147483647 w 546"/>
                  <a:gd name="T87" fmla="*/ 2147483647 h 924"/>
                  <a:gd name="T88" fmla="*/ 2147483647 w 546"/>
                  <a:gd name="T89" fmla="*/ 2147483647 h 924"/>
                  <a:gd name="T90" fmla="*/ 2147483647 w 546"/>
                  <a:gd name="T91" fmla="*/ 2147483647 h 924"/>
                  <a:gd name="T92" fmla="*/ 2147483647 w 546"/>
                  <a:gd name="T93" fmla="*/ 2147483647 h 924"/>
                  <a:gd name="T94" fmla="*/ 2147483647 w 546"/>
                  <a:gd name="T95" fmla="*/ 2147483647 h 924"/>
                  <a:gd name="T96" fmla="*/ 2147483647 w 546"/>
                  <a:gd name="T97" fmla="*/ 2147483647 h 924"/>
                  <a:gd name="T98" fmla="*/ 2147483647 w 546"/>
                  <a:gd name="T99" fmla="*/ 2147483647 h 924"/>
                  <a:gd name="T100" fmla="*/ 2147483647 w 546"/>
                  <a:gd name="T101" fmla="*/ 2147483647 h 924"/>
                  <a:gd name="T102" fmla="*/ 2147483647 w 546"/>
                  <a:gd name="T103" fmla="*/ 2147483647 h 924"/>
                  <a:gd name="T104" fmla="*/ 2147483647 w 546"/>
                  <a:gd name="T105" fmla="*/ 2147483647 h 924"/>
                  <a:gd name="T106" fmla="*/ 2147483647 w 546"/>
                  <a:gd name="T107" fmla="*/ 2147483647 h 924"/>
                  <a:gd name="T108" fmla="*/ 2147483647 w 546"/>
                  <a:gd name="T109" fmla="*/ 2147483647 h 924"/>
                  <a:gd name="T110" fmla="*/ 2147483647 w 546"/>
                  <a:gd name="T111" fmla="*/ 2147483647 h 92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546"/>
                  <a:gd name="T169" fmla="*/ 0 h 924"/>
                  <a:gd name="T170" fmla="*/ 546 w 546"/>
                  <a:gd name="T171" fmla="*/ 924 h 92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546" h="924">
                    <a:moveTo>
                      <a:pt x="420" y="30"/>
                    </a:moveTo>
                    <a:lnTo>
                      <a:pt x="414" y="18"/>
                    </a:lnTo>
                    <a:lnTo>
                      <a:pt x="414" y="0"/>
                    </a:lnTo>
                    <a:lnTo>
                      <a:pt x="390" y="6"/>
                    </a:lnTo>
                    <a:lnTo>
                      <a:pt x="390" y="54"/>
                    </a:lnTo>
                    <a:lnTo>
                      <a:pt x="396" y="60"/>
                    </a:lnTo>
                    <a:lnTo>
                      <a:pt x="396" y="66"/>
                    </a:lnTo>
                    <a:lnTo>
                      <a:pt x="426" y="66"/>
                    </a:lnTo>
                    <a:lnTo>
                      <a:pt x="426" y="96"/>
                    </a:lnTo>
                    <a:lnTo>
                      <a:pt x="420" y="102"/>
                    </a:lnTo>
                    <a:lnTo>
                      <a:pt x="420" y="108"/>
                    </a:lnTo>
                    <a:lnTo>
                      <a:pt x="426" y="114"/>
                    </a:lnTo>
                    <a:lnTo>
                      <a:pt x="426" y="126"/>
                    </a:lnTo>
                    <a:lnTo>
                      <a:pt x="408" y="144"/>
                    </a:lnTo>
                    <a:lnTo>
                      <a:pt x="396" y="150"/>
                    </a:lnTo>
                    <a:lnTo>
                      <a:pt x="384" y="150"/>
                    </a:lnTo>
                    <a:lnTo>
                      <a:pt x="384" y="156"/>
                    </a:lnTo>
                    <a:lnTo>
                      <a:pt x="378" y="162"/>
                    </a:lnTo>
                    <a:lnTo>
                      <a:pt x="378" y="168"/>
                    </a:lnTo>
                    <a:lnTo>
                      <a:pt x="372" y="174"/>
                    </a:lnTo>
                    <a:lnTo>
                      <a:pt x="372" y="180"/>
                    </a:lnTo>
                    <a:lnTo>
                      <a:pt x="360" y="192"/>
                    </a:lnTo>
                    <a:lnTo>
                      <a:pt x="354" y="204"/>
                    </a:lnTo>
                    <a:lnTo>
                      <a:pt x="348" y="234"/>
                    </a:lnTo>
                    <a:lnTo>
                      <a:pt x="342" y="240"/>
                    </a:lnTo>
                    <a:lnTo>
                      <a:pt x="342" y="270"/>
                    </a:lnTo>
                    <a:lnTo>
                      <a:pt x="336" y="288"/>
                    </a:lnTo>
                    <a:lnTo>
                      <a:pt x="330" y="294"/>
                    </a:lnTo>
                    <a:lnTo>
                      <a:pt x="312" y="294"/>
                    </a:lnTo>
                    <a:lnTo>
                      <a:pt x="312" y="324"/>
                    </a:lnTo>
                    <a:lnTo>
                      <a:pt x="306" y="342"/>
                    </a:lnTo>
                    <a:lnTo>
                      <a:pt x="306" y="354"/>
                    </a:lnTo>
                    <a:lnTo>
                      <a:pt x="300" y="360"/>
                    </a:lnTo>
                    <a:lnTo>
                      <a:pt x="288" y="366"/>
                    </a:lnTo>
                    <a:lnTo>
                      <a:pt x="282" y="372"/>
                    </a:lnTo>
                    <a:lnTo>
                      <a:pt x="270" y="378"/>
                    </a:lnTo>
                    <a:lnTo>
                      <a:pt x="258" y="426"/>
                    </a:lnTo>
                    <a:lnTo>
                      <a:pt x="234" y="456"/>
                    </a:lnTo>
                    <a:lnTo>
                      <a:pt x="234" y="486"/>
                    </a:lnTo>
                    <a:lnTo>
                      <a:pt x="228" y="492"/>
                    </a:lnTo>
                    <a:lnTo>
                      <a:pt x="216" y="498"/>
                    </a:lnTo>
                    <a:lnTo>
                      <a:pt x="210" y="510"/>
                    </a:lnTo>
                    <a:lnTo>
                      <a:pt x="210" y="522"/>
                    </a:lnTo>
                    <a:lnTo>
                      <a:pt x="192" y="540"/>
                    </a:lnTo>
                    <a:lnTo>
                      <a:pt x="186" y="540"/>
                    </a:lnTo>
                    <a:lnTo>
                      <a:pt x="180" y="534"/>
                    </a:lnTo>
                    <a:lnTo>
                      <a:pt x="174" y="522"/>
                    </a:lnTo>
                    <a:lnTo>
                      <a:pt x="174" y="516"/>
                    </a:lnTo>
                    <a:lnTo>
                      <a:pt x="168" y="504"/>
                    </a:lnTo>
                    <a:lnTo>
                      <a:pt x="156" y="492"/>
                    </a:lnTo>
                    <a:lnTo>
                      <a:pt x="150" y="480"/>
                    </a:lnTo>
                    <a:lnTo>
                      <a:pt x="138" y="480"/>
                    </a:lnTo>
                    <a:lnTo>
                      <a:pt x="144" y="486"/>
                    </a:lnTo>
                    <a:lnTo>
                      <a:pt x="144" y="498"/>
                    </a:lnTo>
                    <a:lnTo>
                      <a:pt x="138" y="504"/>
                    </a:lnTo>
                    <a:lnTo>
                      <a:pt x="132" y="504"/>
                    </a:lnTo>
                    <a:lnTo>
                      <a:pt x="120" y="498"/>
                    </a:lnTo>
                    <a:lnTo>
                      <a:pt x="114" y="492"/>
                    </a:lnTo>
                    <a:lnTo>
                      <a:pt x="108" y="492"/>
                    </a:lnTo>
                    <a:lnTo>
                      <a:pt x="102" y="498"/>
                    </a:lnTo>
                    <a:lnTo>
                      <a:pt x="90" y="522"/>
                    </a:lnTo>
                    <a:lnTo>
                      <a:pt x="84" y="528"/>
                    </a:lnTo>
                    <a:lnTo>
                      <a:pt x="84" y="534"/>
                    </a:lnTo>
                    <a:lnTo>
                      <a:pt x="18" y="588"/>
                    </a:lnTo>
                    <a:lnTo>
                      <a:pt x="18" y="642"/>
                    </a:lnTo>
                    <a:lnTo>
                      <a:pt x="12" y="654"/>
                    </a:lnTo>
                    <a:lnTo>
                      <a:pt x="12" y="666"/>
                    </a:lnTo>
                    <a:lnTo>
                      <a:pt x="6" y="672"/>
                    </a:lnTo>
                    <a:lnTo>
                      <a:pt x="6" y="678"/>
                    </a:lnTo>
                    <a:lnTo>
                      <a:pt x="0" y="690"/>
                    </a:lnTo>
                    <a:lnTo>
                      <a:pt x="24" y="684"/>
                    </a:lnTo>
                    <a:lnTo>
                      <a:pt x="24" y="708"/>
                    </a:lnTo>
                    <a:lnTo>
                      <a:pt x="36" y="732"/>
                    </a:lnTo>
                    <a:lnTo>
                      <a:pt x="60" y="744"/>
                    </a:lnTo>
                    <a:lnTo>
                      <a:pt x="66" y="750"/>
                    </a:lnTo>
                    <a:lnTo>
                      <a:pt x="84" y="726"/>
                    </a:lnTo>
                    <a:lnTo>
                      <a:pt x="66" y="756"/>
                    </a:lnTo>
                    <a:lnTo>
                      <a:pt x="84" y="786"/>
                    </a:lnTo>
                    <a:lnTo>
                      <a:pt x="102" y="792"/>
                    </a:lnTo>
                    <a:lnTo>
                      <a:pt x="102" y="840"/>
                    </a:lnTo>
                    <a:lnTo>
                      <a:pt x="90" y="840"/>
                    </a:lnTo>
                    <a:lnTo>
                      <a:pt x="90" y="870"/>
                    </a:lnTo>
                    <a:lnTo>
                      <a:pt x="102" y="882"/>
                    </a:lnTo>
                    <a:lnTo>
                      <a:pt x="198" y="882"/>
                    </a:lnTo>
                    <a:lnTo>
                      <a:pt x="216" y="864"/>
                    </a:lnTo>
                    <a:lnTo>
                      <a:pt x="228" y="882"/>
                    </a:lnTo>
                    <a:lnTo>
                      <a:pt x="258" y="882"/>
                    </a:lnTo>
                    <a:lnTo>
                      <a:pt x="270" y="870"/>
                    </a:lnTo>
                    <a:lnTo>
                      <a:pt x="276" y="870"/>
                    </a:lnTo>
                    <a:lnTo>
                      <a:pt x="288" y="876"/>
                    </a:lnTo>
                    <a:lnTo>
                      <a:pt x="294" y="876"/>
                    </a:lnTo>
                    <a:lnTo>
                      <a:pt x="342" y="870"/>
                    </a:lnTo>
                    <a:lnTo>
                      <a:pt x="342" y="888"/>
                    </a:lnTo>
                    <a:lnTo>
                      <a:pt x="372" y="888"/>
                    </a:lnTo>
                    <a:lnTo>
                      <a:pt x="390" y="882"/>
                    </a:lnTo>
                    <a:lnTo>
                      <a:pt x="438" y="882"/>
                    </a:lnTo>
                    <a:lnTo>
                      <a:pt x="450" y="888"/>
                    </a:lnTo>
                    <a:lnTo>
                      <a:pt x="456" y="894"/>
                    </a:lnTo>
                    <a:lnTo>
                      <a:pt x="468" y="894"/>
                    </a:lnTo>
                    <a:lnTo>
                      <a:pt x="474" y="900"/>
                    </a:lnTo>
                    <a:lnTo>
                      <a:pt x="510" y="900"/>
                    </a:lnTo>
                    <a:lnTo>
                      <a:pt x="534" y="924"/>
                    </a:lnTo>
                    <a:lnTo>
                      <a:pt x="540" y="882"/>
                    </a:lnTo>
                    <a:lnTo>
                      <a:pt x="546" y="876"/>
                    </a:lnTo>
                    <a:lnTo>
                      <a:pt x="534" y="864"/>
                    </a:lnTo>
                    <a:lnTo>
                      <a:pt x="534" y="834"/>
                    </a:lnTo>
                    <a:lnTo>
                      <a:pt x="528" y="816"/>
                    </a:lnTo>
                    <a:lnTo>
                      <a:pt x="516" y="810"/>
                    </a:lnTo>
                    <a:lnTo>
                      <a:pt x="510" y="798"/>
                    </a:lnTo>
                    <a:lnTo>
                      <a:pt x="498" y="792"/>
                    </a:lnTo>
                    <a:lnTo>
                      <a:pt x="486" y="780"/>
                    </a:lnTo>
                    <a:lnTo>
                      <a:pt x="474" y="756"/>
                    </a:lnTo>
                    <a:lnTo>
                      <a:pt x="468" y="750"/>
                    </a:lnTo>
                    <a:lnTo>
                      <a:pt x="468" y="708"/>
                    </a:lnTo>
                    <a:lnTo>
                      <a:pt x="462" y="708"/>
                    </a:lnTo>
                    <a:lnTo>
                      <a:pt x="444" y="690"/>
                    </a:lnTo>
                    <a:lnTo>
                      <a:pt x="438" y="690"/>
                    </a:lnTo>
                    <a:lnTo>
                      <a:pt x="438" y="642"/>
                    </a:lnTo>
                    <a:lnTo>
                      <a:pt x="420" y="630"/>
                    </a:lnTo>
                    <a:lnTo>
                      <a:pt x="432" y="618"/>
                    </a:lnTo>
                    <a:lnTo>
                      <a:pt x="432" y="582"/>
                    </a:lnTo>
                    <a:lnTo>
                      <a:pt x="426" y="582"/>
                    </a:lnTo>
                    <a:lnTo>
                      <a:pt x="414" y="576"/>
                    </a:lnTo>
                    <a:lnTo>
                      <a:pt x="414" y="570"/>
                    </a:lnTo>
                    <a:lnTo>
                      <a:pt x="426" y="558"/>
                    </a:lnTo>
                    <a:lnTo>
                      <a:pt x="438" y="552"/>
                    </a:lnTo>
                    <a:lnTo>
                      <a:pt x="444" y="546"/>
                    </a:lnTo>
                    <a:lnTo>
                      <a:pt x="450" y="546"/>
                    </a:lnTo>
                    <a:lnTo>
                      <a:pt x="456" y="510"/>
                    </a:lnTo>
                    <a:lnTo>
                      <a:pt x="462" y="510"/>
                    </a:lnTo>
                    <a:lnTo>
                      <a:pt x="468" y="498"/>
                    </a:lnTo>
                    <a:lnTo>
                      <a:pt x="468" y="480"/>
                    </a:lnTo>
                    <a:lnTo>
                      <a:pt x="474" y="474"/>
                    </a:lnTo>
                    <a:lnTo>
                      <a:pt x="480" y="462"/>
                    </a:lnTo>
                    <a:lnTo>
                      <a:pt x="492" y="450"/>
                    </a:lnTo>
                    <a:lnTo>
                      <a:pt x="498" y="450"/>
                    </a:lnTo>
                    <a:lnTo>
                      <a:pt x="498" y="438"/>
                    </a:lnTo>
                    <a:lnTo>
                      <a:pt x="492" y="420"/>
                    </a:lnTo>
                    <a:lnTo>
                      <a:pt x="486" y="408"/>
                    </a:lnTo>
                    <a:lnTo>
                      <a:pt x="486" y="390"/>
                    </a:lnTo>
                    <a:lnTo>
                      <a:pt x="474" y="366"/>
                    </a:lnTo>
                    <a:lnTo>
                      <a:pt x="462" y="354"/>
                    </a:lnTo>
                    <a:lnTo>
                      <a:pt x="450" y="348"/>
                    </a:lnTo>
                    <a:lnTo>
                      <a:pt x="432" y="336"/>
                    </a:lnTo>
                    <a:lnTo>
                      <a:pt x="420" y="324"/>
                    </a:lnTo>
                    <a:lnTo>
                      <a:pt x="414" y="312"/>
                    </a:lnTo>
                    <a:lnTo>
                      <a:pt x="402" y="300"/>
                    </a:lnTo>
                    <a:lnTo>
                      <a:pt x="390" y="276"/>
                    </a:lnTo>
                    <a:lnTo>
                      <a:pt x="390" y="264"/>
                    </a:lnTo>
                    <a:lnTo>
                      <a:pt x="396" y="258"/>
                    </a:lnTo>
                    <a:lnTo>
                      <a:pt x="408" y="252"/>
                    </a:lnTo>
                    <a:lnTo>
                      <a:pt x="504" y="252"/>
                    </a:lnTo>
                    <a:lnTo>
                      <a:pt x="486" y="234"/>
                    </a:lnTo>
                    <a:lnTo>
                      <a:pt x="480" y="222"/>
                    </a:lnTo>
                    <a:lnTo>
                      <a:pt x="468" y="216"/>
                    </a:lnTo>
                    <a:lnTo>
                      <a:pt x="462" y="204"/>
                    </a:lnTo>
                    <a:lnTo>
                      <a:pt x="462" y="186"/>
                    </a:lnTo>
                    <a:lnTo>
                      <a:pt x="456" y="168"/>
                    </a:lnTo>
                    <a:lnTo>
                      <a:pt x="456" y="132"/>
                    </a:lnTo>
                    <a:lnTo>
                      <a:pt x="462" y="132"/>
                    </a:lnTo>
                    <a:lnTo>
                      <a:pt x="462" y="96"/>
                    </a:lnTo>
                    <a:lnTo>
                      <a:pt x="456" y="84"/>
                    </a:lnTo>
                    <a:lnTo>
                      <a:pt x="444" y="78"/>
                    </a:lnTo>
                    <a:lnTo>
                      <a:pt x="450" y="42"/>
                    </a:lnTo>
                    <a:lnTo>
                      <a:pt x="444" y="42"/>
                    </a:lnTo>
                    <a:lnTo>
                      <a:pt x="438" y="36"/>
                    </a:lnTo>
                    <a:lnTo>
                      <a:pt x="426" y="36"/>
                    </a:lnTo>
                    <a:lnTo>
                      <a:pt x="420" y="3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56" name="Burundi"/>
              <p:cNvSpPr>
                <a:spLocks/>
              </p:cNvSpPr>
              <p:nvPr/>
            </p:nvSpPr>
            <p:spPr bwMode="gray">
              <a:xfrm>
                <a:off x="5045084" y="4156079"/>
                <a:ext cx="53975" cy="68263"/>
              </a:xfrm>
              <a:custGeom>
                <a:avLst/>
                <a:gdLst>
                  <a:gd name="T0" fmla="*/ 2147483647 w 132"/>
                  <a:gd name="T1" fmla="*/ 2147483647 h 168"/>
                  <a:gd name="T2" fmla="*/ 2147483647 w 132"/>
                  <a:gd name="T3" fmla="*/ 2147483647 h 168"/>
                  <a:gd name="T4" fmla="*/ 2147483647 w 132"/>
                  <a:gd name="T5" fmla="*/ 2147483647 h 168"/>
                  <a:gd name="T6" fmla="*/ 2147483647 w 132"/>
                  <a:gd name="T7" fmla="*/ 2147483647 h 168"/>
                  <a:gd name="T8" fmla="*/ 2147483647 w 132"/>
                  <a:gd name="T9" fmla="*/ 2147483647 h 168"/>
                  <a:gd name="T10" fmla="*/ 2147483647 w 132"/>
                  <a:gd name="T11" fmla="*/ 2147483647 h 168"/>
                  <a:gd name="T12" fmla="*/ 2147483647 w 132"/>
                  <a:gd name="T13" fmla="*/ 2147483647 h 168"/>
                  <a:gd name="T14" fmla="*/ 2147483647 w 132"/>
                  <a:gd name="T15" fmla="*/ 2147483647 h 168"/>
                  <a:gd name="T16" fmla="*/ 2147483647 w 132"/>
                  <a:gd name="T17" fmla="*/ 2147483647 h 168"/>
                  <a:gd name="T18" fmla="*/ 2147483647 w 132"/>
                  <a:gd name="T19" fmla="*/ 2147483647 h 168"/>
                  <a:gd name="T20" fmla="*/ 2147483647 w 132"/>
                  <a:gd name="T21" fmla="*/ 2147483647 h 168"/>
                  <a:gd name="T22" fmla="*/ 2147483647 w 132"/>
                  <a:gd name="T23" fmla="*/ 2147483647 h 168"/>
                  <a:gd name="T24" fmla="*/ 2147483647 w 132"/>
                  <a:gd name="T25" fmla="*/ 2147483647 h 168"/>
                  <a:gd name="T26" fmla="*/ 2147483647 w 132"/>
                  <a:gd name="T27" fmla="*/ 2147483647 h 168"/>
                  <a:gd name="T28" fmla="*/ 2147483647 w 132"/>
                  <a:gd name="T29" fmla="*/ 2147483647 h 168"/>
                  <a:gd name="T30" fmla="*/ 2147483647 w 132"/>
                  <a:gd name="T31" fmla="*/ 2147483647 h 168"/>
                  <a:gd name="T32" fmla="*/ 2147483647 w 132"/>
                  <a:gd name="T33" fmla="*/ 2147483647 h 168"/>
                  <a:gd name="T34" fmla="*/ 2147483647 w 132"/>
                  <a:gd name="T35" fmla="*/ 2147483647 h 168"/>
                  <a:gd name="T36" fmla="*/ 2147483647 w 132"/>
                  <a:gd name="T37" fmla="*/ 2147483647 h 168"/>
                  <a:gd name="T38" fmla="*/ 2147483647 w 132"/>
                  <a:gd name="T39" fmla="*/ 2147483647 h 168"/>
                  <a:gd name="T40" fmla="*/ 2147483647 w 132"/>
                  <a:gd name="T41" fmla="*/ 2147483647 h 168"/>
                  <a:gd name="T42" fmla="*/ 2147483647 w 132"/>
                  <a:gd name="T43" fmla="*/ 2147483647 h 168"/>
                  <a:gd name="T44" fmla="*/ 2147483647 w 132"/>
                  <a:gd name="T45" fmla="*/ 2147483647 h 168"/>
                  <a:gd name="T46" fmla="*/ 2147483647 w 132"/>
                  <a:gd name="T47" fmla="*/ 0 h 168"/>
                  <a:gd name="T48" fmla="*/ 2147483647 w 132"/>
                  <a:gd name="T49" fmla="*/ 0 h 168"/>
                  <a:gd name="T50" fmla="*/ 2147483647 w 132"/>
                  <a:gd name="T51" fmla="*/ 0 h 168"/>
                  <a:gd name="T52" fmla="*/ 2147483647 w 132"/>
                  <a:gd name="T53" fmla="*/ 2147483647 h 168"/>
                  <a:gd name="T54" fmla="*/ 2147483647 w 132"/>
                  <a:gd name="T55" fmla="*/ 2147483647 h 168"/>
                  <a:gd name="T56" fmla="*/ 2147483647 w 132"/>
                  <a:gd name="T57" fmla="*/ 2147483647 h 168"/>
                  <a:gd name="T58" fmla="*/ 2147483647 w 132"/>
                  <a:gd name="T59" fmla="*/ 2147483647 h 168"/>
                  <a:gd name="T60" fmla="*/ 2147483647 w 132"/>
                  <a:gd name="T61" fmla="*/ 2147483647 h 168"/>
                  <a:gd name="T62" fmla="*/ 2147483647 w 132"/>
                  <a:gd name="T63" fmla="*/ 2147483647 h 168"/>
                  <a:gd name="T64" fmla="*/ 0 w 132"/>
                  <a:gd name="T65" fmla="*/ 2147483647 h 168"/>
                  <a:gd name="T66" fmla="*/ 2147483647 w 132"/>
                  <a:gd name="T67" fmla="*/ 2147483647 h 168"/>
                  <a:gd name="T68" fmla="*/ 2147483647 w 132"/>
                  <a:gd name="T69" fmla="*/ 2147483647 h 168"/>
                  <a:gd name="T70" fmla="*/ 2147483647 w 132"/>
                  <a:gd name="T71" fmla="*/ 2147483647 h 168"/>
                  <a:gd name="T72" fmla="*/ 2147483647 w 132"/>
                  <a:gd name="T73" fmla="*/ 2147483647 h 168"/>
                  <a:gd name="T74" fmla="*/ 2147483647 w 132"/>
                  <a:gd name="T75" fmla="*/ 2147483647 h 16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32"/>
                  <a:gd name="T115" fmla="*/ 0 h 168"/>
                  <a:gd name="T116" fmla="*/ 132 w 132"/>
                  <a:gd name="T117" fmla="*/ 168 h 16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32" h="168">
                    <a:moveTo>
                      <a:pt x="36" y="72"/>
                    </a:moveTo>
                    <a:lnTo>
                      <a:pt x="36" y="96"/>
                    </a:lnTo>
                    <a:lnTo>
                      <a:pt x="30" y="102"/>
                    </a:lnTo>
                    <a:lnTo>
                      <a:pt x="30" y="138"/>
                    </a:lnTo>
                    <a:lnTo>
                      <a:pt x="36" y="156"/>
                    </a:lnTo>
                    <a:lnTo>
                      <a:pt x="42" y="168"/>
                    </a:lnTo>
                    <a:lnTo>
                      <a:pt x="54" y="168"/>
                    </a:lnTo>
                    <a:lnTo>
                      <a:pt x="60" y="162"/>
                    </a:lnTo>
                    <a:lnTo>
                      <a:pt x="72" y="156"/>
                    </a:lnTo>
                    <a:lnTo>
                      <a:pt x="84" y="144"/>
                    </a:lnTo>
                    <a:lnTo>
                      <a:pt x="90" y="132"/>
                    </a:lnTo>
                    <a:lnTo>
                      <a:pt x="90" y="114"/>
                    </a:lnTo>
                    <a:lnTo>
                      <a:pt x="96" y="102"/>
                    </a:lnTo>
                    <a:lnTo>
                      <a:pt x="114" y="84"/>
                    </a:lnTo>
                    <a:lnTo>
                      <a:pt x="126" y="84"/>
                    </a:lnTo>
                    <a:lnTo>
                      <a:pt x="120" y="72"/>
                    </a:lnTo>
                    <a:lnTo>
                      <a:pt x="132" y="66"/>
                    </a:lnTo>
                    <a:lnTo>
                      <a:pt x="132" y="48"/>
                    </a:lnTo>
                    <a:lnTo>
                      <a:pt x="114" y="48"/>
                    </a:lnTo>
                    <a:lnTo>
                      <a:pt x="108" y="42"/>
                    </a:lnTo>
                    <a:lnTo>
                      <a:pt x="102" y="42"/>
                    </a:lnTo>
                    <a:lnTo>
                      <a:pt x="102" y="24"/>
                    </a:lnTo>
                    <a:lnTo>
                      <a:pt x="108" y="12"/>
                    </a:lnTo>
                    <a:lnTo>
                      <a:pt x="108" y="0"/>
                    </a:lnTo>
                    <a:lnTo>
                      <a:pt x="120" y="0"/>
                    </a:lnTo>
                    <a:lnTo>
                      <a:pt x="66" y="0"/>
                    </a:lnTo>
                    <a:lnTo>
                      <a:pt x="60" y="24"/>
                    </a:lnTo>
                    <a:lnTo>
                      <a:pt x="48" y="30"/>
                    </a:lnTo>
                    <a:lnTo>
                      <a:pt x="42" y="36"/>
                    </a:lnTo>
                    <a:lnTo>
                      <a:pt x="30" y="36"/>
                    </a:lnTo>
                    <a:lnTo>
                      <a:pt x="24" y="30"/>
                    </a:lnTo>
                    <a:lnTo>
                      <a:pt x="18" y="18"/>
                    </a:lnTo>
                    <a:lnTo>
                      <a:pt x="0" y="18"/>
                    </a:lnTo>
                    <a:lnTo>
                      <a:pt x="12" y="48"/>
                    </a:lnTo>
                    <a:lnTo>
                      <a:pt x="18" y="54"/>
                    </a:lnTo>
                    <a:lnTo>
                      <a:pt x="30" y="60"/>
                    </a:lnTo>
                    <a:lnTo>
                      <a:pt x="36" y="66"/>
                    </a:lnTo>
                    <a:lnTo>
                      <a:pt x="36" y="72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57" name="Burkina Faso"/>
              <p:cNvSpPr>
                <a:spLocks/>
              </p:cNvSpPr>
              <p:nvPr/>
            </p:nvSpPr>
            <p:spPr bwMode="gray">
              <a:xfrm>
                <a:off x="4056067" y="3589342"/>
                <a:ext cx="230188" cy="180975"/>
              </a:xfrm>
              <a:custGeom>
                <a:avLst/>
                <a:gdLst>
                  <a:gd name="T0" fmla="*/ 2147483647 w 570"/>
                  <a:gd name="T1" fmla="*/ 2147483647 h 450"/>
                  <a:gd name="T2" fmla="*/ 2147483647 w 570"/>
                  <a:gd name="T3" fmla="*/ 2147483647 h 450"/>
                  <a:gd name="T4" fmla="*/ 2147483647 w 570"/>
                  <a:gd name="T5" fmla="*/ 2147483647 h 450"/>
                  <a:gd name="T6" fmla="*/ 2147483647 w 570"/>
                  <a:gd name="T7" fmla="*/ 2147483647 h 450"/>
                  <a:gd name="T8" fmla="*/ 2147483647 w 570"/>
                  <a:gd name="T9" fmla="*/ 2147483647 h 450"/>
                  <a:gd name="T10" fmla="*/ 2147483647 w 570"/>
                  <a:gd name="T11" fmla="*/ 2147483647 h 450"/>
                  <a:gd name="T12" fmla="*/ 2147483647 w 570"/>
                  <a:gd name="T13" fmla="*/ 2147483647 h 450"/>
                  <a:gd name="T14" fmla="*/ 2147483647 w 570"/>
                  <a:gd name="T15" fmla="*/ 2147483647 h 450"/>
                  <a:gd name="T16" fmla="*/ 2147483647 w 570"/>
                  <a:gd name="T17" fmla="*/ 2147483647 h 450"/>
                  <a:gd name="T18" fmla="*/ 2147483647 w 570"/>
                  <a:gd name="T19" fmla="*/ 2147483647 h 450"/>
                  <a:gd name="T20" fmla="*/ 2147483647 w 570"/>
                  <a:gd name="T21" fmla="*/ 2147483647 h 450"/>
                  <a:gd name="T22" fmla="*/ 2147483647 w 570"/>
                  <a:gd name="T23" fmla="*/ 2147483647 h 450"/>
                  <a:gd name="T24" fmla="*/ 2147483647 w 570"/>
                  <a:gd name="T25" fmla="*/ 2147483647 h 450"/>
                  <a:gd name="T26" fmla="*/ 2147483647 w 570"/>
                  <a:gd name="T27" fmla="*/ 2147483647 h 450"/>
                  <a:gd name="T28" fmla="*/ 2147483647 w 570"/>
                  <a:gd name="T29" fmla="*/ 2147483647 h 450"/>
                  <a:gd name="T30" fmla="*/ 2147483647 w 570"/>
                  <a:gd name="T31" fmla="*/ 2147483647 h 450"/>
                  <a:gd name="T32" fmla="*/ 2147483647 w 570"/>
                  <a:gd name="T33" fmla="*/ 2147483647 h 450"/>
                  <a:gd name="T34" fmla="*/ 2147483647 w 570"/>
                  <a:gd name="T35" fmla="*/ 2147483647 h 450"/>
                  <a:gd name="T36" fmla="*/ 2147483647 w 570"/>
                  <a:gd name="T37" fmla="*/ 2147483647 h 450"/>
                  <a:gd name="T38" fmla="*/ 2147483647 w 570"/>
                  <a:gd name="T39" fmla="*/ 2147483647 h 450"/>
                  <a:gd name="T40" fmla="*/ 2147483647 w 570"/>
                  <a:gd name="T41" fmla="*/ 2147483647 h 450"/>
                  <a:gd name="T42" fmla="*/ 2147483647 w 570"/>
                  <a:gd name="T43" fmla="*/ 2147483647 h 450"/>
                  <a:gd name="T44" fmla="*/ 2147483647 w 570"/>
                  <a:gd name="T45" fmla="*/ 2147483647 h 450"/>
                  <a:gd name="T46" fmla="*/ 2147483647 w 570"/>
                  <a:gd name="T47" fmla="*/ 2147483647 h 450"/>
                  <a:gd name="T48" fmla="*/ 2147483647 w 570"/>
                  <a:gd name="T49" fmla="*/ 2147483647 h 450"/>
                  <a:gd name="T50" fmla="*/ 2147483647 w 570"/>
                  <a:gd name="T51" fmla="*/ 2147483647 h 450"/>
                  <a:gd name="T52" fmla="*/ 2147483647 w 570"/>
                  <a:gd name="T53" fmla="*/ 2147483647 h 450"/>
                  <a:gd name="T54" fmla="*/ 2147483647 w 570"/>
                  <a:gd name="T55" fmla="*/ 2147483647 h 450"/>
                  <a:gd name="T56" fmla="*/ 2147483647 w 570"/>
                  <a:gd name="T57" fmla="*/ 2147483647 h 450"/>
                  <a:gd name="T58" fmla="*/ 2147483647 w 570"/>
                  <a:gd name="T59" fmla="*/ 2147483647 h 450"/>
                  <a:gd name="T60" fmla="*/ 2147483647 w 570"/>
                  <a:gd name="T61" fmla="*/ 2147483647 h 450"/>
                  <a:gd name="T62" fmla="*/ 2147483647 w 570"/>
                  <a:gd name="T63" fmla="*/ 2147483647 h 450"/>
                  <a:gd name="T64" fmla="*/ 2147483647 w 570"/>
                  <a:gd name="T65" fmla="*/ 2147483647 h 450"/>
                  <a:gd name="T66" fmla="*/ 2147483647 w 570"/>
                  <a:gd name="T67" fmla="*/ 0 h 450"/>
                  <a:gd name="T68" fmla="*/ 2147483647 w 570"/>
                  <a:gd name="T69" fmla="*/ 2147483647 h 450"/>
                  <a:gd name="T70" fmla="*/ 2147483647 w 570"/>
                  <a:gd name="T71" fmla="*/ 2147483647 h 450"/>
                  <a:gd name="T72" fmla="*/ 2147483647 w 570"/>
                  <a:gd name="T73" fmla="*/ 2147483647 h 450"/>
                  <a:gd name="T74" fmla="*/ 2147483647 w 570"/>
                  <a:gd name="T75" fmla="*/ 2147483647 h 450"/>
                  <a:gd name="T76" fmla="*/ 2147483647 w 570"/>
                  <a:gd name="T77" fmla="*/ 2147483647 h 450"/>
                  <a:gd name="T78" fmla="*/ 2147483647 w 570"/>
                  <a:gd name="T79" fmla="*/ 2147483647 h 450"/>
                  <a:gd name="T80" fmla="*/ 2147483647 w 570"/>
                  <a:gd name="T81" fmla="*/ 2147483647 h 450"/>
                  <a:gd name="T82" fmla="*/ 2147483647 w 570"/>
                  <a:gd name="T83" fmla="*/ 2147483647 h 450"/>
                  <a:gd name="T84" fmla="*/ 2147483647 w 570"/>
                  <a:gd name="T85" fmla="*/ 2147483647 h 450"/>
                  <a:gd name="T86" fmla="*/ 2147483647 w 570"/>
                  <a:gd name="T87" fmla="*/ 2147483647 h 450"/>
                  <a:gd name="T88" fmla="*/ 2147483647 w 570"/>
                  <a:gd name="T89" fmla="*/ 2147483647 h 450"/>
                  <a:gd name="T90" fmla="*/ 2147483647 w 570"/>
                  <a:gd name="T91" fmla="*/ 2147483647 h 450"/>
                  <a:gd name="T92" fmla="*/ 2147483647 w 570"/>
                  <a:gd name="T93" fmla="*/ 2147483647 h 450"/>
                  <a:gd name="T94" fmla="*/ 2147483647 w 570"/>
                  <a:gd name="T95" fmla="*/ 2147483647 h 450"/>
                  <a:gd name="T96" fmla="*/ 2147483647 w 570"/>
                  <a:gd name="T97" fmla="*/ 2147483647 h 450"/>
                  <a:gd name="T98" fmla="*/ 2147483647 w 570"/>
                  <a:gd name="T99" fmla="*/ 2147483647 h 450"/>
                  <a:gd name="T100" fmla="*/ 2147483647 w 570"/>
                  <a:gd name="T101" fmla="*/ 2147483647 h 450"/>
                  <a:gd name="T102" fmla="*/ 2147483647 w 570"/>
                  <a:gd name="T103" fmla="*/ 2147483647 h 45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570"/>
                  <a:gd name="T157" fmla="*/ 0 h 450"/>
                  <a:gd name="T158" fmla="*/ 570 w 570"/>
                  <a:gd name="T159" fmla="*/ 450 h 45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570" h="450">
                    <a:moveTo>
                      <a:pt x="0" y="312"/>
                    </a:moveTo>
                    <a:lnTo>
                      <a:pt x="6" y="366"/>
                    </a:lnTo>
                    <a:lnTo>
                      <a:pt x="6" y="390"/>
                    </a:lnTo>
                    <a:lnTo>
                      <a:pt x="30" y="384"/>
                    </a:lnTo>
                    <a:lnTo>
                      <a:pt x="30" y="390"/>
                    </a:lnTo>
                    <a:lnTo>
                      <a:pt x="36" y="396"/>
                    </a:lnTo>
                    <a:lnTo>
                      <a:pt x="36" y="408"/>
                    </a:lnTo>
                    <a:lnTo>
                      <a:pt x="42" y="420"/>
                    </a:lnTo>
                    <a:lnTo>
                      <a:pt x="54" y="426"/>
                    </a:lnTo>
                    <a:lnTo>
                      <a:pt x="60" y="432"/>
                    </a:lnTo>
                    <a:lnTo>
                      <a:pt x="72" y="432"/>
                    </a:lnTo>
                    <a:lnTo>
                      <a:pt x="78" y="438"/>
                    </a:lnTo>
                    <a:lnTo>
                      <a:pt x="90" y="438"/>
                    </a:lnTo>
                    <a:lnTo>
                      <a:pt x="96" y="432"/>
                    </a:lnTo>
                    <a:lnTo>
                      <a:pt x="96" y="426"/>
                    </a:lnTo>
                    <a:lnTo>
                      <a:pt x="120" y="414"/>
                    </a:lnTo>
                    <a:lnTo>
                      <a:pt x="150" y="414"/>
                    </a:lnTo>
                    <a:lnTo>
                      <a:pt x="168" y="420"/>
                    </a:lnTo>
                    <a:lnTo>
                      <a:pt x="186" y="438"/>
                    </a:lnTo>
                    <a:lnTo>
                      <a:pt x="186" y="450"/>
                    </a:lnTo>
                    <a:lnTo>
                      <a:pt x="204" y="444"/>
                    </a:lnTo>
                    <a:lnTo>
                      <a:pt x="198" y="450"/>
                    </a:lnTo>
                    <a:lnTo>
                      <a:pt x="198" y="396"/>
                    </a:lnTo>
                    <a:lnTo>
                      <a:pt x="192" y="366"/>
                    </a:lnTo>
                    <a:lnTo>
                      <a:pt x="186" y="366"/>
                    </a:lnTo>
                    <a:lnTo>
                      <a:pt x="186" y="348"/>
                    </a:lnTo>
                    <a:lnTo>
                      <a:pt x="192" y="336"/>
                    </a:lnTo>
                    <a:lnTo>
                      <a:pt x="198" y="330"/>
                    </a:lnTo>
                    <a:lnTo>
                      <a:pt x="354" y="330"/>
                    </a:lnTo>
                    <a:lnTo>
                      <a:pt x="378" y="318"/>
                    </a:lnTo>
                    <a:lnTo>
                      <a:pt x="396" y="324"/>
                    </a:lnTo>
                    <a:lnTo>
                      <a:pt x="414" y="324"/>
                    </a:lnTo>
                    <a:lnTo>
                      <a:pt x="438" y="330"/>
                    </a:lnTo>
                    <a:lnTo>
                      <a:pt x="456" y="330"/>
                    </a:lnTo>
                    <a:lnTo>
                      <a:pt x="462" y="318"/>
                    </a:lnTo>
                    <a:lnTo>
                      <a:pt x="474" y="318"/>
                    </a:lnTo>
                    <a:lnTo>
                      <a:pt x="480" y="306"/>
                    </a:lnTo>
                    <a:lnTo>
                      <a:pt x="498" y="288"/>
                    </a:lnTo>
                    <a:lnTo>
                      <a:pt x="528" y="288"/>
                    </a:lnTo>
                    <a:lnTo>
                      <a:pt x="534" y="294"/>
                    </a:lnTo>
                    <a:lnTo>
                      <a:pt x="534" y="282"/>
                    </a:lnTo>
                    <a:lnTo>
                      <a:pt x="540" y="282"/>
                    </a:lnTo>
                    <a:lnTo>
                      <a:pt x="546" y="276"/>
                    </a:lnTo>
                    <a:lnTo>
                      <a:pt x="558" y="276"/>
                    </a:lnTo>
                    <a:lnTo>
                      <a:pt x="564" y="258"/>
                    </a:lnTo>
                    <a:lnTo>
                      <a:pt x="570" y="252"/>
                    </a:lnTo>
                    <a:lnTo>
                      <a:pt x="564" y="252"/>
                    </a:lnTo>
                    <a:lnTo>
                      <a:pt x="540" y="216"/>
                    </a:lnTo>
                    <a:lnTo>
                      <a:pt x="564" y="210"/>
                    </a:lnTo>
                    <a:lnTo>
                      <a:pt x="558" y="198"/>
                    </a:lnTo>
                    <a:lnTo>
                      <a:pt x="546" y="186"/>
                    </a:lnTo>
                    <a:lnTo>
                      <a:pt x="534" y="186"/>
                    </a:lnTo>
                    <a:lnTo>
                      <a:pt x="522" y="198"/>
                    </a:lnTo>
                    <a:lnTo>
                      <a:pt x="504" y="198"/>
                    </a:lnTo>
                    <a:lnTo>
                      <a:pt x="498" y="186"/>
                    </a:lnTo>
                    <a:lnTo>
                      <a:pt x="486" y="180"/>
                    </a:lnTo>
                    <a:lnTo>
                      <a:pt x="462" y="156"/>
                    </a:lnTo>
                    <a:lnTo>
                      <a:pt x="462" y="150"/>
                    </a:lnTo>
                    <a:lnTo>
                      <a:pt x="480" y="132"/>
                    </a:lnTo>
                    <a:lnTo>
                      <a:pt x="468" y="132"/>
                    </a:lnTo>
                    <a:lnTo>
                      <a:pt x="468" y="114"/>
                    </a:lnTo>
                    <a:lnTo>
                      <a:pt x="444" y="114"/>
                    </a:lnTo>
                    <a:lnTo>
                      <a:pt x="432" y="108"/>
                    </a:lnTo>
                    <a:lnTo>
                      <a:pt x="420" y="84"/>
                    </a:lnTo>
                    <a:lnTo>
                      <a:pt x="420" y="60"/>
                    </a:lnTo>
                    <a:lnTo>
                      <a:pt x="414" y="48"/>
                    </a:lnTo>
                    <a:lnTo>
                      <a:pt x="414" y="12"/>
                    </a:lnTo>
                    <a:lnTo>
                      <a:pt x="390" y="0"/>
                    </a:lnTo>
                    <a:lnTo>
                      <a:pt x="342" y="0"/>
                    </a:lnTo>
                    <a:lnTo>
                      <a:pt x="324" y="18"/>
                    </a:lnTo>
                    <a:lnTo>
                      <a:pt x="300" y="18"/>
                    </a:lnTo>
                    <a:lnTo>
                      <a:pt x="282" y="42"/>
                    </a:lnTo>
                    <a:lnTo>
                      <a:pt x="258" y="42"/>
                    </a:lnTo>
                    <a:lnTo>
                      <a:pt x="258" y="60"/>
                    </a:lnTo>
                    <a:lnTo>
                      <a:pt x="252" y="66"/>
                    </a:lnTo>
                    <a:lnTo>
                      <a:pt x="252" y="72"/>
                    </a:lnTo>
                    <a:lnTo>
                      <a:pt x="240" y="72"/>
                    </a:lnTo>
                    <a:lnTo>
                      <a:pt x="228" y="60"/>
                    </a:lnTo>
                    <a:lnTo>
                      <a:pt x="222" y="60"/>
                    </a:lnTo>
                    <a:lnTo>
                      <a:pt x="216" y="66"/>
                    </a:lnTo>
                    <a:lnTo>
                      <a:pt x="210" y="78"/>
                    </a:lnTo>
                    <a:lnTo>
                      <a:pt x="198" y="84"/>
                    </a:lnTo>
                    <a:lnTo>
                      <a:pt x="192" y="96"/>
                    </a:lnTo>
                    <a:lnTo>
                      <a:pt x="186" y="102"/>
                    </a:lnTo>
                    <a:lnTo>
                      <a:pt x="186" y="108"/>
                    </a:lnTo>
                    <a:lnTo>
                      <a:pt x="168" y="108"/>
                    </a:lnTo>
                    <a:lnTo>
                      <a:pt x="168" y="144"/>
                    </a:lnTo>
                    <a:lnTo>
                      <a:pt x="144" y="150"/>
                    </a:lnTo>
                    <a:lnTo>
                      <a:pt x="114" y="120"/>
                    </a:lnTo>
                    <a:lnTo>
                      <a:pt x="96" y="150"/>
                    </a:lnTo>
                    <a:lnTo>
                      <a:pt x="102" y="156"/>
                    </a:lnTo>
                    <a:lnTo>
                      <a:pt x="102" y="186"/>
                    </a:lnTo>
                    <a:lnTo>
                      <a:pt x="84" y="186"/>
                    </a:lnTo>
                    <a:lnTo>
                      <a:pt x="84" y="216"/>
                    </a:lnTo>
                    <a:lnTo>
                      <a:pt x="78" y="222"/>
                    </a:lnTo>
                    <a:lnTo>
                      <a:pt x="72" y="222"/>
                    </a:lnTo>
                    <a:lnTo>
                      <a:pt x="78" y="228"/>
                    </a:lnTo>
                    <a:lnTo>
                      <a:pt x="78" y="240"/>
                    </a:lnTo>
                    <a:lnTo>
                      <a:pt x="42" y="240"/>
                    </a:lnTo>
                    <a:lnTo>
                      <a:pt x="36" y="246"/>
                    </a:lnTo>
                    <a:lnTo>
                      <a:pt x="30" y="246"/>
                    </a:lnTo>
                    <a:lnTo>
                      <a:pt x="12" y="258"/>
                    </a:lnTo>
                    <a:lnTo>
                      <a:pt x="36" y="288"/>
                    </a:lnTo>
                    <a:lnTo>
                      <a:pt x="24" y="312"/>
                    </a:lnTo>
                    <a:lnTo>
                      <a:pt x="0" y="312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58" name="Botswana"/>
              <p:cNvSpPr>
                <a:spLocks/>
              </p:cNvSpPr>
              <p:nvPr/>
            </p:nvSpPr>
            <p:spPr bwMode="gray">
              <a:xfrm>
                <a:off x="4778381" y="4652967"/>
                <a:ext cx="261938" cy="295275"/>
              </a:xfrm>
              <a:custGeom>
                <a:avLst/>
                <a:gdLst>
                  <a:gd name="T0" fmla="*/ 2147483647 w 648"/>
                  <a:gd name="T1" fmla="*/ 2147483647 h 732"/>
                  <a:gd name="T2" fmla="*/ 2147483647 w 648"/>
                  <a:gd name="T3" fmla="*/ 2147483647 h 732"/>
                  <a:gd name="T4" fmla="*/ 2147483647 w 648"/>
                  <a:gd name="T5" fmla="*/ 2147483647 h 732"/>
                  <a:gd name="T6" fmla="*/ 2147483647 w 648"/>
                  <a:gd name="T7" fmla="*/ 2147483647 h 732"/>
                  <a:gd name="T8" fmla="*/ 2147483647 w 648"/>
                  <a:gd name="T9" fmla="*/ 2147483647 h 732"/>
                  <a:gd name="T10" fmla="*/ 2147483647 w 648"/>
                  <a:gd name="T11" fmla="*/ 2147483647 h 732"/>
                  <a:gd name="T12" fmla="*/ 2147483647 w 648"/>
                  <a:gd name="T13" fmla="*/ 2147483647 h 732"/>
                  <a:gd name="T14" fmla="*/ 2147483647 w 648"/>
                  <a:gd name="T15" fmla="*/ 2147483647 h 732"/>
                  <a:gd name="T16" fmla="*/ 2147483647 w 648"/>
                  <a:gd name="T17" fmla="*/ 2147483647 h 732"/>
                  <a:gd name="T18" fmla="*/ 2147483647 w 648"/>
                  <a:gd name="T19" fmla="*/ 2147483647 h 732"/>
                  <a:gd name="T20" fmla="*/ 2147483647 w 648"/>
                  <a:gd name="T21" fmla="*/ 2147483647 h 732"/>
                  <a:gd name="T22" fmla="*/ 2147483647 w 648"/>
                  <a:gd name="T23" fmla="*/ 2147483647 h 732"/>
                  <a:gd name="T24" fmla="*/ 2147483647 w 648"/>
                  <a:gd name="T25" fmla="*/ 2147483647 h 732"/>
                  <a:gd name="T26" fmla="*/ 2147483647 w 648"/>
                  <a:gd name="T27" fmla="*/ 2147483647 h 732"/>
                  <a:gd name="T28" fmla="*/ 2147483647 w 648"/>
                  <a:gd name="T29" fmla="*/ 2147483647 h 732"/>
                  <a:gd name="T30" fmla="*/ 2147483647 w 648"/>
                  <a:gd name="T31" fmla="*/ 2147483647 h 732"/>
                  <a:gd name="T32" fmla="*/ 2147483647 w 648"/>
                  <a:gd name="T33" fmla="*/ 2147483647 h 732"/>
                  <a:gd name="T34" fmla="*/ 2147483647 w 648"/>
                  <a:gd name="T35" fmla="*/ 2147483647 h 732"/>
                  <a:gd name="T36" fmla="*/ 2147483647 w 648"/>
                  <a:gd name="T37" fmla="*/ 2147483647 h 732"/>
                  <a:gd name="T38" fmla="*/ 2147483647 w 648"/>
                  <a:gd name="T39" fmla="*/ 2147483647 h 732"/>
                  <a:gd name="T40" fmla="*/ 2147483647 w 648"/>
                  <a:gd name="T41" fmla="*/ 2147483647 h 732"/>
                  <a:gd name="T42" fmla="*/ 2147483647 w 648"/>
                  <a:gd name="T43" fmla="*/ 2147483647 h 732"/>
                  <a:gd name="T44" fmla="*/ 2147483647 w 648"/>
                  <a:gd name="T45" fmla="*/ 2147483647 h 732"/>
                  <a:gd name="T46" fmla="*/ 2147483647 w 648"/>
                  <a:gd name="T47" fmla="*/ 2147483647 h 732"/>
                  <a:gd name="T48" fmla="*/ 2147483647 w 648"/>
                  <a:gd name="T49" fmla="*/ 2147483647 h 732"/>
                  <a:gd name="T50" fmla="*/ 2147483647 w 648"/>
                  <a:gd name="T51" fmla="*/ 2147483647 h 732"/>
                  <a:gd name="T52" fmla="*/ 2147483647 w 648"/>
                  <a:gd name="T53" fmla="*/ 2147483647 h 732"/>
                  <a:gd name="T54" fmla="*/ 2147483647 w 648"/>
                  <a:gd name="T55" fmla="*/ 2147483647 h 732"/>
                  <a:gd name="T56" fmla="*/ 2147483647 w 648"/>
                  <a:gd name="T57" fmla="*/ 2147483647 h 732"/>
                  <a:gd name="T58" fmla="*/ 2147483647 w 648"/>
                  <a:gd name="T59" fmla="*/ 2147483647 h 732"/>
                  <a:gd name="T60" fmla="*/ 2147483647 w 648"/>
                  <a:gd name="T61" fmla="*/ 2147483647 h 732"/>
                  <a:gd name="T62" fmla="*/ 2147483647 w 648"/>
                  <a:gd name="T63" fmla="*/ 2147483647 h 732"/>
                  <a:gd name="T64" fmla="*/ 2147483647 w 648"/>
                  <a:gd name="T65" fmla="*/ 2147483647 h 732"/>
                  <a:gd name="T66" fmla="*/ 2147483647 w 648"/>
                  <a:gd name="T67" fmla="*/ 2147483647 h 732"/>
                  <a:gd name="T68" fmla="*/ 2147483647 w 648"/>
                  <a:gd name="T69" fmla="*/ 2147483647 h 732"/>
                  <a:gd name="T70" fmla="*/ 2147483647 w 648"/>
                  <a:gd name="T71" fmla="*/ 2147483647 h 732"/>
                  <a:gd name="T72" fmla="*/ 2147483647 w 648"/>
                  <a:gd name="T73" fmla="*/ 2147483647 h 732"/>
                  <a:gd name="T74" fmla="*/ 2147483647 w 648"/>
                  <a:gd name="T75" fmla="*/ 2147483647 h 732"/>
                  <a:gd name="T76" fmla="*/ 2147483647 w 648"/>
                  <a:gd name="T77" fmla="*/ 2147483647 h 732"/>
                  <a:gd name="T78" fmla="*/ 2147483647 w 648"/>
                  <a:gd name="T79" fmla="*/ 2147483647 h 732"/>
                  <a:gd name="T80" fmla="*/ 2147483647 w 648"/>
                  <a:gd name="T81" fmla="*/ 2147483647 h 732"/>
                  <a:gd name="T82" fmla="*/ 2147483647 w 648"/>
                  <a:gd name="T83" fmla="*/ 2147483647 h 732"/>
                  <a:gd name="T84" fmla="*/ 2147483647 w 648"/>
                  <a:gd name="T85" fmla="*/ 2147483647 h 732"/>
                  <a:gd name="T86" fmla="*/ 2147483647 w 648"/>
                  <a:gd name="T87" fmla="*/ 2147483647 h 732"/>
                  <a:gd name="T88" fmla="*/ 2147483647 w 648"/>
                  <a:gd name="T89" fmla="*/ 2147483647 h 732"/>
                  <a:gd name="T90" fmla="*/ 2147483647 w 648"/>
                  <a:gd name="T91" fmla="*/ 2147483647 h 732"/>
                  <a:gd name="T92" fmla="*/ 2147483647 w 648"/>
                  <a:gd name="T93" fmla="*/ 2147483647 h 732"/>
                  <a:gd name="T94" fmla="*/ 2147483647 w 648"/>
                  <a:gd name="T95" fmla="*/ 0 h 732"/>
                  <a:gd name="T96" fmla="*/ 2147483647 w 648"/>
                  <a:gd name="T97" fmla="*/ 2147483647 h 732"/>
                  <a:gd name="T98" fmla="*/ 2147483647 w 648"/>
                  <a:gd name="T99" fmla="*/ 2147483647 h 732"/>
                  <a:gd name="T100" fmla="*/ 2147483647 w 648"/>
                  <a:gd name="T101" fmla="*/ 2147483647 h 732"/>
                  <a:gd name="T102" fmla="*/ 2147483647 w 648"/>
                  <a:gd name="T103" fmla="*/ 2147483647 h 732"/>
                  <a:gd name="T104" fmla="*/ 2147483647 w 648"/>
                  <a:gd name="T105" fmla="*/ 2147483647 h 732"/>
                  <a:gd name="T106" fmla="*/ 2147483647 w 648"/>
                  <a:gd name="T107" fmla="*/ 2147483647 h 732"/>
                  <a:gd name="T108" fmla="*/ 2147483647 w 648"/>
                  <a:gd name="T109" fmla="*/ 2147483647 h 732"/>
                  <a:gd name="T110" fmla="*/ 2147483647 w 648"/>
                  <a:gd name="T111" fmla="*/ 2147483647 h 732"/>
                  <a:gd name="T112" fmla="*/ 2147483647 w 648"/>
                  <a:gd name="T113" fmla="*/ 2147483647 h 732"/>
                  <a:gd name="T114" fmla="*/ 0 w 648"/>
                  <a:gd name="T115" fmla="*/ 2147483647 h 73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648"/>
                  <a:gd name="T175" fmla="*/ 0 h 732"/>
                  <a:gd name="T176" fmla="*/ 648 w 648"/>
                  <a:gd name="T177" fmla="*/ 732 h 73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648" h="732">
                    <a:moveTo>
                      <a:pt x="0" y="570"/>
                    </a:moveTo>
                    <a:lnTo>
                      <a:pt x="12" y="576"/>
                    </a:lnTo>
                    <a:lnTo>
                      <a:pt x="18" y="582"/>
                    </a:lnTo>
                    <a:lnTo>
                      <a:pt x="30" y="588"/>
                    </a:lnTo>
                    <a:lnTo>
                      <a:pt x="36" y="594"/>
                    </a:lnTo>
                    <a:lnTo>
                      <a:pt x="42" y="612"/>
                    </a:lnTo>
                    <a:lnTo>
                      <a:pt x="48" y="624"/>
                    </a:lnTo>
                    <a:lnTo>
                      <a:pt x="48" y="642"/>
                    </a:lnTo>
                    <a:lnTo>
                      <a:pt x="54" y="648"/>
                    </a:lnTo>
                    <a:lnTo>
                      <a:pt x="54" y="672"/>
                    </a:lnTo>
                    <a:lnTo>
                      <a:pt x="48" y="684"/>
                    </a:lnTo>
                    <a:lnTo>
                      <a:pt x="48" y="690"/>
                    </a:lnTo>
                    <a:lnTo>
                      <a:pt x="42" y="702"/>
                    </a:lnTo>
                    <a:lnTo>
                      <a:pt x="42" y="732"/>
                    </a:lnTo>
                    <a:lnTo>
                      <a:pt x="120" y="732"/>
                    </a:lnTo>
                    <a:lnTo>
                      <a:pt x="120" y="714"/>
                    </a:lnTo>
                    <a:lnTo>
                      <a:pt x="144" y="714"/>
                    </a:lnTo>
                    <a:lnTo>
                      <a:pt x="144" y="708"/>
                    </a:lnTo>
                    <a:lnTo>
                      <a:pt x="150" y="702"/>
                    </a:lnTo>
                    <a:lnTo>
                      <a:pt x="156" y="690"/>
                    </a:lnTo>
                    <a:lnTo>
                      <a:pt x="162" y="684"/>
                    </a:lnTo>
                    <a:lnTo>
                      <a:pt x="168" y="684"/>
                    </a:lnTo>
                    <a:lnTo>
                      <a:pt x="174" y="678"/>
                    </a:lnTo>
                    <a:lnTo>
                      <a:pt x="186" y="678"/>
                    </a:lnTo>
                    <a:lnTo>
                      <a:pt x="186" y="654"/>
                    </a:lnTo>
                    <a:lnTo>
                      <a:pt x="192" y="642"/>
                    </a:lnTo>
                    <a:lnTo>
                      <a:pt x="192" y="630"/>
                    </a:lnTo>
                    <a:lnTo>
                      <a:pt x="198" y="618"/>
                    </a:lnTo>
                    <a:lnTo>
                      <a:pt x="204" y="612"/>
                    </a:lnTo>
                    <a:lnTo>
                      <a:pt x="216" y="606"/>
                    </a:lnTo>
                    <a:lnTo>
                      <a:pt x="228" y="606"/>
                    </a:lnTo>
                    <a:lnTo>
                      <a:pt x="240" y="612"/>
                    </a:lnTo>
                    <a:lnTo>
                      <a:pt x="246" y="618"/>
                    </a:lnTo>
                    <a:lnTo>
                      <a:pt x="258" y="624"/>
                    </a:lnTo>
                    <a:lnTo>
                      <a:pt x="270" y="636"/>
                    </a:lnTo>
                    <a:lnTo>
                      <a:pt x="300" y="636"/>
                    </a:lnTo>
                    <a:lnTo>
                      <a:pt x="306" y="642"/>
                    </a:lnTo>
                    <a:lnTo>
                      <a:pt x="318" y="648"/>
                    </a:lnTo>
                    <a:lnTo>
                      <a:pt x="324" y="654"/>
                    </a:lnTo>
                    <a:lnTo>
                      <a:pt x="336" y="654"/>
                    </a:lnTo>
                    <a:lnTo>
                      <a:pt x="348" y="648"/>
                    </a:lnTo>
                    <a:lnTo>
                      <a:pt x="354" y="642"/>
                    </a:lnTo>
                    <a:lnTo>
                      <a:pt x="360" y="648"/>
                    </a:lnTo>
                    <a:lnTo>
                      <a:pt x="372" y="648"/>
                    </a:lnTo>
                    <a:lnTo>
                      <a:pt x="384" y="642"/>
                    </a:lnTo>
                    <a:lnTo>
                      <a:pt x="390" y="636"/>
                    </a:lnTo>
                    <a:lnTo>
                      <a:pt x="396" y="624"/>
                    </a:lnTo>
                    <a:lnTo>
                      <a:pt x="402" y="606"/>
                    </a:lnTo>
                    <a:lnTo>
                      <a:pt x="408" y="594"/>
                    </a:lnTo>
                    <a:lnTo>
                      <a:pt x="408" y="582"/>
                    </a:lnTo>
                    <a:lnTo>
                      <a:pt x="426" y="564"/>
                    </a:lnTo>
                    <a:lnTo>
                      <a:pt x="444" y="558"/>
                    </a:lnTo>
                    <a:lnTo>
                      <a:pt x="456" y="552"/>
                    </a:lnTo>
                    <a:lnTo>
                      <a:pt x="462" y="546"/>
                    </a:lnTo>
                    <a:lnTo>
                      <a:pt x="468" y="534"/>
                    </a:lnTo>
                    <a:lnTo>
                      <a:pt x="480" y="528"/>
                    </a:lnTo>
                    <a:lnTo>
                      <a:pt x="480" y="492"/>
                    </a:lnTo>
                    <a:lnTo>
                      <a:pt x="492" y="468"/>
                    </a:lnTo>
                    <a:lnTo>
                      <a:pt x="504" y="462"/>
                    </a:lnTo>
                    <a:lnTo>
                      <a:pt x="510" y="462"/>
                    </a:lnTo>
                    <a:lnTo>
                      <a:pt x="522" y="456"/>
                    </a:lnTo>
                    <a:lnTo>
                      <a:pt x="564" y="414"/>
                    </a:lnTo>
                    <a:lnTo>
                      <a:pt x="576" y="390"/>
                    </a:lnTo>
                    <a:lnTo>
                      <a:pt x="582" y="384"/>
                    </a:lnTo>
                    <a:lnTo>
                      <a:pt x="594" y="384"/>
                    </a:lnTo>
                    <a:lnTo>
                      <a:pt x="606" y="378"/>
                    </a:lnTo>
                    <a:lnTo>
                      <a:pt x="618" y="378"/>
                    </a:lnTo>
                    <a:lnTo>
                      <a:pt x="630" y="354"/>
                    </a:lnTo>
                    <a:lnTo>
                      <a:pt x="648" y="354"/>
                    </a:lnTo>
                    <a:lnTo>
                      <a:pt x="648" y="348"/>
                    </a:lnTo>
                    <a:lnTo>
                      <a:pt x="642" y="336"/>
                    </a:lnTo>
                    <a:lnTo>
                      <a:pt x="624" y="318"/>
                    </a:lnTo>
                    <a:lnTo>
                      <a:pt x="606" y="312"/>
                    </a:lnTo>
                    <a:lnTo>
                      <a:pt x="594" y="312"/>
                    </a:lnTo>
                    <a:lnTo>
                      <a:pt x="576" y="306"/>
                    </a:lnTo>
                    <a:lnTo>
                      <a:pt x="564" y="306"/>
                    </a:lnTo>
                    <a:lnTo>
                      <a:pt x="564" y="276"/>
                    </a:lnTo>
                    <a:lnTo>
                      <a:pt x="546" y="276"/>
                    </a:lnTo>
                    <a:lnTo>
                      <a:pt x="546" y="246"/>
                    </a:lnTo>
                    <a:lnTo>
                      <a:pt x="552" y="240"/>
                    </a:lnTo>
                    <a:lnTo>
                      <a:pt x="546" y="216"/>
                    </a:lnTo>
                    <a:lnTo>
                      <a:pt x="516" y="216"/>
                    </a:lnTo>
                    <a:lnTo>
                      <a:pt x="516" y="186"/>
                    </a:lnTo>
                    <a:lnTo>
                      <a:pt x="510" y="180"/>
                    </a:lnTo>
                    <a:lnTo>
                      <a:pt x="480" y="180"/>
                    </a:lnTo>
                    <a:lnTo>
                      <a:pt x="462" y="162"/>
                    </a:lnTo>
                    <a:lnTo>
                      <a:pt x="450" y="156"/>
                    </a:lnTo>
                    <a:lnTo>
                      <a:pt x="432" y="120"/>
                    </a:lnTo>
                    <a:lnTo>
                      <a:pt x="432" y="96"/>
                    </a:lnTo>
                    <a:lnTo>
                      <a:pt x="426" y="90"/>
                    </a:lnTo>
                    <a:lnTo>
                      <a:pt x="414" y="66"/>
                    </a:lnTo>
                    <a:lnTo>
                      <a:pt x="408" y="60"/>
                    </a:lnTo>
                    <a:lnTo>
                      <a:pt x="396" y="60"/>
                    </a:lnTo>
                    <a:lnTo>
                      <a:pt x="396" y="30"/>
                    </a:lnTo>
                    <a:lnTo>
                      <a:pt x="384" y="18"/>
                    </a:lnTo>
                    <a:lnTo>
                      <a:pt x="378" y="0"/>
                    </a:lnTo>
                    <a:lnTo>
                      <a:pt x="342" y="6"/>
                    </a:lnTo>
                    <a:lnTo>
                      <a:pt x="330" y="18"/>
                    </a:lnTo>
                    <a:lnTo>
                      <a:pt x="306" y="18"/>
                    </a:lnTo>
                    <a:lnTo>
                      <a:pt x="264" y="60"/>
                    </a:lnTo>
                    <a:lnTo>
                      <a:pt x="258" y="60"/>
                    </a:lnTo>
                    <a:lnTo>
                      <a:pt x="258" y="42"/>
                    </a:lnTo>
                    <a:lnTo>
                      <a:pt x="252" y="42"/>
                    </a:lnTo>
                    <a:lnTo>
                      <a:pt x="252" y="24"/>
                    </a:lnTo>
                    <a:lnTo>
                      <a:pt x="246" y="18"/>
                    </a:lnTo>
                    <a:lnTo>
                      <a:pt x="228" y="18"/>
                    </a:lnTo>
                    <a:lnTo>
                      <a:pt x="216" y="24"/>
                    </a:lnTo>
                    <a:lnTo>
                      <a:pt x="168" y="36"/>
                    </a:lnTo>
                    <a:lnTo>
                      <a:pt x="132" y="36"/>
                    </a:lnTo>
                    <a:lnTo>
                      <a:pt x="114" y="42"/>
                    </a:lnTo>
                    <a:lnTo>
                      <a:pt x="78" y="42"/>
                    </a:lnTo>
                    <a:lnTo>
                      <a:pt x="78" y="216"/>
                    </a:lnTo>
                    <a:lnTo>
                      <a:pt x="72" y="222"/>
                    </a:lnTo>
                    <a:lnTo>
                      <a:pt x="78" y="348"/>
                    </a:lnTo>
                    <a:lnTo>
                      <a:pt x="6" y="348"/>
                    </a:lnTo>
                    <a:lnTo>
                      <a:pt x="0" y="570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59" name="Benin"/>
              <p:cNvSpPr>
                <a:spLocks/>
              </p:cNvSpPr>
              <p:nvPr/>
            </p:nvSpPr>
            <p:spPr bwMode="gray">
              <a:xfrm>
                <a:off x="4237043" y="3676654"/>
                <a:ext cx="90488" cy="200025"/>
              </a:xfrm>
              <a:custGeom>
                <a:avLst/>
                <a:gdLst>
                  <a:gd name="T0" fmla="*/ 2147483647 w 222"/>
                  <a:gd name="T1" fmla="*/ 2147483647 h 498"/>
                  <a:gd name="T2" fmla="*/ 2147483647 w 222"/>
                  <a:gd name="T3" fmla="*/ 2147483647 h 498"/>
                  <a:gd name="T4" fmla="*/ 2147483647 w 222"/>
                  <a:gd name="T5" fmla="*/ 2147483647 h 498"/>
                  <a:gd name="T6" fmla="*/ 2147483647 w 222"/>
                  <a:gd name="T7" fmla="*/ 2147483647 h 498"/>
                  <a:gd name="T8" fmla="*/ 2147483647 w 222"/>
                  <a:gd name="T9" fmla="*/ 2147483647 h 498"/>
                  <a:gd name="T10" fmla="*/ 2147483647 w 222"/>
                  <a:gd name="T11" fmla="*/ 2147483647 h 498"/>
                  <a:gd name="T12" fmla="*/ 2147483647 w 222"/>
                  <a:gd name="T13" fmla="*/ 2147483647 h 498"/>
                  <a:gd name="T14" fmla="*/ 2147483647 w 222"/>
                  <a:gd name="T15" fmla="*/ 2147483647 h 498"/>
                  <a:gd name="T16" fmla="*/ 2147483647 w 222"/>
                  <a:gd name="T17" fmla="*/ 2147483647 h 498"/>
                  <a:gd name="T18" fmla="*/ 2147483647 w 222"/>
                  <a:gd name="T19" fmla="*/ 2147483647 h 498"/>
                  <a:gd name="T20" fmla="*/ 2147483647 w 222"/>
                  <a:gd name="T21" fmla="*/ 2147483647 h 498"/>
                  <a:gd name="T22" fmla="*/ 2147483647 w 222"/>
                  <a:gd name="T23" fmla="*/ 2147483647 h 498"/>
                  <a:gd name="T24" fmla="*/ 2147483647 w 222"/>
                  <a:gd name="T25" fmla="*/ 2147483647 h 498"/>
                  <a:gd name="T26" fmla="*/ 2147483647 w 222"/>
                  <a:gd name="T27" fmla="*/ 2147483647 h 498"/>
                  <a:gd name="T28" fmla="*/ 2147483647 w 222"/>
                  <a:gd name="T29" fmla="*/ 2147483647 h 498"/>
                  <a:gd name="T30" fmla="*/ 2147483647 w 222"/>
                  <a:gd name="T31" fmla="*/ 2147483647 h 498"/>
                  <a:gd name="T32" fmla="*/ 2147483647 w 222"/>
                  <a:gd name="T33" fmla="*/ 2147483647 h 498"/>
                  <a:gd name="T34" fmla="*/ 2147483647 w 222"/>
                  <a:gd name="T35" fmla="*/ 2147483647 h 498"/>
                  <a:gd name="T36" fmla="*/ 2147483647 w 222"/>
                  <a:gd name="T37" fmla="*/ 2147483647 h 498"/>
                  <a:gd name="T38" fmla="*/ 2147483647 w 222"/>
                  <a:gd name="T39" fmla="*/ 2147483647 h 498"/>
                  <a:gd name="T40" fmla="*/ 2147483647 w 222"/>
                  <a:gd name="T41" fmla="*/ 2147483647 h 498"/>
                  <a:gd name="T42" fmla="*/ 2147483647 w 222"/>
                  <a:gd name="T43" fmla="*/ 2147483647 h 498"/>
                  <a:gd name="T44" fmla="*/ 2147483647 w 222"/>
                  <a:gd name="T45" fmla="*/ 2147483647 h 498"/>
                  <a:gd name="T46" fmla="*/ 0 w 222"/>
                  <a:gd name="T47" fmla="*/ 2147483647 h 498"/>
                  <a:gd name="T48" fmla="*/ 2147483647 w 222"/>
                  <a:gd name="T49" fmla="*/ 2147483647 h 498"/>
                  <a:gd name="T50" fmla="*/ 2147483647 w 222"/>
                  <a:gd name="T51" fmla="*/ 2147483647 h 498"/>
                  <a:gd name="T52" fmla="*/ 2147483647 w 222"/>
                  <a:gd name="T53" fmla="*/ 2147483647 h 498"/>
                  <a:gd name="T54" fmla="*/ 2147483647 w 222"/>
                  <a:gd name="T55" fmla="*/ 2147483647 h 498"/>
                  <a:gd name="T56" fmla="*/ 2147483647 w 222"/>
                  <a:gd name="T57" fmla="*/ 2147483647 h 498"/>
                  <a:gd name="T58" fmla="*/ 2147483647 w 222"/>
                  <a:gd name="T59" fmla="*/ 2147483647 h 498"/>
                  <a:gd name="T60" fmla="*/ 2147483647 w 222"/>
                  <a:gd name="T61" fmla="*/ 2147483647 h 498"/>
                  <a:gd name="T62" fmla="*/ 2147483647 w 222"/>
                  <a:gd name="T63" fmla="*/ 2147483647 h 498"/>
                  <a:gd name="T64" fmla="*/ 2147483647 w 222"/>
                  <a:gd name="T65" fmla="*/ 2147483647 h 498"/>
                  <a:gd name="T66" fmla="*/ 2147483647 w 222"/>
                  <a:gd name="T67" fmla="*/ 2147483647 h 498"/>
                  <a:gd name="T68" fmla="*/ 2147483647 w 222"/>
                  <a:gd name="T69" fmla="*/ 2147483647 h 49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22"/>
                  <a:gd name="T106" fmla="*/ 0 h 498"/>
                  <a:gd name="T107" fmla="*/ 222 w 222"/>
                  <a:gd name="T108" fmla="*/ 498 h 49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22" h="498">
                    <a:moveTo>
                      <a:pt x="138" y="372"/>
                    </a:moveTo>
                    <a:lnTo>
                      <a:pt x="144" y="342"/>
                    </a:lnTo>
                    <a:lnTo>
                      <a:pt x="138" y="306"/>
                    </a:lnTo>
                    <a:lnTo>
                      <a:pt x="144" y="276"/>
                    </a:lnTo>
                    <a:lnTo>
                      <a:pt x="162" y="276"/>
                    </a:lnTo>
                    <a:lnTo>
                      <a:pt x="174" y="252"/>
                    </a:lnTo>
                    <a:lnTo>
                      <a:pt x="174" y="222"/>
                    </a:lnTo>
                    <a:lnTo>
                      <a:pt x="180" y="216"/>
                    </a:lnTo>
                    <a:lnTo>
                      <a:pt x="186" y="204"/>
                    </a:lnTo>
                    <a:lnTo>
                      <a:pt x="198" y="198"/>
                    </a:lnTo>
                    <a:lnTo>
                      <a:pt x="198" y="156"/>
                    </a:lnTo>
                    <a:lnTo>
                      <a:pt x="210" y="150"/>
                    </a:lnTo>
                    <a:lnTo>
                      <a:pt x="216" y="150"/>
                    </a:lnTo>
                    <a:lnTo>
                      <a:pt x="222" y="144"/>
                    </a:lnTo>
                    <a:lnTo>
                      <a:pt x="222" y="132"/>
                    </a:lnTo>
                    <a:lnTo>
                      <a:pt x="216" y="126"/>
                    </a:lnTo>
                    <a:lnTo>
                      <a:pt x="216" y="114"/>
                    </a:lnTo>
                    <a:lnTo>
                      <a:pt x="210" y="102"/>
                    </a:lnTo>
                    <a:lnTo>
                      <a:pt x="204" y="96"/>
                    </a:lnTo>
                    <a:lnTo>
                      <a:pt x="192" y="72"/>
                    </a:lnTo>
                    <a:lnTo>
                      <a:pt x="198" y="66"/>
                    </a:lnTo>
                    <a:lnTo>
                      <a:pt x="198" y="60"/>
                    </a:lnTo>
                    <a:lnTo>
                      <a:pt x="204" y="48"/>
                    </a:lnTo>
                    <a:lnTo>
                      <a:pt x="198" y="42"/>
                    </a:lnTo>
                    <a:lnTo>
                      <a:pt x="186" y="36"/>
                    </a:lnTo>
                    <a:lnTo>
                      <a:pt x="180" y="36"/>
                    </a:lnTo>
                    <a:lnTo>
                      <a:pt x="174" y="30"/>
                    </a:lnTo>
                    <a:lnTo>
                      <a:pt x="168" y="30"/>
                    </a:lnTo>
                    <a:lnTo>
                      <a:pt x="162" y="24"/>
                    </a:lnTo>
                    <a:lnTo>
                      <a:pt x="156" y="12"/>
                    </a:lnTo>
                    <a:lnTo>
                      <a:pt x="144" y="0"/>
                    </a:lnTo>
                    <a:lnTo>
                      <a:pt x="114" y="12"/>
                    </a:lnTo>
                    <a:lnTo>
                      <a:pt x="114" y="36"/>
                    </a:lnTo>
                    <a:lnTo>
                      <a:pt x="120" y="36"/>
                    </a:lnTo>
                    <a:lnTo>
                      <a:pt x="114" y="42"/>
                    </a:lnTo>
                    <a:lnTo>
                      <a:pt x="108" y="60"/>
                    </a:lnTo>
                    <a:lnTo>
                      <a:pt x="96" y="60"/>
                    </a:lnTo>
                    <a:lnTo>
                      <a:pt x="90" y="66"/>
                    </a:lnTo>
                    <a:lnTo>
                      <a:pt x="84" y="66"/>
                    </a:lnTo>
                    <a:lnTo>
                      <a:pt x="84" y="78"/>
                    </a:lnTo>
                    <a:lnTo>
                      <a:pt x="78" y="72"/>
                    </a:lnTo>
                    <a:lnTo>
                      <a:pt x="48" y="72"/>
                    </a:lnTo>
                    <a:lnTo>
                      <a:pt x="30" y="90"/>
                    </a:lnTo>
                    <a:lnTo>
                      <a:pt x="24" y="102"/>
                    </a:lnTo>
                    <a:lnTo>
                      <a:pt x="12" y="102"/>
                    </a:lnTo>
                    <a:lnTo>
                      <a:pt x="6" y="114"/>
                    </a:lnTo>
                    <a:lnTo>
                      <a:pt x="0" y="132"/>
                    </a:lnTo>
                    <a:lnTo>
                      <a:pt x="0" y="162"/>
                    </a:lnTo>
                    <a:lnTo>
                      <a:pt x="12" y="168"/>
                    </a:lnTo>
                    <a:lnTo>
                      <a:pt x="42" y="198"/>
                    </a:lnTo>
                    <a:lnTo>
                      <a:pt x="42" y="240"/>
                    </a:lnTo>
                    <a:lnTo>
                      <a:pt x="54" y="252"/>
                    </a:lnTo>
                    <a:lnTo>
                      <a:pt x="60" y="264"/>
                    </a:lnTo>
                    <a:lnTo>
                      <a:pt x="60" y="294"/>
                    </a:lnTo>
                    <a:lnTo>
                      <a:pt x="66" y="306"/>
                    </a:lnTo>
                    <a:lnTo>
                      <a:pt x="54" y="318"/>
                    </a:lnTo>
                    <a:lnTo>
                      <a:pt x="54" y="378"/>
                    </a:lnTo>
                    <a:lnTo>
                      <a:pt x="66" y="390"/>
                    </a:lnTo>
                    <a:lnTo>
                      <a:pt x="54" y="396"/>
                    </a:lnTo>
                    <a:lnTo>
                      <a:pt x="60" y="462"/>
                    </a:lnTo>
                    <a:lnTo>
                      <a:pt x="60" y="468"/>
                    </a:lnTo>
                    <a:lnTo>
                      <a:pt x="72" y="480"/>
                    </a:lnTo>
                    <a:lnTo>
                      <a:pt x="72" y="492"/>
                    </a:lnTo>
                    <a:lnTo>
                      <a:pt x="84" y="492"/>
                    </a:lnTo>
                    <a:lnTo>
                      <a:pt x="96" y="498"/>
                    </a:lnTo>
                    <a:lnTo>
                      <a:pt x="108" y="498"/>
                    </a:lnTo>
                    <a:lnTo>
                      <a:pt x="120" y="474"/>
                    </a:lnTo>
                    <a:lnTo>
                      <a:pt x="126" y="480"/>
                    </a:lnTo>
                    <a:lnTo>
                      <a:pt x="138" y="486"/>
                    </a:lnTo>
                    <a:lnTo>
                      <a:pt x="138" y="372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60" name="Bahrain"/>
              <p:cNvSpPr>
                <a:spLocks/>
              </p:cNvSpPr>
              <p:nvPr/>
            </p:nvSpPr>
            <p:spPr bwMode="gray">
              <a:xfrm>
                <a:off x="5630872" y="3219453"/>
                <a:ext cx="11113" cy="22225"/>
              </a:xfrm>
              <a:custGeom>
                <a:avLst/>
                <a:gdLst>
                  <a:gd name="T0" fmla="*/ 2147483647 w 15"/>
                  <a:gd name="T1" fmla="*/ 0 h 28"/>
                  <a:gd name="T2" fmla="*/ 2147483647 w 15"/>
                  <a:gd name="T3" fmla="*/ 2147483647 h 28"/>
                  <a:gd name="T4" fmla="*/ 2147483647 w 15"/>
                  <a:gd name="T5" fmla="*/ 2147483647 h 28"/>
                  <a:gd name="T6" fmla="*/ 2033064304 w 15"/>
                  <a:gd name="T7" fmla="*/ 2147483647 h 28"/>
                  <a:gd name="T8" fmla="*/ 813445092 w 15"/>
                  <a:gd name="T9" fmla="*/ 2147483647 h 28"/>
                  <a:gd name="T10" fmla="*/ 2147483647 w 15"/>
                  <a:gd name="T11" fmla="*/ 0 h 2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28"/>
                  <a:gd name="T20" fmla="*/ 15 w 15"/>
                  <a:gd name="T21" fmla="*/ 28 h 2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28">
                    <a:moveTo>
                      <a:pt x="9" y="0"/>
                    </a:moveTo>
                    <a:cubicBezTo>
                      <a:pt x="14" y="0"/>
                      <a:pt x="15" y="10"/>
                      <a:pt x="14" y="14"/>
                    </a:cubicBezTo>
                    <a:cubicBezTo>
                      <a:pt x="13" y="18"/>
                      <a:pt x="15" y="28"/>
                      <a:pt x="9" y="28"/>
                    </a:cubicBezTo>
                    <a:cubicBezTo>
                      <a:pt x="4" y="27"/>
                      <a:pt x="5" y="21"/>
                      <a:pt x="5" y="18"/>
                    </a:cubicBezTo>
                    <a:cubicBezTo>
                      <a:pt x="5" y="14"/>
                      <a:pt x="0" y="14"/>
                      <a:pt x="2" y="8"/>
                    </a:cubicBez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61" name="Azerbaijan"/>
              <p:cNvSpPr>
                <a:spLocks noEditPoints="1"/>
              </p:cNvSpPr>
              <p:nvPr/>
            </p:nvSpPr>
            <p:spPr bwMode="gray">
              <a:xfrm>
                <a:off x="5421322" y="2719389"/>
                <a:ext cx="144463" cy="115888"/>
              </a:xfrm>
              <a:custGeom>
                <a:avLst/>
                <a:gdLst>
                  <a:gd name="T0" fmla="*/ 2147483647 w 360"/>
                  <a:gd name="T1" fmla="*/ 2147483647 h 288"/>
                  <a:gd name="T2" fmla="*/ 2147483647 w 360"/>
                  <a:gd name="T3" fmla="*/ 2147483647 h 288"/>
                  <a:gd name="T4" fmla="*/ 2147483647 w 360"/>
                  <a:gd name="T5" fmla="*/ 2147483647 h 288"/>
                  <a:gd name="T6" fmla="*/ 2147483647 w 360"/>
                  <a:gd name="T7" fmla="*/ 2147483647 h 288"/>
                  <a:gd name="T8" fmla="*/ 2147483647 w 360"/>
                  <a:gd name="T9" fmla="*/ 2147483647 h 288"/>
                  <a:gd name="T10" fmla="*/ 2147483647 w 360"/>
                  <a:gd name="T11" fmla="*/ 2147483647 h 288"/>
                  <a:gd name="T12" fmla="*/ 2147483647 w 360"/>
                  <a:gd name="T13" fmla="*/ 2147483647 h 288"/>
                  <a:gd name="T14" fmla="*/ 2147483647 w 360"/>
                  <a:gd name="T15" fmla="*/ 2147483647 h 288"/>
                  <a:gd name="T16" fmla="*/ 2147483647 w 360"/>
                  <a:gd name="T17" fmla="*/ 2147483647 h 288"/>
                  <a:gd name="T18" fmla="*/ 2147483647 w 360"/>
                  <a:gd name="T19" fmla="*/ 2147483647 h 288"/>
                  <a:gd name="T20" fmla="*/ 2147483647 w 360"/>
                  <a:gd name="T21" fmla="*/ 2147483647 h 288"/>
                  <a:gd name="T22" fmla="*/ 2147483647 w 360"/>
                  <a:gd name="T23" fmla="*/ 2147483647 h 288"/>
                  <a:gd name="T24" fmla="*/ 2147483647 w 360"/>
                  <a:gd name="T25" fmla="*/ 2147483647 h 288"/>
                  <a:gd name="T26" fmla="*/ 2147483647 w 360"/>
                  <a:gd name="T27" fmla="*/ 0 h 288"/>
                  <a:gd name="T28" fmla="*/ 2147483647 w 360"/>
                  <a:gd name="T29" fmla="*/ 2147483647 h 288"/>
                  <a:gd name="T30" fmla="*/ 2147483647 w 360"/>
                  <a:gd name="T31" fmla="*/ 2147483647 h 288"/>
                  <a:gd name="T32" fmla="*/ 2147483647 w 360"/>
                  <a:gd name="T33" fmla="*/ 2147483647 h 288"/>
                  <a:gd name="T34" fmla="*/ 2147483647 w 360"/>
                  <a:gd name="T35" fmla="*/ 2147483647 h 288"/>
                  <a:gd name="T36" fmla="*/ 2147483647 w 360"/>
                  <a:gd name="T37" fmla="*/ 2147483647 h 288"/>
                  <a:gd name="T38" fmla="*/ 2147483647 w 360"/>
                  <a:gd name="T39" fmla="*/ 0 h 288"/>
                  <a:gd name="T40" fmla="*/ 2147483647 w 360"/>
                  <a:gd name="T41" fmla="*/ 2147483647 h 288"/>
                  <a:gd name="T42" fmla="*/ 2147483647 w 360"/>
                  <a:gd name="T43" fmla="*/ 2147483647 h 288"/>
                  <a:gd name="T44" fmla="*/ 2147483647 w 360"/>
                  <a:gd name="T45" fmla="*/ 2147483647 h 288"/>
                  <a:gd name="T46" fmla="*/ 2147483647 w 360"/>
                  <a:gd name="T47" fmla="*/ 2147483647 h 288"/>
                  <a:gd name="T48" fmla="*/ 2147483647 w 360"/>
                  <a:gd name="T49" fmla="*/ 2147483647 h 288"/>
                  <a:gd name="T50" fmla="*/ 2147483647 w 360"/>
                  <a:gd name="T51" fmla="*/ 2147483647 h 288"/>
                  <a:gd name="T52" fmla="*/ 2147483647 w 360"/>
                  <a:gd name="T53" fmla="*/ 2147483647 h 288"/>
                  <a:gd name="T54" fmla="*/ 0 w 360"/>
                  <a:gd name="T55" fmla="*/ 2147483647 h 288"/>
                  <a:gd name="T56" fmla="*/ 2147483647 w 360"/>
                  <a:gd name="T57" fmla="*/ 2147483647 h 288"/>
                  <a:gd name="T58" fmla="*/ 2147483647 w 360"/>
                  <a:gd name="T59" fmla="*/ 2147483647 h 288"/>
                  <a:gd name="T60" fmla="*/ 2147483647 w 360"/>
                  <a:gd name="T61" fmla="*/ 2147483647 h 288"/>
                  <a:gd name="T62" fmla="*/ 2147483647 w 360"/>
                  <a:gd name="T63" fmla="*/ 2147483647 h 288"/>
                  <a:gd name="T64" fmla="*/ 2147483647 w 360"/>
                  <a:gd name="T65" fmla="*/ 2147483647 h 288"/>
                  <a:gd name="T66" fmla="*/ 2147483647 w 360"/>
                  <a:gd name="T67" fmla="*/ 2147483647 h 288"/>
                  <a:gd name="T68" fmla="*/ 2147483647 w 360"/>
                  <a:gd name="T69" fmla="*/ 2147483647 h 288"/>
                  <a:gd name="T70" fmla="*/ 2147483647 w 360"/>
                  <a:gd name="T71" fmla="*/ 2147483647 h 288"/>
                  <a:gd name="T72" fmla="*/ 2147483647 w 360"/>
                  <a:gd name="T73" fmla="*/ 2147483647 h 288"/>
                  <a:gd name="T74" fmla="*/ 2147483647 w 360"/>
                  <a:gd name="T75" fmla="*/ 2147483647 h 288"/>
                  <a:gd name="T76" fmla="*/ 2147483647 w 360"/>
                  <a:gd name="T77" fmla="*/ 2147483647 h 288"/>
                  <a:gd name="T78" fmla="*/ 2147483647 w 360"/>
                  <a:gd name="T79" fmla="*/ 2147483647 h 288"/>
                  <a:gd name="T80" fmla="*/ 2147483647 w 360"/>
                  <a:gd name="T81" fmla="*/ 2147483647 h 288"/>
                  <a:gd name="T82" fmla="*/ 2147483647 w 360"/>
                  <a:gd name="T83" fmla="*/ 2147483647 h 288"/>
                  <a:gd name="T84" fmla="*/ 2147483647 w 360"/>
                  <a:gd name="T85" fmla="*/ 2147483647 h 288"/>
                  <a:gd name="T86" fmla="*/ 2147483647 w 360"/>
                  <a:gd name="T87" fmla="*/ 2147483647 h 288"/>
                  <a:gd name="T88" fmla="*/ 2147483647 w 360"/>
                  <a:gd name="T89" fmla="*/ 2147483647 h 288"/>
                  <a:gd name="T90" fmla="*/ 2147483647 w 360"/>
                  <a:gd name="T91" fmla="*/ 2147483647 h 288"/>
                  <a:gd name="T92" fmla="*/ 2147483647 w 360"/>
                  <a:gd name="T93" fmla="*/ 2147483647 h 288"/>
                  <a:gd name="T94" fmla="*/ 2147483647 w 360"/>
                  <a:gd name="T95" fmla="*/ 2147483647 h 288"/>
                  <a:gd name="T96" fmla="*/ 2147483647 w 360"/>
                  <a:gd name="T97" fmla="*/ 2147483647 h 288"/>
                  <a:gd name="T98" fmla="*/ 2147483647 w 360"/>
                  <a:gd name="T99" fmla="*/ 2147483647 h 288"/>
                  <a:gd name="T100" fmla="*/ 2147483647 w 360"/>
                  <a:gd name="T101" fmla="*/ 2147483647 h 288"/>
                  <a:gd name="T102" fmla="*/ 2147483647 w 360"/>
                  <a:gd name="T103" fmla="*/ 2147483647 h 288"/>
                  <a:gd name="T104" fmla="*/ 2147483647 w 360"/>
                  <a:gd name="T105" fmla="*/ 2147483647 h 288"/>
                  <a:gd name="T106" fmla="*/ 2147483647 w 360"/>
                  <a:gd name="T107" fmla="*/ 2147483647 h 288"/>
                  <a:gd name="T108" fmla="*/ 2147483647 w 360"/>
                  <a:gd name="T109" fmla="*/ 2147483647 h 288"/>
                  <a:gd name="T110" fmla="*/ 2147483647 w 360"/>
                  <a:gd name="T111" fmla="*/ 2147483647 h 288"/>
                  <a:gd name="T112" fmla="*/ 2147483647 w 360"/>
                  <a:gd name="T113" fmla="*/ 2147483647 h 288"/>
                  <a:gd name="T114" fmla="*/ 2147483647 w 360"/>
                  <a:gd name="T115" fmla="*/ 2147483647 h 288"/>
                  <a:gd name="T116" fmla="*/ 2147483647 w 360"/>
                  <a:gd name="T117" fmla="*/ 2147483647 h 288"/>
                  <a:gd name="T118" fmla="*/ 2147483647 w 360"/>
                  <a:gd name="T119" fmla="*/ 2147483647 h 288"/>
                  <a:gd name="T120" fmla="*/ 2147483647 w 360"/>
                  <a:gd name="T121" fmla="*/ 2147483647 h 28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60"/>
                  <a:gd name="T184" fmla="*/ 0 h 288"/>
                  <a:gd name="T185" fmla="*/ 360 w 360"/>
                  <a:gd name="T186" fmla="*/ 288 h 28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60" h="288">
                    <a:moveTo>
                      <a:pt x="66" y="186"/>
                    </a:moveTo>
                    <a:lnTo>
                      <a:pt x="36" y="186"/>
                    </a:lnTo>
                    <a:lnTo>
                      <a:pt x="24" y="174"/>
                    </a:lnTo>
                    <a:lnTo>
                      <a:pt x="6" y="174"/>
                    </a:lnTo>
                    <a:lnTo>
                      <a:pt x="12" y="186"/>
                    </a:lnTo>
                    <a:lnTo>
                      <a:pt x="12" y="192"/>
                    </a:lnTo>
                    <a:lnTo>
                      <a:pt x="18" y="204"/>
                    </a:lnTo>
                    <a:lnTo>
                      <a:pt x="36" y="222"/>
                    </a:lnTo>
                    <a:lnTo>
                      <a:pt x="48" y="228"/>
                    </a:lnTo>
                    <a:lnTo>
                      <a:pt x="84" y="240"/>
                    </a:lnTo>
                    <a:lnTo>
                      <a:pt x="90" y="240"/>
                    </a:lnTo>
                    <a:lnTo>
                      <a:pt x="84" y="234"/>
                    </a:lnTo>
                    <a:lnTo>
                      <a:pt x="84" y="222"/>
                    </a:lnTo>
                    <a:lnTo>
                      <a:pt x="78" y="216"/>
                    </a:lnTo>
                    <a:lnTo>
                      <a:pt x="78" y="204"/>
                    </a:lnTo>
                    <a:lnTo>
                      <a:pt x="72" y="198"/>
                    </a:lnTo>
                    <a:lnTo>
                      <a:pt x="72" y="186"/>
                    </a:lnTo>
                    <a:lnTo>
                      <a:pt x="66" y="186"/>
                    </a:lnTo>
                    <a:close/>
                    <a:moveTo>
                      <a:pt x="354" y="108"/>
                    </a:moveTo>
                    <a:lnTo>
                      <a:pt x="348" y="102"/>
                    </a:lnTo>
                    <a:lnTo>
                      <a:pt x="330" y="102"/>
                    </a:lnTo>
                    <a:lnTo>
                      <a:pt x="318" y="108"/>
                    </a:lnTo>
                    <a:lnTo>
                      <a:pt x="306" y="108"/>
                    </a:lnTo>
                    <a:lnTo>
                      <a:pt x="288" y="90"/>
                    </a:lnTo>
                    <a:lnTo>
                      <a:pt x="288" y="84"/>
                    </a:lnTo>
                    <a:lnTo>
                      <a:pt x="264" y="54"/>
                    </a:lnTo>
                    <a:lnTo>
                      <a:pt x="264" y="42"/>
                    </a:lnTo>
                    <a:lnTo>
                      <a:pt x="216" y="0"/>
                    </a:lnTo>
                    <a:lnTo>
                      <a:pt x="216" y="30"/>
                    </a:lnTo>
                    <a:lnTo>
                      <a:pt x="210" y="36"/>
                    </a:lnTo>
                    <a:lnTo>
                      <a:pt x="192" y="36"/>
                    </a:lnTo>
                    <a:lnTo>
                      <a:pt x="192" y="48"/>
                    </a:lnTo>
                    <a:lnTo>
                      <a:pt x="186" y="54"/>
                    </a:lnTo>
                    <a:lnTo>
                      <a:pt x="162" y="54"/>
                    </a:lnTo>
                    <a:lnTo>
                      <a:pt x="156" y="48"/>
                    </a:lnTo>
                    <a:lnTo>
                      <a:pt x="144" y="42"/>
                    </a:lnTo>
                    <a:lnTo>
                      <a:pt x="138" y="30"/>
                    </a:lnTo>
                    <a:lnTo>
                      <a:pt x="120" y="12"/>
                    </a:lnTo>
                    <a:lnTo>
                      <a:pt x="84" y="0"/>
                    </a:lnTo>
                    <a:lnTo>
                      <a:pt x="72" y="0"/>
                    </a:lnTo>
                    <a:lnTo>
                      <a:pt x="60" y="12"/>
                    </a:lnTo>
                    <a:lnTo>
                      <a:pt x="78" y="30"/>
                    </a:lnTo>
                    <a:lnTo>
                      <a:pt x="84" y="30"/>
                    </a:lnTo>
                    <a:lnTo>
                      <a:pt x="90" y="36"/>
                    </a:lnTo>
                    <a:lnTo>
                      <a:pt x="96" y="48"/>
                    </a:lnTo>
                    <a:lnTo>
                      <a:pt x="102" y="54"/>
                    </a:lnTo>
                    <a:lnTo>
                      <a:pt x="108" y="66"/>
                    </a:lnTo>
                    <a:lnTo>
                      <a:pt x="102" y="72"/>
                    </a:lnTo>
                    <a:lnTo>
                      <a:pt x="84" y="54"/>
                    </a:lnTo>
                    <a:lnTo>
                      <a:pt x="72" y="54"/>
                    </a:lnTo>
                    <a:lnTo>
                      <a:pt x="60" y="60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30"/>
                    </a:lnTo>
                    <a:lnTo>
                      <a:pt x="12" y="30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48"/>
                    </a:lnTo>
                    <a:lnTo>
                      <a:pt x="12" y="54"/>
                    </a:lnTo>
                    <a:lnTo>
                      <a:pt x="12" y="66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36" y="96"/>
                    </a:lnTo>
                    <a:lnTo>
                      <a:pt x="30" y="102"/>
                    </a:lnTo>
                    <a:lnTo>
                      <a:pt x="36" y="102"/>
                    </a:lnTo>
                    <a:lnTo>
                      <a:pt x="42" y="108"/>
                    </a:lnTo>
                    <a:lnTo>
                      <a:pt x="66" y="120"/>
                    </a:lnTo>
                    <a:lnTo>
                      <a:pt x="72" y="126"/>
                    </a:lnTo>
                    <a:lnTo>
                      <a:pt x="72" y="132"/>
                    </a:lnTo>
                    <a:lnTo>
                      <a:pt x="54" y="150"/>
                    </a:lnTo>
                    <a:lnTo>
                      <a:pt x="42" y="150"/>
                    </a:lnTo>
                    <a:lnTo>
                      <a:pt x="72" y="162"/>
                    </a:lnTo>
                    <a:lnTo>
                      <a:pt x="84" y="180"/>
                    </a:lnTo>
                    <a:lnTo>
                      <a:pt x="114" y="186"/>
                    </a:lnTo>
                    <a:lnTo>
                      <a:pt x="114" y="198"/>
                    </a:lnTo>
                    <a:lnTo>
                      <a:pt x="120" y="210"/>
                    </a:lnTo>
                    <a:lnTo>
                      <a:pt x="120" y="240"/>
                    </a:lnTo>
                    <a:lnTo>
                      <a:pt x="132" y="240"/>
                    </a:lnTo>
                    <a:lnTo>
                      <a:pt x="138" y="228"/>
                    </a:lnTo>
                    <a:lnTo>
                      <a:pt x="144" y="222"/>
                    </a:lnTo>
                    <a:lnTo>
                      <a:pt x="144" y="216"/>
                    </a:lnTo>
                    <a:lnTo>
                      <a:pt x="156" y="204"/>
                    </a:lnTo>
                    <a:lnTo>
                      <a:pt x="174" y="192"/>
                    </a:lnTo>
                    <a:lnTo>
                      <a:pt x="186" y="186"/>
                    </a:lnTo>
                    <a:lnTo>
                      <a:pt x="198" y="174"/>
                    </a:lnTo>
                    <a:lnTo>
                      <a:pt x="210" y="168"/>
                    </a:lnTo>
                    <a:lnTo>
                      <a:pt x="222" y="168"/>
                    </a:lnTo>
                    <a:lnTo>
                      <a:pt x="228" y="180"/>
                    </a:lnTo>
                    <a:lnTo>
                      <a:pt x="234" y="186"/>
                    </a:lnTo>
                    <a:lnTo>
                      <a:pt x="234" y="204"/>
                    </a:lnTo>
                    <a:lnTo>
                      <a:pt x="228" y="210"/>
                    </a:lnTo>
                    <a:lnTo>
                      <a:pt x="228" y="222"/>
                    </a:lnTo>
                    <a:lnTo>
                      <a:pt x="234" y="222"/>
                    </a:lnTo>
                    <a:lnTo>
                      <a:pt x="240" y="228"/>
                    </a:lnTo>
                    <a:lnTo>
                      <a:pt x="240" y="234"/>
                    </a:lnTo>
                    <a:lnTo>
                      <a:pt x="234" y="240"/>
                    </a:lnTo>
                    <a:lnTo>
                      <a:pt x="222" y="240"/>
                    </a:lnTo>
                    <a:lnTo>
                      <a:pt x="222" y="246"/>
                    </a:lnTo>
                    <a:lnTo>
                      <a:pt x="234" y="258"/>
                    </a:lnTo>
                    <a:lnTo>
                      <a:pt x="246" y="264"/>
                    </a:lnTo>
                    <a:lnTo>
                      <a:pt x="252" y="270"/>
                    </a:lnTo>
                    <a:lnTo>
                      <a:pt x="258" y="270"/>
                    </a:lnTo>
                    <a:lnTo>
                      <a:pt x="264" y="276"/>
                    </a:lnTo>
                    <a:lnTo>
                      <a:pt x="264" y="282"/>
                    </a:lnTo>
                    <a:lnTo>
                      <a:pt x="282" y="282"/>
                    </a:lnTo>
                    <a:lnTo>
                      <a:pt x="282" y="288"/>
                    </a:lnTo>
                    <a:lnTo>
                      <a:pt x="288" y="282"/>
                    </a:lnTo>
                    <a:lnTo>
                      <a:pt x="288" y="258"/>
                    </a:lnTo>
                    <a:lnTo>
                      <a:pt x="282" y="252"/>
                    </a:lnTo>
                    <a:lnTo>
                      <a:pt x="276" y="252"/>
                    </a:lnTo>
                    <a:lnTo>
                      <a:pt x="270" y="246"/>
                    </a:lnTo>
                    <a:lnTo>
                      <a:pt x="288" y="240"/>
                    </a:lnTo>
                    <a:lnTo>
                      <a:pt x="288" y="210"/>
                    </a:lnTo>
                    <a:lnTo>
                      <a:pt x="300" y="222"/>
                    </a:lnTo>
                    <a:lnTo>
                      <a:pt x="306" y="222"/>
                    </a:lnTo>
                    <a:lnTo>
                      <a:pt x="318" y="210"/>
                    </a:lnTo>
                    <a:lnTo>
                      <a:pt x="300" y="192"/>
                    </a:lnTo>
                    <a:lnTo>
                      <a:pt x="300" y="138"/>
                    </a:lnTo>
                    <a:lnTo>
                      <a:pt x="318" y="138"/>
                    </a:lnTo>
                    <a:lnTo>
                      <a:pt x="330" y="126"/>
                    </a:lnTo>
                    <a:lnTo>
                      <a:pt x="360" y="132"/>
                    </a:lnTo>
                    <a:lnTo>
                      <a:pt x="360" y="120"/>
                    </a:lnTo>
                    <a:lnTo>
                      <a:pt x="354" y="108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62" name="Armenia"/>
              <p:cNvSpPr>
                <a:spLocks/>
              </p:cNvSpPr>
              <p:nvPr/>
            </p:nvSpPr>
            <p:spPr bwMode="gray">
              <a:xfrm>
                <a:off x="5380045" y="2736852"/>
                <a:ext cx="90488" cy="84139"/>
              </a:xfrm>
              <a:custGeom>
                <a:avLst/>
                <a:gdLst>
                  <a:gd name="T0" fmla="*/ 2147483647 w 222"/>
                  <a:gd name="T1" fmla="*/ 2147483647 h 210"/>
                  <a:gd name="T2" fmla="*/ 2147483647 w 222"/>
                  <a:gd name="T3" fmla="*/ 2147483647 h 210"/>
                  <a:gd name="T4" fmla="*/ 2147483647 w 222"/>
                  <a:gd name="T5" fmla="*/ 2147483647 h 210"/>
                  <a:gd name="T6" fmla="*/ 2147483647 w 222"/>
                  <a:gd name="T7" fmla="*/ 2147483647 h 210"/>
                  <a:gd name="T8" fmla="*/ 2147483647 w 222"/>
                  <a:gd name="T9" fmla="*/ 2147483647 h 210"/>
                  <a:gd name="T10" fmla="*/ 2147483647 w 222"/>
                  <a:gd name="T11" fmla="*/ 2147483647 h 210"/>
                  <a:gd name="T12" fmla="*/ 2147483647 w 222"/>
                  <a:gd name="T13" fmla="*/ 2147483647 h 210"/>
                  <a:gd name="T14" fmla="*/ 2147483647 w 222"/>
                  <a:gd name="T15" fmla="*/ 2147483647 h 210"/>
                  <a:gd name="T16" fmla="*/ 2147483647 w 222"/>
                  <a:gd name="T17" fmla="*/ 2147483647 h 210"/>
                  <a:gd name="T18" fmla="*/ 2147483647 w 222"/>
                  <a:gd name="T19" fmla="*/ 2147483647 h 210"/>
                  <a:gd name="T20" fmla="*/ 2147483647 w 222"/>
                  <a:gd name="T21" fmla="*/ 2147483647 h 210"/>
                  <a:gd name="T22" fmla="*/ 2147483647 w 222"/>
                  <a:gd name="T23" fmla="*/ 2147483647 h 210"/>
                  <a:gd name="T24" fmla="*/ 2147483647 w 222"/>
                  <a:gd name="T25" fmla="*/ 2147483647 h 210"/>
                  <a:gd name="T26" fmla="*/ 2147483647 w 222"/>
                  <a:gd name="T27" fmla="*/ 2147483647 h 210"/>
                  <a:gd name="T28" fmla="*/ 2147483647 w 222"/>
                  <a:gd name="T29" fmla="*/ 2147483647 h 210"/>
                  <a:gd name="T30" fmla="*/ 2147483647 w 222"/>
                  <a:gd name="T31" fmla="*/ 2147483647 h 210"/>
                  <a:gd name="T32" fmla="*/ 2147483647 w 222"/>
                  <a:gd name="T33" fmla="*/ 2147483647 h 210"/>
                  <a:gd name="T34" fmla="*/ 2147483647 w 222"/>
                  <a:gd name="T35" fmla="*/ 2147483647 h 210"/>
                  <a:gd name="T36" fmla="*/ 2147483647 w 222"/>
                  <a:gd name="T37" fmla="*/ 2147483647 h 210"/>
                  <a:gd name="T38" fmla="*/ 2147483647 w 222"/>
                  <a:gd name="T39" fmla="*/ 0 h 210"/>
                  <a:gd name="T40" fmla="*/ 2147483647 w 222"/>
                  <a:gd name="T41" fmla="*/ 0 h 210"/>
                  <a:gd name="T42" fmla="*/ 2147483647 w 222"/>
                  <a:gd name="T43" fmla="*/ 2147483647 h 210"/>
                  <a:gd name="T44" fmla="*/ 2147483647 w 222"/>
                  <a:gd name="T45" fmla="*/ 2147483647 h 210"/>
                  <a:gd name="T46" fmla="*/ 2147483647 w 222"/>
                  <a:gd name="T47" fmla="*/ 2147483647 h 210"/>
                  <a:gd name="T48" fmla="*/ 0 w 222"/>
                  <a:gd name="T49" fmla="*/ 2147483647 h 210"/>
                  <a:gd name="T50" fmla="*/ 2147483647 w 222"/>
                  <a:gd name="T51" fmla="*/ 2147483647 h 210"/>
                  <a:gd name="T52" fmla="*/ 2147483647 w 222"/>
                  <a:gd name="T53" fmla="*/ 2147483647 h 210"/>
                  <a:gd name="T54" fmla="*/ 2147483647 w 222"/>
                  <a:gd name="T55" fmla="*/ 2147483647 h 210"/>
                  <a:gd name="T56" fmla="*/ 2147483647 w 222"/>
                  <a:gd name="T57" fmla="*/ 2147483647 h 210"/>
                  <a:gd name="T58" fmla="*/ 2147483647 w 222"/>
                  <a:gd name="T59" fmla="*/ 2147483647 h 210"/>
                  <a:gd name="T60" fmla="*/ 2147483647 w 222"/>
                  <a:gd name="T61" fmla="*/ 2147483647 h 210"/>
                  <a:gd name="T62" fmla="*/ 2147483647 w 222"/>
                  <a:gd name="T63" fmla="*/ 2147483647 h 210"/>
                  <a:gd name="T64" fmla="*/ 2147483647 w 222"/>
                  <a:gd name="T65" fmla="*/ 2147483647 h 210"/>
                  <a:gd name="T66" fmla="*/ 2147483647 w 222"/>
                  <a:gd name="T67" fmla="*/ 2147483647 h 210"/>
                  <a:gd name="T68" fmla="*/ 2147483647 w 222"/>
                  <a:gd name="T69" fmla="*/ 2147483647 h 210"/>
                  <a:gd name="T70" fmla="*/ 2147483647 w 222"/>
                  <a:gd name="T71" fmla="*/ 2147483647 h 210"/>
                  <a:gd name="T72" fmla="*/ 2147483647 w 222"/>
                  <a:gd name="T73" fmla="*/ 2147483647 h 210"/>
                  <a:gd name="T74" fmla="*/ 2147483647 w 222"/>
                  <a:gd name="T75" fmla="*/ 2147483647 h 210"/>
                  <a:gd name="T76" fmla="*/ 2147483647 w 222"/>
                  <a:gd name="T77" fmla="*/ 2147483647 h 210"/>
                  <a:gd name="T78" fmla="*/ 2147483647 w 222"/>
                  <a:gd name="T79" fmla="*/ 2147483647 h 210"/>
                  <a:gd name="T80" fmla="*/ 2147483647 w 222"/>
                  <a:gd name="T81" fmla="*/ 2147483647 h 210"/>
                  <a:gd name="T82" fmla="*/ 2147483647 w 222"/>
                  <a:gd name="T83" fmla="*/ 2147483647 h 210"/>
                  <a:gd name="T84" fmla="*/ 2147483647 w 222"/>
                  <a:gd name="T85" fmla="*/ 2147483647 h 210"/>
                  <a:gd name="T86" fmla="*/ 2147483647 w 222"/>
                  <a:gd name="T87" fmla="*/ 2147483647 h 210"/>
                  <a:gd name="T88" fmla="*/ 2147483647 w 222"/>
                  <a:gd name="T89" fmla="*/ 2147483647 h 210"/>
                  <a:gd name="T90" fmla="*/ 2147483647 w 222"/>
                  <a:gd name="T91" fmla="*/ 2147483647 h 210"/>
                  <a:gd name="T92" fmla="*/ 2147483647 w 222"/>
                  <a:gd name="T93" fmla="*/ 2147483647 h 210"/>
                  <a:gd name="T94" fmla="*/ 2147483647 w 222"/>
                  <a:gd name="T95" fmla="*/ 2147483647 h 210"/>
                  <a:gd name="T96" fmla="*/ 2147483647 w 222"/>
                  <a:gd name="T97" fmla="*/ 2147483647 h 210"/>
                  <a:gd name="T98" fmla="*/ 2147483647 w 222"/>
                  <a:gd name="T99" fmla="*/ 2147483647 h 210"/>
                  <a:gd name="T100" fmla="*/ 2147483647 w 222"/>
                  <a:gd name="T101" fmla="*/ 2147483647 h 210"/>
                  <a:gd name="T102" fmla="*/ 2147483647 w 222"/>
                  <a:gd name="T103" fmla="*/ 2147483647 h 210"/>
                  <a:gd name="T104" fmla="*/ 2147483647 w 222"/>
                  <a:gd name="T105" fmla="*/ 2147483647 h 210"/>
                  <a:gd name="T106" fmla="*/ 2147483647 w 222"/>
                  <a:gd name="T107" fmla="*/ 2147483647 h 21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22"/>
                  <a:gd name="T163" fmla="*/ 0 h 210"/>
                  <a:gd name="T164" fmla="*/ 222 w 222"/>
                  <a:gd name="T165" fmla="*/ 210 h 21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22" h="210">
                    <a:moveTo>
                      <a:pt x="222" y="168"/>
                    </a:moveTo>
                    <a:lnTo>
                      <a:pt x="216" y="156"/>
                    </a:lnTo>
                    <a:lnTo>
                      <a:pt x="216" y="144"/>
                    </a:lnTo>
                    <a:lnTo>
                      <a:pt x="186" y="138"/>
                    </a:lnTo>
                    <a:lnTo>
                      <a:pt x="174" y="120"/>
                    </a:lnTo>
                    <a:lnTo>
                      <a:pt x="144" y="108"/>
                    </a:lnTo>
                    <a:lnTo>
                      <a:pt x="156" y="108"/>
                    </a:lnTo>
                    <a:lnTo>
                      <a:pt x="174" y="90"/>
                    </a:lnTo>
                    <a:lnTo>
                      <a:pt x="174" y="84"/>
                    </a:lnTo>
                    <a:lnTo>
                      <a:pt x="168" y="78"/>
                    </a:lnTo>
                    <a:lnTo>
                      <a:pt x="144" y="66"/>
                    </a:lnTo>
                    <a:lnTo>
                      <a:pt x="138" y="60"/>
                    </a:lnTo>
                    <a:lnTo>
                      <a:pt x="132" y="60"/>
                    </a:lnTo>
                    <a:lnTo>
                      <a:pt x="138" y="54"/>
                    </a:lnTo>
                    <a:lnTo>
                      <a:pt x="138" y="30"/>
                    </a:lnTo>
                    <a:lnTo>
                      <a:pt x="132" y="24"/>
                    </a:lnTo>
                    <a:lnTo>
                      <a:pt x="114" y="24"/>
                    </a:lnTo>
                    <a:lnTo>
                      <a:pt x="114" y="12"/>
                    </a:lnTo>
                    <a:lnTo>
                      <a:pt x="102" y="6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84" y="18"/>
                    </a:lnTo>
                    <a:lnTo>
                      <a:pt x="30" y="12"/>
                    </a:lnTo>
                    <a:lnTo>
                      <a:pt x="24" y="18"/>
                    </a:lnTo>
                    <a:lnTo>
                      <a:pt x="0" y="24"/>
                    </a:lnTo>
                    <a:lnTo>
                      <a:pt x="6" y="30"/>
                    </a:lnTo>
                    <a:lnTo>
                      <a:pt x="6" y="42"/>
                    </a:lnTo>
                    <a:lnTo>
                      <a:pt x="18" y="78"/>
                    </a:lnTo>
                    <a:lnTo>
                      <a:pt x="18" y="90"/>
                    </a:lnTo>
                    <a:lnTo>
                      <a:pt x="24" y="102"/>
                    </a:lnTo>
                    <a:lnTo>
                      <a:pt x="30" y="108"/>
                    </a:lnTo>
                    <a:lnTo>
                      <a:pt x="42" y="114"/>
                    </a:lnTo>
                    <a:lnTo>
                      <a:pt x="54" y="114"/>
                    </a:lnTo>
                    <a:lnTo>
                      <a:pt x="66" y="108"/>
                    </a:lnTo>
                    <a:lnTo>
                      <a:pt x="72" y="108"/>
                    </a:lnTo>
                    <a:lnTo>
                      <a:pt x="72" y="114"/>
                    </a:lnTo>
                    <a:lnTo>
                      <a:pt x="78" y="120"/>
                    </a:lnTo>
                    <a:lnTo>
                      <a:pt x="78" y="132"/>
                    </a:lnTo>
                    <a:lnTo>
                      <a:pt x="84" y="144"/>
                    </a:lnTo>
                    <a:lnTo>
                      <a:pt x="84" y="150"/>
                    </a:lnTo>
                    <a:lnTo>
                      <a:pt x="90" y="156"/>
                    </a:lnTo>
                    <a:lnTo>
                      <a:pt x="108" y="132"/>
                    </a:lnTo>
                    <a:lnTo>
                      <a:pt x="126" y="132"/>
                    </a:lnTo>
                    <a:lnTo>
                      <a:pt x="138" y="144"/>
                    </a:lnTo>
                    <a:lnTo>
                      <a:pt x="174" y="144"/>
                    </a:lnTo>
                    <a:lnTo>
                      <a:pt x="174" y="156"/>
                    </a:lnTo>
                    <a:lnTo>
                      <a:pt x="180" y="162"/>
                    </a:lnTo>
                    <a:lnTo>
                      <a:pt x="180" y="174"/>
                    </a:lnTo>
                    <a:lnTo>
                      <a:pt x="186" y="186"/>
                    </a:lnTo>
                    <a:lnTo>
                      <a:pt x="186" y="198"/>
                    </a:lnTo>
                    <a:lnTo>
                      <a:pt x="192" y="204"/>
                    </a:lnTo>
                    <a:lnTo>
                      <a:pt x="192" y="210"/>
                    </a:lnTo>
                    <a:lnTo>
                      <a:pt x="222" y="210"/>
                    </a:lnTo>
                    <a:lnTo>
                      <a:pt x="222" y="168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63" name="Angola"/>
              <p:cNvSpPr>
                <a:spLocks noEditPoints="1"/>
              </p:cNvSpPr>
              <p:nvPr/>
            </p:nvSpPr>
            <p:spPr bwMode="gray">
              <a:xfrm>
                <a:off x="4548193" y="4216403"/>
                <a:ext cx="357188" cy="444500"/>
              </a:xfrm>
              <a:custGeom>
                <a:avLst/>
                <a:gdLst>
                  <a:gd name="T0" fmla="*/ 2147483647 w 888"/>
                  <a:gd name="T1" fmla="*/ 2147483647 h 1104"/>
                  <a:gd name="T2" fmla="*/ 2147483647 w 888"/>
                  <a:gd name="T3" fmla="*/ 2147483647 h 1104"/>
                  <a:gd name="T4" fmla="*/ 2147483647 w 888"/>
                  <a:gd name="T5" fmla="*/ 2147483647 h 1104"/>
                  <a:gd name="T6" fmla="*/ 2147483647 w 888"/>
                  <a:gd name="T7" fmla="*/ 0 h 1104"/>
                  <a:gd name="T8" fmla="*/ 2147483647 w 888"/>
                  <a:gd name="T9" fmla="*/ 2147483647 h 1104"/>
                  <a:gd name="T10" fmla="*/ 2147483647 w 888"/>
                  <a:gd name="T11" fmla="*/ 2147483647 h 1104"/>
                  <a:gd name="T12" fmla="*/ 2147483647 w 888"/>
                  <a:gd name="T13" fmla="*/ 2147483647 h 1104"/>
                  <a:gd name="T14" fmla="*/ 2147483647 w 888"/>
                  <a:gd name="T15" fmla="*/ 2147483647 h 1104"/>
                  <a:gd name="T16" fmla="*/ 2147483647 w 888"/>
                  <a:gd name="T17" fmla="*/ 2147483647 h 1104"/>
                  <a:gd name="T18" fmla="*/ 2147483647 w 888"/>
                  <a:gd name="T19" fmla="*/ 2147483647 h 1104"/>
                  <a:gd name="T20" fmla="*/ 2147483647 w 888"/>
                  <a:gd name="T21" fmla="*/ 2147483647 h 1104"/>
                  <a:gd name="T22" fmla="*/ 2147483647 w 888"/>
                  <a:gd name="T23" fmla="*/ 2147483647 h 1104"/>
                  <a:gd name="T24" fmla="*/ 2147483647 w 888"/>
                  <a:gd name="T25" fmla="*/ 2147483647 h 1104"/>
                  <a:gd name="T26" fmla="*/ 2147483647 w 888"/>
                  <a:gd name="T27" fmla="*/ 2147483647 h 1104"/>
                  <a:gd name="T28" fmla="*/ 2147483647 w 888"/>
                  <a:gd name="T29" fmla="*/ 2147483647 h 1104"/>
                  <a:gd name="T30" fmla="*/ 2147483647 w 888"/>
                  <a:gd name="T31" fmla="*/ 2147483647 h 1104"/>
                  <a:gd name="T32" fmla="*/ 2147483647 w 888"/>
                  <a:gd name="T33" fmla="*/ 2147483647 h 1104"/>
                  <a:gd name="T34" fmla="*/ 2147483647 w 888"/>
                  <a:gd name="T35" fmla="*/ 2147483647 h 1104"/>
                  <a:gd name="T36" fmla="*/ 2147483647 w 888"/>
                  <a:gd name="T37" fmla="*/ 2147483647 h 1104"/>
                  <a:gd name="T38" fmla="*/ 2147483647 w 888"/>
                  <a:gd name="T39" fmla="*/ 2147483647 h 1104"/>
                  <a:gd name="T40" fmla="*/ 2147483647 w 888"/>
                  <a:gd name="T41" fmla="*/ 2147483647 h 1104"/>
                  <a:gd name="T42" fmla="*/ 2147483647 w 888"/>
                  <a:gd name="T43" fmla="*/ 2147483647 h 1104"/>
                  <a:gd name="T44" fmla="*/ 2147483647 w 888"/>
                  <a:gd name="T45" fmla="*/ 2147483647 h 1104"/>
                  <a:gd name="T46" fmla="*/ 2147483647 w 888"/>
                  <a:gd name="T47" fmla="*/ 2147483647 h 1104"/>
                  <a:gd name="T48" fmla="*/ 2147483647 w 888"/>
                  <a:gd name="T49" fmla="*/ 2147483647 h 1104"/>
                  <a:gd name="T50" fmla="*/ 2147483647 w 888"/>
                  <a:gd name="T51" fmla="*/ 2147483647 h 1104"/>
                  <a:gd name="T52" fmla="*/ 2147483647 w 888"/>
                  <a:gd name="T53" fmla="*/ 2147483647 h 1104"/>
                  <a:gd name="T54" fmla="*/ 2147483647 w 888"/>
                  <a:gd name="T55" fmla="*/ 2147483647 h 1104"/>
                  <a:gd name="T56" fmla="*/ 2147483647 w 888"/>
                  <a:gd name="T57" fmla="*/ 2147483647 h 1104"/>
                  <a:gd name="T58" fmla="*/ 2147483647 w 888"/>
                  <a:gd name="T59" fmla="*/ 2147483647 h 1104"/>
                  <a:gd name="T60" fmla="*/ 2147483647 w 888"/>
                  <a:gd name="T61" fmla="*/ 2147483647 h 1104"/>
                  <a:gd name="T62" fmla="*/ 2147483647 w 888"/>
                  <a:gd name="T63" fmla="*/ 2147483647 h 1104"/>
                  <a:gd name="T64" fmla="*/ 2147483647 w 888"/>
                  <a:gd name="T65" fmla="*/ 2147483647 h 1104"/>
                  <a:gd name="T66" fmla="*/ 2147483647 w 888"/>
                  <a:gd name="T67" fmla="*/ 2147483647 h 1104"/>
                  <a:gd name="T68" fmla="*/ 2147483647 w 888"/>
                  <a:gd name="T69" fmla="*/ 2147483647 h 1104"/>
                  <a:gd name="T70" fmla="*/ 2147483647 w 888"/>
                  <a:gd name="T71" fmla="*/ 2147483647 h 1104"/>
                  <a:gd name="T72" fmla="*/ 2147483647 w 888"/>
                  <a:gd name="T73" fmla="*/ 2147483647 h 1104"/>
                  <a:gd name="T74" fmla="*/ 0 w 888"/>
                  <a:gd name="T75" fmla="*/ 2147483647 h 1104"/>
                  <a:gd name="T76" fmla="*/ 2147483647 w 888"/>
                  <a:gd name="T77" fmla="*/ 2147483647 h 1104"/>
                  <a:gd name="T78" fmla="*/ 2147483647 w 888"/>
                  <a:gd name="T79" fmla="*/ 2147483647 h 1104"/>
                  <a:gd name="T80" fmla="*/ 2147483647 w 888"/>
                  <a:gd name="T81" fmla="*/ 2147483647 h 1104"/>
                  <a:gd name="T82" fmla="*/ 2147483647 w 888"/>
                  <a:gd name="T83" fmla="*/ 2147483647 h 1104"/>
                  <a:gd name="T84" fmla="*/ 2147483647 w 888"/>
                  <a:gd name="T85" fmla="*/ 2147483647 h 1104"/>
                  <a:gd name="T86" fmla="*/ 2147483647 w 888"/>
                  <a:gd name="T87" fmla="*/ 2147483647 h 1104"/>
                  <a:gd name="T88" fmla="*/ 2147483647 w 888"/>
                  <a:gd name="T89" fmla="*/ 2147483647 h 1104"/>
                  <a:gd name="T90" fmla="*/ 2147483647 w 888"/>
                  <a:gd name="T91" fmla="*/ 2147483647 h 1104"/>
                  <a:gd name="T92" fmla="*/ 2147483647 w 888"/>
                  <a:gd name="T93" fmla="*/ 2147483647 h 1104"/>
                  <a:gd name="T94" fmla="*/ 2147483647 w 888"/>
                  <a:gd name="T95" fmla="*/ 2147483647 h 110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888"/>
                  <a:gd name="T145" fmla="*/ 0 h 1104"/>
                  <a:gd name="T146" fmla="*/ 888 w 888"/>
                  <a:gd name="T147" fmla="*/ 1104 h 110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888" h="1104">
                    <a:moveTo>
                      <a:pt x="42" y="114"/>
                    </a:moveTo>
                    <a:lnTo>
                      <a:pt x="42" y="120"/>
                    </a:lnTo>
                    <a:lnTo>
                      <a:pt x="48" y="120"/>
                    </a:lnTo>
                    <a:lnTo>
                      <a:pt x="54" y="114"/>
                    </a:lnTo>
                    <a:lnTo>
                      <a:pt x="66" y="108"/>
                    </a:lnTo>
                    <a:lnTo>
                      <a:pt x="72" y="102"/>
                    </a:lnTo>
                    <a:lnTo>
                      <a:pt x="72" y="96"/>
                    </a:lnTo>
                    <a:lnTo>
                      <a:pt x="66" y="84"/>
                    </a:lnTo>
                    <a:lnTo>
                      <a:pt x="66" y="78"/>
                    </a:lnTo>
                    <a:lnTo>
                      <a:pt x="60" y="66"/>
                    </a:lnTo>
                    <a:lnTo>
                      <a:pt x="96" y="36"/>
                    </a:lnTo>
                    <a:lnTo>
                      <a:pt x="102" y="24"/>
                    </a:lnTo>
                    <a:lnTo>
                      <a:pt x="102" y="18"/>
                    </a:lnTo>
                    <a:lnTo>
                      <a:pt x="96" y="12"/>
                    </a:lnTo>
                    <a:lnTo>
                      <a:pt x="96" y="6"/>
                    </a:lnTo>
                    <a:lnTo>
                      <a:pt x="90" y="0"/>
                    </a:lnTo>
                    <a:lnTo>
                      <a:pt x="84" y="6"/>
                    </a:lnTo>
                    <a:lnTo>
                      <a:pt x="72" y="12"/>
                    </a:lnTo>
                    <a:lnTo>
                      <a:pt x="66" y="18"/>
                    </a:lnTo>
                    <a:lnTo>
                      <a:pt x="54" y="24"/>
                    </a:lnTo>
                    <a:lnTo>
                      <a:pt x="54" y="42"/>
                    </a:lnTo>
                    <a:lnTo>
                      <a:pt x="36" y="42"/>
                    </a:lnTo>
                    <a:lnTo>
                      <a:pt x="36" y="60"/>
                    </a:lnTo>
                    <a:lnTo>
                      <a:pt x="42" y="114"/>
                    </a:lnTo>
                    <a:close/>
                    <a:moveTo>
                      <a:pt x="876" y="546"/>
                    </a:moveTo>
                    <a:lnTo>
                      <a:pt x="852" y="546"/>
                    </a:lnTo>
                    <a:lnTo>
                      <a:pt x="840" y="534"/>
                    </a:lnTo>
                    <a:lnTo>
                      <a:pt x="828" y="534"/>
                    </a:lnTo>
                    <a:lnTo>
                      <a:pt x="828" y="546"/>
                    </a:lnTo>
                    <a:lnTo>
                      <a:pt x="804" y="552"/>
                    </a:lnTo>
                    <a:lnTo>
                      <a:pt x="774" y="546"/>
                    </a:lnTo>
                    <a:lnTo>
                      <a:pt x="768" y="564"/>
                    </a:lnTo>
                    <a:lnTo>
                      <a:pt x="762" y="558"/>
                    </a:lnTo>
                    <a:lnTo>
                      <a:pt x="756" y="558"/>
                    </a:lnTo>
                    <a:lnTo>
                      <a:pt x="750" y="552"/>
                    </a:lnTo>
                    <a:lnTo>
                      <a:pt x="750" y="528"/>
                    </a:lnTo>
                    <a:lnTo>
                      <a:pt x="756" y="522"/>
                    </a:lnTo>
                    <a:lnTo>
                      <a:pt x="756" y="510"/>
                    </a:lnTo>
                    <a:lnTo>
                      <a:pt x="762" y="498"/>
                    </a:lnTo>
                    <a:lnTo>
                      <a:pt x="762" y="480"/>
                    </a:lnTo>
                    <a:lnTo>
                      <a:pt x="756" y="474"/>
                    </a:lnTo>
                    <a:lnTo>
                      <a:pt x="744" y="450"/>
                    </a:lnTo>
                    <a:lnTo>
                      <a:pt x="732" y="432"/>
                    </a:lnTo>
                    <a:lnTo>
                      <a:pt x="726" y="414"/>
                    </a:lnTo>
                    <a:lnTo>
                      <a:pt x="726" y="402"/>
                    </a:lnTo>
                    <a:lnTo>
                      <a:pt x="732" y="396"/>
                    </a:lnTo>
                    <a:lnTo>
                      <a:pt x="732" y="384"/>
                    </a:lnTo>
                    <a:lnTo>
                      <a:pt x="726" y="360"/>
                    </a:lnTo>
                    <a:lnTo>
                      <a:pt x="732" y="354"/>
                    </a:lnTo>
                    <a:lnTo>
                      <a:pt x="738" y="342"/>
                    </a:lnTo>
                    <a:lnTo>
                      <a:pt x="738" y="330"/>
                    </a:lnTo>
                    <a:lnTo>
                      <a:pt x="732" y="318"/>
                    </a:lnTo>
                    <a:lnTo>
                      <a:pt x="720" y="306"/>
                    </a:lnTo>
                    <a:lnTo>
                      <a:pt x="714" y="288"/>
                    </a:lnTo>
                    <a:lnTo>
                      <a:pt x="726" y="270"/>
                    </a:lnTo>
                    <a:lnTo>
                      <a:pt x="726" y="246"/>
                    </a:lnTo>
                    <a:lnTo>
                      <a:pt x="636" y="246"/>
                    </a:lnTo>
                    <a:lnTo>
                      <a:pt x="636" y="222"/>
                    </a:lnTo>
                    <a:lnTo>
                      <a:pt x="624" y="216"/>
                    </a:lnTo>
                    <a:lnTo>
                      <a:pt x="612" y="216"/>
                    </a:lnTo>
                    <a:lnTo>
                      <a:pt x="612" y="222"/>
                    </a:lnTo>
                    <a:lnTo>
                      <a:pt x="564" y="222"/>
                    </a:lnTo>
                    <a:lnTo>
                      <a:pt x="558" y="228"/>
                    </a:lnTo>
                    <a:lnTo>
                      <a:pt x="558" y="234"/>
                    </a:lnTo>
                    <a:lnTo>
                      <a:pt x="564" y="240"/>
                    </a:lnTo>
                    <a:lnTo>
                      <a:pt x="570" y="252"/>
                    </a:lnTo>
                    <a:lnTo>
                      <a:pt x="570" y="264"/>
                    </a:lnTo>
                    <a:lnTo>
                      <a:pt x="558" y="264"/>
                    </a:lnTo>
                    <a:lnTo>
                      <a:pt x="558" y="270"/>
                    </a:lnTo>
                    <a:lnTo>
                      <a:pt x="552" y="276"/>
                    </a:lnTo>
                    <a:lnTo>
                      <a:pt x="552" y="294"/>
                    </a:lnTo>
                    <a:lnTo>
                      <a:pt x="510" y="300"/>
                    </a:lnTo>
                    <a:lnTo>
                      <a:pt x="504" y="294"/>
                    </a:lnTo>
                    <a:lnTo>
                      <a:pt x="492" y="300"/>
                    </a:lnTo>
                    <a:lnTo>
                      <a:pt x="468" y="300"/>
                    </a:lnTo>
                    <a:lnTo>
                      <a:pt x="462" y="312"/>
                    </a:lnTo>
                    <a:lnTo>
                      <a:pt x="450" y="306"/>
                    </a:lnTo>
                    <a:lnTo>
                      <a:pt x="420" y="306"/>
                    </a:lnTo>
                    <a:lnTo>
                      <a:pt x="408" y="282"/>
                    </a:lnTo>
                    <a:lnTo>
                      <a:pt x="402" y="276"/>
                    </a:lnTo>
                    <a:lnTo>
                      <a:pt x="402" y="264"/>
                    </a:lnTo>
                    <a:lnTo>
                      <a:pt x="390" y="252"/>
                    </a:lnTo>
                    <a:lnTo>
                      <a:pt x="384" y="252"/>
                    </a:lnTo>
                    <a:lnTo>
                      <a:pt x="378" y="246"/>
                    </a:lnTo>
                    <a:lnTo>
                      <a:pt x="378" y="240"/>
                    </a:lnTo>
                    <a:lnTo>
                      <a:pt x="384" y="234"/>
                    </a:lnTo>
                    <a:lnTo>
                      <a:pt x="384" y="210"/>
                    </a:lnTo>
                    <a:lnTo>
                      <a:pt x="366" y="192"/>
                    </a:lnTo>
                    <a:lnTo>
                      <a:pt x="366" y="150"/>
                    </a:lnTo>
                    <a:lnTo>
                      <a:pt x="354" y="138"/>
                    </a:lnTo>
                    <a:lnTo>
                      <a:pt x="348" y="126"/>
                    </a:lnTo>
                    <a:lnTo>
                      <a:pt x="342" y="120"/>
                    </a:lnTo>
                    <a:lnTo>
                      <a:pt x="324" y="120"/>
                    </a:lnTo>
                    <a:lnTo>
                      <a:pt x="318" y="126"/>
                    </a:lnTo>
                    <a:lnTo>
                      <a:pt x="294" y="126"/>
                    </a:lnTo>
                    <a:lnTo>
                      <a:pt x="276" y="132"/>
                    </a:lnTo>
                    <a:lnTo>
                      <a:pt x="246" y="132"/>
                    </a:lnTo>
                    <a:lnTo>
                      <a:pt x="234" y="126"/>
                    </a:lnTo>
                    <a:lnTo>
                      <a:pt x="222" y="126"/>
                    </a:lnTo>
                    <a:lnTo>
                      <a:pt x="210" y="132"/>
                    </a:lnTo>
                    <a:lnTo>
                      <a:pt x="180" y="132"/>
                    </a:lnTo>
                    <a:lnTo>
                      <a:pt x="168" y="126"/>
                    </a:lnTo>
                    <a:lnTo>
                      <a:pt x="144" y="132"/>
                    </a:lnTo>
                    <a:lnTo>
                      <a:pt x="132" y="126"/>
                    </a:lnTo>
                    <a:lnTo>
                      <a:pt x="126" y="132"/>
                    </a:lnTo>
                    <a:lnTo>
                      <a:pt x="102" y="126"/>
                    </a:lnTo>
                    <a:lnTo>
                      <a:pt x="54" y="150"/>
                    </a:lnTo>
                    <a:lnTo>
                      <a:pt x="48" y="156"/>
                    </a:lnTo>
                    <a:lnTo>
                      <a:pt x="54" y="168"/>
                    </a:lnTo>
                    <a:lnTo>
                      <a:pt x="60" y="174"/>
                    </a:lnTo>
                    <a:lnTo>
                      <a:pt x="66" y="186"/>
                    </a:lnTo>
                    <a:lnTo>
                      <a:pt x="90" y="210"/>
                    </a:lnTo>
                    <a:lnTo>
                      <a:pt x="84" y="234"/>
                    </a:lnTo>
                    <a:lnTo>
                      <a:pt x="90" y="246"/>
                    </a:lnTo>
                    <a:lnTo>
                      <a:pt x="108" y="270"/>
                    </a:lnTo>
                    <a:lnTo>
                      <a:pt x="120" y="300"/>
                    </a:lnTo>
                    <a:lnTo>
                      <a:pt x="126" y="330"/>
                    </a:lnTo>
                    <a:lnTo>
                      <a:pt x="120" y="354"/>
                    </a:lnTo>
                    <a:lnTo>
                      <a:pt x="108" y="378"/>
                    </a:lnTo>
                    <a:lnTo>
                      <a:pt x="102" y="384"/>
                    </a:lnTo>
                    <a:lnTo>
                      <a:pt x="102" y="408"/>
                    </a:lnTo>
                    <a:lnTo>
                      <a:pt x="114" y="408"/>
                    </a:lnTo>
                    <a:lnTo>
                      <a:pt x="114" y="438"/>
                    </a:lnTo>
                    <a:lnTo>
                      <a:pt x="126" y="474"/>
                    </a:lnTo>
                    <a:lnTo>
                      <a:pt x="150" y="510"/>
                    </a:lnTo>
                    <a:lnTo>
                      <a:pt x="162" y="552"/>
                    </a:lnTo>
                    <a:lnTo>
                      <a:pt x="162" y="582"/>
                    </a:lnTo>
                    <a:lnTo>
                      <a:pt x="156" y="594"/>
                    </a:lnTo>
                    <a:lnTo>
                      <a:pt x="150" y="612"/>
                    </a:lnTo>
                    <a:lnTo>
                      <a:pt x="144" y="618"/>
                    </a:lnTo>
                    <a:lnTo>
                      <a:pt x="138" y="630"/>
                    </a:lnTo>
                    <a:lnTo>
                      <a:pt x="144" y="642"/>
                    </a:lnTo>
                    <a:lnTo>
                      <a:pt x="144" y="660"/>
                    </a:lnTo>
                    <a:lnTo>
                      <a:pt x="138" y="666"/>
                    </a:lnTo>
                    <a:lnTo>
                      <a:pt x="126" y="672"/>
                    </a:lnTo>
                    <a:lnTo>
                      <a:pt x="108" y="672"/>
                    </a:lnTo>
                    <a:lnTo>
                      <a:pt x="96" y="690"/>
                    </a:lnTo>
                    <a:lnTo>
                      <a:pt x="102" y="714"/>
                    </a:lnTo>
                    <a:lnTo>
                      <a:pt x="78" y="714"/>
                    </a:lnTo>
                    <a:lnTo>
                      <a:pt x="66" y="720"/>
                    </a:lnTo>
                    <a:lnTo>
                      <a:pt x="66" y="750"/>
                    </a:lnTo>
                    <a:lnTo>
                      <a:pt x="60" y="762"/>
                    </a:lnTo>
                    <a:lnTo>
                      <a:pt x="60" y="774"/>
                    </a:lnTo>
                    <a:lnTo>
                      <a:pt x="48" y="786"/>
                    </a:lnTo>
                    <a:lnTo>
                      <a:pt x="48" y="858"/>
                    </a:lnTo>
                    <a:lnTo>
                      <a:pt x="36" y="864"/>
                    </a:lnTo>
                    <a:lnTo>
                      <a:pt x="30" y="870"/>
                    </a:lnTo>
                    <a:lnTo>
                      <a:pt x="30" y="912"/>
                    </a:lnTo>
                    <a:lnTo>
                      <a:pt x="6" y="930"/>
                    </a:lnTo>
                    <a:lnTo>
                      <a:pt x="6" y="966"/>
                    </a:lnTo>
                    <a:lnTo>
                      <a:pt x="18" y="984"/>
                    </a:lnTo>
                    <a:lnTo>
                      <a:pt x="0" y="1002"/>
                    </a:lnTo>
                    <a:lnTo>
                      <a:pt x="0" y="1044"/>
                    </a:lnTo>
                    <a:lnTo>
                      <a:pt x="18" y="1044"/>
                    </a:lnTo>
                    <a:lnTo>
                      <a:pt x="36" y="1038"/>
                    </a:lnTo>
                    <a:lnTo>
                      <a:pt x="42" y="1044"/>
                    </a:lnTo>
                    <a:lnTo>
                      <a:pt x="72" y="1044"/>
                    </a:lnTo>
                    <a:lnTo>
                      <a:pt x="90" y="1026"/>
                    </a:lnTo>
                    <a:lnTo>
                      <a:pt x="90" y="1020"/>
                    </a:lnTo>
                    <a:lnTo>
                      <a:pt x="120" y="1020"/>
                    </a:lnTo>
                    <a:lnTo>
                      <a:pt x="126" y="1026"/>
                    </a:lnTo>
                    <a:lnTo>
                      <a:pt x="132" y="1038"/>
                    </a:lnTo>
                    <a:lnTo>
                      <a:pt x="156" y="1050"/>
                    </a:lnTo>
                    <a:lnTo>
                      <a:pt x="168" y="1050"/>
                    </a:lnTo>
                    <a:lnTo>
                      <a:pt x="174" y="1056"/>
                    </a:lnTo>
                    <a:lnTo>
                      <a:pt x="480" y="1056"/>
                    </a:lnTo>
                    <a:lnTo>
                      <a:pt x="480" y="1062"/>
                    </a:lnTo>
                    <a:lnTo>
                      <a:pt x="504" y="1086"/>
                    </a:lnTo>
                    <a:lnTo>
                      <a:pt x="540" y="1086"/>
                    </a:lnTo>
                    <a:lnTo>
                      <a:pt x="546" y="1098"/>
                    </a:lnTo>
                    <a:lnTo>
                      <a:pt x="618" y="1092"/>
                    </a:lnTo>
                    <a:lnTo>
                      <a:pt x="624" y="1104"/>
                    </a:lnTo>
                    <a:lnTo>
                      <a:pt x="696" y="1104"/>
                    </a:lnTo>
                    <a:lnTo>
                      <a:pt x="732" y="1098"/>
                    </a:lnTo>
                    <a:lnTo>
                      <a:pt x="780" y="1092"/>
                    </a:lnTo>
                    <a:lnTo>
                      <a:pt x="816" y="1080"/>
                    </a:lnTo>
                    <a:lnTo>
                      <a:pt x="828" y="1074"/>
                    </a:lnTo>
                    <a:lnTo>
                      <a:pt x="738" y="984"/>
                    </a:lnTo>
                    <a:lnTo>
                      <a:pt x="738" y="966"/>
                    </a:lnTo>
                    <a:lnTo>
                      <a:pt x="732" y="954"/>
                    </a:lnTo>
                    <a:lnTo>
                      <a:pt x="732" y="702"/>
                    </a:lnTo>
                    <a:lnTo>
                      <a:pt x="858" y="708"/>
                    </a:lnTo>
                    <a:lnTo>
                      <a:pt x="864" y="708"/>
                    </a:lnTo>
                    <a:lnTo>
                      <a:pt x="876" y="696"/>
                    </a:lnTo>
                    <a:lnTo>
                      <a:pt x="876" y="672"/>
                    </a:lnTo>
                    <a:lnTo>
                      <a:pt x="870" y="666"/>
                    </a:lnTo>
                    <a:lnTo>
                      <a:pt x="870" y="660"/>
                    </a:lnTo>
                    <a:lnTo>
                      <a:pt x="888" y="654"/>
                    </a:lnTo>
                    <a:lnTo>
                      <a:pt x="876" y="642"/>
                    </a:lnTo>
                    <a:lnTo>
                      <a:pt x="876" y="588"/>
                    </a:lnTo>
                    <a:lnTo>
                      <a:pt x="882" y="588"/>
                    </a:lnTo>
                    <a:lnTo>
                      <a:pt x="888" y="582"/>
                    </a:lnTo>
                    <a:lnTo>
                      <a:pt x="888" y="564"/>
                    </a:lnTo>
                    <a:lnTo>
                      <a:pt x="876" y="552"/>
                    </a:lnTo>
                    <a:lnTo>
                      <a:pt x="876" y="546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64" name="Algeria"/>
              <p:cNvSpPr>
                <a:spLocks/>
              </p:cNvSpPr>
              <p:nvPr/>
            </p:nvSpPr>
            <p:spPr bwMode="gray">
              <a:xfrm>
                <a:off x="3962405" y="2871791"/>
                <a:ext cx="595314" cy="588963"/>
              </a:xfrm>
              <a:custGeom>
                <a:avLst/>
                <a:gdLst>
                  <a:gd name="T0" fmla="*/ 2147483647 w 1476"/>
                  <a:gd name="T1" fmla="*/ 2147483647 h 1464"/>
                  <a:gd name="T2" fmla="*/ 2147483647 w 1476"/>
                  <a:gd name="T3" fmla="*/ 2147483647 h 1464"/>
                  <a:gd name="T4" fmla="*/ 2147483647 w 1476"/>
                  <a:gd name="T5" fmla="*/ 2147483647 h 1464"/>
                  <a:gd name="T6" fmla="*/ 2147483647 w 1476"/>
                  <a:gd name="T7" fmla="*/ 2147483647 h 1464"/>
                  <a:gd name="T8" fmla="*/ 2147483647 w 1476"/>
                  <a:gd name="T9" fmla="*/ 2147483647 h 1464"/>
                  <a:gd name="T10" fmla="*/ 2147483647 w 1476"/>
                  <a:gd name="T11" fmla="*/ 2147483647 h 1464"/>
                  <a:gd name="T12" fmla="*/ 2147483647 w 1476"/>
                  <a:gd name="T13" fmla="*/ 2147483647 h 1464"/>
                  <a:gd name="T14" fmla="*/ 2147483647 w 1476"/>
                  <a:gd name="T15" fmla="*/ 2147483647 h 1464"/>
                  <a:gd name="T16" fmla="*/ 2147483647 w 1476"/>
                  <a:gd name="T17" fmla="*/ 2147483647 h 1464"/>
                  <a:gd name="T18" fmla="*/ 2147483647 w 1476"/>
                  <a:gd name="T19" fmla="*/ 2147483647 h 1464"/>
                  <a:gd name="T20" fmla="*/ 2147483647 w 1476"/>
                  <a:gd name="T21" fmla="*/ 2147483647 h 1464"/>
                  <a:gd name="T22" fmla="*/ 2147483647 w 1476"/>
                  <a:gd name="T23" fmla="*/ 2147483647 h 1464"/>
                  <a:gd name="T24" fmla="*/ 2147483647 w 1476"/>
                  <a:gd name="T25" fmla="*/ 2147483647 h 1464"/>
                  <a:gd name="T26" fmla="*/ 2147483647 w 1476"/>
                  <a:gd name="T27" fmla="*/ 2147483647 h 1464"/>
                  <a:gd name="T28" fmla="*/ 2147483647 w 1476"/>
                  <a:gd name="T29" fmla="*/ 2147483647 h 1464"/>
                  <a:gd name="T30" fmla="*/ 2147483647 w 1476"/>
                  <a:gd name="T31" fmla="*/ 2147483647 h 1464"/>
                  <a:gd name="T32" fmla="*/ 2147483647 w 1476"/>
                  <a:gd name="T33" fmla="*/ 2147483647 h 1464"/>
                  <a:gd name="T34" fmla="*/ 2147483647 w 1476"/>
                  <a:gd name="T35" fmla="*/ 2147483647 h 1464"/>
                  <a:gd name="T36" fmla="*/ 2147483647 w 1476"/>
                  <a:gd name="T37" fmla="*/ 2147483647 h 1464"/>
                  <a:gd name="T38" fmla="*/ 2147483647 w 1476"/>
                  <a:gd name="T39" fmla="*/ 2147483647 h 1464"/>
                  <a:gd name="T40" fmla="*/ 2147483647 w 1476"/>
                  <a:gd name="T41" fmla="*/ 2147483647 h 1464"/>
                  <a:gd name="T42" fmla="*/ 2147483647 w 1476"/>
                  <a:gd name="T43" fmla="*/ 2147483647 h 1464"/>
                  <a:gd name="T44" fmla="*/ 2147483647 w 1476"/>
                  <a:gd name="T45" fmla="*/ 2147483647 h 1464"/>
                  <a:gd name="T46" fmla="*/ 2147483647 w 1476"/>
                  <a:gd name="T47" fmla="*/ 2147483647 h 1464"/>
                  <a:gd name="T48" fmla="*/ 2147483647 w 1476"/>
                  <a:gd name="T49" fmla="*/ 2147483647 h 1464"/>
                  <a:gd name="T50" fmla="*/ 2147483647 w 1476"/>
                  <a:gd name="T51" fmla="*/ 2147483647 h 1464"/>
                  <a:gd name="T52" fmla="*/ 2147483647 w 1476"/>
                  <a:gd name="T53" fmla="*/ 2147483647 h 1464"/>
                  <a:gd name="T54" fmla="*/ 2147483647 w 1476"/>
                  <a:gd name="T55" fmla="*/ 2147483647 h 1464"/>
                  <a:gd name="T56" fmla="*/ 2147483647 w 1476"/>
                  <a:gd name="T57" fmla="*/ 2147483647 h 1464"/>
                  <a:gd name="T58" fmla="*/ 2147483647 w 1476"/>
                  <a:gd name="T59" fmla="*/ 2147483647 h 1464"/>
                  <a:gd name="T60" fmla="*/ 2147483647 w 1476"/>
                  <a:gd name="T61" fmla="*/ 2147483647 h 1464"/>
                  <a:gd name="T62" fmla="*/ 2147483647 w 1476"/>
                  <a:gd name="T63" fmla="*/ 2147483647 h 1464"/>
                  <a:gd name="T64" fmla="*/ 2147483647 w 1476"/>
                  <a:gd name="T65" fmla="*/ 2147483647 h 1464"/>
                  <a:gd name="T66" fmla="*/ 2147483647 w 1476"/>
                  <a:gd name="T67" fmla="*/ 2147483647 h 1464"/>
                  <a:gd name="T68" fmla="*/ 2147483647 w 1476"/>
                  <a:gd name="T69" fmla="*/ 2147483647 h 1464"/>
                  <a:gd name="T70" fmla="*/ 2147483647 w 1476"/>
                  <a:gd name="T71" fmla="*/ 2147483647 h 1464"/>
                  <a:gd name="T72" fmla="*/ 2147483647 w 1476"/>
                  <a:gd name="T73" fmla="*/ 2147483647 h 1464"/>
                  <a:gd name="T74" fmla="*/ 2147483647 w 1476"/>
                  <a:gd name="T75" fmla="*/ 2147483647 h 1464"/>
                  <a:gd name="T76" fmla="*/ 2147483647 w 1476"/>
                  <a:gd name="T77" fmla="*/ 2147483647 h 1464"/>
                  <a:gd name="T78" fmla="*/ 2147483647 w 1476"/>
                  <a:gd name="T79" fmla="*/ 2147483647 h 1464"/>
                  <a:gd name="T80" fmla="*/ 2147483647 w 1476"/>
                  <a:gd name="T81" fmla="*/ 2147483647 h 1464"/>
                  <a:gd name="T82" fmla="*/ 2147483647 w 1476"/>
                  <a:gd name="T83" fmla="*/ 2147483647 h 1464"/>
                  <a:gd name="T84" fmla="*/ 2147483647 w 1476"/>
                  <a:gd name="T85" fmla="*/ 2147483647 h 1464"/>
                  <a:gd name="T86" fmla="*/ 2147483647 w 1476"/>
                  <a:gd name="T87" fmla="*/ 2147483647 h 1464"/>
                  <a:gd name="T88" fmla="*/ 2147483647 w 1476"/>
                  <a:gd name="T89" fmla="*/ 2147483647 h 1464"/>
                  <a:gd name="T90" fmla="*/ 2147483647 w 1476"/>
                  <a:gd name="T91" fmla="*/ 2147483647 h 1464"/>
                  <a:gd name="T92" fmla="*/ 2147483647 w 1476"/>
                  <a:gd name="T93" fmla="*/ 2147483647 h 1464"/>
                  <a:gd name="T94" fmla="*/ 2147483647 w 1476"/>
                  <a:gd name="T95" fmla="*/ 2147483647 h 1464"/>
                  <a:gd name="T96" fmla="*/ 2147483647 w 1476"/>
                  <a:gd name="T97" fmla="*/ 2147483647 h 1464"/>
                  <a:gd name="T98" fmla="*/ 2147483647 w 1476"/>
                  <a:gd name="T99" fmla="*/ 2147483647 h 1464"/>
                  <a:gd name="T100" fmla="*/ 2147483647 w 1476"/>
                  <a:gd name="T101" fmla="*/ 2147483647 h 1464"/>
                  <a:gd name="T102" fmla="*/ 2147483647 w 1476"/>
                  <a:gd name="T103" fmla="*/ 2147483647 h 1464"/>
                  <a:gd name="T104" fmla="*/ 2147483647 w 1476"/>
                  <a:gd name="T105" fmla="*/ 2147483647 h 146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476"/>
                  <a:gd name="T160" fmla="*/ 0 h 1464"/>
                  <a:gd name="T161" fmla="*/ 1476 w 1476"/>
                  <a:gd name="T162" fmla="*/ 1464 h 146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476" h="1464">
                    <a:moveTo>
                      <a:pt x="360" y="534"/>
                    </a:moveTo>
                    <a:lnTo>
                      <a:pt x="318" y="534"/>
                    </a:lnTo>
                    <a:lnTo>
                      <a:pt x="312" y="546"/>
                    </a:lnTo>
                    <a:lnTo>
                      <a:pt x="306" y="552"/>
                    </a:lnTo>
                    <a:lnTo>
                      <a:pt x="294" y="576"/>
                    </a:lnTo>
                    <a:lnTo>
                      <a:pt x="282" y="588"/>
                    </a:lnTo>
                    <a:lnTo>
                      <a:pt x="258" y="588"/>
                    </a:lnTo>
                    <a:lnTo>
                      <a:pt x="246" y="582"/>
                    </a:lnTo>
                    <a:lnTo>
                      <a:pt x="234" y="582"/>
                    </a:lnTo>
                    <a:lnTo>
                      <a:pt x="228" y="594"/>
                    </a:lnTo>
                    <a:lnTo>
                      <a:pt x="204" y="600"/>
                    </a:lnTo>
                    <a:lnTo>
                      <a:pt x="204" y="606"/>
                    </a:lnTo>
                    <a:lnTo>
                      <a:pt x="198" y="618"/>
                    </a:lnTo>
                    <a:lnTo>
                      <a:pt x="186" y="618"/>
                    </a:lnTo>
                    <a:lnTo>
                      <a:pt x="180" y="612"/>
                    </a:lnTo>
                    <a:lnTo>
                      <a:pt x="168" y="606"/>
                    </a:lnTo>
                    <a:lnTo>
                      <a:pt x="138" y="624"/>
                    </a:lnTo>
                    <a:lnTo>
                      <a:pt x="120" y="624"/>
                    </a:lnTo>
                    <a:lnTo>
                      <a:pt x="120" y="630"/>
                    </a:lnTo>
                    <a:lnTo>
                      <a:pt x="90" y="660"/>
                    </a:lnTo>
                    <a:lnTo>
                      <a:pt x="78" y="666"/>
                    </a:lnTo>
                    <a:lnTo>
                      <a:pt x="72" y="672"/>
                    </a:lnTo>
                    <a:lnTo>
                      <a:pt x="60" y="678"/>
                    </a:lnTo>
                    <a:lnTo>
                      <a:pt x="54" y="708"/>
                    </a:lnTo>
                    <a:lnTo>
                      <a:pt x="54" y="768"/>
                    </a:lnTo>
                    <a:lnTo>
                      <a:pt x="0" y="768"/>
                    </a:lnTo>
                    <a:lnTo>
                      <a:pt x="54" y="768"/>
                    </a:lnTo>
                    <a:lnTo>
                      <a:pt x="54" y="804"/>
                    </a:lnTo>
                    <a:lnTo>
                      <a:pt x="312" y="984"/>
                    </a:lnTo>
                    <a:lnTo>
                      <a:pt x="720" y="1296"/>
                    </a:lnTo>
                    <a:lnTo>
                      <a:pt x="720" y="1320"/>
                    </a:lnTo>
                    <a:lnTo>
                      <a:pt x="744" y="1320"/>
                    </a:lnTo>
                    <a:lnTo>
                      <a:pt x="750" y="1326"/>
                    </a:lnTo>
                    <a:lnTo>
                      <a:pt x="750" y="1344"/>
                    </a:lnTo>
                    <a:lnTo>
                      <a:pt x="762" y="1356"/>
                    </a:lnTo>
                    <a:lnTo>
                      <a:pt x="798" y="1356"/>
                    </a:lnTo>
                    <a:lnTo>
                      <a:pt x="804" y="1386"/>
                    </a:lnTo>
                    <a:lnTo>
                      <a:pt x="810" y="1386"/>
                    </a:lnTo>
                    <a:lnTo>
                      <a:pt x="816" y="1380"/>
                    </a:lnTo>
                    <a:lnTo>
                      <a:pt x="846" y="1380"/>
                    </a:lnTo>
                    <a:lnTo>
                      <a:pt x="858" y="1386"/>
                    </a:lnTo>
                    <a:lnTo>
                      <a:pt x="870" y="1410"/>
                    </a:lnTo>
                    <a:lnTo>
                      <a:pt x="870" y="1428"/>
                    </a:lnTo>
                    <a:lnTo>
                      <a:pt x="852" y="1446"/>
                    </a:lnTo>
                    <a:lnTo>
                      <a:pt x="852" y="1452"/>
                    </a:lnTo>
                    <a:lnTo>
                      <a:pt x="858" y="1458"/>
                    </a:lnTo>
                    <a:lnTo>
                      <a:pt x="870" y="1464"/>
                    </a:lnTo>
                    <a:lnTo>
                      <a:pt x="900" y="1464"/>
                    </a:lnTo>
                    <a:lnTo>
                      <a:pt x="906" y="1458"/>
                    </a:lnTo>
                    <a:lnTo>
                      <a:pt x="924" y="1458"/>
                    </a:lnTo>
                    <a:lnTo>
                      <a:pt x="954" y="1452"/>
                    </a:lnTo>
                    <a:lnTo>
                      <a:pt x="984" y="1440"/>
                    </a:lnTo>
                    <a:lnTo>
                      <a:pt x="1020" y="1434"/>
                    </a:lnTo>
                    <a:lnTo>
                      <a:pt x="1038" y="1434"/>
                    </a:lnTo>
                    <a:lnTo>
                      <a:pt x="1062" y="1416"/>
                    </a:lnTo>
                    <a:lnTo>
                      <a:pt x="1098" y="1386"/>
                    </a:lnTo>
                    <a:lnTo>
                      <a:pt x="1128" y="1350"/>
                    </a:lnTo>
                    <a:lnTo>
                      <a:pt x="1158" y="1326"/>
                    </a:lnTo>
                    <a:lnTo>
                      <a:pt x="1182" y="1314"/>
                    </a:lnTo>
                    <a:lnTo>
                      <a:pt x="1224" y="1284"/>
                    </a:lnTo>
                    <a:lnTo>
                      <a:pt x="1272" y="1248"/>
                    </a:lnTo>
                    <a:lnTo>
                      <a:pt x="1332" y="1206"/>
                    </a:lnTo>
                    <a:lnTo>
                      <a:pt x="1386" y="1170"/>
                    </a:lnTo>
                    <a:lnTo>
                      <a:pt x="1434" y="1134"/>
                    </a:lnTo>
                    <a:lnTo>
                      <a:pt x="1464" y="1110"/>
                    </a:lnTo>
                    <a:lnTo>
                      <a:pt x="1476" y="1104"/>
                    </a:lnTo>
                    <a:lnTo>
                      <a:pt x="1476" y="1098"/>
                    </a:lnTo>
                    <a:lnTo>
                      <a:pt x="1470" y="1092"/>
                    </a:lnTo>
                    <a:lnTo>
                      <a:pt x="1464" y="1080"/>
                    </a:lnTo>
                    <a:lnTo>
                      <a:pt x="1458" y="1062"/>
                    </a:lnTo>
                    <a:lnTo>
                      <a:pt x="1452" y="1050"/>
                    </a:lnTo>
                    <a:lnTo>
                      <a:pt x="1452" y="1044"/>
                    </a:lnTo>
                    <a:lnTo>
                      <a:pt x="1440" y="1032"/>
                    </a:lnTo>
                    <a:lnTo>
                      <a:pt x="1428" y="1032"/>
                    </a:lnTo>
                    <a:lnTo>
                      <a:pt x="1392" y="1014"/>
                    </a:lnTo>
                    <a:lnTo>
                      <a:pt x="1386" y="1014"/>
                    </a:lnTo>
                    <a:lnTo>
                      <a:pt x="1362" y="1026"/>
                    </a:lnTo>
                    <a:lnTo>
                      <a:pt x="1338" y="1002"/>
                    </a:lnTo>
                    <a:lnTo>
                      <a:pt x="1338" y="960"/>
                    </a:lnTo>
                    <a:lnTo>
                      <a:pt x="1332" y="954"/>
                    </a:lnTo>
                    <a:lnTo>
                      <a:pt x="1326" y="942"/>
                    </a:lnTo>
                    <a:lnTo>
                      <a:pt x="1314" y="930"/>
                    </a:lnTo>
                    <a:lnTo>
                      <a:pt x="1308" y="912"/>
                    </a:lnTo>
                    <a:lnTo>
                      <a:pt x="1296" y="900"/>
                    </a:lnTo>
                    <a:lnTo>
                      <a:pt x="1290" y="888"/>
                    </a:lnTo>
                    <a:lnTo>
                      <a:pt x="1290" y="882"/>
                    </a:lnTo>
                    <a:lnTo>
                      <a:pt x="1296" y="876"/>
                    </a:lnTo>
                    <a:lnTo>
                      <a:pt x="1308" y="876"/>
                    </a:lnTo>
                    <a:lnTo>
                      <a:pt x="1320" y="870"/>
                    </a:lnTo>
                    <a:lnTo>
                      <a:pt x="1326" y="864"/>
                    </a:lnTo>
                    <a:lnTo>
                      <a:pt x="1332" y="852"/>
                    </a:lnTo>
                    <a:lnTo>
                      <a:pt x="1332" y="840"/>
                    </a:lnTo>
                    <a:lnTo>
                      <a:pt x="1326" y="834"/>
                    </a:lnTo>
                    <a:lnTo>
                      <a:pt x="1326" y="828"/>
                    </a:lnTo>
                    <a:lnTo>
                      <a:pt x="1320" y="774"/>
                    </a:lnTo>
                    <a:lnTo>
                      <a:pt x="1332" y="750"/>
                    </a:lnTo>
                    <a:lnTo>
                      <a:pt x="1326" y="732"/>
                    </a:lnTo>
                    <a:lnTo>
                      <a:pt x="1326" y="726"/>
                    </a:lnTo>
                    <a:lnTo>
                      <a:pt x="1332" y="720"/>
                    </a:lnTo>
                    <a:lnTo>
                      <a:pt x="1332" y="690"/>
                    </a:lnTo>
                    <a:lnTo>
                      <a:pt x="1338" y="678"/>
                    </a:lnTo>
                    <a:lnTo>
                      <a:pt x="1338" y="672"/>
                    </a:lnTo>
                    <a:lnTo>
                      <a:pt x="1326" y="648"/>
                    </a:lnTo>
                    <a:lnTo>
                      <a:pt x="1302" y="588"/>
                    </a:lnTo>
                    <a:lnTo>
                      <a:pt x="1290" y="570"/>
                    </a:lnTo>
                    <a:lnTo>
                      <a:pt x="1296" y="564"/>
                    </a:lnTo>
                    <a:lnTo>
                      <a:pt x="1308" y="558"/>
                    </a:lnTo>
                    <a:lnTo>
                      <a:pt x="1296" y="528"/>
                    </a:lnTo>
                    <a:lnTo>
                      <a:pt x="1284" y="480"/>
                    </a:lnTo>
                    <a:lnTo>
                      <a:pt x="1278" y="438"/>
                    </a:lnTo>
                    <a:lnTo>
                      <a:pt x="1272" y="414"/>
                    </a:lnTo>
                    <a:lnTo>
                      <a:pt x="1266" y="408"/>
                    </a:lnTo>
                    <a:lnTo>
                      <a:pt x="1260" y="396"/>
                    </a:lnTo>
                    <a:lnTo>
                      <a:pt x="1236" y="384"/>
                    </a:lnTo>
                    <a:lnTo>
                      <a:pt x="1230" y="378"/>
                    </a:lnTo>
                    <a:lnTo>
                      <a:pt x="1224" y="378"/>
                    </a:lnTo>
                    <a:lnTo>
                      <a:pt x="1224" y="336"/>
                    </a:lnTo>
                    <a:lnTo>
                      <a:pt x="1212" y="324"/>
                    </a:lnTo>
                    <a:lnTo>
                      <a:pt x="1194" y="318"/>
                    </a:lnTo>
                    <a:lnTo>
                      <a:pt x="1182" y="318"/>
                    </a:lnTo>
                    <a:lnTo>
                      <a:pt x="1182" y="288"/>
                    </a:lnTo>
                    <a:lnTo>
                      <a:pt x="1170" y="288"/>
                    </a:lnTo>
                    <a:lnTo>
                      <a:pt x="1170" y="246"/>
                    </a:lnTo>
                    <a:lnTo>
                      <a:pt x="1194" y="222"/>
                    </a:lnTo>
                    <a:lnTo>
                      <a:pt x="1218" y="204"/>
                    </a:lnTo>
                    <a:lnTo>
                      <a:pt x="1218" y="198"/>
                    </a:lnTo>
                    <a:lnTo>
                      <a:pt x="1224" y="192"/>
                    </a:lnTo>
                    <a:lnTo>
                      <a:pt x="1224" y="180"/>
                    </a:lnTo>
                    <a:lnTo>
                      <a:pt x="1230" y="168"/>
                    </a:lnTo>
                    <a:lnTo>
                      <a:pt x="1230" y="126"/>
                    </a:lnTo>
                    <a:lnTo>
                      <a:pt x="1224" y="114"/>
                    </a:lnTo>
                    <a:lnTo>
                      <a:pt x="1224" y="78"/>
                    </a:lnTo>
                    <a:lnTo>
                      <a:pt x="1230" y="66"/>
                    </a:lnTo>
                    <a:lnTo>
                      <a:pt x="1230" y="54"/>
                    </a:lnTo>
                    <a:lnTo>
                      <a:pt x="1212" y="48"/>
                    </a:lnTo>
                    <a:lnTo>
                      <a:pt x="1254" y="30"/>
                    </a:lnTo>
                    <a:lnTo>
                      <a:pt x="1254" y="18"/>
                    </a:lnTo>
                    <a:lnTo>
                      <a:pt x="1242" y="18"/>
                    </a:lnTo>
                    <a:lnTo>
                      <a:pt x="1236" y="12"/>
                    </a:lnTo>
                    <a:lnTo>
                      <a:pt x="1224" y="12"/>
                    </a:lnTo>
                    <a:lnTo>
                      <a:pt x="1206" y="24"/>
                    </a:lnTo>
                    <a:lnTo>
                      <a:pt x="1170" y="6"/>
                    </a:lnTo>
                    <a:lnTo>
                      <a:pt x="1152" y="6"/>
                    </a:lnTo>
                    <a:lnTo>
                      <a:pt x="1152" y="18"/>
                    </a:lnTo>
                    <a:lnTo>
                      <a:pt x="1116" y="18"/>
                    </a:lnTo>
                    <a:lnTo>
                      <a:pt x="1092" y="0"/>
                    </a:lnTo>
                    <a:lnTo>
                      <a:pt x="1086" y="30"/>
                    </a:lnTo>
                    <a:lnTo>
                      <a:pt x="1056" y="18"/>
                    </a:lnTo>
                    <a:lnTo>
                      <a:pt x="1026" y="42"/>
                    </a:lnTo>
                    <a:lnTo>
                      <a:pt x="1002" y="30"/>
                    </a:lnTo>
                    <a:lnTo>
                      <a:pt x="984" y="30"/>
                    </a:lnTo>
                    <a:lnTo>
                      <a:pt x="966" y="24"/>
                    </a:lnTo>
                    <a:lnTo>
                      <a:pt x="948" y="24"/>
                    </a:lnTo>
                    <a:lnTo>
                      <a:pt x="924" y="30"/>
                    </a:lnTo>
                    <a:lnTo>
                      <a:pt x="906" y="30"/>
                    </a:lnTo>
                    <a:lnTo>
                      <a:pt x="900" y="36"/>
                    </a:lnTo>
                    <a:lnTo>
                      <a:pt x="888" y="36"/>
                    </a:lnTo>
                    <a:lnTo>
                      <a:pt x="876" y="42"/>
                    </a:lnTo>
                    <a:lnTo>
                      <a:pt x="816" y="42"/>
                    </a:lnTo>
                    <a:lnTo>
                      <a:pt x="810" y="48"/>
                    </a:lnTo>
                    <a:lnTo>
                      <a:pt x="750" y="48"/>
                    </a:lnTo>
                    <a:lnTo>
                      <a:pt x="744" y="54"/>
                    </a:lnTo>
                    <a:lnTo>
                      <a:pt x="726" y="54"/>
                    </a:lnTo>
                    <a:lnTo>
                      <a:pt x="714" y="60"/>
                    </a:lnTo>
                    <a:lnTo>
                      <a:pt x="696" y="66"/>
                    </a:lnTo>
                    <a:lnTo>
                      <a:pt x="684" y="78"/>
                    </a:lnTo>
                    <a:lnTo>
                      <a:pt x="678" y="90"/>
                    </a:lnTo>
                    <a:lnTo>
                      <a:pt x="666" y="102"/>
                    </a:lnTo>
                    <a:lnTo>
                      <a:pt x="666" y="108"/>
                    </a:lnTo>
                    <a:lnTo>
                      <a:pt x="636" y="108"/>
                    </a:lnTo>
                    <a:lnTo>
                      <a:pt x="624" y="114"/>
                    </a:lnTo>
                    <a:lnTo>
                      <a:pt x="606" y="114"/>
                    </a:lnTo>
                    <a:lnTo>
                      <a:pt x="594" y="120"/>
                    </a:lnTo>
                    <a:lnTo>
                      <a:pt x="588" y="126"/>
                    </a:lnTo>
                    <a:lnTo>
                      <a:pt x="588" y="132"/>
                    </a:lnTo>
                    <a:lnTo>
                      <a:pt x="558" y="162"/>
                    </a:lnTo>
                    <a:lnTo>
                      <a:pt x="546" y="168"/>
                    </a:lnTo>
                    <a:lnTo>
                      <a:pt x="522" y="168"/>
                    </a:lnTo>
                    <a:lnTo>
                      <a:pt x="528" y="174"/>
                    </a:lnTo>
                    <a:lnTo>
                      <a:pt x="534" y="186"/>
                    </a:lnTo>
                    <a:lnTo>
                      <a:pt x="546" y="192"/>
                    </a:lnTo>
                    <a:lnTo>
                      <a:pt x="540" y="198"/>
                    </a:lnTo>
                    <a:lnTo>
                      <a:pt x="540" y="210"/>
                    </a:lnTo>
                    <a:lnTo>
                      <a:pt x="552" y="210"/>
                    </a:lnTo>
                    <a:lnTo>
                      <a:pt x="546" y="276"/>
                    </a:lnTo>
                    <a:lnTo>
                      <a:pt x="558" y="294"/>
                    </a:lnTo>
                    <a:lnTo>
                      <a:pt x="546" y="324"/>
                    </a:lnTo>
                    <a:lnTo>
                      <a:pt x="564" y="324"/>
                    </a:lnTo>
                    <a:lnTo>
                      <a:pt x="564" y="354"/>
                    </a:lnTo>
                    <a:lnTo>
                      <a:pt x="588" y="372"/>
                    </a:lnTo>
                    <a:lnTo>
                      <a:pt x="570" y="390"/>
                    </a:lnTo>
                    <a:lnTo>
                      <a:pt x="570" y="402"/>
                    </a:lnTo>
                    <a:lnTo>
                      <a:pt x="516" y="408"/>
                    </a:lnTo>
                    <a:lnTo>
                      <a:pt x="504" y="402"/>
                    </a:lnTo>
                    <a:lnTo>
                      <a:pt x="486" y="402"/>
                    </a:lnTo>
                    <a:lnTo>
                      <a:pt x="486" y="408"/>
                    </a:lnTo>
                    <a:lnTo>
                      <a:pt x="480" y="414"/>
                    </a:lnTo>
                    <a:lnTo>
                      <a:pt x="474" y="408"/>
                    </a:lnTo>
                    <a:lnTo>
                      <a:pt x="462" y="408"/>
                    </a:lnTo>
                    <a:lnTo>
                      <a:pt x="462" y="414"/>
                    </a:lnTo>
                    <a:lnTo>
                      <a:pt x="456" y="420"/>
                    </a:lnTo>
                    <a:lnTo>
                      <a:pt x="456" y="432"/>
                    </a:lnTo>
                    <a:lnTo>
                      <a:pt x="432" y="432"/>
                    </a:lnTo>
                    <a:lnTo>
                      <a:pt x="420" y="438"/>
                    </a:lnTo>
                    <a:lnTo>
                      <a:pt x="396" y="438"/>
                    </a:lnTo>
                    <a:lnTo>
                      <a:pt x="390" y="444"/>
                    </a:lnTo>
                    <a:lnTo>
                      <a:pt x="390" y="456"/>
                    </a:lnTo>
                    <a:lnTo>
                      <a:pt x="396" y="462"/>
                    </a:lnTo>
                    <a:lnTo>
                      <a:pt x="402" y="474"/>
                    </a:lnTo>
                    <a:lnTo>
                      <a:pt x="414" y="492"/>
                    </a:lnTo>
                    <a:lnTo>
                      <a:pt x="390" y="504"/>
                    </a:lnTo>
                    <a:lnTo>
                      <a:pt x="390" y="510"/>
                    </a:lnTo>
                    <a:lnTo>
                      <a:pt x="378" y="522"/>
                    </a:lnTo>
                    <a:lnTo>
                      <a:pt x="366" y="528"/>
                    </a:lnTo>
                    <a:lnTo>
                      <a:pt x="360" y="534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65" name="South Africa"/>
              <p:cNvSpPr>
                <a:spLocks noEditPoints="1"/>
              </p:cNvSpPr>
              <p:nvPr/>
            </p:nvSpPr>
            <p:spPr bwMode="gray">
              <a:xfrm>
                <a:off x="4679958" y="4797429"/>
                <a:ext cx="455613" cy="411163"/>
              </a:xfrm>
              <a:custGeom>
                <a:avLst/>
                <a:gdLst>
                  <a:gd name="T0" fmla="*/ 2147483647 w 1134"/>
                  <a:gd name="T1" fmla="*/ 2147483647 h 1020"/>
                  <a:gd name="T2" fmla="*/ 2147483647 w 1134"/>
                  <a:gd name="T3" fmla="*/ 2147483647 h 1020"/>
                  <a:gd name="T4" fmla="*/ 2147483647 w 1134"/>
                  <a:gd name="T5" fmla="*/ 2147483647 h 1020"/>
                  <a:gd name="T6" fmla="*/ 2147483647 w 1134"/>
                  <a:gd name="T7" fmla="*/ 2147483647 h 1020"/>
                  <a:gd name="T8" fmla="*/ 2147483647 w 1134"/>
                  <a:gd name="T9" fmla="*/ 2147483647 h 1020"/>
                  <a:gd name="T10" fmla="*/ 2147483647 w 1134"/>
                  <a:gd name="T11" fmla="*/ 2147483647 h 1020"/>
                  <a:gd name="T12" fmla="*/ 2147483647 w 1134"/>
                  <a:gd name="T13" fmla="*/ 2147483647 h 1020"/>
                  <a:gd name="T14" fmla="*/ 2147483647 w 1134"/>
                  <a:gd name="T15" fmla="*/ 2147483647 h 1020"/>
                  <a:gd name="T16" fmla="*/ 2147483647 w 1134"/>
                  <a:gd name="T17" fmla="*/ 2147483647 h 1020"/>
                  <a:gd name="T18" fmla="*/ 2147483647 w 1134"/>
                  <a:gd name="T19" fmla="*/ 2147483647 h 1020"/>
                  <a:gd name="T20" fmla="*/ 2147483647 w 1134"/>
                  <a:gd name="T21" fmla="*/ 2147483647 h 1020"/>
                  <a:gd name="T22" fmla="*/ 2147483647 w 1134"/>
                  <a:gd name="T23" fmla="*/ 2147483647 h 1020"/>
                  <a:gd name="T24" fmla="*/ 2147483647 w 1134"/>
                  <a:gd name="T25" fmla="*/ 2147483647 h 1020"/>
                  <a:gd name="T26" fmla="*/ 2147483647 w 1134"/>
                  <a:gd name="T27" fmla="*/ 2147483647 h 1020"/>
                  <a:gd name="T28" fmla="*/ 2147483647 w 1134"/>
                  <a:gd name="T29" fmla="*/ 2147483647 h 1020"/>
                  <a:gd name="T30" fmla="*/ 2147483647 w 1134"/>
                  <a:gd name="T31" fmla="*/ 2147483647 h 1020"/>
                  <a:gd name="T32" fmla="*/ 2147483647 w 1134"/>
                  <a:gd name="T33" fmla="*/ 2147483647 h 1020"/>
                  <a:gd name="T34" fmla="*/ 2147483647 w 1134"/>
                  <a:gd name="T35" fmla="*/ 2147483647 h 1020"/>
                  <a:gd name="T36" fmla="*/ 2147483647 w 1134"/>
                  <a:gd name="T37" fmla="*/ 2147483647 h 1020"/>
                  <a:gd name="T38" fmla="*/ 2147483647 w 1134"/>
                  <a:gd name="T39" fmla="*/ 2147483647 h 1020"/>
                  <a:gd name="T40" fmla="*/ 2147483647 w 1134"/>
                  <a:gd name="T41" fmla="*/ 2147483647 h 1020"/>
                  <a:gd name="T42" fmla="*/ 2147483647 w 1134"/>
                  <a:gd name="T43" fmla="*/ 2147483647 h 1020"/>
                  <a:gd name="T44" fmla="*/ 2147483647 w 1134"/>
                  <a:gd name="T45" fmla="*/ 2147483647 h 1020"/>
                  <a:gd name="T46" fmla="*/ 2147483647 w 1134"/>
                  <a:gd name="T47" fmla="*/ 2147483647 h 1020"/>
                  <a:gd name="T48" fmla="*/ 2147483647 w 1134"/>
                  <a:gd name="T49" fmla="*/ 2147483647 h 1020"/>
                  <a:gd name="T50" fmla="*/ 2147483647 w 1134"/>
                  <a:gd name="T51" fmla="*/ 2147483647 h 1020"/>
                  <a:gd name="T52" fmla="*/ 2147483647 w 1134"/>
                  <a:gd name="T53" fmla="*/ 2147483647 h 1020"/>
                  <a:gd name="T54" fmla="*/ 2147483647 w 1134"/>
                  <a:gd name="T55" fmla="*/ 2147483647 h 1020"/>
                  <a:gd name="T56" fmla="*/ 2147483647 w 1134"/>
                  <a:gd name="T57" fmla="*/ 2147483647 h 1020"/>
                  <a:gd name="T58" fmla="*/ 2147483647 w 1134"/>
                  <a:gd name="T59" fmla="*/ 2147483647 h 1020"/>
                  <a:gd name="T60" fmla="*/ 2147483647 w 1134"/>
                  <a:gd name="T61" fmla="*/ 2147483647 h 1020"/>
                  <a:gd name="T62" fmla="*/ 0 w 1134"/>
                  <a:gd name="T63" fmla="*/ 2147483647 h 1020"/>
                  <a:gd name="T64" fmla="*/ 2147483647 w 1134"/>
                  <a:gd name="T65" fmla="*/ 2147483647 h 1020"/>
                  <a:gd name="T66" fmla="*/ 2147483647 w 1134"/>
                  <a:gd name="T67" fmla="*/ 2147483647 h 1020"/>
                  <a:gd name="T68" fmla="*/ 2147483647 w 1134"/>
                  <a:gd name="T69" fmla="*/ 2147483647 h 1020"/>
                  <a:gd name="T70" fmla="*/ 2147483647 w 1134"/>
                  <a:gd name="T71" fmla="*/ 2147483647 h 1020"/>
                  <a:gd name="T72" fmla="*/ 2147483647 w 1134"/>
                  <a:gd name="T73" fmla="*/ 2147483647 h 1020"/>
                  <a:gd name="T74" fmla="*/ 2147483647 w 1134"/>
                  <a:gd name="T75" fmla="*/ 2147483647 h 1020"/>
                  <a:gd name="T76" fmla="*/ 2147483647 w 1134"/>
                  <a:gd name="T77" fmla="*/ 2147483647 h 1020"/>
                  <a:gd name="T78" fmla="*/ 2147483647 w 1134"/>
                  <a:gd name="T79" fmla="*/ 2147483647 h 1020"/>
                  <a:gd name="T80" fmla="*/ 2147483647 w 1134"/>
                  <a:gd name="T81" fmla="*/ 2147483647 h 1020"/>
                  <a:gd name="T82" fmla="*/ 2147483647 w 1134"/>
                  <a:gd name="T83" fmla="*/ 2147483647 h 1020"/>
                  <a:gd name="T84" fmla="*/ 2147483647 w 1134"/>
                  <a:gd name="T85" fmla="*/ 2147483647 h 1020"/>
                  <a:gd name="T86" fmla="*/ 2147483647 w 1134"/>
                  <a:gd name="T87" fmla="*/ 2147483647 h 1020"/>
                  <a:gd name="T88" fmla="*/ 2147483647 w 1134"/>
                  <a:gd name="T89" fmla="*/ 2147483647 h 1020"/>
                  <a:gd name="T90" fmla="*/ 2147483647 w 1134"/>
                  <a:gd name="T91" fmla="*/ 2147483647 h 1020"/>
                  <a:gd name="T92" fmla="*/ 2147483647 w 1134"/>
                  <a:gd name="T93" fmla="*/ 2147483647 h 1020"/>
                  <a:gd name="T94" fmla="*/ 2147483647 w 1134"/>
                  <a:gd name="T95" fmla="*/ 2147483647 h 1020"/>
                  <a:gd name="T96" fmla="*/ 2147483647 w 1134"/>
                  <a:gd name="T97" fmla="*/ 2147483647 h 1020"/>
                  <a:gd name="T98" fmla="*/ 2147483647 w 1134"/>
                  <a:gd name="T99" fmla="*/ 2147483647 h 1020"/>
                  <a:gd name="T100" fmla="*/ 2147483647 w 1134"/>
                  <a:gd name="T101" fmla="*/ 2147483647 h 1020"/>
                  <a:gd name="T102" fmla="*/ 2147483647 w 1134"/>
                  <a:gd name="T103" fmla="*/ 2147483647 h 1020"/>
                  <a:gd name="T104" fmla="*/ 2147483647 w 1134"/>
                  <a:gd name="T105" fmla="*/ 2147483647 h 1020"/>
                  <a:gd name="T106" fmla="*/ 2147483647 w 1134"/>
                  <a:gd name="T107" fmla="*/ 2147483647 h 1020"/>
                  <a:gd name="T108" fmla="*/ 2147483647 w 1134"/>
                  <a:gd name="T109" fmla="*/ 2147483647 h 1020"/>
                  <a:gd name="T110" fmla="*/ 2147483647 w 1134"/>
                  <a:gd name="T111" fmla="*/ 2147483647 h 1020"/>
                  <a:gd name="T112" fmla="*/ 2147483647 w 1134"/>
                  <a:gd name="T113" fmla="*/ 2147483647 h 1020"/>
                  <a:gd name="T114" fmla="*/ 2147483647 w 1134"/>
                  <a:gd name="T115" fmla="*/ 2147483647 h 1020"/>
                  <a:gd name="T116" fmla="*/ 2147483647 w 1134"/>
                  <a:gd name="T117" fmla="*/ 2147483647 h 1020"/>
                  <a:gd name="T118" fmla="*/ 2147483647 w 1134"/>
                  <a:gd name="T119" fmla="*/ 2147483647 h 1020"/>
                  <a:gd name="T120" fmla="*/ 2147483647 w 1134"/>
                  <a:gd name="T121" fmla="*/ 2147483647 h 1020"/>
                  <a:gd name="T122" fmla="*/ 2147483647 w 1134"/>
                  <a:gd name="T123" fmla="*/ 2147483647 h 1020"/>
                  <a:gd name="T124" fmla="*/ 2147483647 w 1134"/>
                  <a:gd name="T125" fmla="*/ 2147483647 h 102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134"/>
                  <a:gd name="T190" fmla="*/ 0 h 1020"/>
                  <a:gd name="T191" fmla="*/ 1134 w 1134"/>
                  <a:gd name="T192" fmla="*/ 1020 h 102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134" h="1020">
                    <a:moveTo>
                      <a:pt x="1116" y="372"/>
                    </a:moveTo>
                    <a:lnTo>
                      <a:pt x="1098" y="372"/>
                    </a:lnTo>
                    <a:lnTo>
                      <a:pt x="1092" y="378"/>
                    </a:lnTo>
                    <a:lnTo>
                      <a:pt x="1086" y="378"/>
                    </a:lnTo>
                    <a:lnTo>
                      <a:pt x="1074" y="420"/>
                    </a:lnTo>
                    <a:lnTo>
                      <a:pt x="1062" y="420"/>
                    </a:lnTo>
                    <a:lnTo>
                      <a:pt x="1050" y="414"/>
                    </a:lnTo>
                    <a:lnTo>
                      <a:pt x="1032" y="414"/>
                    </a:lnTo>
                    <a:lnTo>
                      <a:pt x="1020" y="402"/>
                    </a:lnTo>
                    <a:lnTo>
                      <a:pt x="1008" y="396"/>
                    </a:lnTo>
                    <a:lnTo>
                      <a:pt x="996" y="372"/>
                    </a:lnTo>
                    <a:lnTo>
                      <a:pt x="996" y="348"/>
                    </a:lnTo>
                    <a:lnTo>
                      <a:pt x="1002" y="336"/>
                    </a:lnTo>
                    <a:lnTo>
                      <a:pt x="1014" y="324"/>
                    </a:lnTo>
                    <a:lnTo>
                      <a:pt x="1014" y="312"/>
                    </a:lnTo>
                    <a:lnTo>
                      <a:pt x="1020" y="300"/>
                    </a:lnTo>
                    <a:lnTo>
                      <a:pt x="1032" y="288"/>
                    </a:lnTo>
                    <a:lnTo>
                      <a:pt x="1038" y="288"/>
                    </a:lnTo>
                    <a:lnTo>
                      <a:pt x="1050" y="294"/>
                    </a:lnTo>
                    <a:lnTo>
                      <a:pt x="1062" y="306"/>
                    </a:lnTo>
                    <a:lnTo>
                      <a:pt x="1086" y="270"/>
                    </a:lnTo>
                    <a:lnTo>
                      <a:pt x="1086" y="180"/>
                    </a:lnTo>
                    <a:lnTo>
                      <a:pt x="1056" y="120"/>
                    </a:lnTo>
                    <a:lnTo>
                      <a:pt x="1056" y="102"/>
                    </a:lnTo>
                    <a:lnTo>
                      <a:pt x="1050" y="90"/>
                    </a:lnTo>
                    <a:lnTo>
                      <a:pt x="1050" y="72"/>
                    </a:lnTo>
                    <a:lnTo>
                      <a:pt x="1044" y="54"/>
                    </a:lnTo>
                    <a:lnTo>
                      <a:pt x="1044" y="24"/>
                    </a:lnTo>
                    <a:lnTo>
                      <a:pt x="1026" y="12"/>
                    </a:lnTo>
                    <a:lnTo>
                      <a:pt x="966" y="12"/>
                    </a:lnTo>
                    <a:lnTo>
                      <a:pt x="954" y="6"/>
                    </a:lnTo>
                    <a:lnTo>
                      <a:pt x="948" y="6"/>
                    </a:lnTo>
                    <a:lnTo>
                      <a:pt x="936" y="0"/>
                    </a:lnTo>
                    <a:lnTo>
                      <a:pt x="876" y="0"/>
                    </a:lnTo>
                    <a:lnTo>
                      <a:pt x="864" y="24"/>
                    </a:lnTo>
                    <a:lnTo>
                      <a:pt x="852" y="24"/>
                    </a:lnTo>
                    <a:lnTo>
                      <a:pt x="840" y="30"/>
                    </a:lnTo>
                    <a:lnTo>
                      <a:pt x="828" y="30"/>
                    </a:lnTo>
                    <a:lnTo>
                      <a:pt x="822" y="36"/>
                    </a:lnTo>
                    <a:lnTo>
                      <a:pt x="810" y="60"/>
                    </a:lnTo>
                    <a:lnTo>
                      <a:pt x="768" y="102"/>
                    </a:lnTo>
                    <a:lnTo>
                      <a:pt x="756" y="108"/>
                    </a:lnTo>
                    <a:lnTo>
                      <a:pt x="750" y="108"/>
                    </a:lnTo>
                    <a:lnTo>
                      <a:pt x="738" y="114"/>
                    </a:lnTo>
                    <a:lnTo>
                      <a:pt x="726" y="138"/>
                    </a:lnTo>
                    <a:lnTo>
                      <a:pt x="726" y="174"/>
                    </a:lnTo>
                    <a:lnTo>
                      <a:pt x="714" y="180"/>
                    </a:lnTo>
                    <a:lnTo>
                      <a:pt x="708" y="192"/>
                    </a:lnTo>
                    <a:lnTo>
                      <a:pt x="702" y="198"/>
                    </a:lnTo>
                    <a:lnTo>
                      <a:pt x="690" y="204"/>
                    </a:lnTo>
                    <a:lnTo>
                      <a:pt x="672" y="210"/>
                    </a:lnTo>
                    <a:lnTo>
                      <a:pt x="654" y="228"/>
                    </a:lnTo>
                    <a:lnTo>
                      <a:pt x="654" y="240"/>
                    </a:lnTo>
                    <a:lnTo>
                      <a:pt x="648" y="252"/>
                    </a:lnTo>
                    <a:lnTo>
                      <a:pt x="642" y="270"/>
                    </a:lnTo>
                    <a:lnTo>
                      <a:pt x="636" y="282"/>
                    </a:lnTo>
                    <a:lnTo>
                      <a:pt x="630" y="288"/>
                    </a:lnTo>
                    <a:lnTo>
                      <a:pt x="618" y="294"/>
                    </a:lnTo>
                    <a:lnTo>
                      <a:pt x="606" y="294"/>
                    </a:lnTo>
                    <a:lnTo>
                      <a:pt x="600" y="288"/>
                    </a:lnTo>
                    <a:lnTo>
                      <a:pt x="594" y="294"/>
                    </a:lnTo>
                    <a:lnTo>
                      <a:pt x="582" y="300"/>
                    </a:lnTo>
                    <a:lnTo>
                      <a:pt x="570" y="300"/>
                    </a:lnTo>
                    <a:lnTo>
                      <a:pt x="564" y="294"/>
                    </a:lnTo>
                    <a:lnTo>
                      <a:pt x="552" y="288"/>
                    </a:lnTo>
                    <a:lnTo>
                      <a:pt x="546" y="282"/>
                    </a:lnTo>
                    <a:lnTo>
                      <a:pt x="516" y="282"/>
                    </a:lnTo>
                    <a:lnTo>
                      <a:pt x="504" y="270"/>
                    </a:lnTo>
                    <a:lnTo>
                      <a:pt x="492" y="264"/>
                    </a:lnTo>
                    <a:lnTo>
                      <a:pt x="486" y="258"/>
                    </a:lnTo>
                    <a:lnTo>
                      <a:pt x="474" y="252"/>
                    </a:lnTo>
                    <a:lnTo>
                      <a:pt x="462" y="252"/>
                    </a:lnTo>
                    <a:lnTo>
                      <a:pt x="450" y="258"/>
                    </a:lnTo>
                    <a:lnTo>
                      <a:pt x="444" y="264"/>
                    </a:lnTo>
                    <a:lnTo>
                      <a:pt x="438" y="276"/>
                    </a:lnTo>
                    <a:lnTo>
                      <a:pt x="438" y="288"/>
                    </a:lnTo>
                    <a:lnTo>
                      <a:pt x="432" y="300"/>
                    </a:lnTo>
                    <a:lnTo>
                      <a:pt x="432" y="324"/>
                    </a:lnTo>
                    <a:lnTo>
                      <a:pt x="420" y="324"/>
                    </a:lnTo>
                    <a:lnTo>
                      <a:pt x="414" y="330"/>
                    </a:lnTo>
                    <a:lnTo>
                      <a:pt x="408" y="330"/>
                    </a:lnTo>
                    <a:lnTo>
                      <a:pt x="402" y="336"/>
                    </a:lnTo>
                    <a:lnTo>
                      <a:pt x="396" y="348"/>
                    </a:lnTo>
                    <a:lnTo>
                      <a:pt x="390" y="354"/>
                    </a:lnTo>
                    <a:lnTo>
                      <a:pt x="390" y="360"/>
                    </a:lnTo>
                    <a:lnTo>
                      <a:pt x="366" y="360"/>
                    </a:lnTo>
                    <a:lnTo>
                      <a:pt x="366" y="378"/>
                    </a:lnTo>
                    <a:lnTo>
                      <a:pt x="288" y="378"/>
                    </a:lnTo>
                    <a:lnTo>
                      <a:pt x="288" y="348"/>
                    </a:lnTo>
                    <a:lnTo>
                      <a:pt x="294" y="336"/>
                    </a:lnTo>
                    <a:lnTo>
                      <a:pt x="294" y="330"/>
                    </a:lnTo>
                    <a:lnTo>
                      <a:pt x="300" y="318"/>
                    </a:lnTo>
                    <a:lnTo>
                      <a:pt x="300" y="294"/>
                    </a:lnTo>
                    <a:lnTo>
                      <a:pt x="294" y="288"/>
                    </a:lnTo>
                    <a:lnTo>
                      <a:pt x="294" y="270"/>
                    </a:lnTo>
                    <a:lnTo>
                      <a:pt x="288" y="258"/>
                    </a:lnTo>
                    <a:lnTo>
                      <a:pt x="282" y="240"/>
                    </a:lnTo>
                    <a:lnTo>
                      <a:pt x="276" y="234"/>
                    </a:lnTo>
                    <a:lnTo>
                      <a:pt x="264" y="228"/>
                    </a:lnTo>
                    <a:lnTo>
                      <a:pt x="258" y="222"/>
                    </a:lnTo>
                    <a:lnTo>
                      <a:pt x="246" y="216"/>
                    </a:lnTo>
                    <a:lnTo>
                      <a:pt x="240" y="510"/>
                    </a:lnTo>
                    <a:lnTo>
                      <a:pt x="222" y="510"/>
                    </a:lnTo>
                    <a:lnTo>
                      <a:pt x="210" y="516"/>
                    </a:lnTo>
                    <a:lnTo>
                      <a:pt x="204" y="522"/>
                    </a:lnTo>
                    <a:lnTo>
                      <a:pt x="204" y="528"/>
                    </a:lnTo>
                    <a:lnTo>
                      <a:pt x="192" y="528"/>
                    </a:lnTo>
                    <a:lnTo>
                      <a:pt x="192" y="552"/>
                    </a:lnTo>
                    <a:lnTo>
                      <a:pt x="168" y="552"/>
                    </a:lnTo>
                    <a:lnTo>
                      <a:pt x="156" y="540"/>
                    </a:lnTo>
                    <a:lnTo>
                      <a:pt x="144" y="540"/>
                    </a:lnTo>
                    <a:lnTo>
                      <a:pt x="132" y="552"/>
                    </a:lnTo>
                    <a:lnTo>
                      <a:pt x="108" y="552"/>
                    </a:lnTo>
                    <a:lnTo>
                      <a:pt x="102" y="546"/>
                    </a:lnTo>
                    <a:lnTo>
                      <a:pt x="102" y="540"/>
                    </a:lnTo>
                    <a:lnTo>
                      <a:pt x="96" y="534"/>
                    </a:lnTo>
                    <a:lnTo>
                      <a:pt x="72" y="534"/>
                    </a:lnTo>
                    <a:lnTo>
                      <a:pt x="66" y="528"/>
                    </a:lnTo>
                    <a:lnTo>
                      <a:pt x="60" y="516"/>
                    </a:lnTo>
                    <a:lnTo>
                      <a:pt x="60" y="492"/>
                    </a:lnTo>
                    <a:lnTo>
                      <a:pt x="42" y="474"/>
                    </a:lnTo>
                    <a:lnTo>
                      <a:pt x="36" y="474"/>
                    </a:lnTo>
                    <a:lnTo>
                      <a:pt x="30" y="480"/>
                    </a:lnTo>
                    <a:lnTo>
                      <a:pt x="30" y="486"/>
                    </a:lnTo>
                    <a:lnTo>
                      <a:pt x="24" y="498"/>
                    </a:lnTo>
                    <a:lnTo>
                      <a:pt x="18" y="504"/>
                    </a:lnTo>
                    <a:lnTo>
                      <a:pt x="18" y="510"/>
                    </a:lnTo>
                    <a:lnTo>
                      <a:pt x="0" y="522"/>
                    </a:lnTo>
                    <a:lnTo>
                      <a:pt x="0" y="516"/>
                    </a:lnTo>
                    <a:lnTo>
                      <a:pt x="0" y="528"/>
                    </a:lnTo>
                    <a:lnTo>
                      <a:pt x="6" y="540"/>
                    </a:lnTo>
                    <a:lnTo>
                      <a:pt x="6" y="552"/>
                    </a:lnTo>
                    <a:lnTo>
                      <a:pt x="36" y="582"/>
                    </a:lnTo>
                    <a:lnTo>
                      <a:pt x="42" y="600"/>
                    </a:lnTo>
                    <a:lnTo>
                      <a:pt x="42" y="648"/>
                    </a:lnTo>
                    <a:lnTo>
                      <a:pt x="48" y="672"/>
                    </a:lnTo>
                    <a:lnTo>
                      <a:pt x="54" y="690"/>
                    </a:lnTo>
                    <a:lnTo>
                      <a:pt x="72" y="714"/>
                    </a:lnTo>
                    <a:lnTo>
                      <a:pt x="96" y="738"/>
                    </a:lnTo>
                    <a:lnTo>
                      <a:pt x="114" y="762"/>
                    </a:lnTo>
                    <a:lnTo>
                      <a:pt x="120" y="786"/>
                    </a:lnTo>
                    <a:lnTo>
                      <a:pt x="120" y="834"/>
                    </a:lnTo>
                    <a:lnTo>
                      <a:pt x="114" y="846"/>
                    </a:lnTo>
                    <a:lnTo>
                      <a:pt x="114" y="852"/>
                    </a:lnTo>
                    <a:lnTo>
                      <a:pt x="90" y="852"/>
                    </a:lnTo>
                    <a:lnTo>
                      <a:pt x="90" y="876"/>
                    </a:lnTo>
                    <a:lnTo>
                      <a:pt x="96" y="888"/>
                    </a:lnTo>
                    <a:lnTo>
                      <a:pt x="108" y="906"/>
                    </a:lnTo>
                    <a:lnTo>
                      <a:pt x="114" y="918"/>
                    </a:lnTo>
                    <a:lnTo>
                      <a:pt x="114" y="960"/>
                    </a:lnTo>
                    <a:lnTo>
                      <a:pt x="120" y="972"/>
                    </a:lnTo>
                    <a:lnTo>
                      <a:pt x="120" y="978"/>
                    </a:lnTo>
                    <a:lnTo>
                      <a:pt x="126" y="978"/>
                    </a:lnTo>
                    <a:lnTo>
                      <a:pt x="126" y="972"/>
                    </a:lnTo>
                    <a:lnTo>
                      <a:pt x="132" y="966"/>
                    </a:lnTo>
                    <a:lnTo>
                      <a:pt x="144" y="966"/>
                    </a:lnTo>
                    <a:lnTo>
                      <a:pt x="150" y="972"/>
                    </a:lnTo>
                    <a:lnTo>
                      <a:pt x="180" y="984"/>
                    </a:lnTo>
                    <a:lnTo>
                      <a:pt x="180" y="996"/>
                    </a:lnTo>
                    <a:lnTo>
                      <a:pt x="204" y="1020"/>
                    </a:lnTo>
                    <a:lnTo>
                      <a:pt x="216" y="1020"/>
                    </a:lnTo>
                    <a:lnTo>
                      <a:pt x="240" y="1008"/>
                    </a:lnTo>
                    <a:lnTo>
                      <a:pt x="246" y="996"/>
                    </a:lnTo>
                    <a:lnTo>
                      <a:pt x="252" y="990"/>
                    </a:lnTo>
                    <a:lnTo>
                      <a:pt x="264" y="984"/>
                    </a:lnTo>
                    <a:lnTo>
                      <a:pt x="294" y="984"/>
                    </a:lnTo>
                    <a:lnTo>
                      <a:pt x="306" y="990"/>
                    </a:lnTo>
                    <a:lnTo>
                      <a:pt x="354" y="990"/>
                    </a:lnTo>
                    <a:lnTo>
                      <a:pt x="354" y="984"/>
                    </a:lnTo>
                    <a:lnTo>
                      <a:pt x="360" y="978"/>
                    </a:lnTo>
                    <a:lnTo>
                      <a:pt x="360" y="966"/>
                    </a:lnTo>
                    <a:lnTo>
                      <a:pt x="366" y="960"/>
                    </a:lnTo>
                    <a:lnTo>
                      <a:pt x="378" y="954"/>
                    </a:lnTo>
                    <a:lnTo>
                      <a:pt x="408" y="954"/>
                    </a:lnTo>
                    <a:lnTo>
                      <a:pt x="420" y="960"/>
                    </a:lnTo>
                    <a:lnTo>
                      <a:pt x="432" y="960"/>
                    </a:lnTo>
                    <a:lnTo>
                      <a:pt x="438" y="966"/>
                    </a:lnTo>
                    <a:lnTo>
                      <a:pt x="444" y="960"/>
                    </a:lnTo>
                    <a:lnTo>
                      <a:pt x="456" y="960"/>
                    </a:lnTo>
                    <a:lnTo>
                      <a:pt x="468" y="954"/>
                    </a:lnTo>
                    <a:lnTo>
                      <a:pt x="504" y="954"/>
                    </a:lnTo>
                    <a:lnTo>
                      <a:pt x="522" y="960"/>
                    </a:lnTo>
                    <a:lnTo>
                      <a:pt x="534" y="966"/>
                    </a:lnTo>
                    <a:lnTo>
                      <a:pt x="552" y="966"/>
                    </a:lnTo>
                    <a:lnTo>
                      <a:pt x="558" y="960"/>
                    </a:lnTo>
                    <a:lnTo>
                      <a:pt x="570" y="954"/>
                    </a:lnTo>
                    <a:lnTo>
                      <a:pt x="606" y="954"/>
                    </a:lnTo>
                    <a:lnTo>
                      <a:pt x="618" y="948"/>
                    </a:lnTo>
                    <a:lnTo>
                      <a:pt x="624" y="942"/>
                    </a:lnTo>
                    <a:lnTo>
                      <a:pt x="636" y="936"/>
                    </a:lnTo>
                    <a:lnTo>
                      <a:pt x="684" y="936"/>
                    </a:lnTo>
                    <a:lnTo>
                      <a:pt x="708" y="924"/>
                    </a:lnTo>
                    <a:lnTo>
                      <a:pt x="720" y="912"/>
                    </a:lnTo>
                    <a:lnTo>
                      <a:pt x="738" y="900"/>
                    </a:lnTo>
                    <a:lnTo>
                      <a:pt x="774" y="864"/>
                    </a:lnTo>
                    <a:lnTo>
                      <a:pt x="786" y="858"/>
                    </a:lnTo>
                    <a:lnTo>
                      <a:pt x="804" y="846"/>
                    </a:lnTo>
                    <a:lnTo>
                      <a:pt x="900" y="750"/>
                    </a:lnTo>
                    <a:lnTo>
                      <a:pt x="918" y="750"/>
                    </a:lnTo>
                    <a:lnTo>
                      <a:pt x="924" y="744"/>
                    </a:lnTo>
                    <a:lnTo>
                      <a:pt x="960" y="696"/>
                    </a:lnTo>
                    <a:lnTo>
                      <a:pt x="972" y="672"/>
                    </a:lnTo>
                    <a:lnTo>
                      <a:pt x="984" y="654"/>
                    </a:lnTo>
                    <a:lnTo>
                      <a:pt x="990" y="642"/>
                    </a:lnTo>
                    <a:lnTo>
                      <a:pt x="1002" y="606"/>
                    </a:lnTo>
                    <a:lnTo>
                      <a:pt x="1014" y="588"/>
                    </a:lnTo>
                    <a:lnTo>
                      <a:pt x="1020" y="576"/>
                    </a:lnTo>
                    <a:lnTo>
                      <a:pt x="1026" y="570"/>
                    </a:lnTo>
                    <a:lnTo>
                      <a:pt x="1038" y="564"/>
                    </a:lnTo>
                    <a:lnTo>
                      <a:pt x="1050" y="552"/>
                    </a:lnTo>
                    <a:lnTo>
                      <a:pt x="1068" y="546"/>
                    </a:lnTo>
                    <a:lnTo>
                      <a:pt x="1086" y="534"/>
                    </a:lnTo>
                    <a:lnTo>
                      <a:pt x="1098" y="510"/>
                    </a:lnTo>
                    <a:lnTo>
                      <a:pt x="1098" y="498"/>
                    </a:lnTo>
                    <a:lnTo>
                      <a:pt x="1104" y="486"/>
                    </a:lnTo>
                    <a:lnTo>
                      <a:pt x="1110" y="468"/>
                    </a:lnTo>
                    <a:lnTo>
                      <a:pt x="1116" y="456"/>
                    </a:lnTo>
                    <a:lnTo>
                      <a:pt x="1122" y="450"/>
                    </a:lnTo>
                    <a:lnTo>
                      <a:pt x="1122" y="438"/>
                    </a:lnTo>
                    <a:lnTo>
                      <a:pt x="1128" y="432"/>
                    </a:lnTo>
                    <a:lnTo>
                      <a:pt x="1128" y="414"/>
                    </a:lnTo>
                    <a:lnTo>
                      <a:pt x="1134" y="396"/>
                    </a:lnTo>
                    <a:lnTo>
                      <a:pt x="1128" y="384"/>
                    </a:lnTo>
                    <a:lnTo>
                      <a:pt x="1116" y="372"/>
                    </a:lnTo>
                    <a:close/>
                    <a:moveTo>
                      <a:pt x="870" y="624"/>
                    </a:moveTo>
                    <a:lnTo>
                      <a:pt x="858" y="630"/>
                    </a:lnTo>
                    <a:lnTo>
                      <a:pt x="852" y="636"/>
                    </a:lnTo>
                    <a:lnTo>
                      <a:pt x="840" y="642"/>
                    </a:lnTo>
                    <a:lnTo>
                      <a:pt x="822" y="642"/>
                    </a:lnTo>
                    <a:lnTo>
                      <a:pt x="810" y="648"/>
                    </a:lnTo>
                    <a:lnTo>
                      <a:pt x="804" y="654"/>
                    </a:lnTo>
                    <a:lnTo>
                      <a:pt x="798" y="666"/>
                    </a:lnTo>
                    <a:lnTo>
                      <a:pt x="792" y="672"/>
                    </a:lnTo>
                    <a:lnTo>
                      <a:pt x="792" y="684"/>
                    </a:lnTo>
                    <a:lnTo>
                      <a:pt x="774" y="684"/>
                    </a:lnTo>
                    <a:lnTo>
                      <a:pt x="744" y="654"/>
                    </a:lnTo>
                    <a:lnTo>
                      <a:pt x="744" y="636"/>
                    </a:lnTo>
                    <a:lnTo>
                      <a:pt x="720" y="600"/>
                    </a:lnTo>
                    <a:lnTo>
                      <a:pt x="744" y="600"/>
                    </a:lnTo>
                    <a:lnTo>
                      <a:pt x="750" y="582"/>
                    </a:lnTo>
                    <a:lnTo>
                      <a:pt x="768" y="564"/>
                    </a:lnTo>
                    <a:lnTo>
                      <a:pt x="768" y="546"/>
                    </a:lnTo>
                    <a:lnTo>
                      <a:pt x="774" y="540"/>
                    </a:lnTo>
                    <a:lnTo>
                      <a:pt x="798" y="540"/>
                    </a:lnTo>
                    <a:lnTo>
                      <a:pt x="798" y="528"/>
                    </a:lnTo>
                    <a:lnTo>
                      <a:pt x="810" y="522"/>
                    </a:lnTo>
                    <a:lnTo>
                      <a:pt x="846" y="522"/>
                    </a:lnTo>
                    <a:lnTo>
                      <a:pt x="852" y="528"/>
                    </a:lnTo>
                    <a:lnTo>
                      <a:pt x="858" y="540"/>
                    </a:lnTo>
                    <a:lnTo>
                      <a:pt x="864" y="546"/>
                    </a:lnTo>
                    <a:lnTo>
                      <a:pt x="870" y="558"/>
                    </a:lnTo>
                    <a:lnTo>
                      <a:pt x="882" y="564"/>
                    </a:lnTo>
                    <a:lnTo>
                      <a:pt x="888" y="588"/>
                    </a:lnTo>
                    <a:lnTo>
                      <a:pt x="864" y="606"/>
                    </a:lnTo>
                    <a:lnTo>
                      <a:pt x="870" y="624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66" name="Afghanistan"/>
              <p:cNvSpPr>
                <a:spLocks/>
              </p:cNvSpPr>
              <p:nvPr/>
            </p:nvSpPr>
            <p:spPr bwMode="gray">
              <a:xfrm>
                <a:off x="5867408" y="2827340"/>
                <a:ext cx="365126" cy="298451"/>
              </a:xfrm>
              <a:custGeom>
                <a:avLst/>
                <a:gdLst>
                  <a:gd name="T0" fmla="*/ 2147483647 w 906"/>
                  <a:gd name="T1" fmla="*/ 2147483647 h 738"/>
                  <a:gd name="T2" fmla="*/ 2147483647 w 906"/>
                  <a:gd name="T3" fmla="*/ 2147483647 h 738"/>
                  <a:gd name="T4" fmla="*/ 2147483647 w 906"/>
                  <a:gd name="T5" fmla="*/ 2147483647 h 738"/>
                  <a:gd name="T6" fmla="*/ 2147483647 w 906"/>
                  <a:gd name="T7" fmla="*/ 2147483647 h 738"/>
                  <a:gd name="T8" fmla="*/ 2147483647 w 906"/>
                  <a:gd name="T9" fmla="*/ 2147483647 h 738"/>
                  <a:gd name="T10" fmla="*/ 2147483647 w 906"/>
                  <a:gd name="T11" fmla="*/ 0 h 738"/>
                  <a:gd name="T12" fmla="*/ 2147483647 w 906"/>
                  <a:gd name="T13" fmla="*/ 2147483647 h 738"/>
                  <a:gd name="T14" fmla="*/ 2147483647 w 906"/>
                  <a:gd name="T15" fmla="*/ 2147483647 h 738"/>
                  <a:gd name="T16" fmla="*/ 2147483647 w 906"/>
                  <a:gd name="T17" fmla="*/ 2147483647 h 738"/>
                  <a:gd name="T18" fmla="*/ 2147483647 w 906"/>
                  <a:gd name="T19" fmla="*/ 2147483647 h 738"/>
                  <a:gd name="T20" fmla="*/ 2147483647 w 906"/>
                  <a:gd name="T21" fmla="*/ 2147483647 h 738"/>
                  <a:gd name="T22" fmla="*/ 2147483647 w 906"/>
                  <a:gd name="T23" fmla="*/ 2147483647 h 738"/>
                  <a:gd name="T24" fmla="*/ 2147483647 w 906"/>
                  <a:gd name="T25" fmla="*/ 2147483647 h 738"/>
                  <a:gd name="T26" fmla="*/ 2147483647 w 906"/>
                  <a:gd name="T27" fmla="*/ 2147483647 h 738"/>
                  <a:gd name="T28" fmla="*/ 2147483647 w 906"/>
                  <a:gd name="T29" fmla="*/ 2147483647 h 738"/>
                  <a:gd name="T30" fmla="*/ 2147483647 w 906"/>
                  <a:gd name="T31" fmla="*/ 2147483647 h 738"/>
                  <a:gd name="T32" fmla="*/ 2147483647 w 906"/>
                  <a:gd name="T33" fmla="*/ 2147483647 h 738"/>
                  <a:gd name="T34" fmla="*/ 2147483647 w 906"/>
                  <a:gd name="T35" fmla="*/ 2147483647 h 738"/>
                  <a:gd name="T36" fmla="*/ 2147483647 w 906"/>
                  <a:gd name="T37" fmla="*/ 2147483647 h 738"/>
                  <a:gd name="T38" fmla="*/ 2147483647 w 906"/>
                  <a:gd name="T39" fmla="*/ 2147483647 h 738"/>
                  <a:gd name="T40" fmla="*/ 2147483647 w 906"/>
                  <a:gd name="T41" fmla="*/ 2147483647 h 738"/>
                  <a:gd name="T42" fmla="*/ 2147483647 w 906"/>
                  <a:gd name="T43" fmla="*/ 2147483647 h 738"/>
                  <a:gd name="T44" fmla="*/ 2147483647 w 906"/>
                  <a:gd name="T45" fmla="*/ 2147483647 h 738"/>
                  <a:gd name="T46" fmla="*/ 0 w 906"/>
                  <a:gd name="T47" fmla="*/ 2147483647 h 738"/>
                  <a:gd name="T48" fmla="*/ 2147483647 w 906"/>
                  <a:gd name="T49" fmla="*/ 2147483647 h 738"/>
                  <a:gd name="T50" fmla="*/ 2147483647 w 906"/>
                  <a:gd name="T51" fmla="*/ 2147483647 h 738"/>
                  <a:gd name="T52" fmla="*/ 2147483647 w 906"/>
                  <a:gd name="T53" fmla="*/ 2147483647 h 738"/>
                  <a:gd name="T54" fmla="*/ 2147483647 w 906"/>
                  <a:gd name="T55" fmla="*/ 2147483647 h 738"/>
                  <a:gd name="T56" fmla="*/ 2147483647 w 906"/>
                  <a:gd name="T57" fmla="*/ 2147483647 h 738"/>
                  <a:gd name="T58" fmla="*/ 2147483647 w 906"/>
                  <a:gd name="T59" fmla="*/ 2147483647 h 738"/>
                  <a:gd name="T60" fmla="*/ 2147483647 w 906"/>
                  <a:gd name="T61" fmla="*/ 2147483647 h 738"/>
                  <a:gd name="T62" fmla="*/ 2147483647 w 906"/>
                  <a:gd name="T63" fmla="*/ 2147483647 h 738"/>
                  <a:gd name="T64" fmla="*/ 2147483647 w 906"/>
                  <a:gd name="T65" fmla="*/ 2147483647 h 738"/>
                  <a:gd name="T66" fmla="*/ 2147483647 w 906"/>
                  <a:gd name="T67" fmla="*/ 2147483647 h 738"/>
                  <a:gd name="T68" fmla="*/ 2147483647 w 906"/>
                  <a:gd name="T69" fmla="*/ 2147483647 h 738"/>
                  <a:gd name="T70" fmla="*/ 2147483647 w 906"/>
                  <a:gd name="T71" fmla="*/ 2147483647 h 738"/>
                  <a:gd name="T72" fmla="*/ 2147483647 w 906"/>
                  <a:gd name="T73" fmla="*/ 2147483647 h 738"/>
                  <a:gd name="T74" fmla="*/ 2147483647 w 906"/>
                  <a:gd name="T75" fmla="*/ 2147483647 h 738"/>
                  <a:gd name="T76" fmla="*/ 2147483647 w 906"/>
                  <a:gd name="T77" fmla="*/ 2147483647 h 738"/>
                  <a:gd name="T78" fmla="*/ 2147483647 w 906"/>
                  <a:gd name="T79" fmla="*/ 2147483647 h 738"/>
                  <a:gd name="T80" fmla="*/ 2147483647 w 906"/>
                  <a:gd name="T81" fmla="*/ 2147483647 h 738"/>
                  <a:gd name="T82" fmla="*/ 2147483647 w 906"/>
                  <a:gd name="T83" fmla="*/ 2147483647 h 738"/>
                  <a:gd name="T84" fmla="*/ 2147483647 w 906"/>
                  <a:gd name="T85" fmla="*/ 2147483647 h 738"/>
                  <a:gd name="T86" fmla="*/ 2147483647 w 906"/>
                  <a:gd name="T87" fmla="*/ 2147483647 h 738"/>
                  <a:gd name="T88" fmla="*/ 2147483647 w 906"/>
                  <a:gd name="T89" fmla="*/ 2147483647 h 738"/>
                  <a:gd name="T90" fmla="*/ 2147483647 w 906"/>
                  <a:gd name="T91" fmla="*/ 2147483647 h 738"/>
                  <a:gd name="T92" fmla="*/ 2147483647 w 906"/>
                  <a:gd name="T93" fmla="*/ 2147483647 h 738"/>
                  <a:gd name="T94" fmla="*/ 2147483647 w 906"/>
                  <a:gd name="T95" fmla="*/ 2147483647 h 738"/>
                  <a:gd name="T96" fmla="*/ 2147483647 w 906"/>
                  <a:gd name="T97" fmla="*/ 2147483647 h 738"/>
                  <a:gd name="T98" fmla="*/ 2147483647 w 906"/>
                  <a:gd name="T99" fmla="*/ 2147483647 h 738"/>
                  <a:gd name="T100" fmla="*/ 2147483647 w 906"/>
                  <a:gd name="T101" fmla="*/ 2147483647 h 738"/>
                  <a:gd name="T102" fmla="*/ 2147483647 w 906"/>
                  <a:gd name="T103" fmla="*/ 2147483647 h 738"/>
                  <a:gd name="T104" fmla="*/ 2147483647 w 906"/>
                  <a:gd name="T105" fmla="*/ 2147483647 h 738"/>
                  <a:gd name="T106" fmla="*/ 2147483647 w 906"/>
                  <a:gd name="T107" fmla="*/ 2147483647 h 738"/>
                  <a:gd name="T108" fmla="*/ 2147483647 w 906"/>
                  <a:gd name="T109" fmla="*/ 2147483647 h 73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906"/>
                  <a:gd name="T166" fmla="*/ 0 h 738"/>
                  <a:gd name="T167" fmla="*/ 906 w 906"/>
                  <a:gd name="T168" fmla="*/ 738 h 73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906" h="738">
                    <a:moveTo>
                      <a:pt x="894" y="108"/>
                    </a:moveTo>
                    <a:lnTo>
                      <a:pt x="894" y="96"/>
                    </a:lnTo>
                    <a:lnTo>
                      <a:pt x="906" y="96"/>
                    </a:lnTo>
                    <a:lnTo>
                      <a:pt x="900" y="90"/>
                    </a:lnTo>
                    <a:lnTo>
                      <a:pt x="876" y="90"/>
                    </a:lnTo>
                    <a:lnTo>
                      <a:pt x="840" y="102"/>
                    </a:lnTo>
                    <a:lnTo>
                      <a:pt x="840" y="84"/>
                    </a:lnTo>
                    <a:lnTo>
                      <a:pt x="816" y="84"/>
                    </a:lnTo>
                    <a:lnTo>
                      <a:pt x="792" y="96"/>
                    </a:lnTo>
                    <a:lnTo>
                      <a:pt x="786" y="102"/>
                    </a:lnTo>
                    <a:lnTo>
                      <a:pt x="780" y="114"/>
                    </a:lnTo>
                    <a:lnTo>
                      <a:pt x="774" y="120"/>
                    </a:lnTo>
                    <a:lnTo>
                      <a:pt x="756" y="120"/>
                    </a:lnTo>
                    <a:lnTo>
                      <a:pt x="750" y="126"/>
                    </a:lnTo>
                    <a:lnTo>
                      <a:pt x="744" y="138"/>
                    </a:lnTo>
                    <a:lnTo>
                      <a:pt x="732" y="144"/>
                    </a:lnTo>
                    <a:lnTo>
                      <a:pt x="726" y="150"/>
                    </a:lnTo>
                    <a:lnTo>
                      <a:pt x="720" y="150"/>
                    </a:lnTo>
                    <a:lnTo>
                      <a:pt x="690" y="120"/>
                    </a:lnTo>
                    <a:lnTo>
                      <a:pt x="690" y="114"/>
                    </a:lnTo>
                    <a:lnTo>
                      <a:pt x="678" y="48"/>
                    </a:lnTo>
                    <a:lnTo>
                      <a:pt x="660" y="48"/>
                    </a:lnTo>
                    <a:lnTo>
                      <a:pt x="660" y="18"/>
                    </a:lnTo>
                    <a:lnTo>
                      <a:pt x="642" y="0"/>
                    </a:lnTo>
                    <a:lnTo>
                      <a:pt x="624" y="0"/>
                    </a:lnTo>
                    <a:lnTo>
                      <a:pt x="618" y="6"/>
                    </a:lnTo>
                    <a:lnTo>
                      <a:pt x="618" y="30"/>
                    </a:lnTo>
                    <a:lnTo>
                      <a:pt x="612" y="36"/>
                    </a:lnTo>
                    <a:lnTo>
                      <a:pt x="606" y="36"/>
                    </a:lnTo>
                    <a:lnTo>
                      <a:pt x="594" y="48"/>
                    </a:lnTo>
                    <a:lnTo>
                      <a:pt x="594" y="54"/>
                    </a:lnTo>
                    <a:lnTo>
                      <a:pt x="600" y="60"/>
                    </a:lnTo>
                    <a:lnTo>
                      <a:pt x="606" y="60"/>
                    </a:lnTo>
                    <a:lnTo>
                      <a:pt x="600" y="84"/>
                    </a:lnTo>
                    <a:lnTo>
                      <a:pt x="588" y="72"/>
                    </a:lnTo>
                    <a:lnTo>
                      <a:pt x="570" y="72"/>
                    </a:lnTo>
                    <a:lnTo>
                      <a:pt x="558" y="78"/>
                    </a:lnTo>
                    <a:lnTo>
                      <a:pt x="546" y="90"/>
                    </a:lnTo>
                    <a:lnTo>
                      <a:pt x="546" y="120"/>
                    </a:lnTo>
                    <a:lnTo>
                      <a:pt x="540" y="120"/>
                    </a:lnTo>
                    <a:lnTo>
                      <a:pt x="534" y="114"/>
                    </a:lnTo>
                    <a:lnTo>
                      <a:pt x="528" y="102"/>
                    </a:lnTo>
                    <a:lnTo>
                      <a:pt x="522" y="96"/>
                    </a:lnTo>
                    <a:lnTo>
                      <a:pt x="510" y="96"/>
                    </a:lnTo>
                    <a:lnTo>
                      <a:pt x="504" y="102"/>
                    </a:lnTo>
                    <a:lnTo>
                      <a:pt x="492" y="108"/>
                    </a:lnTo>
                    <a:lnTo>
                      <a:pt x="474" y="126"/>
                    </a:lnTo>
                    <a:lnTo>
                      <a:pt x="468" y="126"/>
                    </a:lnTo>
                    <a:lnTo>
                      <a:pt x="456" y="114"/>
                    </a:lnTo>
                    <a:lnTo>
                      <a:pt x="444" y="108"/>
                    </a:lnTo>
                    <a:lnTo>
                      <a:pt x="438" y="102"/>
                    </a:lnTo>
                    <a:lnTo>
                      <a:pt x="426" y="102"/>
                    </a:lnTo>
                    <a:lnTo>
                      <a:pt x="414" y="108"/>
                    </a:lnTo>
                    <a:lnTo>
                      <a:pt x="396" y="84"/>
                    </a:lnTo>
                    <a:lnTo>
                      <a:pt x="384" y="96"/>
                    </a:lnTo>
                    <a:lnTo>
                      <a:pt x="342" y="96"/>
                    </a:lnTo>
                    <a:lnTo>
                      <a:pt x="330" y="90"/>
                    </a:lnTo>
                    <a:lnTo>
                      <a:pt x="324" y="84"/>
                    </a:lnTo>
                    <a:lnTo>
                      <a:pt x="312" y="78"/>
                    </a:lnTo>
                    <a:lnTo>
                      <a:pt x="300" y="78"/>
                    </a:lnTo>
                    <a:lnTo>
                      <a:pt x="300" y="102"/>
                    </a:lnTo>
                    <a:lnTo>
                      <a:pt x="264" y="102"/>
                    </a:lnTo>
                    <a:lnTo>
                      <a:pt x="252" y="108"/>
                    </a:lnTo>
                    <a:lnTo>
                      <a:pt x="246" y="120"/>
                    </a:lnTo>
                    <a:lnTo>
                      <a:pt x="246" y="180"/>
                    </a:lnTo>
                    <a:lnTo>
                      <a:pt x="234" y="180"/>
                    </a:lnTo>
                    <a:lnTo>
                      <a:pt x="222" y="186"/>
                    </a:lnTo>
                    <a:lnTo>
                      <a:pt x="216" y="198"/>
                    </a:lnTo>
                    <a:lnTo>
                      <a:pt x="180" y="216"/>
                    </a:lnTo>
                    <a:lnTo>
                      <a:pt x="168" y="216"/>
                    </a:lnTo>
                    <a:lnTo>
                      <a:pt x="168" y="228"/>
                    </a:lnTo>
                    <a:lnTo>
                      <a:pt x="156" y="252"/>
                    </a:lnTo>
                    <a:lnTo>
                      <a:pt x="150" y="258"/>
                    </a:lnTo>
                    <a:lnTo>
                      <a:pt x="138" y="264"/>
                    </a:lnTo>
                    <a:lnTo>
                      <a:pt x="114" y="264"/>
                    </a:lnTo>
                    <a:lnTo>
                      <a:pt x="90" y="240"/>
                    </a:lnTo>
                    <a:lnTo>
                      <a:pt x="84" y="240"/>
                    </a:lnTo>
                    <a:lnTo>
                      <a:pt x="78" y="246"/>
                    </a:lnTo>
                    <a:lnTo>
                      <a:pt x="66" y="246"/>
                    </a:lnTo>
                    <a:lnTo>
                      <a:pt x="60" y="240"/>
                    </a:lnTo>
                    <a:lnTo>
                      <a:pt x="48" y="240"/>
                    </a:lnTo>
                    <a:lnTo>
                      <a:pt x="42" y="234"/>
                    </a:lnTo>
                    <a:lnTo>
                      <a:pt x="36" y="240"/>
                    </a:lnTo>
                    <a:lnTo>
                      <a:pt x="30" y="252"/>
                    </a:lnTo>
                    <a:lnTo>
                      <a:pt x="30" y="258"/>
                    </a:lnTo>
                    <a:lnTo>
                      <a:pt x="36" y="270"/>
                    </a:lnTo>
                    <a:lnTo>
                      <a:pt x="36" y="294"/>
                    </a:lnTo>
                    <a:lnTo>
                      <a:pt x="42" y="300"/>
                    </a:lnTo>
                    <a:lnTo>
                      <a:pt x="42" y="306"/>
                    </a:lnTo>
                    <a:lnTo>
                      <a:pt x="18" y="312"/>
                    </a:lnTo>
                    <a:lnTo>
                      <a:pt x="30" y="330"/>
                    </a:lnTo>
                    <a:lnTo>
                      <a:pt x="24" y="330"/>
                    </a:lnTo>
                    <a:lnTo>
                      <a:pt x="18" y="336"/>
                    </a:lnTo>
                    <a:lnTo>
                      <a:pt x="6" y="342"/>
                    </a:lnTo>
                    <a:lnTo>
                      <a:pt x="0" y="348"/>
                    </a:lnTo>
                    <a:lnTo>
                      <a:pt x="0" y="354"/>
                    </a:lnTo>
                    <a:lnTo>
                      <a:pt x="12" y="366"/>
                    </a:lnTo>
                    <a:lnTo>
                      <a:pt x="12" y="396"/>
                    </a:lnTo>
                    <a:lnTo>
                      <a:pt x="36" y="396"/>
                    </a:lnTo>
                    <a:lnTo>
                      <a:pt x="42" y="402"/>
                    </a:lnTo>
                    <a:lnTo>
                      <a:pt x="42" y="408"/>
                    </a:lnTo>
                    <a:lnTo>
                      <a:pt x="24" y="426"/>
                    </a:lnTo>
                    <a:lnTo>
                      <a:pt x="18" y="438"/>
                    </a:lnTo>
                    <a:lnTo>
                      <a:pt x="30" y="462"/>
                    </a:lnTo>
                    <a:lnTo>
                      <a:pt x="42" y="480"/>
                    </a:lnTo>
                    <a:lnTo>
                      <a:pt x="54" y="504"/>
                    </a:lnTo>
                    <a:lnTo>
                      <a:pt x="60" y="510"/>
                    </a:lnTo>
                    <a:lnTo>
                      <a:pt x="60" y="564"/>
                    </a:lnTo>
                    <a:lnTo>
                      <a:pt x="66" y="570"/>
                    </a:lnTo>
                    <a:lnTo>
                      <a:pt x="72" y="570"/>
                    </a:lnTo>
                    <a:lnTo>
                      <a:pt x="84" y="576"/>
                    </a:lnTo>
                    <a:lnTo>
                      <a:pt x="120" y="576"/>
                    </a:lnTo>
                    <a:lnTo>
                      <a:pt x="126" y="582"/>
                    </a:lnTo>
                    <a:lnTo>
                      <a:pt x="138" y="606"/>
                    </a:lnTo>
                    <a:lnTo>
                      <a:pt x="114" y="654"/>
                    </a:lnTo>
                    <a:lnTo>
                      <a:pt x="108" y="660"/>
                    </a:lnTo>
                    <a:lnTo>
                      <a:pt x="102" y="672"/>
                    </a:lnTo>
                    <a:lnTo>
                      <a:pt x="84" y="690"/>
                    </a:lnTo>
                    <a:lnTo>
                      <a:pt x="84" y="702"/>
                    </a:lnTo>
                    <a:lnTo>
                      <a:pt x="120" y="702"/>
                    </a:lnTo>
                    <a:lnTo>
                      <a:pt x="132" y="708"/>
                    </a:lnTo>
                    <a:lnTo>
                      <a:pt x="150" y="720"/>
                    </a:lnTo>
                    <a:lnTo>
                      <a:pt x="168" y="726"/>
                    </a:lnTo>
                    <a:lnTo>
                      <a:pt x="192" y="738"/>
                    </a:lnTo>
                    <a:lnTo>
                      <a:pt x="210" y="738"/>
                    </a:lnTo>
                    <a:lnTo>
                      <a:pt x="228" y="732"/>
                    </a:lnTo>
                    <a:lnTo>
                      <a:pt x="234" y="732"/>
                    </a:lnTo>
                    <a:lnTo>
                      <a:pt x="240" y="726"/>
                    </a:lnTo>
                    <a:lnTo>
                      <a:pt x="294" y="726"/>
                    </a:lnTo>
                    <a:lnTo>
                      <a:pt x="294" y="732"/>
                    </a:lnTo>
                    <a:lnTo>
                      <a:pt x="318" y="732"/>
                    </a:lnTo>
                    <a:lnTo>
                      <a:pt x="324" y="726"/>
                    </a:lnTo>
                    <a:lnTo>
                      <a:pt x="348" y="726"/>
                    </a:lnTo>
                    <a:lnTo>
                      <a:pt x="366" y="720"/>
                    </a:lnTo>
                    <a:lnTo>
                      <a:pt x="396" y="720"/>
                    </a:lnTo>
                    <a:lnTo>
                      <a:pt x="444" y="696"/>
                    </a:lnTo>
                    <a:lnTo>
                      <a:pt x="450" y="696"/>
                    </a:lnTo>
                    <a:lnTo>
                      <a:pt x="456" y="690"/>
                    </a:lnTo>
                    <a:lnTo>
                      <a:pt x="456" y="660"/>
                    </a:lnTo>
                    <a:lnTo>
                      <a:pt x="450" y="654"/>
                    </a:lnTo>
                    <a:lnTo>
                      <a:pt x="450" y="636"/>
                    </a:lnTo>
                    <a:lnTo>
                      <a:pt x="444" y="624"/>
                    </a:lnTo>
                    <a:lnTo>
                      <a:pt x="444" y="606"/>
                    </a:lnTo>
                    <a:lnTo>
                      <a:pt x="450" y="594"/>
                    </a:lnTo>
                    <a:lnTo>
                      <a:pt x="462" y="588"/>
                    </a:lnTo>
                    <a:lnTo>
                      <a:pt x="468" y="576"/>
                    </a:lnTo>
                    <a:lnTo>
                      <a:pt x="486" y="576"/>
                    </a:lnTo>
                    <a:lnTo>
                      <a:pt x="486" y="588"/>
                    </a:lnTo>
                    <a:lnTo>
                      <a:pt x="528" y="588"/>
                    </a:lnTo>
                    <a:lnTo>
                      <a:pt x="534" y="582"/>
                    </a:lnTo>
                    <a:lnTo>
                      <a:pt x="534" y="576"/>
                    </a:lnTo>
                    <a:lnTo>
                      <a:pt x="528" y="570"/>
                    </a:lnTo>
                    <a:lnTo>
                      <a:pt x="522" y="570"/>
                    </a:lnTo>
                    <a:lnTo>
                      <a:pt x="522" y="564"/>
                    </a:lnTo>
                    <a:lnTo>
                      <a:pt x="528" y="558"/>
                    </a:lnTo>
                    <a:lnTo>
                      <a:pt x="534" y="558"/>
                    </a:lnTo>
                    <a:lnTo>
                      <a:pt x="546" y="552"/>
                    </a:lnTo>
                    <a:lnTo>
                      <a:pt x="552" y="546"/>
                    </a:lnTo>
                    <a:lnTo>
                      <a:pt x="564" y="540"/>
                    </a:lnTo>
                    <a:lnTo>
                      <a:pt x="594" y="540"/>
                    </a:lnTo>
                    <a:lnTo>
                      <a:pt x="594" y="552"/>
                    </a:lnTo>
                    <a:lnTo>
                      <a:pt x="600" y="558"/>
                    </a:lnTo>
                    <a:lnTo>
                      <a:pt x="612" y="558"/>
                    </a:lnTo>
                    <a:lnTo>
                      <a:pt x="624" y="552"/>
                    </a:lnTo>
                    <a:lnTo>
                      <a:pt x="630" y="540"/>
                    </a:lnTo>
                    <a:lnTo>
                      <a:pt x="636" y="534"/>
                    </a:lnTo>
                    <a:lnTo>
                      <a:pt x="636" y="528"/>
                    </a:lnTo>
                    <a:lnTo>
                      <a:pt x="630" y="522"/>
                    </a:lnTo>
                    <a:lnTo>
                      <a:pt x="630" y="510"/>
                    </a:lnTo>
                    <a:lnTo>
                      <a:pt x="624" y="498"/>
                    </a:lnTo>
                    <a:lnTo>
                      <a:pt x="624" y="480"/>
                    </a:lnTo>
                    <a:lnTo>
                      <a:pt x="630" y="474"/>
                    </a:lnTo>
                    <a:lnTo>
                      <a:pt x="636" y="474"/>
                    </a:lnTo>
                    <a:lnTo>
                      <a:pt x="636" y="438"/>
                    </a:lnTo>
                    <a:lnTo>
                      <a:pt x="642" y="432"/>
                    </a:lnTo>
                    <a:lnTo>
                      <a:pt x="660" y="432"/>
                    </a:lnTo>
                    <a:lnTo>
                      <a:pt x="690" y="414"/>
                    </a:lnTo>
                    <a:lnTo>
                      <a:pt x="684" y="414"/>
                    </a:lnTo>
                    <a:lnTo>
                      <a:pt x="672" y="408"/>
                    </a:lnTo>
                    <a:lnTo>
                      <a:pt x="672" y="402"/>
                    </a:lnTo>
                    <a:lnTo>
                      <a:pt x="666" y="396"/>
                    </a:lnTo>
                    <a:lnTo>
                      <a:pt x="666" y="390"/>
                    </a:lnTo>
                    <a:lnTo>
                      <a:pt x="654" y="384"/>
                    </a:lnTo>
                    <a:lnTo>
                      <a:pt x="642" y="372"/>
                    </a:lnTo>
                    <a:lnTo>
                      <a:pt x="642" y="360"/>
                    </a:lnTo>
                    <a:lnTo>
                      <a:pt x="660" y="360"/>
                    </a:lnTo>
                    <a:lnTo>
                      <a:pt x="666" y="366"/>
                    </a:lnTo>
                    <a:lnTo>
                      <a:pt x="684" y="372"/>
                    </a:lnTo>
                    <a:lnTo>
                      <a:pt x="690" y="372"/>
                    </a:lnTo>
                    <a:lnTo>
                      <a:pt x="696" y="366"/>
                    </a:lnTo>
                    <a:lnTo>
                      <a:pt x="714" y="366"/>
                    </a:lnTo>
                    <a:lnTo>
                      <a:pt x="714" y="336"/>
                    </a:lnTo>
                    <a:lnTo>
                      <a:pt x="708" y="330"/>
                    </a:lnTo>
                    <a:lnTo>
                      <a:pt x="708" y="318"/>
                    </a:lnTo>
                    <a:lnTo>
                      <a:pt x="714" y="306"/>
                    </a:lnTo>
                    <a:lnTo>
                      <a:pt x="738" y="282"/>
                    </a:lnTo>
                    <a:lnTo>
                      <a:pt x="738" y="276"/>
                    </a:lnTo>
                    <a:lnTo>
                      <a:pt x="732" y="264"/>
                    </a:lnTo>
                    <a:lnTo>
                      <a:pt x="726" y="258"/>
                    </a:lnTo>
                    <a:lnTo>
                      <a:pt x="726" y="228"/>
                    </a:lnTo>
                    <a:lnTo>
                      <a:pt x="696" y="198"/>
                    </a:lnTo>
                    <a:lnTo>
                      <a:pt x="696" y="192"/>
                    </a:lnTo>
                    <a:lnTo>
                      <a:pt x="702" y="186"/>
                    </a:lnTo>
                    <a:lnTo>
                      <a:pt x="708" y="174"/>
                    </a:lnTo>
                    <a:lnTo>
                      <a:pt x="714" y="168"/>
                    </a:lnTo>
                    <a:lnTo>
                      <a:pt x="738" y="156"/>
                    </a:lnTo>
                    <a:lnTo>
                      <a:pt x="744" y="150"/>
                    </a:lnTo>
                    <a:lnTo>
                      <a:pt x="768" y="138"/>
                    </a:lnTo>
                    <a:lnTo>
                      <a:pt x="774" y="138"/>
                    </a:lnTo>
                    <a:lnTo>
                      <a:pt x="780" y="132"/>
                    </a:lnTo>
                    <a:lnTo>
                      <a:pt x="822" y="132"/>
                    </a:lnTo>
                    <a:lnTo>
                      <a:pt x="828" y="126"/>
                    </a:lnTo>
                    <a:lnTo>
                      <a:pt x="852" y="126"/>
                    </a:lnTo>
                    <a:lnTo>
                      <a:pt x="864" y="132"/>
                    </a:lnTo>
                    <a:lnTo>
                      <a:pt x="876" y="132"/>
                    </a:lnTo>
                    <a:lnTo>
                      <a:pt x="882" y="126"/>
                    </a:lnTo>
                    <a:lnTo>
                      <a:pt x="894" y="126"/>
                    </a:lnTo>
                    <a:lnTo>
                      <a:pt x="900" y="120"/>
                    </a:lnTo>
                    <a:lnTo>
                      <a:pt x="894" y="114"/>
                    </a:lnTo>
                    <a:lnTo>
                      <a:pt x="894" y="108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67" name="Russia"/>
              <p:cNvSpPr>
                <a:spLocks noEditPoints="1"/>
              </p:cNvSpPr>
              <p:nvPr/>
            </p:nvSpPr>
            <p:spPr bwMode="gray">
              <a:xfrm>
                <a:off x="4732218" y="1585896"/>
                <a:ext cx="3640145" cy="1160463"/>
              </a:xfrm>
              <a:custGeom>
                <a:avLst/>
                <a:gdLst>
                  <a:gd name="T0" fmla="*/ 2147483647 w 9048"/>
                  <a:gd name="T1" fmla="*/ 2147483647 h 2880"/>
                  <a:gd name="T2" fmla="*/ 2147483647 w 9048"/>
                  <a:gd name="T3" fmla="*/ 2147483647 h 2880"/>
                  <a:gd name="T4" fmla="*/ 2147483647 w 9048"/>
                  <a:gd name="T5" fmla="*/ 2147483647 h 2880"/>
                  <a:gd name="T6" fmla="*/ 2147483647 w 9048"/>
                  <a:gd name="T7" fmla="*/ 2147483647 h 2880"/>
                  <a:gd name="T8" fmla="*/ 2147483647 w 9048"/>
                  <a:gd name="T9" fmla="*/ 2147483647 h 2880"/>
                  <a:gd name="T10" fmla="*/ 2147483647 w 9048"/>
                  <a:gd name="T11" fmla="*/ 2147483647 h 2880"/>
                  <a:gd name="T12" fmla="*/ 2147483647 w 9048"/>
                  <a:gd name="T13" fmla="*/ 2147483647 h 2880"/>
                  <a:gd name="T14" fmla="*/ 2147483647 w 9048"/>
                  <a:gd name="T15" fmla="*/ 2147483647 h 2880"/>
                  <a:gd name="T16" fmla="*/ 2147483647 w 9048"/>
                  <a:gd name="T17" fmla="*/ 2147483647 h 2880"/>
                  <a:gd name="T18" fmla="*/ 2147483647 w 9048"/>
                  <a:gd name="T19" fmla="*/ 2147483647 h 2880"/>
                  <a:gd name="T20" fmla="*/ 2147483647 w 9048"/>
                  <a:gd name="T21" fmla="*/ 2147483647 h 2880"/>
                  <a:gd name="T22" fmla="*/ 2147483647 w 9048"/>
                  <a:gd name="T23" fmla="*/ 2147483647 h 2880"/>
                  <a:gd name="T24" fmla="*/ 2147483647 w 9048"/>
                  <a:gd name="T25" fmla="*/ 2147483647 h 2880"/>
                  <a:gd name="T26" fmla="*/ 2147483647 w 9048"/>
                  <a:gd name="T27" fmla="*/ 2147483647 h 2880"/>
                  <a:gd name="T28" fmla="*/ 2147483647 w 9048"/>
                  <a:gd name="T29" fmla="*/ 2147483647 h 2880"/>
                  <a:gd name="T30" fmla="*/ 2147483647 w 9048"/>
                  <a:gd name="T31" fmla="*/ 2147483647 h 2880"/>
                  <a:gd name="T32" fmla="*/ 2147483647 w 9048"/>
                  <a:gd name="T33" fmla="*/ 2147483647 h 2880"/>
                  <a:gd name="T34" fmla="*/ 2147483647 w 9048"/>
                  <a:gd name="T35" fmla="*/ 2147483647 h 2880"/>
                  <a:gd name="T36" fmla="*/ 2147483647 w 9048"/>
                  <a:gd name="T37" fmla="*/ 2147483647 h 2880"/>
                  <a:gd name="T38" fmla="*/ 2147483647 w 9048"/>
                  <a:gd name="T39" fmla="*/ 2147483647 h 2880"/>
                  <a:gd name="T40" fmla="*/ 2147483647 w 9048"/>
                  <a:gd name="T41" fmla="*/ 2147483647 h 2880"/>
                  <a:gd name="T42" fmla="*/ 2147483647 w 9048"/>
                  <a:gd name="T43" fmla="*/ 2147483647 h 2880"/>
                  <a:gd name="T44" fmla="*/ 2147483647 w 9048"/>
                  <a:gd name="T45" fmla="*/ 2147483647 h 2880"/>
                  <a:gd name="T46" fmla="*/ 2147483647 w 9048"/>
                  <a:gd name="T47" fmla="*/ 2147483647 h 2880"/>
                  <a:gd name="T48" fmla="*/ 2147483647 w 9048"/>
                  <a:gd name="T49" fmla="*/ 2147483647 h 2880"/>
                  <a:gd name="T50" fmla="*/ 2147483647 w 9048"/>
                  <a:gd name="T51" fmla="*/ 2147483647 h 2880"/>
                  <a:gd name="T52" fmla="*/ 2147483647 w 9048"/>
                  <a:gd name="T53" fmla="*/ 2147483647 h 2880"/>
                  <a:gd name="T54" fmla="*/ 2147483647 w 9048"/>
                  <a:gd name="T55" fmla="*/ 2147483647 h 2880"/>
                  <a:gd name="T56" fmla="*/ 2147483647 w 9048"/>
                  <a:gd name="T57" fmla="*/ 2147483647 h 2880"/>
                  <a:gd name="T58" fmla="*/ 2147483647 w 9048"/>
                  <a:gd name="T59" fmla="*/ 2147483647 h 2880"/>
                  <a:gd name="T60" fmla="*/ 2147483647 w 9048"/>
                  <a:gd name="T61" fmla="*/ 2147483647 h 2880"/>
                  <a:gd name="T62" fmla="*/ 2147483647 w 9048"/>
                  <a:gd name="T63" fmla="*/ 2147483647 h 2880"/>
                  <a:gd name="T64" fmla="*/ 2147483647 w 9048"/>
                  <a:gd name="T65" fmla="*/ 2147483647 h 2880"/>
                  <a:gd name="T66" fmla="*/ 2147483647 w 9048"/>
                  <a:gd name="T67" fmla="*/ 2147483647 h 2880"/>
                  <a:gd name="T68" fmla="*/ 2147483647 w 9048"/>
                  <a:gd name="T69" fmla="*/ 2147483647 h 2880"/>
                  <a:gd name="T70" fmla="*/ 2147483647 w 9048"/>
                  <a:gd name="T71" fmla="*/ 2147483647 h 2880"/>
                  <a:gd name="T72" fmla="*/ 2147483647 w 9048"/>
                  <a:gd name="T73" fmla="*/ 2147483647 h 2880"/>
                  <a:gd name="T74" fmla="*/ 2147483647 w 9048"/>
                  <a:gd name="T75" fmla="*/ 2147483647 h 2880"/>
                  <a:gd name="T76" fmla="*/ 2147483647 w 9048"/>
                  <a:gd name="T77" fmla="*/ 2147483647 h 2880"/>
                  <a:gd name="T78" fmla="*/ 2147483647 w 9048"/>
                  <a:gd name="T79" fmla="*/ 2147483647 h 2880"/>
                  <a:gd name="T80" fmla="*/ 2147483647 w 9048"/>
                  <a:gd name="T81" fmla="*/ 2147483647 h 2880"/>
                  <a:gd name="T82" fmla="*/ 2147483647 w 9048"/>
                  <a:gd name="T83" fmla="*/ 2147483647 h 2880"/>
                  <a:gd name="T84" fmla="*/ 2147483647 w 9048"/>
                  <a:gd name="T85" fmla="*/ 2147483647 h 2880"/>
                  <a:gd name="T86" fmla="*/ 2147483647 w 9048"/>
                  <a:gd name="T87" fmla="*/ 2147483647 h 2880"/>
                  <a:gd name="T88" fmla="*/ 2147483647 w 9048"/>
                  <a:gd name="T89" fmla="*/ 2147483647 h 2880"/>
                  <a:gd name="T90" fmla="*/ 2147483647 w 9048"/>
                  <a:gd name="T91" fmla="*/ 2147483647 h 2880"/>
                  <a:gd name="T92" fmla="*/ 2147483647 w 9048"/>
                  <a:gd name="T93" fmla="*/ 2147483647 h 2880"/>
                  <a:gd name="T94" fmla="*/ 2147483647 w 9048"/>
                  <a:gd name="T95" fmla="*/ 2147483647 h 2880"/>
                  <a:gd name="T96" fmla="*/ 2147483647 w 9048"/>
                  <a:gd name="T97" fmla="*/ 2147483647 h 2880"/>
                  <a:gd name="T98" fmla="*/ 2147483647 w 9048"/>
                  <a:gd name="T99" fmla="*/ 2147483647 h 2880"/>
                  <a:gd name="T100" fmla="*/ 2147483647 w 9048"/>
                  <a:gd name="T101" fmla="*/ 2147483647 h 2880"/>
                  <a:gd name="T102" fmla="*/ 2147483647 w 9048"/>
                  <a:gd name="T103" fmla="*/ 2147483647 h 2880"/>
                  <a:gd name="T104" fmla="*/ 2147483647 w 9048"/>
                  <a:gd name="T105" fmla="*/ 2147483647 h 2880"/>
                  <a:gd name="T106" fmla="*/ 2147483647 w 9048"/>
                  <a:gd name="T107" fmla="*/ 2147483647 h 2880"/>
                  <a:gd name="T108" fmla="*/ 2147483647 w 9048"/>
                  <a:gd name="T109" fmla="*/ 2147483647 h 2880"/>
                  <a:gd name="T110" fmla="*/ 2147483647 w 9048"/>
                  <a:gd name="T111" fmla="*/ 2147483647 h 2880"/>
                  <a:gd name="T112" fmla="*/ 2147483647 w 9048"/>
                  <a:gd name="T113" fmla="*/ 2147483647 h 2880"/>
                  <a:gd name="T114" fmla="*/ 2147483647 w 9048"/>
                  <a:gd name="T115" fmla="*/ 2147483647 h 2880"/>
                  <a:gd name="T116" fmla="*/ 2147483647 w 9048"/>
                  <a:gd name="T117" fmla="*/ 2147483647 h 2880"/>
                  <a:gd name="T118" fmla="*/ 2147483647 w 9048"/>
                  <a:gd name="T119" fmla="*/ 2147483647 h 2880"/>
                  <a:gd name="T120" fmla="*/ 2147483647 w 9048"/>
                  <a:gd name="T121" fmla="*/ 2147483647 h 2880"/>
                  <a:gd name="T122" fmla="*/ 2147483647 w 9048"/>
                  <a:gd name="T123" fmla="*/ 2147483647 h 2880"/>
                  <a:gd name="T124" fmla="*/ 2147483647 w 9048"/>
                  <a:gd name="T125" fmla="*/ 2147483647 h 288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9048"/>
                  <a:gd name="T190" fmla="*/ 0 h 2880"/>
                  <a:gd name="T191" fmla="*/ 9048 w 9048"/>
                  <a:gd name="T192" fmla="*/ 2880 h 288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9048" h="2880">
                    <a:moveTo>
                      <a:pt x="2790" y="546"/>
                    </a:moveTo>
                    <a:lnTo>
                      <a:pt x="2760" y="540"/>
                    </a:lnTo>
                    <a:lnTo>
                      <a:pt x="2736" y="558"/>
                    </a:lnTo>
                    <a:lnTo>
                      <a:pt x="2778" y="570"/>
                    </a:lnTo>
                    <a:lnTo>
                      <a:pt x="2790" y="546"/>
                    </a:lnTo>
                    <a:close/>
                    <a:moveTo>
                      <a:pt x="2832" y="522"/>
                    </a:moveTo>
                    <a:lnTo>
                      <a:pt x="2820" y="516"/>
                    </a:lnTo>
                    <a:lnTo>
                      <a:pt x="2814" y="510"/>
                    </a:lnTo>
                    <a:lnTo>
                      <a:pt x="2808" y="510"/>
                    </a:lnTo>
                    <a:lnTo>
                      <a:pt x="2808" y="528"/>
                    </a:lnTo>
                    <a:lnTo>
                      <a:pt x="2820" y="534"/>
                    </a:lnTo>
                    <a:lnTo>
                      <a:pt x="2832" y="534"/>
                    </a:lnTo>
                    <a:lnTo>
                      <a:pt x="2844" y="540"/>
                    </a:lnTo>
                    <a:lnTo>
                      <a:pt x="2850" y="540"/>
                    </a:lnTo>
                    <a:lnTo>
                      <a:pt x="2850" y="534"/>
                    </a:lnTo>
                    <a:lnTo>
                      <a:pt x="2844" y="528"/>
                    </a:lnTo>
                    <a:lnTo>
                      <a:pt x="2832" y="522"/>
                    </a:lnTo>
                    <a:close/>
                    <a:moveTo>
                      <a:pt x="1704" y="18"/>
                    </a:moveTo>
                    <a:lnTo>
                      <a:pt x="1710" y="18"/>
                    </a:lnTo>
                    <a:lnTo>
                      <a:pt x="1716" y="12"/>
                    </a:lnTo>
                    <a:lnTo>
                      <a:pt x="1728" y="6"/>
                    </a:lnTo>
                    <a:lnTo>
                      <a:pt x="1734" y="0"/>
                    </a:lnTo>
                    <a:lnTo>
                      <a:pt x="1644" y="0"/>
                    </a:lnTo>
                    <a:lnTo>
                      <a:pt x="1638" y="12"/>
                    </a:lnTo>
                    <a:lnTo>
                      <a:pt x="1680" y="12"/>
                    </a:lnTo>
                    <a:lnTo>
                      <a:pt x="1686" y="18"/>
                    </a:lnTo>
                    <a:lnTo>
                      <a:pt x="1704" y="18"/>
                    </a:lnTo>
                    <a:close/>
                    <a:moveTo>
                      <a:pt x="1740" y="60"/>
                    </a:moveTo>
                    <a:lnTo>
                      <a:pt x="1746" y="60"/>
                    </a:lnTo>
                    <a:lnTo>
                      <a:pt x="1758" y="48"/>
                    </a:lnTo>
                    <a:lnTo>
                      <a:pt x="1764" y="48"/>
                    </a:lnTo>
                    <a:lnTo>
                      <a:pt x="1770" y="54"/>
                    </a:lnTo>
                    <a:lnTo>
                      <a:pt x="1782" y="54"/>
                    </a:lnTo>
                    <a:lnTo>
                      <a:pt x="1788" y="60"/>
                    </a:lnTo>
                    <a:lnTo>
                      <a:pt x="1800" y="60"/>
                    </a:lnTo>
                    <a:lnTo>
                      <a:pt x="1812" y="48"/>
                    </a:lnTo>
                    <a:lnTo>
                      <a:pt x="1812" y="36"/>
                    </a:lnTo>
                    <a:lnTo>
                      <a:pt x="1806" y="30"/>
                    </a:lnTo>
                    <a:lnTo>
                      <a:pt x="1794" y="24"/>
                    </a:lnTo>
                    <a:lnTo>
                      <a:pt x="1758" y="24"/>
                    </a:lnTo>
                    <a:lnTo>
                      <a:pt x="1710" y="48"/>
                    </a:lnTo>
                    <a:lnTo>
                      <a:pt x="1716" y="54"/>
                    </a:lnTo>
                    <a:lnTo>
                      <a:pt x="1728" y="60"/>
                    </a:lnTo>
                    <a:lnTo>
                      <a:pt x="1740" y="60"/>
                    </a:lnTo>
                    <a:close/>
                    <a:moveTo>
                      <a:pt x="2382" y="510"/>
                    </a:moveTo>
                    <a:lnTo>
                      <a:pt x="2400" y="504"/>
                    </a:lnTo>
                    <a:lnTo>
                      <a:pt x="2412" y="498"/>
                    </a:lnTo>
                    <a:lnTo>
                      <a:pt x="2412" y="486"/>
                    </a:lnTo>
                    <a:lnTo>
                      <a:pt x="2406" y="486"/>
                    </a:lnTo>
                    <a:lnTo>
                      <a:pt x="2400" y="480"/>
                    </a:lnTo>
                    <a:lnTo>
                      <a:pt x="2346" y="480"/>
                    </a:lnTo>
                    <a:lnTo>
                      <a:pt x="2346" y="492"/>
                    </a:lnTo>
                    <a:lnTo>
                      <a:pt x="2358" y="504"/>
                    </a:lnTo>
                    <a:lnTo>
                      <a:pt x="2370" y="510"/>
                    </a:lnTo>
                    <a:lnTo>
                      <a:pt x="2382" y="510"/>
                    </a:lnTo>
                    <a:close/>
                    <a:moveTo>
                      <a:pt x="1590" y="30"/>
                    </a:moveTo>
                    <a:lnTo>
                      <a:pt x="1548" y="24"/>
                    </a:lnTo>
                    <a:lnTo>
                      <a:pt x="1554" y="36"/>
                    </a:lnTo>
                    <a:lnTo>
                      <a:pt x="1590" y="30"/>
                    </a:lnTo>
                    <a:close/>
                    <a:moveTo>
                      <a:pt x="1890" y="696"/>
                    </a:moveTo>
                    <a:lnTo>
                      <a:pt x="1896" y="708"/>
                    </a:lnTo>
                    <a:lnTo>
                      <a:pt x="1920" y="720"/>
                    </a:lnTo>
                    <a:lnTo>
                      <a:pt x="1950" y="738"/>
                    </a:lnTo>
                    <a:lnTo>
                      <a:pt x="1974" y="744"/>
                    </a:lnTo>
                    <a:lnTo>
                      <a:pt x="1992" y="738"/>
                    </a:lnTo>
                    <a:lnTo>
                      <a:pt x="1980" y="720"/>
                    </a:lnTo>
                    <a:lnTo>
                      <a:pt x="1950" y="702"/>
                    </a:lnTo>
                    <a:lnTo>
                      <a:pt x="1914" y="696"/>
                    </a:lnTo>
                    <a:lnTo>
                      <a:pt x="1890" y="696"/>
                    </a:lnTo>
                    <a:close/>
                    <a:moveTo>
                      <a:pt x="3108" y="126"/>
                    </a:moveTo>
                    <a:lnTo>
                      <a:pt x="3120" y="108"/>
                    </a:lnTo>
                    <a:lnTo>
                      <a:pt x="3030" y="108"/>
                    </a:lnTo>
                    <a:lnTo>
                      <a:pt x="3108" y="126"/>
                    </a:lnTo>
                    <a:close/>
                    <a:moveTo>
                      <a:pt x="1560" y="102"/>
                    </a:moveTo>
                    <a:lnTo>
                      <a:pt x="1632" y="102"/>
                    </a:lnTo>
                    <a:lnTo>
                      <a:pt x="1608" y="84"/>
                    </a:lnTo>
                    <a:lnTo>
                      <a:pt x="1560" y="102"/>
                    </a:lnTo>
                    <a:close/>
                    <a:moveTo>
                      <a:pt x="1572" y="60"/>
                    </a:moveTo>
                    <a:lnTo>
                      <a:pt x="1584" y="66"/>
                    </a:lnTo>
                    <a:lnTo>
                      <a:pt x="1596" y="78"/>
                    </a:lnTo>
                    <a:lnTo>
                      <a:pt x="1620" y="66"/>
                    </a:lnTo>
                    <a:lnTo>
                      <a:pt x="1620" y="72"/>
                    </a:lnTo>
                    <a:lnTo>
                      <a:pt x="1644" y="72"/>
                    </a:lnTo>
                    <a:lnTo>
                      <a:pt x="1668" y="60"/>
                    </a:lnTo>
                    <a:lnTo>
                      <a:pt x="1674" y="54"/>
                    </a:lnTo>
                    <a:lnTo>
                      <a:pt x="1680" y="54"/>
                    </a:lnTo>
                    <a:lnTo>
                      <a:pt x="1626" y="48"/>
                    </a:lnTo>
                    <a:lnTo>
                      <a:pt x="1614" y="54"/>
                    </a:lnTo>
                    <a:lnTo>
                      <a:pt x="1608" y="54"/>
                    </a:lnTo>
                    <a:lnTo>
                      <a:pt x="1602" y="48"/>
                    </a:lnTo>
                    <a:lnTo>
                      <a:pt x="1584" y="48"/>
                    </a:lnTo>
                    <a:lnTo>
                      <a:pt x="1572" y="60"/>
                    </a:lnTo>
                    <a:close/>
                    <a:moveTo>
                      <a:pt x="1662" y="36"/>
                    </a:moveTo>
                    <a:lnTo>
                      <a:pt x="1602" y="36"/>
                    </a:lnTo>
                    <a:lnTo>
                      <a:pt x="1650" y="48"/>
                    </a:lnTo>
                    <a:lnTo>
                      <a:pt x="1662" y="36"/>
                    </a:lnTo>
                    <a:close/>
                    <a:moveTo>
                      <a:pt x="1542" y="522"/>
                    </a:moveTo>
                    <a:lnTo>
                      <a:pt x="1500" y="528"/>
                    </a:lnTo>
                    <a:lnTo>
                      <a:pt x="1512" y="552"/>
                    </a:lnTo>
                    <a:lnTo>
                      <a:pt x="1542" y="534"/>
                    </a:lnTo>
                    <a:lnTo>
                      <a:pt x="1524" y="558"/>
                    </a:lnTo>
                    <a:lnTo>
                      <a:pt x="1518" y="558"/>
                    </a:lnTo>
                    <a:lnTo>
                      <a:pt x="1512" y="564"/>
                    </a:lnTo>
                    <a:lnTo>
                      <a:pt x="1506" y="564"/>
                    </a:lnTo>
                    <a:lnTo>
                      <a:pt x="1494" y="570"/>
                    </a:lnTo>
                    <a:lnTo>
                      <a:pt x="1488" y="576"/>
                    </a:lnTo>
                    <a:lnTo>
                      <a:pt x="1488" y="582"/>
                    </a:lnTo>
                    <a:lnTo>
                      <a:pt x="1500" y="594"/>
                    </a:lnTo>
                    <a:lnTo>
                      <a:pt x="1524" y="606"/>
                    </a:lnTo>
                    <a:lnTo>
                      <a:pt x="1566" y="606"/>
                    </a:lnTo>
                    <a:lnTo>
                      <a:pt x="1590" y="612"/>
                    </a:lnTo>
                    <a:lnTo>
                      <a:pt x="1608" y="618"/>
                    </a:lnTo>
                    <a:lnTo>
                      <a:pt x="1614" y="624"/>
                    </a:lnTo>
                    <a:lnTo>
                      <a:pt x="1620" y="636"/>
                    </a:lnTo>
                    <a:lnTo>
                      <a:pt x="1620" y="648"/>
                    </a:lnTo>
                    <a:lnTo>
                      <a:pt x="1626" y="654"/>
                    </a:lnTo>
                    <a:lnTo>
                      <a:pt x="1626" y="660"/>
                    </a:lnTo>
                    <a:lnTo>
                      <a:pt x="1644" y="660"/>
                    </a:lnTo>
                    <a:lnTo>
                      <a:pt x="1662" y="666"/>
                    </a:lnTo>
                    <a:lnTo>
                      <a:pt x="1674" y="666"/>
                    </a:lnTo>
                    <a:lnTo>
                      <a:pt x="1692" y="672"/>
                    </a:lnTo>
                    <a:lnTo>
                      <a:pt x="1704" y="672"/>
                    </a:lnTo>
                    <a:lnTo>
                      <a:pt x="1818" y="666"/>
                    </a:lnTo>
                    <a:lnTo>
                      <a:pt x="1806" y="666"/>
                    </a:lnTo>
                    <a:lnTo>
                      <a:pt x="1734" y="642"/>
                    </a:lnTo>
                    <a:lnTo>
                      <a:pt x="1704" y="618"/>
                    </a:lnTo>
                    <a:lnTo>
                      <a:pt x="1692" y="600"/>
                    </a:lnTo>
                    <a:lnTo>
                      <a:pt x="1686" y="588"/>
                    </a:lnTo>
                    <a:lnTo>
                      <a:pt x="1674" y="582"/>
                    </a:lnTo>
                    <a:lnTo>
                      <a:pt x="1674" y="570"/>
                    </a:lnTo>
                    <a:lnTo>
                      <a:pt x="1668" y="564"/>
                    </a:lnTo>
                    <a:lnTo>
                      <a:pt x="1692" y="516"/>
                    </a:lnTo>
                    <a:lnTo>
                      <a:pt x="1686" y="510"/>
                    </a:lnTo>
                    <a:lnTo>
                      <a:pt x="1686" y="504"/>
                    </a:lnTo>
                    <a:lnTo>
                      <a:pt x="1674" y="504"/>
                    </a:lnTo>
                    <a:lnTo>
                      <a:pt x="1710" y="498"/>
                    </a:lnTo>
                    <a:lnTo>
                      <a:pt x="1698" y="480"/>
                    </a:lnTo>
                    <a:lnTo>
                      <a:pt x="1734" y="480"/>
                    </a:lnTo>
                    <a:lnTo>
                      <a:pt x="1710" y="468"/>
                    </a:lnTo>
                    <a:lnTo>
                      <a:pt x="1734" y="474"/>
                    </a:lnTo>
                    <a:lnTo>
                      <a:pt x="1740" y="462"/>
                    </a:lnTo>
                    <a:lnTo>
                      <a:pt x="1722" y="450"/>
                    </a:lnTo>
                    <a:lnTo>
                      <a:pt x="1764" y="450"/>
                    </a:lnTo>
                    <a:lnTo>
                      <a:pt x="1770" y="444"/>
                    </a:lnTo>
                    <a:lnTo>
                      <a:pt x="1752" y="426"/>
                    </a:lnTo>
                    <a:lnTo>
                      <a:pt x="1782" y="432"/>
                    </a:lnTo>
                    <a:lnTo>
                      <a:pt x="1782" y="402"/>
                    </a:lnTo>
                    <a:lnTo>
                      <a:pt x="1788" y="408"/>
                    </a:lnTo>
                    <a:lnTo>
                      <a:pt x="1800" y="414"/>
                    </a:lnTo>
                    <a:lnTo>
                      <a:pt x="1812" y="414"/>
                    </a:lnTo>
                    <a:lnTo>
                      <a:pt x="1830" y="408"/>
                    </a:lnTo>
                    <a:lnTo>
                      <a:pt x="1842" y="402"/>
                    </a:lnTo>
                    <a:lnTo>
                      <a:pt x="1860" y="390"/>
                    </a:lnTo>
                    <a:lnTo>
                      <a:pt x="1878" y="372"/>
                    </a:lnTo>
                    <a:lnTo>
                      <a:pt x="1896" y="372"/>
                    </a:lnTo>
                    <a:lnTo>
                      <a:pt x="1938" y="366"/>
                    </a:lnTo>
                    <a:lnTo>
                      <a:pt x="1992" y="354"/>
                    </a:lnTo>
                    <a:lnTo>
                      <a:pt x="2046" y="348"/>
                    </a:lnTo>
                    <a:lnTo>
                      <a:pt x="2094" y="336"/>
                    </a:lnTo>
                    <a:lnTo>
                      <a:pt x="2124" y="330"/>
                    </a:lnTo>
                    <a:lnTo>
                      <a:pt x="2136" y="324"/>
                    </a:lnTo>
                    <a:lnTo>
                      <a:pt x="2154" y="318"/>
                    </a:lnTo>
                    <a:lnTo>
                      <a:pt x="2160" y="312"/>
                    </a:lnTo>
                    <a:lnTo>
                      <a:pt x="2166" y="300"/>
                    </a:lnTo>
                    <a:lnTo>
                      <a:pt x="2166" y="294"/>
                    </a:lnTo>
                    <a:lnTo>
                      <a:pt x="2154" y="282"/>
                    </a:lnTo>
                    <a:lnTo>
                      <a:pt x="2136" y="276"/>
                    </a:lnTo>
                    <a:lnTo>
                      <a:pt x="2088" y="270"/>
                    </a:lnTo>
                    <a:lnTo>
                      <a:pt x="2046" y="276"/>
                    </a:lnTo>
                    <a:lnTo>
                      <a:pt x="2016" y="288"/>
                    </a:lnTo>
                    <a:lnTo>
                      <a:pt x="1980" y="300"/>
                    </a:lnTo>
                    <a:lnTo>
                      <a:pt x="1938" y="318"/>
                    </a:lnTo>
                    <a:lnTo>
                      <a:pt x="1860" y="318"/>
                    </a:lnTo>
                    <a:lnTo>
                      <a:pt x="1842" y="312"/>
                    </a:lnTo>
                    <a:lnTo>
                      <a:pt x="1824" y="312"/>
                    </a:lnTo>
                    <a:lnTo>
                      <a:pt x="1806" y="336"/>
                    </a:lnTo>
                    <a:lnTo>
                      <a:pt x="1782" y="318"/>
                    </a:lnTo>
                    <a:lnTo>
                      <a:pt x="1728" y="342"/>
                    </a:lnTo>
                    <a:lnTo>
                      <a:pt x="1698" y="342"/>
                    </a:lnTo>
                    <a:lnTo>
                      <a:pt x="1668" y="366"/>
                    </a:lnTo>
                    <a:lnTo>
                      <a:pt x="1692" y="372"/>
                    </a:lnTo>
                    <a:lnTo>
                      <a:pt x="1644" y="372"/>
                    </a:lnTo>
                    <a:lnTo>
                      <a:pt x="1614" y="378"/>
                    </a:lnTo>
                    <a:lnTo>
                      <a:pt x="1614" y="396"/>
                    </a:lnTo>
                    <a:lnTo>
                      <a:pt x="1638" y="378"/>
                    </a:lnTo>
                    <a:lnTo>
                      <a:pt x="1644" y="396"/>
                    </a:lnTo>
                    <a:lnTo>
                      <a:pt x="1668" y="396"/>
                    </a:lnTo>
                    <a:lnTo>
                      <a:pt x="1662" y="408"/>
                    </a:lnTo>
                    <a:lnTo>
                      <a:pt x="1620" y="408"/>
                    </a:lnTo>
                    <a:lnTo>
                      <a:pt x="1614" y="420"/>
                    </a:lnTo>
                    <a:lnTo>
                      <a:pt x="1644" y="426"/>
                    </a:lnTo>
                    <a:lnTo>
                      <a:pt x="1596" y="432"/>
                    </a:lnTo>
                    <a:lnTo>
                      <a:pt x="1632" y="438"/>
                    </a:lnTo>
                    <a:lnTo>
                      <a:pt x="1584" y="444"/>
                    </a:lnTo>
                    <a:lnTo>
                      <a:pt x="1584" y="462"/>
                    </a:lnTo>
                    <a:lnTo>
                      <a:pt x="1554" y="474"/>
                    </a:lnTo>
                    <a:lnTo>
                      <a:pt x="1560" y="486"/>
                    </a:lnTo>
                    <a:lnTo>
                      <a:pt x="1602" y="468"/>
                    </a:lnTo>
                    <a:lnTo>
                      <a:pt x="1590" y="498"/>
                    </a:lnTo>
                    <a:lnTo>
                      <a:pt x="1554" y="498"/>
                    </a:lnTo>
                    <a:lnTo>
                      <a:pt x="1542" y="504"/>
                    </a:lnTo>
                    <a:lnTo>
                      <a:pt x="1542" y="522"/>
                    </a:lnTo>
                    <a:close/>
                    <a:moveTo>
                      <a:pt x="5778" y="498"/>
                    </a:moveTo>
                    <a:lnTo>
                      <a:pt x="5850" y="486"/>
                    </a:lnTo>
                    <a:lnTo>
                      <a:pt x="5958" y="504"/>
                    </a:lnTo>
                    <a:lnTo>
                      <a:pt x="5952" y="492"/>
                    </a:lnTo>
                    <a:lnTo>
                      <a:pt x="5940" y="486"/>
                    </a:lnTo>
                    <a:lnTo>
                      <a:pt x="5928" y="474"/>
                    </a:lnTo>
                    <a:lnTo>
                      <a:pt x="5904" y="462"/>
                    </a:lnTo>
                    <a:lnTo>
                      <a:pt x="5844" y="462"/>
                    </a:lnTo>
                    <a:lnTo>
                      <a:pt x="5808" y="468"/>
                    </a:lnTo>
                    <a:lnTo>
                      <a:pt x="5796" y="468"/>
                    </a:lnTo>
                    <a:lnTo>
                      <a:pt x="5778" y="498"/>
                    </a:lnTo>
                    <a:close/>
                    <a:moveTo>
                      <a:pt x="5784" y="378"/>
                    </a:moveTo>
                    <a:lnTo>
                      <a:pt x="5838" y="384"/>
                    </a:lnTo>
                    <a:lnTo>
                      <a:pt x="5844" y="378"/>
                    </a:lnTo>
                    <a:lnTo>
                      <a:pt x="5850" y="366"/>
                    </a:lnTo>
                    <a:lnTo>
                      <a:pt x="5838" y="354"/>
                    </a:lnTo>
                    <a:lnTo>
                      <a:pt x="5802" y="354"/>
                    </a:lnTo>
                    <a:lnTo>
                      <a:pt x="5742" y="342"/>
                    </a:lnTo>
                    <a:lnTo>
                      <a:pt x="5724" y="342"/>
                    </a:lnTo>
                    <a:lnTo>
                      <a:pt x="5718" y="348"/>
                    </a:lnTo>
                    <a:lnTo>
                      <a:pt x="5730" y="354"/>
                    </a:lnTo>
                    <a:lnTo>
                      <a:pt x="5742" y="366"/>
                    </a:lnTo>
                    <a:lnTo>
                      <a:pt x="5754" y="372"/>
                    </a:lnTo>
                    <a:lnTo>
                      <a:pt x="5772" y="372"/>
                    </a:lnTo>
                    <a:lnTo>
                      <a:pt x="5778" y="378"/>
                    </a:lnTo>
                    <a:lnTo>
                      <a:pt x="5784" y="378"/>
                    </a:lnTo>
                    <a:close/>
                    <a:moveTo>
                      <a:pt x="5724" y="432"/>
                    </a:moveTo>
                    <a:lnTo>
                      <a:pt x="5712" y="444"/>
                    </a:lnTo>
                    <a:lnTo>
                      <a:pt x="5712" y="456"/>
                    </a:lnTo>
                    <a:lnTo>
                      <a:pt x="5724" y="462"/>
                    </a:lnTo>
                    <a:lnTo>
                      <a:pt x="5772" y="462"/>
                    </a:lnTo>
                    <a:lnTo>
                      <a:pt x="5778" y="456"/>
                    </a:lnTo>
                    <a:lnTo>
                      <a:pt x="5778" y="450"/>
                    </a:lnTo>
                    <a:lnTo>
                      <a:pt x="5766" y="438"/>
                    </a:lnTo>
                    <a:lnTo>
                      <a:pt x="5742" y="426"/>
                    </a:lnTo>
                    <a:lnTo>
                      <a:pt x="5730" y="426"/>
                    </a:lnTo>
                    <a:lnTo>
                      <a:pt x="5724" y="432"/>
                    </a:lnTo>
                    <a:close/>
                    <a:moveTo>
                      <a:pt x="3072" y="96"/>
                    </a:moveTo>
                    <a:lnTo>
                      <a:pt x="3192" y="96"/>
                    </a:lnTo>
                    <a:lnTo>
                      <a:pt x="3204" y="90"/>
                    </a:lnTo>
                    <a:lnTo>
                      <a:pt x="3228" y="90"/>
                    </a:lnTo>
                    <a:lnTo>
                      <a:pt x="3240" y="84"/>
                    </a:lnTo>
                    <a:lnTo>
                      <a:pt x="3240" y="72"/>
                    </a:lnTo>
                    <a:lnTo>
                      <a:pt x="3222" y="60"/>
                    </a:lnTo>
                    <a:lnTo>
                      <a:pt x="3192" y="42"/>
                    </a:lnTo>
                    <a:lnTo>
                      <a:pt x="3156" y="30"/>
                    </a:lnTo>
                    <a:lnTo>
                      <a:pt x="3132" y="24"/>
                    </a:lnTo>
                    <a:lnTo>
                      <a:pt x="3120" y="18"/>
                    </a:lnTo>
                    <a:lnTo>
                      <a:pt x="3108" y="18"/>
                    </a:lnTo>
                    <a:lnTo>
                      <a:pt x="3096" y="12"/>
                    </a:lnTo>
                    <a:lnTo>
                      <a:pt x="3060" y="12"/>
                    </a:lnTo>
                    <a:lnTo>
                      <a:pt x="3048" y="18"/>
                    </a:lnTo>
                    <a:lnTo>
                      <a:pt x="3036" y="18"/>
                    </a:lnTo>
                    <a:lnTo>
                      <a:pt x="3030" y="30"/>
                    </a:lnTo>
                    <a:lnTo>
                      <a:pt x="3030" y="42"/>
                    </a:lnTo>
                    <a:lnTo>
                      <a:pt x="3036" y="54"/>
                    </a:lnTo>
                    <a:lnTo>
                      <a:pt x="3048" y="66"/>
                    </a:lnTo>
                    <a:lnTo>
                      <a:pt x="3054" y="78"/>
                    </a:lnTo>
                    <a:lnTo>
                      <a:pt x="3072" y="96"/>
                    </a:lnTo>
                    <a:close/>
                    <a:moveTo>
                      <a:pt x="6138" y="408"/>
                    </a:moveTo>
                    <a:lnTo>
                      <a:pt x="6144" y="402"/>
                    </a:lnTo>
                    <a:lnTo>
                      <a:pt x="6132" y="396"/>
                    </a:lnTo>
                    <a:lnTo>
                      <a:pt x="6102" y="390"/>
                    </a:lnTo>
                    <a:lnTo>
                      <a:pt x="6036" y="390"/>
                    </a:lnTo>
                    <a:lnTo>
                      <a:pt x="6012" y="366"/>
                    </a:lnTo>
                    <a:lnTo>
                      <a:pt x="6000" y="360"/>
                    </a:lnTo>
                    <a:lnTo>
                      <a:pt x="5970" y="360"/>
                    </a:lnTo>
                    <a:lnTo>
                      <a:pt x="5958" y="366"/>
                    </a:lnTo>
                    <a:lnTo>
                      <a:pt x="5910" y="366"/>
                    </a:lnTo>
                    <a:lnTo>
                      <a:pt x="5946" y="390"/>
                    </a:lnTo>
                    <a:lnTo>
                      <a:pt x="5964" y="396"/>
                    </a:lnTo>
                    <a:lnTo>
                      <a:pt x="6000" y="402"/>
                    </a:lnTo>
                    <a:lnTo>
                      <a:pt x="6054" y="414"/>
                    </a:lnTo>
                    <a:lnTo>
                      <a:pt x="6102" y="414"/>
                    </a:lnTo>
                    <a:lnTo>
                      <a:pt x="6138" y="408"/>
                    </a:lnTo>
                    <a:close/>
                    <a:moveTo>
                      <a:pt x="7602" y="744"/>
                    </a:moveTo>
                    <a:lnTo>
                      <a:pt x="7596" y="732"/>
                    </a:lnTo>
                    <a:lnTo>
                      <a:pt x="7572" y="726"/>
                    </a:lnTo>
                    <a:lnTo>
                      <a:pt x="7512" y="714"/>
                    </a:lnTo>
                    <a:lnTo>
                      <a:pt x="7500" y="714"/>
                    </a:lnTo>
                    <a:lnTo>
                      <a:pt x="7512" y="726"/>
                    </a:lnTo>
                    <a:lnTo>
                      <a:pt x="7548" y="738"/>
                    </a:lnTo>
                    <a:lnTo>
                      <a:pt x="7584" y="744"/>
                    </a:lnTo>
                    <a:lnTo>
                      <a:pt x="7602" y="744"/>
                    </a:lnTo>
                    <a:close/>
                    <a:moveTo>
                      <a:pt x="3162" y="120"/>
                    </a:moveTo>
                    <a:lnTo>
                      <a:pt x="3216" y="138"/>
                    </a:lnTo>
                    <a:lnTo>
                      <a:pt x="3246" y="144"/>
                    </a:lnTo>
                    <a:lnTo>
                      <a:pt x="3264" y="144"/>
                    </a:lnTo>
                    <a:lnTo>
                      <a:pt x="3312" y="138"/>
                    </a:lnTo>
                    <a:lnTo>
                      <a:pt x="3372" y="156"/>
                    </a:lnTo>
                    <a:lnTo>
                      <a:pt x="3432" y="156"/>
                    </a:lnTo>
                    <a:lnTo>
                      <a:pt x="3426" y="138"/>
                    </a:lnTo>
                    <a:lnTo>
                      <a:pt x="3402" y="102"/>
                    </a:lnTo>
                    <a:lnTo>
                      <a:pt x="3384" y="96"/>
                    </a:lnTo>
                    <a:lnTo>
                      <a:pt x="3372" y="90"/>
                    </a:lnTo>
                    <a:lnTo>
                      <a:pt x="3354" y="96"/>
                    </a:lnTo>
                    <a:lnTo>
                      <a:pt x="3318" y="114"/>
                    </a:lnTo>
                    <a:lnTo>
                      <a:pt x="3294" y="90"/>
                    </a:lnTo>
                    <a:lnTo>
                      <a:pt x="3282" y="90"/>
                    </a:lnTo>
                    <a:lnTo>
                      <a:pt x="3210" y="102"/>
                    </a:lnTo>
                    <a:lnTo>
                      <a:pt x="3174" y="114"/>
                    </a:lnTo>
                    <a:lnTo>
                      <a:pt x="3162" y="120"/>
                    </a:lnTo>
                    <a:close/>
                    <a:moveTo>
                      <a:pt x="3582" y="198"/>
                    </a:moveTo>
                    <a:lnTo>
                      <a:pt x="3744" y="192"/>
                    </a:lnTo>
                    <a:lnTo>
                      <a:pt x="3702" y="168"/>
                    </a:lnTo>
                    <a:lnTo>
                      <a:pt x="3696" y="168"/>
                    </a:lnTo>
                    <a:lnTo>
                      <a:pt x="3690" y="162"/>
                    </a:lnTo>
                    <a:lnTo>
                      <a:pt x="3666" y="150"/>
                    </a:lnTo>
                    <a:lnTo>
                      <a:pt x="3648" y="144"/>
                    </a:lnTo>
                    <a:lnTo>
                      <a:pt x="3636" y="138"/>
                    </a:lnTo>
                    <a:lnTo>
                      <a:pt x="3618" y="138"/>
                    </a:lnTo>
                    <a:lnTo>
                      <a:pt x="3606" y="144"/>
                    </a:lnTo>
                    <a:lnTo>
                      <a:pt x="3600" y="150"/>
                    </a:lnTo>
                    <a:lnTo>
                      <a:pt x="3588" y="156"/>
                    </a:lnTo>
                    <a:lnTo>
                      <a:pt x="3588" y="150"/>
                    </a:lnTo>
                    <a:lnTo>
                      <a:pt x="3582" y="144"/>
                    </a:lnTo>
                    <a:lnTo>
                      <a:pt x="3576" y="132"/>
                    </a:lnTo>
                    <a:lnTo>
                      <a:pt x="3570" y="126"/>
                    </a:lnTo>
                    <a:lnTo>
                      <a:pt x="3546" y="114"/>
                    </a:lnTo>
                    <a:lnTo>
                      <a:pt x="3522" y="126"/>
                    </a:lnTo>
                    <a:lnTo>
                      <a:pt x="3504" y="162"/>
                    </a:lnTo>
                    <a:lnTo>
                      <a:pt x="3498" y="192"/>
                    </a:lnTo>
                    <a:lnTo>
                      <a:pt x="3492" y="210"/>
                    </a:lnTo>
                    <a:lnTo>
                      <a:pt x="3516" y="222"/>
                    </a:lnTo>
                    <a:lnTo>
                      <a:pt x="3534" y="216"/>
                    </a:lnTo>
                    <a:lnTo>
                      <a:pt x="3546" y="216"/>
                    </a:lnTo>
                    <a:lnTo>
                      <a:pt x="3582" y="198"/>
                    </a:lnTo>
                    <a:close/>
                    <a:moveTo>
                      <a:pt x="5622" y="420"/>
                    </a:moveTo>
                    <a:lnTo>
                      <a:pt x="5640" y="390"/>
                    </a:lnTo>
                    <a:lnTo>
                      <a:pt x="5754" y="390"/>
                    </a:lnTo>
                    <a:lnTo>
                      <a:pt x="5688" y="360"/>
                    </a:lnTo>
                    <a:lnTo>
                      <a:pt x="5700" y="336"/>
                    </a:lnTo>
                    <a:lnTo>
                      <a:pt x="5610" y="318"/>
                    </a:lnTo>
                    <a:lnTo>
                      <a:pt x="5628" y="348"/>
                    </a:lnTo>
                    <a:lnTo>
                      <a:pt x="5616" y="342"/>
                    </a:lnTo>
                    <a:lnTo>
                      <a:pt x="5592" y="336"/>
                    </a:lnTo>
                    <a:lnTo>
                      <a:pt x="5556" y="330"/>
                    </a:lnTo>
                    <a:lnTo>
                      <a:pt x="5514" y="318"/>
                    </a:lnTo>
                    <a:lnTo>
                      <a:pt x="5454" y="318"/>
                    </a:lnTo>
                    <a:lnTo>
                      <a:pt x="5448" y="330"/>
                    </a:lnTo>
                    <a:lnTo>
                      <a:pt x="5460" y="354"/>
                    </a:lnTo>
                    <a:lnTo>
                      <a:pt x="5496" y="372"/>
                    </a:lnTo>
                    <a:lnTo>
                      <a:pt x="5538" y="390"/>
                    </a:lnTo>
                    <a:lnTo>
                      <a:pt x="5574" y="408"/>
                    </a:lnTo>
                    <a:lnTo>
                      <a:pt x="5610" y="414"/>
                    </a:lnTo>
                    <a:lnTo>
                      <a:pt x="5622" y="420"/>
                    </a:lnTo>
                    <a:close/>
                    <a:moveTo>
                      <a:pt x="4320" y="432"/>
                    </a:moveTo>
                    <a:lnTo>
                      <a:pt x="4368" y="444"/>
                    </a:lnTo>
                    <a:lnTo>
                      <a:pt x="4380" y="444"/>
                    </a:lnTo>
                    <a:lnTo>
                      <a:pt x="4392" y="438"/>
                    </a:lnTo>
                    <a:lnTo>
                      <a:pt x="4398" y="438"/>
                    </a:lnTo>
                    <a:lnTo>
                      <a:pt x="4404" y="432"/>
                    </a:lnTo>
                    <a:lnTo>
                      <a:pt x="4404" y="426"/>
                    </a:lnTo>
                    <a:lnTo>
                      <a:pt x="4398" y="426"/>
                    </a:lnTo>
                    <a:lnTo>
                      <a:pt x="4362" y="414"/>
                    </a:lnTo>
                    <a:lnTo>
                      <a:pt x="4344" y="420"/>
                    </a:lnTo>
                    <a:lnTo>
                      <a:pt x="4332" y="420"/>
                    </a:lnTo>
                    <a:lnTo>
                      <a:pt x="4320" y="432"/>
                    </a:lnTo>
                    <a:close/>
                    <a:moveTo>
                      <a:pt x="5424" y="354"/>
                    </a:moveTo>
                    <a:lnTo>
                      <a:pt x="5370" y="336"/>
                    </a:lnTo>
                    <a:lnTo>
                      <a:pt x="5394" y="366"/>
                    </a:lnTo>
                    <a:lnTo>
                      <a:pt x="5424" y="354"/>
                    </a:lnTo>
                    <a:close/>
                    <a:moveTo>
                      <a:pt x="7986" y="666"/>
                    </a:moveTo>
                    <a:lnTo>
                      <a:pt x="8034" y="654"/>
                    </a:lnTo>
                    <a:lnTo>
                      <a:pt x="8088" y="654"/>
                    </a:lnTo>
                    <a:lnTo>
                      <a:pt x="8100" y="648"/>
                    </a:lnTo>
                    <a:lnTo>
                      <a:pt x="8106" y="642"/>
                    </a:lnTo>
                    <a:lnTo>
                      <a:pt x="8106" y="636"/>
                    </a:lnTo>
                    <a:lnTo>
                      <a:pt x="8100" y="630"/>
                    </a:lnTo>
                    <a:lnTo>
                      <a:pt x="8088" y="630"/>
                    </a:lnTo>
                    <a:lnTo>
                      <a:pt x="8052" y="618"/>
                    </a:lnTo>
                    <a:lnTo>
                      <a:pt x="8028" y="612"/>
                    </a:lnTo>
                    <a:lnTo>
                      <a:pt x="8010" y="606"/>
                    </a:lnTo>
                    <a:lnTo>
                      <a:pt x="7968" y="606"/>
                    </a:lnTo>
                    <a:lnTo>
                      <a:pt x="7944" y="618"/>
                    </a:lnTo>
                    <a:lnTo>
                      <a:pt x="7938" y="630"/>
                    </a:lnTo>
                    <a:lnTo>
                      <a:pt x="7938" y="654"/>
                    </a:lnTo>
                    <a:lnTo>
                      <a:pt x="7944" y="666"/>
                    </a:lnTo>
                    <a:lnTo>
                      <a:pt x="7950" y="666"/>
                    </a:lnTo>
                    <a:lnTo>
                      <a:pt x="7962" y="672"/>
                    </a:lnTo>
                    <a:lnTo>
                      <a:pt x="7968" y="672"/>
                    </a:lnTo>
                    <a:lnTo>
                      <a:pt x="7980" y="666"/>
                    </a:lnTo>
                    <a:lnTo>
                      <a:pt x="7986" y="666"/>
                    </a:lnTo>
                    <a:close/>
                    <a:moveTo>
                      <a:pt x="162" y="1788"/>
                    </a:moveTo>
                    <a:lnTo>
                      <a:pt x="150" y="1788"/>
                    </a:lnTo>
                    <a:lnTo>
                      <a:pt x="138" y="1794"/>
                    </a:lnTo>
                    <a:lnTo>
                      <a:pt x="114" y="1794"/>
                    </a:lnTo>
                    <a:lnTo>
                      <a:pt x="108" y="1788"/>
                    </a:lnTo>
                    <a:lnTo>
                      <a:pt x="96" y="1788"/>
                    </a:lnTo>
                    <a:lnTo>
                      <a:pt x="96" y="1782"/>
                    </a:lnTo>
                    <a:lnTo>
                      <a:pt x="84" y="1782"/>
                    </a:lnTo>
                    <a:lnTo>
                      <a:pt x="84" y="1788"/>
                    </a:lnTo>
                    <a:lnTo>
                      <a:pt x="72" y="1800"/>
                    </a:lnTo>
                    <a:lnTo>
                      <a:pt x="12" y="1800"/>
                    </a:lnTo>
                    <a:lnTo>
                      <a:pt x="0" y="1812"/>
                    </a:lnTo>
                    <a:lnTo>
                      <a:pt x="0" y="1818"/>
                    </a:lnTo>
                    <a:lnTo>
                      <a:pt x="12" y="1830"/>
                    </a:lnTo>
                    <a:lnTo>
                      <a:pt x="6" y="1842"/>
                    </a:lnTo>
                    <a:lnTo>
                      <a:pt x="12" y="1848"/>
                    </a:lnTo>
                    <a:lnTo>
                      <a:pt x="18" y="1848"/>
                    </a:lnTo>
                    <a:lnTo>
                      <a:pt x="24" y="1842"/>
                    </a:lnTo>
                    <a:lnTo>
                      <a:pt x="48" y="1842"/>
                    </a:lnTo>
                    <a:lnTo>
                      <a:pt x="54" y="1848"/>
                    </a:lnTo>
                    <a:lnTo>
                      <a:pt x="66" y="1848"/>
                    </a:lnTo>
                    <a:lnTo>
                      <a:pt x="72" y="1854"/>
                    </a:lnTo>
                    <a:lnTo>
                      <a:pt x="162" y="1854"/>
                    </a:lnTo>
                    <a:lnTo>
                      <a:pt x="162" y="1848"/>
                    </a:lnTo>
                    <a:lnTo>
                      <a:pt x="168" y="1848"/>
                    </a:lnTo>
                    <a:lnTo>
                      <a:pt x="162" y="1830"/>
                    </a:lnTo>
                    <a:lnTo>
                      <a:pt x="174" y="1818"/>
                    </a:lnTo>
                    <a:lnTo>
                      <a:pt x="174" y="1800"/>
                    </a:lnTo>
                    <a:lnTo>
                      <a:pt x="168" y="1788"/>
                    </a:lnTo>
                    <a:lnTo>
                      <a:pt x="162" y="1788"/>
                    </a:lnTo>
                    <a:close/>
                    <a:moveTo>
                      <a:pt x="1038" y="90"/>
                    </a:moveTo>
                    <a:lnTo>
                      <a:pt x="1062" y="72"/>
                    </a:lnTo>
                    <a:lnTo>
                      <a:pt x="1032" y="72"/>
                    </a:lnTo>
                    <a:lnTo>
                      <a:pt x="1032" y="84"/>
                    </a:lnTo>
                    <a:lnTo>
                      <a:pt x="1038" y="90"/>
                    </a:lnTo>
                    <a:close/>
                    <a:moveTo>
                      <a:pt x="990" y="72"/>
                    </a:moveTo>
                    <a:lnTo>
                      <a:pt x="1074" y="54"/>
                    </a:lnTo>
                    <a:lnTo>
                      <a:pt x="1044" y="42"/>
                    </a:lnTo>
                    <a:lnTo>
                      <a:pt x="996" y="54"/>
                    </a:lnTo>
                    <a:lnTo>
                      <a:pt x="948" y="54"/>
                    </a:lnTo>
                    <a:lnTo>
                      <a:pt x="966" y="66"/>
                    </a:lnTo>
                    <a:lnTo>
                      <a:pt x="990" y="72"/>
                    </a:lnTo>
                    <a:close/>
                    <a:moveTo>
                      <a:pt x="1122" y="90"/>
                    </a:moveTo>
                    <a:lnTo>
                      <a:pt x="1128" y="78"/>
                    </a:lnTo>
                    <a:lnTo>
                      <a:pt x="1152" y="78"/>
                    </a:lnTo>
                    <a:lnTo>
                      <a:pt x="1164" y="66"/>
                    </a:lnTo>
                    <a:lnTo>
                      <a:pt x="1218" y="66"/>
                    </a:lnTo>
                    <a:lnTo>
                      <a:pt x="1218" y="60"/>
                    </a:lnTo>
                    <a:lnTo>
                      <a:pt x="1206" y="54"/>
                    </a:lnTo>
                    <a:lnTo>
                      <a:pt x="1182" y="54"/>
                    </a:lnTo>
                    <a:lnTo>
                      <a:pt x="1182" y="48"/>
                    </a:lnTo>
                    <a:lnTo>
                      <a:pt x="1176" y="48"/>
                    </a:lnTo>
                    <a:lnTo>
                      <a:pt x="1164" y="42"/>
                    </a:lnTo>
                    <a:lnTo>
                      <a:pt x="1140" y="42"/>
                    </a:lnTo>
                    <a:lnTo>
                      <a:pt x="1134" y="48"/>
                    </a:lnTo>
                    <a:lnTo>
                      <a:pt x="1128" y="60"/>
                    </a:lnTo>
                    <a:lnTo>
                      <a:pt x="1128" y="66"/>
                    </a:lnTo>
                    <a:lnTo>
                      <a:pt x="1122" y="66"/>
                    </a:lnTo>
                    <a:lnTo>
                      <a:pt x="1116" y="72"/>
                    </a:lnTo>
                    <a:lnTo>
                      <a:pt x="1104" y="72"/>
                    </a:lnTo>
                    <a:lnTo>
                      <a:pt x="1086" y="78"/>
                    </a:lnTo>
                    <a:lnTo>
                      <a:pt x="1080" y="78"/>
                    </a:lnTo>
                    <a:lnTo>
                      <a:pt x="1074" y="84"/>
                    </a:lnTo>
                    <a:lnTo>
                      <a:pt x="1080" y="84"/>
                    </a:lnTo>
                    <a:lnTo>
                      <a:pt x="1092" y="90"/>
                    </a:lnTo>
                    <a:lnTo>
                      <a:pt x="1122" y="90"/>
                    </a:lnTo>
                    <a:close/>
                    <a:moveTo>
                      <a:pt x="1176" y="78"/>
                    </a:moveTo>
                    <a:lnTo>
                      <a:pt x="1158" y="90"/>
                    </a:lnTo>
                    <a:lnTo>
                      <a:pt x="1176" y="102"/>
                    </a:lnTo>
                    <a:lnTo>
                      <a:pt x="1194" y="108"/>
                    </a:lnTo>
                    <a:lnTo>
                      <a:pt x="1248" y="102"/>
                    </a:lnTo>
                    <a:lnTo>
                      <a:pt x="1242" y="90"/>
                    </a:lnTo>
                    <a:lnTo>
                      <a:pt x="1212" y="90"/>
                    </a:lnTo>
                    <a:lnTo>
                      <a:pt x="1176" y="78"/>
                    </a:lnTo>
                    <a:close/>
                    <a:moveTo>
                      <a:pt x="7812" y="2436"/>
                    </a:moveTo>
                    <a:lnTo>
                      <a:pt x="7782" y="2400"/>
                    </a:lnTo>
                    <a:lnTo>
                      <a:pt x="7776" y="2400"/>
                    </a:lnTo>
                    <a:lnTo>
                      <a:pt x="7770" y="2394"/>
                    </a:lnTo>
                    <a:lnTo>
                      <a:pt x="7752" y="2388"/>
                    </a:lnTo>
                    <a:lnTo>
                      <a:pt x="7728" y="2364"/>
                    </a:lnTo>
                    <a:lnTo>
                      <a:pt x="7722" y="2352"/>
                    </a:lnTo>
                    <a:lnTo>
                      <a:pt x="7704" y="2298"/>
                    </a:lnTo>
                    <a:lnTo>
                      <a:pt x="7698" y="2286"/>
                    </a:lnTo>
                    <a:lnTo>
                      <a:pt x="7698" y="2274"/>
                    </a:lnTo>
                    <a:lnTo>
                      <a:pt x="7674" y="2250"/>
                    </a:lnTo>
                    <a:lnTo>
                      <a:pt x="7680" y="2244"/>
                    </a:lnTo>
                    <a:lnTo>
                      <a:pt x="7698" y="2244"/>
                    </a:lnTo>
                    <a:lnTo>
                      <a:pt x="7770" y="2268"/>
                    </a:lnTo>
                    <a:lnTo>
                      <a:pt x="7800" y="2280"/>
                    </a:lnTo>
                    <a:lnTo>
                      <a:pt x="7812" y="2286"/>
                    </a:lnTo>
                    <a:lnTo>
                      <a:pt x="7740" y="2232"/>
                    </a:lnTo>
                    <a:lnTo>
                      <a:pt x="7734" y="2226"/>
                    </a:lnTo>
                    <a:lnTo>
                      <a:pt x="7722" y="2202"/>
                    </a:lnTo>
                    <a:lnTo>
                      <a:pt x="7710" y="2196"/>
                    </a:lnTo>
                    <a:lnTo>
                      <a:pt x="7704" y="2184"/>
                    </a:lnTo>
                    <a:lnTo>
                      <a:pt x="7698" y="2178"/>
                    </a:lnTo>
                    <a:lnTo>
                      <a:pt x="7674" y="2166"/>
                    </a:lnTo>
                    <a:lnTo>
                      <a:pt x="7668" y="2160"/>
                    </a:lnTo>
                    <a:lnTo>
                      <a:pt x="7656" y="2154"/>
                    </a:lnTo>
                    <a:lnTo>
                      <a:pt x="7578" y="2070"/>
                    </a:lnTo>
                    <a:lnTo>
                      <a:pt x="7554" y="2070"/>
                    </a:lnTo>
                    <a:lnTo>
                      <a:pt x="7542" y="2040"/>
                    </a:lnTo>
                    <a:lnTo>
                      <a:pt x="7524" y="2040"/>
                    </a:lnTo>
                    <a:lnTo>
                      <a:pt x="7512" y="2028"/>
                    </a:lnTo>
                    <a:lnTo>
                      <a:pt x="7500" y="2004"/>
                    </a:lnTo>
                    <a:lnTo>
                      <a:pt x="7500" y="1980"/>
                    </a:lnTo>
                    <a:lnTo>
                      <a:pt x="7470" y="1944"/>
                    </a:lnTo>
                    <a:lnTo>
                      <a:pt x="7446" y="1950"/>
                    </a:lnTo>
                    <a:lnTo>
                      <a:pt x="7434" y="1920"/>
                    </a:lnTo>
                    <a:lnTo>
                      <a:pt x="7392" y="1890"/>
                    </a:lnTo>
                    <a:lnTo>
                      <a:pt x="7380" y="1866"/>
                    </a:lnTo>
                    <a:lnTo>
                      <a:pt x="7368" y="1860"/>
                    </a:lnTo>
                    <a:lnTo>
                      <a:pt x="7362" y="1854"/>
                    </a:lnTo>
                    <a:lnTo>
                      <a:pt x="7344" y="1854"/>
                    </a:lnTo>
                    <a:lnTo>
                      <a:pt x="7344" y="1860"/>
                    </a:lnTo>
                    <a:lnTo>
                      <a:pt x="7392" y="1908"/>
                    </a:lnTo>
                    <a:lnTo>
                      <a:pt x="7392" y="1914"/>
                    </a:lnTo>
                    <a:lnTo>
                      <a:pt x="7386" y="1914"/>
                    </a:lnTo>
                    <a:lnTo>
                      <a:pt x="7380" y="1908"/>
                    </a:lnTo>
                    <a:lnTo>
                      <a:pt x="7368" y="1908"/>
                    </a:lnTo>
                    <a:lnTo>
                      <a:pt x="7362" y="1914"/>
                    </a:lnTo>
                    <a:lnTo>
                      <a:pt x="7362" y="1926"/>
                    </a:lnTo>
                    <a:lnTo>
                      <a:pt x="7374" y="1950"/>
                    </a:lnTo>
                    <a:lnTo>
                      <a:pt x="7386" y="1962"/>
                    </a:lnTo>
                    <a:lnTo>
                      <a:pt x="7392" y="1974"/>
                    </a:lnTo>
                    <a:lnTo>
                      <a:pt x="7404" y="1980"/>
                    </a:lnTo>
                    <a:lnTo>
                      <a:pt x="7404" y="1992"/>
                    </a:lnTo>
                    <a:lnTo>
                      <a:pt x="7416" y="2016"/>
                    </a:lnTo>
                    <a:lnTo>
                      <a:pt x="7422" y="2022"/>
                    </a:lnTo>
                    <a:lnTo>
                      <a:pt x="7440" y="2034"/>
                    </a:lnTo>
                    <a:lnTo>
                      <a:pt x="7470" y="2052"/>
                    </a:lnTo>
                    <a:lnTo>
                      <a:pt x="7500" y="2076"/>
                    </a:lnTo>
                    <a:lnTo>
                      <a:pt x="7518" y="2100"/>
                    </a:lnTo>
                    <a:lnTo>
                      <a:pt x="7524" y="2112"/>
                    </a:lnTo>
                    <a:lnTo>
                      <a:pt x="7536" y="2130"/>
                    </a:lnTo>
                    <a:lnTo>
                      <a:pt x="7536" y="2142"/>
                    </a:lnTo>
                    <a:lnTo>
                      <a:pt x="7548" y="2154"/>
                    </a:lnTo>
                    <a:lnTo>
                      <a:pt x="7554" y="2166"/>
                    </a:lnTo>
                    <a:lnTo>
                      <a:pt x="7572" y="2184"/>
                    </a:lnTo>
                    <a:lnTo>
                      <a:pt x="7590" y="2208"/>
                    </a:lnTo>
                    <a:lnTo>
                      <a:pt x="7608" y="2238"/>
                    </a:lnTo>
                    <a:lnTo>
                      <a:pt x="7620" y="2262"/>
                    </a:lnTo>
                    <a:lnTo>
                      <a:pt x="7626" y="2268"/>
                    </a:lnTo>
                    <a:lnTo>
                      <a:pt x="7626" y="2280"/>
                    </a:lnTo>
                    <a:lnTo>
                      <a:pt x="7632" y="2292"/>
                    </a:lnTo>
                    <a:lnTo>
                      <a:pt x="7644" y="2304"/>
                    </a:lnTo>
                    <a:lnTo>
                      <a:pt x="7656" y="2304"/>
                    </a:lnTo>
                    <a:lnTo>
                      <a:pt x="7668" y="2310"/>
                    </a:lnTo>
                    <a:lnTo>
                      <a:pt x="7674" y="2322"/>
                    </a:lnTo>
                    <a:lnTo>
                      <a:pt x="7686" y="2334"/>
                    </a:lnTo>
                    <a:lnTo>
                      <a:pt x="7698" y="2358"/>
                    </a:lnTo>
                    <a:lnTo>
                      <a:pt x="7698" y="2376"/>
                    </a:lnTo>
                    <a:lnTo>
                      <a:pt x="7740" y="2412"/>
                    </a:lnTo>
                    <a:lnTo>
                      <a:pt x="7752" y="2466"/>
                    </a:lnTo>
                    <a:lnTo>
                      <a:pt x="7794" y="2508"/>
                    </a:lnTo>
                    <a:lnTo>
                      <a:pt x="7794" y="2502"/>
                    </a:lnTo>
                    <a:lnTo>
                      <a:pt x="7788" y="2496"/>
                    </a:lnTo>
                    <a:lnTo>
                      <a:pt x="7788" y="2484"/>
                    </a:lnTo>
                    <a:lnTo>
                      <a:pt x="7782" y="2472"/>
                    </a:lnTo>
                    <a:lnTo>
                      <a:pt x="7782" y="2460"/>
                    </a:lnTo>
                    <a:lnTo>
                      <a:pt x="7776" y="2448"/>
                    </a:lnTo>
                    <a:lnTo>
                      <a:pt x="7782" y="2442"/>
                    </a:lnTo>
                    <a:lnTo>
                      <a:pt x="7788" y="2442"/>
                    </a:lnTo>
                    <a:lnTo>
                      <a:pt x="7800" y="2454"/>
                    </a:lnTo>
                    <a:lnTo>
                      <a:pt x="7830" y="2454"/>
                    </a:lnTo>
                    <a:lnTo>
                      <a:pt x="7866" y="2496"/>
                    </a:lnTo>
                    <a:lnTo>
                      <a:pt x="7866" y="2472"/>
                    </a:lnTo>
                    <a:lnTo>
                      <a:pt x="7836" y="2430"/>
                    </a:lnTo>
                    <a:lnTo>
                      <a:pt x="7812" y="2436"/>
                    </a:lnTo>
                    <a:close/>
                    <a:moveTo>
                      <a:pt x="1344" y="84"/>
                    </a:moveTo>
                    <a:lnTo>
                      <a:pt x="1350" y="72"/>
                    </a:lnTo>
                    <a:lnTo>
                      <a:pt x="1308" y="66"/>
                    </a:lnTo>
                    <a:lnTo>
                      <a:pt x="1284" y="78"/>
                    </a:lnTo>
                    <a:lnTo>
                      <a:pt x="1290" y="90"/>
                    </a:lnTo>
                    <a:lnTo>
                      <a:pt x="1344" y="84"/>
                    </a:lnTo>
                    <a:close/>
                    <a:moveTo>
                      <a:pt x="9048" y="996"/>
                    </a:moveTo>
                    <a:lnTo>
                      <a:pt x="9036" y="984"/>
                    </a:lnTo>
                    <a:lnTo>
                      <a:pt x="9024" y="978"/>
                    </a:lnTo>
                    <a:lnTo>
                      <a:pt x="9006" y="972"/>
                    </a:lnTo>
                    <a:lnTo>
                      <a:pt x="8994" y="966"/>
                    </a:lnTo>
                    <a:lnTo>
                      <a:pt x="8982" y="966"/>
                    </a:lnTo>
                    <a:lnTo>
                      <a:pt x="8940" y="948"/>
                    </a:lnTo>
                    <a:lnTo>
                      <a:pt x="8898" y="948"/>
                    </a:lnTo>
                    <a:lnTo>
                      <a:pt x="8868" y="930"/>
                    </a:lnTo>
                    <a:lnTo>
                      <a:pt x="8778" y="924"/>
                    </a:lnTo>
                    <a:lnTo>
                      <a:pt x="8736" y="906"/>
                    </a:lnTo>
                    <a:lnTo>
                      <a:pt x="8700" y="906"/>
                    </a:lnTo>
                    <a:lnTo>
                      <a:pt x="8754" y="942"/>
                    </a:lnTo>
                    <a:lnTo>
                      <a:pt x="8808" y="966"/>
                    </a:lnTo>
                    <a:lnTo>
                      <a:pt x="8796" y="966"/>
                    </a:lnTo>
                    <a:lnTo>
                      <a:pt x="8784" y="972"/>
                    </a:lnTo>
                    <a:lnTo>
                      <a:pt x="8754" y="972"/>
                    </a:lnTo>
                    <a:lnTo>
                      <a:pt x="8730" y="960"/>
                    </a:lnTo>
                    <a:lnTo>
                      <a:pt x="8676" y="906"/>
                    </a:lnTo>
                    <a:lnTo>
                      <a:pt x="8580" y="870"/>
                    </a:lnTo>
                    <a:lnTo>
                      <a:pt x="8496" y="846"/>
                    </a:lnTo>
                    <a:lnTo>
                      <a:pt x="8442" y="834"/>
                    </a:lnTo>
                    <a:lnTo>
                      <a:pt x="8370" y="822"/>
                    </a:lnTo>
                    <a:lnTo>
                      <a:pt x="8280" y="804"/>
                    </a:lnTo>
                    <a:lnTo>
                      <a:pt x="8190" y="780"/>
                    </a:lnTo>
                    <a:lnTo>
                      <a:pt x="8112" y="762"/>
                    </a:lnTo>
                    <a:lnTo>
                      <a:pt x="8052" y="750"/>
                    </a:lnTo>
                    <a:lnTo>
                      <a:pt x="7998" y="738"/>
                    </a:lnTo>
                    <a:lnTo>
                      <a:pt x="7956" y="732"/>
                    </a:lnTo>
                    <a:lnTo>
                      <a:pt x="7758" y="732"/>
                    </a:lnTo>
                    <a:lnTo>
                      <a:pt x="7746" y="714"/>
                    </a:lnTo>
                    <a:lnTo>
                      <a:pt x="7698" y="720"/>
                    </a:lnTo>
                    <a:lnTo>
                      <a:pt x="7680" y="708"/>
                    </a:lnTo>
                    <a:lnTo>
                      <a:pt x="7626" y="708"/>
                    </a:lnTo>
                    <a:lnTo>
                      <a:pt x="7650" y="726"/>
                    </a:lnTo>
                    <a:lnTo>
                      <a:pt x="7644" y="744"/>
                    </a:lnTo>
                    <a:lnTo>
                      <a:pt x="7656" y="744"/>
                    </a:lnTo>
                    <a:lnTo>
                      <a:pt x="7680" y="756"/>
                    </a:lnTo>
                    <a:lnTo>
                      <a:pt x="7716" y="762"/>
                    </a:lnTo>
                    <a:lnTo>
                      <a:pt x="7740" y="774"/>
                    </a:lnTo>
                    <a:lnTo>
                      <a:pt x="7758" y="786"/>
                    </a:lnTo>
                    <a:lnTo>
                      <a:pt x="7752" y="798"/>
                    </a:lnTo>
                    <a:lnTo>
                      <a:pt x="7728" y="804"/>
                    </a:lnTo>
                    <a:lnTo>
                      <a:pt x="7698" y="804"/>
                    </a:lnTo>
                    <a:lnTo>
                      <a:pt x="7686" y="798"/>
                    </a:lnTo>
                    <a:lnTo>
                      <a:pt x="7680" y="792"/>
                    </a:lnTo>
                    <a:lnTo>
                      <a:pt x="7656" y="774"/>
                    </a:lnTo>
                    <a:lnTo>
                      <a:pt x="7584" y="774"/>
                    </a:lnTo>
                    <a:lnTo>
                      <a:pt x="7530" y="738"/>
                    </a:lnTo>
                    <a:lnTo>
                      <a:pt x="7524" y="738"/>
                    </a:lnTo>
                    <a:lnTo>
                      <a:pt x="7518" y="744"/>
                    </a:lnTo>
                    <a:lnTo>
                      <a:pt x="7506" y="744"/>
                    </a:lnTo>
                    <a:lnTo>
                      <a:pt x="7500" y="750"/>
                    </a:lnTo>
                    <a:lnTo>
                      <a:pt x="7446" y="750"/>
                    </a:lnTo>
                    <a:lnTo>
                      <a:pt x="7440" y="738"/>
                    </a:lnTo>
                    <a:lnTo>
                      <a:pt x="7344" y="744"/>
                    </a:lnTo>
                    <a:lnTo>
                      <a:pt x="7320" y="726"/>
                    </a:lnTo>
                    <a:lnTo>
                      <a:pt x="7314" y="732"/>
                    </a:lnTo>
                    <a:lnTo>
                      <a:pt x="7212" y="732"/>
                    </a:lnTo>
                    <a:lnTo>
                      <a:pt x="7206" y="738"/>
                    </a:lnTo>
                    <a:lnTo>
                      <a:pt x="7212" y="744"/>
                    </a:lnTo>
                    <a:lnTo>
                      <a:pt x="7218" y="756"/>
                    </a:lnTo>
                    <a:lnTo>
                      <a:pt x="7254" y="792"/>
                    </a:lnTo>
                    <a:lnTo>
                      <a:pt x="7248" y="792"/>
                    </a:lnTo>
                    <a:lnTo>
                      <a:pt x="7242" y="786"/>
                    </a:lnTo>
                    <a:lnTo>
                      <a:pt x="7230" y="780"/>
                    </a:lnTo>
                    <a:lnTo>
                      <a:pt x="7218" y="768"/>
                    </a:lnTo>
                    <a:lnTo>
                      <a:pt x="7206" y="762"/>
                    </a:lnTo>
                    <a:lnTo>
                      <a:pt x="7194" y="750"/>
                    </a:lnTo>
                    <a:lnTo>
                      <a:pt x="7176" y="744"/>
                    </a:lnTo>
                    <a:lnTo>
                      <a:pt x="7104" y="732"/>
                    </a:lnTo>
                    <a:lnTo>
                      <a:pt x="7086" y="732"/>
                    </a:lnTo>
                    <a:lnTo>
                      <a:pt x="7086" y="726"/>
                    </a:lnTo>
                    <a:lnTo>
                      <a:pt x="7056" y="696"/>
                    </a:lnTo>
                    <a:lnTo>
                      <a:pt x="7032" y="684"/>
                    </a:lnTo>
                    <a:lnTo>
                      <a:pt x="6990" y="666"/>
                    </a:lnTo>
                    <a:lnTo>
                      <a:pt x="6948" y="660"/>
                    </a:lnTo>
                    <a:lnTo>
                      <a:pt x="6912" y="654"/>
                    </a:lnTo>
                    <a:lnTo>
                      <a:pt x="6882" y="654"/>
                    </a:lnTo>
                    <a:lnTo>
                      <a:pt x="6864" y="648"/>
                    </a:lnTo>
                    <a:lnTo>
                      <a:pt x="6834" y="648"/>
                    </a:lnTo>
                    <a:lnTo>
                      <a:pt x="6786" y="636"/>
                    </a:lnTo>
                    <a:lnTo>
                      <a:pt x="6774" y="642"/>
                    </a:lnTo>
                    <a:lnTo>
                      <a:pt x="6714" y="642"/>
                    </a:lnTo>
                    <a:lnTo>
                      <a:pt x="6696" y="660"/>
                    </a:lnTo>
                    <a:lnTo>
                      <a:pt x="6684" y="666"/>
                    </a:lnTo>
                    <a:lnTo>
                      <a:pt x="6648" y="666"/>
                    </a:lnTo>
                    <a:lnTo>
                      <a:pt x="6630" y="660"/>
                    </a:lnTo>
                    <a:lnTo>
                      <a:pt x="6594" y="660"/>
                    </a:lnTo>
                    <a:lnTo>
                      <a:pt x="6582" y="654"/>
                    </a:lnTo>
                    <a:lnTo>
                      <a:pt x="6576" y="648"/>
                    </a:lnTo>
                    <a:lnTo>
                      <a:pt x="6552" y="636"/>
                    </a:lnTo>
                    <a:lnTo>
                      <a:pt x="6534" y="630"/>
                    </a:lnTo>
                    <a:lnTo>
                      <a:pt x="6522" y="624"/>
                    </a:lnTo>
                    <a:lnTo>
                      <a:pt x="6498" y="624"/>
                    </a:lnTo>
                    <a:lnTo>
                      <a:pt x="6486" y="630"/>
                    </a:lnTo>
                    <a:lnTo>
                      <a:pt x="6474" y="612"/>
                    </a:lnTo>
                    <a:lnTo>
                      <a:pt x="6438" y="612"/>
                    </a:lnTo>
                    <a:lnTo>
                      <a:pt x="6372" y="606"/>
                    </a:lnTo>
                    <a:lnTo>
                      <a:pt x="6408" y="594"/>
                    </a:lnTo>
                    <a:lnTo>
                      <a:pt x="6372" y="570"/>
                    </a:lnTo>
                    <a:lnTo>
                      <a:pt x="6360" y="570"/>
                    </a:lnTo>
                    <a:lnTo>
                      <a:pt x="6324" y="564"/>
                    </a:lnTo>
                    <a:lnTo>
                      <a:pt x="6282" y="558"/>
                    </a:lnTo>
                    <a:lnTo>
                      <a:pt x="6246" y="558"/>
                    </a:lnTo>
                    <a:lnTo>
                      <a:pt x="6228" y="564"/>
                    </a:lnTo>
                    <a:lnTo>
                      <a:pt x="6228" y="594"/>
                    </a:lnTo>
                    <a:lnTo>
                      <a:pt x="6222" y="600"/>
                    </a:lnTo>
                    <a:lnTo>
                      <a:pt x="6192" y="600"/>
                    </a:lnTo>
                    <a:lnTo>
                      <a:pt x="6180" y="594"/>
                    </a:lnTo>
                    <a:lnTo>
                      <a:pt x="6168" y="594"/>
                    </a:lnTo>
                    <a:lnTo>
                      <a:pt x="6186" y="582"/>
                    </a:lnTo>
                    <a:lnTo>
                      <a:pt x="6168" y="570"/>
                    </a:lnTo>
                    <a:lnTo>
                      <a:pt x="6096" y="570"/>
                    </a:lnTo>
                    <a:lnTo>
                      <a:pt x="6114" y="558"/>
                    </a:lnTo>
                    <a:lnTo>
                      <a:pt x="6156" y="558"/>
                    </a:lnTo>
                    <a:lnTo>
                      <a:pt x="6216" y="588"/>
                    </a:lnTo>
                    <a:lnTo>
                      <a:pt x="6216" y="564"/>
                    </a:lnTo>
                    <a:lnTo>
                      <a:pt x="6162" y="540"/>
                    </a:lnTo>
                    <a:lnTo>
                      <a:pt x="6048" y="546"/>
                    </a:lnTo>
                    <a:lnTo>
                      <a:pt x="6048" y="534"/>
                    </a:lnTo>
                    <a:lnTo>
                      <a:pt x="5928" y="540"/>
                    </a:lnTo>
                    <a:lnTo>
                      <a:pt x="5880" y="522"/>
                    </a:lnTo>
                    <a:lnTo>
                      <a:pt x="5862" y="522"/>
                    </a:lnTo>
                    <a:lnTo>
                      <a:pt x="5898" y="546"/>
                    </a:lnTo>
                    <a:lnTo>
                      <a:pt x="5850" y="546"/>
                    </a:lnTo>
                    <a:lnTo>
                      <a:pt x="5838" y="552"/>
                    </a:lnTo>
                    <a:lnTo>
                      <a:pt x="5832" y="552"/>
                    </a:lnTo>
                    <a:lnTo>
                      <a:pt x="5832" y="558"/>
                    </a:lnTo>
                    <a:lnTo>
                      <a:pt x="5844" y="564"/>
                    </a:lnTo>
                    <a:lnTo>
                      <a:pt x="5850" y="570"/>
                    </a:lnTo>
                    <a:lnTo>
                      <a:pt x="5862" y="576"/>
                    </a:lnTo>
                    <a:lnTo>
                      <a:pt x="5892" y="576"/>
                    </a:lnTo>
                    <a:lnTo>
                      <a:pt x="5892" y="582"/>
                    </a:lnTo>
                    <a:lnTo>
                      <a:pt x="5952" y="618"/>
                    </a:lnTo>
                    <a:lnTo>
                      <a:pt x="5904" y="618"/>
                    </a:lnTo>
                    <a:lnTo>
                      <a:pt x="5898" y="612"/>
                    </a:lnTo>
                    <a:lnTo>
                      <a:pt x="5886" y="606"/>
                    </a:lnTo>
                    <a:lnTo>
                      <a:pt x="5874" y="606"/>
                    </a:lnTo>
                    <a:lnTo>
                      <a:pt x="5862" y="600"/>
                    </a:lnTo>
                    <a:lnTo>
                      <a:pt x="5844" y="618"/>
                    </a:lnTo>
                    <a:lnTo>
                      <a:pt x="5868" y="636"/>
                    </a:lnTo>
                    <a:lnTo>
                      <a:pt x="5814" y="630"/>
                    </a:lnTo>
                    <a:lnTo>
                      <a:pt x="5808" y="630"/>
                    </a:lnTo>
                    <a:lnTo>
                      <a:pt x="5802" y="624"/>
                    </a:lnTo>
                    <a:lnTo>
                      <a:pt x="5784" y="618"/>
                    </a:lnTo>
                    <a:lnTo>
                      <a:pt x="5766" y="618"/>
                    </a:lnTo>
                    <a:lnTo>
                      <a:pt x="5754" y="612"/>
                    </a:lnTo>
                    <a:lnTo>
                      <a:pt x="5736" y="606"/>
                    </a:lnTo>
                    <a:lnTo>
                      <a:pt x="5724" y="606"/>
                    </a:lnTo>
                    <a:lnTo>
                      <a:pt x="5712" y="612"/>
                    </a:lnTo>
                    <a:lnTo>
                      <a:pt x="5700" y="612"/>
                    </a:lnTo>
                    <a:lnTo>
                      <a:pt x="5688" y="618"/>
                    </a:lnTo>
                    <a:lnTo>
                      <a:pt x="5682" y="624"/>
                    </a:lnTo>
                    <a:lnTo>
                      <a:pt x="5676" y="624"/>
                    </a:lnTo>
                    <a:lnTo>
                      <a:pt x="5610" y="618"/>
                    </a:lnTo>
                    <a:lnTo>
                      <a:pt x="5604" y="618"/>
                    </a:lnTo>
                    <a:lnTo>
                      <a:pt x="5598" y="612"/>
                    </a:lnTo>
                    <a:lnTo>
                      <a:pt x="5562" y="594"/>
                    </a:lnTo>
                    <a:lnTo>
                      <a:pt x="5556" y="594"/>
                    </a:lnTo>
                    <a:lnTo>
                      <a:pt x="5550" y="588"/>
                    </a:lnTo>
                    <a:lnTo>
                      <a:pt x="5538" y="588"/>
                    </a:lnTo>
                    <a:lnTo>
                      <a:pt x="5538" y="606"/>
                    </a:lnTo>
                    <a:lnTo>
                      <a:pt x="5544" y="612"/>
                    </a:lnTo>
                    <a:lnTo>
                      <a:pt x="5550" y="624"/>
                    </a:lnTo>
                    <a:lnTo>
                      <a:pt x="5556" y="630"/>
                    </a:lnTo>
                    <a:lnTo>
                      <a:pt x="5562" y="642"/>
                    </a:lnTo>
                    <a:lnTo>
                      <a:pt x="5562" y="660"/>
                    </a:lnTo>
                    <a:lnTo>
                      <a:pt x="5556" y="666"/>
                    </a:lnTo>
                    <a:lnTo>
                      <a:pt x="5532" y="660"/>
                    </a:lnTo>
                    <a:lnTo>
                      <a:pt x="5424" y="624"/>
                    </a:lnTo>
                    <a:lnTo>
                      <a:pt x="5412" y="618"/>
                    </a:lnTo>
                    <a:lnTo>
                      <a:pt x="5406" y="618"/>
                    </a:lnTo>
                    <a:lnTo>
                      <a:pt x="5400" y="612"/>
                    </a:lnTo>
                    <a:lnTo>
                      <a:pt x="5394" y="600"/>
                    </a:lnTo>
                    <a:lnTo>
                      <a:pt x="5382" y="594"/>
                    </a:lnTo>
                    <a:lnTo>
                      <a:pt x="5376" y="588"/>
                    </a:lnTo>
                    <a:lnTo>
                      <a:pt x="5376" y="606"/>
                    </a:lnTo>
                    <a:lnTo>
                      <a:pt x="5322" y="588"/>
                    </a:lnTo>
                    <a:lnTo>
                      <a:pt x="5292" y="570"/>
                    </a:lnTo>
                    <a:lnTo>
                      <a:pt x="5298" y="570"/>
                    </a:lnTo>
                    <a:lnTo>
                      <a:pt x="5304" y="576"/>
                    </a:lnTo>
                    <a:lnTo>
                      <a:pt x="5328" y="576"/>
                    </a:lnTo>
                    <a:lnTo>
                      <a:pt x="5340" y="582"/>
                    </a:lnTo>
                    <a:lnTo>
                      <a:pt x="5352" y="582"/>
                    </a:lnTo>
                    <a:lnTo>
                      <a:pt x="5358" y="576"/>
                    </a:lnTo>
                    <a:lnTo>
                      <a:pt x="5358" y="570"/>
                    </a:lnTo>
                    <a:lnTo>
                      <a:pt x="5346" y="564"/>
                    </a:lnTo>
                    <a:lnTo>
                      <a:pt x="5334" y="552"/>
                    </a:lnTo>
                    <a:lnTo>
                      <a:pt x="5292" y="552"/>
                    </a:lnTo>
                    <a:lnTo>
                      <a:pt x="5304" y="540"/>
                    </a:lnTo>
                    <a:lnTo>
                      <a:pt x="5298" y="534"/>
                    </a:lnTo>
                    <a:lnTo>
                      <a:pt x="5286" y="528"/>
                    </a:lnTo>
                    <a:lnTo>
                      <a:pt x="5256" y="528"/>
                    </a:lnTo>
                    <a:lnTo>
                      <a:pt x="5268" y="510"/>
                    </a:lnTo>
                    <a:lnTo>
                      <a:pt x="5262" y="510"/>
                    </a:lnTo>
                    <a:lnTo>
                      <a:pt x="5256" y="504"/>
                    </a:lnTo>
                    <a:lnTo>
                      <a:pt x="5232" y="504"/>
                    </a:lnTo>
                    <a:lnTo>
                      <a:pt x="5220" y="498"/>
                    </a:lnTo>
                    <a:lnTo>
                      <a:pt x="5208" y="498"/>
                    </a:lnTo>
                    <a:lnTo>
                      <a:pt x="5202" y="492"/>
                    </a:lnTo>
                    <a:lnTo>
                      <a:pt x="5190" y="492"/>
                    </a:lnTo>
                    <a:lnTo>
                      <a:pt x="5184" y="486"/>
                    </a:lnTo>
                    <a:lnTo>
                      <a:pt x="5142" y="486"/>
                    </a:lnTo>
                    <a:lnTo>
                      <a:pt x="5130" y="492"/>
                    </a:lnTo>
                    <a:lnTo>
                      <a:pt x="5094" y="492"/>
                    </a:lnTo>
                    <a:lnTo>
                      <a:pt x="5076" y="486"/>
                    </a:lnTo>
                    <a:lnTo>
                      <a:pt x="5070" y="480"/>
                    </a:lnTo>
                    <a:lnTo>
                      <a:pt x="5064" y="480"/>
                    </a:lnTo>
                    <a:lnTo>
                      <a:pt x="5040" y="486"/>
                    </a:lnTo>
                    <a:lnTo>
                      <a:pt x="5040" y="474"/>
                    </a:lnTo>
                    <a:lnTo>
                      <a:pt x="4992" y="468"/>
                    </a:lnTo>
                    <a:lnTo>
                      <a:pt x="4980" y="456"/>
                    </a:lnTo>
                    <a:lnTo>
                      <a:pt x="4974" y="474"/>
                    </a:lnTo>
                    <a:lnTo>
                      <a:pt x="4956" y="480"/>
                    </a:lnTo>
                    <a:lnTo>
                      <a:pt x="4986" y="498"/>
                    </a:lnTo>
                    <a:lnTo>
                      <a:pt x="5010" y="528"/>
                    </a:lnTo>
                    <a:lnTo>
                      <a:pt x="4962" y="522"/>
                    </a:lnTo>
                    <a:lnTo>
                      <a:pt x="4956" y="516"/>
                    </a:lnTo>
                    <a:lnTo>
                      <a:pt x="4890" y="522"/>
                    </a:lnTo>
                    <a:lnTo>
                      <a:pt x="4872" y="528"/>
                    </a:lnTo>
                    <a:lnTo>
                      <a:pt x="4872" y="516"/>
                    </a:lnTo>
                    <a:lnTo>
                      <a:pt x="4824" y="522"/>
                    </a:lnTo>
                    <a:lnTo>
                      <a:pt x="4818" y="510"/>
                    </a:lnTo>
                    <a:lnTo>
                      <a:pt x="4764" y="510"/>
                    </a:lnTo>
                    <a:lnTo>
                      <a:pt x="4728" y="504"/>
                    </a:lnTo>
                    <a:lnTo>
                      <a:pt x="4746" y="480"/>
                    </a:lnTo>
                    <a:lnTo>
                      <a:pt x="4620" y="480"/>
                    </a:lnTo>
                    <a:lnTo>
                      <a:pt x="4608" y="468"/>
                    </a:lnTo>
                    <a:lnTo>
                      <a:pt x="4602" y="474"/>
                    </a:lnTo>
                    <a:lnTo>
                      <a:pt x="4590" y="468"/>
                    </a:lnTo>
                    <a:lnTo>
                      <a:pt x="4542" y="474"/>
                    </a:lnTo>
                    <a:lnTo>
                      <a:pt x="4548" y="486"/>
                    </a:lnTo>
                    <a:lnTo>
                      <a:pt x="4488" y="480"/>
                    </a:lnTo>
                    <a:lnTo>
                      <a:pt x="4476" y="486"/>
                    </a:lnTo>
                    <a:lnTo>
                      <a:pt x="4506" y="498"/>
                    </a:lnTo>
                    <a:lnTo>
                      <a:pt x="4464" y="492"/>
                    </a:lnTo>
                    <a:lnTo>
                      <a:pt x="4464" y="474"/>
                    </a:lnTo>
                    <a:lnTo>
                      <a:pt x="4434" y="456"/>
                    </a:lnTo>
                    <a:lnTo>
                      <a:pt x="4416" y="456"/>
                    </a:lnTo>
                    <a:lnTo>
                      <a:pt x="4428" y="474"/>
                    </a:lnTo>
                    <a:lnTo>
                      <a:pt x="4374" y="474"/>
                    </a:lnTo>
                    <a:lnTo>
                      <a:pt x="4368" y="468"/>
                    </a:lnTo>
                    <a:lnTo>
                      <a:pt x="4356" y="468"/>
                    </a:lnTo>
                    <a:lnTo>
                      <a:pt x="4350" y="456"/>
                    </a:lnTo>
                    <a:lnTo>
                      <a:pt x="4320" y="456"/>
                    </a:lnTo>
                    <a:lnTo>
                      <a:pt x="4296" y="444"/>
                    </a:lnTo>
                    <a:lnTo>
                      <a:pt x="4266" y="468"/>
                    </a:lnTo>
                    <a:lnTo>
                      <a:pt x="4320" y="474"/>
                    </a:lnTo>
                    <a:lnTo>
                      <a:pt x="4332" y="474"/>
                    </a:lnTo>
                    <a:lnTo>
                      <a:pt x="4326" y="480"/>
                    </a:lnTo>
                    <a:lnTo>
                      <a:pt x="4314" y="486"/>
                    </a:lnTo>
                    <a:lnTo>
                      <a:pt x="4308" y="492"/>
                    </a:lnTo>
                    <a:lnTo>
                      <a:pt x="4272" y="492"/>
                    </a:lnTo>
                    <a:lnTo>
                      <a:pt x="4266" y="498"/>
                    </a:lnTo>
                    <a:lnTo>
                      <a:pt x="4254" y="504"/>
                    </a:lnTo>
                    <a:lnTo>
                      <a:pt x="4182" y="504"/>
                    </a:lnTo>
                    <a:lnTo>
                      <a:pt x="4146" y="510"/>
                    </a:lnTo>
                    <a:lnTo>
                      <a:pt x="4134" y="534"/>
                    </a:lnTo>
                    <a:lnTo>
                      <a:pt x="4110" y="528"/>
                    </a:lnTo>
                    <a:lnTo>
                      <a:pt x="4110" y="516"/>
                    </a:lnTo>
                    <a:lnTo>
                      <a:pt x="4116" y="504"/>
                    </a:lnTo>
                    <a:lnTo>
                      <a:pt x="4122" y="498"/>
                    </a:lnTo>
                    <a:lnTo>
                      <a:pt x="4134" y="492"/>
                    </a:lnTo>
                    <a:lnTo>
                      <a:pt x="4152" y="492"/>
                    </a:lnTo>
                    <a:lnTo>
                      <a:pt x="4164" y="480"/>
                    </a:lnTo>
                    <a:lnTo>
                      <a:pt x="4206" y="474"/>
                    </a:lnTo>
                    <a:lnTo>
                      <a:pt x="4248" y="438"/>
                    </a:lnTo>
                    <a:lnTo>
                      <a:pt x="4248" y="426"/>
                    </a:lnTo>
                    <a:lnTo>
                      <a:pt x="4254" y="420"/>
                    </a:lnTo>
                    <a:lnTo>
                      <a:pt x="4266" y="414"/>
                    </a:lnTo>
                    <a:lnTo>
                      <a:pt x="4278" y="414"/>
                    </a:lnTo>
                    <a:lnTo>
                      <a:pt x="4290" y="408"/>
                    </a:lnTo>
                    <a:lnTo>
                      <a:pt x="4302" y="408"/>
                    </a:lnTo>
                    <a:lnTo>
                      <a:pt x="4320" y="402"/>
                    </a:lnTo>
                    <a:lnTo>
                      <a:pt x="4332" y="402"/>
                    </a:lnTo>
                    <a:lnTo>
                      <a:pt x="4344" y="396"/>
                    </a:lnTo>
                    <a:lnTo>
                      <a:pt x="4350" y="390"/>
                    </a:lnTo>
                    <a:lnTo>
                      <a:pt x="4356" y="378"/>
                    </a:lnTo>
                    <a:lnTo>
                      <a:pt x="4350" y="366"/>
                    </a:lnTo>
                    <a:lnTo>
                      <a:pt x="4344" y="360"/>
                    </a:lnTo>
                    <a:lnTo>
                      <a:pt x="4332" y="354"/>
                    </a:lnTo>
                    <a:lnTo>
                      <a:pt x="4326" y="348"/>
                    </a:lnTo>
                    <a:lnTo>
                      <a:pt x="4290" y="348"/>
                    </a:lnTo>
                    <a:lnTo>
                      <a:pt x="4320" y="336"/>
                    </a:lnTo>
                    <a:lnTo>
                      <a:pt x="4314" y="330"/>
                    </a:lnTo>
                    <a:lnTo>
                      <a:pt x="4302" y="324"/>
                    </a:lnTo>
                    <a:lnTo>
                      <a:pt x="4290" y="312"/>
                    </a:lnTo>
                    <a:lnTo>
                      <a:pt x="4284" y="312"/>
                    </a:lnTo>
                    <a:lnTo>
                      <a:pt x="4278" y="318"/>
                    </a:lnTo>
                    <a:lnTo>
                      <a:pt x="4254" y="318"/>
                    </a:lnTo>
                    <a:lnTo>
                      <a:pt x="4248" y="312"/>
                    </a:lnTo>
                    <a:lnTo>
                      <a:pt x="4242" y="300"/>
                    </a:lnTo>
                    <a:lnTo>
                      <a:pt x="4236" y="294"/>
                    </a:lnTo>
                    <a:lnTo>
                      <a:pt x="4194" y="294"/>
                    </a:lnTo>
                    <a:lnTo>
                      <a:pt x="4188" y="300"/>
                    </a:lnTo>
                    <a:lnTo>
                      <a:pt x="4182" y="300"/>
                    </a:lnTo>
                    <a:lnTo>
                      <a:pt x="4128" y="288"/>
                    </a:lnTo>
                    <a:lnTo>
                      <a:pt x="3990" y="282"/>
                    </a:lnTo>
                    <a:lnTo>
                      <a:pt x="3990" y="300"/>
                    </a:lnTo>
                    <a:lnTo>
                      <a:pt x="3924" y="300"/>
                    </a:lnTo>
                    <a:lnTo>
                      <a:pt x="3942" y="282"/>
                    </a:lnTo>
                    <a:lnTo>
                      <a:pt x="3942" y="276"/>
                    </a:lnTo>
                    <a:lnTo>
                      <a:pt x="3936" y="270"/>
                    </a:lnTo>
                    <a:lnTo>
                      <a:pt x="3912" y="264"/>
                    </a:lnTo>
                    <a:lnTo>
                      <a:pt x="3882" y="264"/>
                    </a:lnTo>
                    <a:lnTo>
                      <a:pt x="3852" y="270"/>
                    </a:lnTo>
                    <a:lnTo>
                      <a:pt x="3840" y="270"/>
                    </a:lnTo>
                    <a:lnTo>
                      <a:pt x="3780" y="264"/>
                    </a:lnTo>
                    <a:lnTo>
                      <a:pt x="3792" y="264"/>
                    </a:lnTo>
                    <a:lnTo>
                      <a:pt x="3810" y="258"/>
                    </a:lnTo>
                    <a:lnTo>
                      <a:pt x="3822" y="258"/>
                    </a:lnTo>
                    <a:lnTo>
                      <a:pt x="3834" y="252"/>
                    </a:lnTo>
                    <a:lnTo>
                      <a:pt x="3840" y="252"/>
                    </a:lnTo>
                    <a:lnTo>
                      <a:pt x="3840" y="246"/>
                    </a:lnTo>
                    <a:lnTo>
                      <a:pt x="3834" y="240"/>
                    </a:lnTo>
                    <a:lnTo>
                      <a:pt x="3822" y="240"/>
                    </a:lnTo>
                    <a:lnTo>
                      <a:pt x="3804" y="234"/>
                    </a:lnTo>
                    <a:lnTo>
                      <a:pt x="3762" y="234"/>
                    </a:lnTo>
                    <a:lnTo>
                      <a:pt x="3720" y="228"/>
                    </a:lnTo>
                    <a:lnTo>
                      <a:pt x="3714" y="240"/>
                    </a:lnTo>
                    <a:lnTo>
                      <a:pt x="3684" y="240"/>
                    </a:lnTo>
                    <a:lnTo>
                      <a:pt x="3672" y="246"/>
                    </a:lnTo>
                    <a:lnTo>
                      <a:pt x="3660" y="246"/>
                    </a:lnTo>
                    <a:lnTo>
                      <a:pt x="3648" y="252"/>
                    </a:lnTo>
                    <a:lnTo>
                      <a:pt x="3648" y="258"/>
                    </a:lnTo>
                    <a:lnTo>
                      <a:pt x="3654" y="270"/>
                    </a:lnTo>
                    <a:lnTo>
                      <a:pt x="3678" y="282"/>
                    </a:lnTo>
                    <a:lnTo>
                      <a:pt x="3696" y="294"/>
                    </a:lnTo>
                    <a:lnTo>
                      <a:pt x="3708" y="294"/>
                    </a:lnTo>
                    <a:lnTo>
                      <a:pt x="3714" y="300"/>
                    </a:lnTo>
                    <a:lnTo>
                      <a:pt x="3720" y="300"/>
                    </a:lnTo>
                    <a:lnTo>
                      <a:pt x="3576" y="294"/>
                    </a:lnTo>
                    <a:lnTo>
                      <a:pt x="3630" y="312"/>
                    </a:lnTo>
                    <a:lnTo>
                      <a:pt x="3576" y="324"/>
                    </a:lnTo>
                    <a:lnTo>
                      <a:pt x="3564" y="330"/>
                    </a:lnTo>
                    <a:lnTo>
                      <a:pt x="3534" y="336"/>
                    </a:lnTo>
                    <a:lnTo>
                      <a:pt x="3498" y="342"/>
                    </a:lnTo>
                    <a:lnTo>
                      <a:pt x="3474" y="342"/>
                    </a:lnTo>
                    <a:lnTo>
                      <a:pt x="3468" y="336"/>
                    </a:lnTo>
                    <a:lnTo>
                      <a:pt x="3474" y="324"/>
                    </a:lnTo>
                    <a:lnTo>
                      <a:pt x="3486" y="312"/>
                    </a:lnTo>
                    <a:lnTo>
                      <a:pt x="3420" y="312"/>
                    </a:lnTo>
                    <a:lnTo>
                      <a:pt x="3408" y="318"/>
                    </a:lnTo>
                    <a:lnTo>
                      <a:pt x="3390" y="318"/>
                    </a:lnTo>
                    <a:lnTo>
                      <a:pt x="3378" y="324"/>
                    </a:lnTo>
                    <a:lnTo>
                      <a:pt x="3366" y="336"/>
                    </a:lnTo>
                    <a:lnTo>
                      <a:pt x="3348" y="336"/>
                    </a:lnTo>
                    <a:lnTo>
                      <a:pt x="3318" y="342"/>
                    </a:lnTo>
                    <a:lnTo>
                      <a:pt x="3276" y="342"/>
                    </a:lnTo>
                    <a:lnTo>
                      <a:pt x="3246" y="348"/>
                    </a:lnTo>
                    <a:lnTo>
                      <a:pt x="3234" y="354"/>
                    </a:lnTo>
                    <a:lnTo>
                      <a:pt x="3216" y="354"/>
                    </a:lnTo>
                    <a:lnTo>
                      <a:pt x="3204" y="360"/>
                    </a:lnTo>
                    <a:lnTo>
                      <a:pt x="3186" y="360"/>
                    </a:lnTo>
                    <a:lnTo>
                      <a:pt x="3180" y="366"/>
                    </a:lnTo>
                    <a:lnTo>
                      <a:pt x="3174" y="366"/>
                    </a:lnTo>
                    <a:lnTo>
                      <a:pt x="3132" y="396"/>
                    </a:lnTo>
                    <a:lnTo>
                      <a:pt x="3114" y="396"/>
                    </a:lnTo>
                    <a:lnTo>
                      <a:pt x="3108" y="402"/>
                    </a:lnTo>
                    <a:lnTo>
                      <a:pt x="3102" y="402"/>
                    </a:lnTo>
                    <a:lnTo>
                      <a:pt x="3096" y="408"/>
                    </a:lnTo>
                    <a:lnTo>
                      <a:pt x="3102" y="414"/>
                    </a:lnTo>
                    <a:lnTo>
                      <a:pt x="3120" y="426"/>
                    </a:lnTo>
                    <a:lnTo>
                      <a:pt x="3132" y="438"/>
                    </a:lnTo>
                    <a:lnTo>
                      <a:pt x="3150" y="444"/>
                    </a:lnTo>
                    <a:lnTo>
                      <a:pt x="3156" y="450"/>
                    </a:lnTo>
                    <a:lnTo>
                      <a:pt x="3162" y="450"/>
                    </a:lnTo>
                    <a:lnTo>
                      <a:pt x="3120" y="462"/>
                    </a:lnTo>
                    <a:lnTo>
                      <a:pt x="3096" y="474"/>
                    </a:lnTo>
                    <a:lnTo>
                      <a:pt x="2994" y="474"/>
                    </a:lnTo>
                    <a:lnTo>
                      <a:pt x="2988" y="480"/>
                    </a:lnTo>
                    <a:lnTo>
                      <a:pt x="2952" y="468"/>
                    </a:lnTo>
                    <a:lnTo>
                      <a:pt x="2934" y="474"/>
                    </a:lnTo>
                    <a:lnTo>
                      <a:pt x="2880" y="474"/>
                    </a:lnTo>
                    <a:lnTo>
                      <a:pt x="2874" y="480"/>
                    </a:lnTo>
                    <a:lnTo>
                      <a:pt x="2874" y="498"/>
                    </a:lnTo>
                    <a:lnTo>
                      <a:pt x="2880" y="510"/>
                    </a:lnTo>
                    <a:lnTo>
                      <a:pt x="2892" y="522"/>
                    </a:lnTo>
                    <a:lnTo>
                      <a:pt x="2898" y="522"/>
                    </a:lnTo>
                    <a:lnTo>
                      <a:pt x="2904" y="528"/>
                    </a:lnTo>
                    <a:lnTo>
                      <a:pt x="2910" y="540"/>
                    </a:lnTo>
                    <a:lnTo>
                      <a:pt x="2916" y="546"/>
                    </a:lnTo>
                    <a:lnTo>
                      <a:pt x="2922" y="546"/>
                    </a:lnTo>
                    <a:lnTo>
                      <a:pt x="2928" y="552"/>
                    </a:lnTo>
                    <a:lnTo>
                      <a:pt x="2940" y="552"/>
                    </a:lnTo>
                    <a:lnTo>
                      <a:pt x="2952" y="558"/>
                    </a:lnTo>
                    <a:lnTo>
                      <a:pt x="2964" y="558"/>
                    </a:lnTo>
                    <a:lnTo>
                      <a:pt x="2976" y="564"/>
                    </a:lnTo>
                    <a:lnTo>
                      <a:pt x="2994" y="564"/>
                    </a:lnTo>
                    <a:lnTo>
                      <a:pt x="3012" y="570"/>
                    </a:lnTo>
                    <a:lnTo>
                      <a:pt x="3024" y="570"/>
                    </a:lnTo>
                    <a:lnTo>
                      <a:pt x="3036" y="576"/>
                    </a:lnTo>
                    <a:lnTo>
                      <a:pt x="3042" y="576"/>
                    </a:lnTo>
                    <a:lnTo>
                      <a:pt x="3054" y="588"/>
                    </a:lnTo>
                    <a:lnTo>
                      <a:pt x="3054" y="594"/>
                    </a:lnTo>
                    <a:lnTo>
                      <a:pt x="3060" y="600"/>
                    </a:lnTo>
                    <a:lnTo>
                      <a:pt x="3030" y="600"/>
                    </a:lnTo>
                    <a:lnTo>
                      <a:pt x="3012" y="606"/>
                    </a:lnTo>
                    <a:lnTo>
                      <a:pt x="3000" y="606"/>
                    </a:lnTo>
                    <a:lnTo>
                      <a:pt x="2964" y="588"/>
                    </a:lnTo>
                    <a:lnTo>
                      <a:pt x="2928" y="576"/>
                    </a:lnTo>
                    <a:lnTo>
                      <a:pt x="2904" y="570"/>
                    </a:lnTo>
                    <a:lnTo>
                      <a:pt x="2886" y="564"/>
                    </a:lnTo>
                    <a:lnTo>
                      <a:pt x="2862" y="564"/>
                    </a:lnTo>
                    <a:lnTo>
                      <a:pt x="2844" y="558"/>
                    </a:lnTo>
                    <a:lnTo>
                      <a:pt x="2802" y="558"/>
                    </a:lnTo>
                    <a:lnTo>
                      <a:pt x="2796" y="564"/>
                    </a:lnTo>
                    <a:lnTo>
                      <a:pt x="2796" y="576"/>
                    </a:lnTo>
                    <a:lnTo>
                      <a:pt x="2802" y="582"/>
                    </a:lnTo>
                    <a:lnTo>
                      <a:pt x="2808" y="582"/>
                    </a:lnTo>
                    <a:lnTo>
                      <a:pt x="2820" y="594"/>
                    </a:lnTo>
                    <a:lnTo>
                      <a:pt x="2784" y="594"/>
                    </a:lnTo>
                    <a:lnTo>
                      <a:pt x="2772" y="582"/>
                    </a:lnTo>
                    <a:lnTo>
                      <a:pt x="2754" y="582"/>
                    </a:lnTo>
                    <a:lnTo>
                      <a:pt x="2748" y="576"/>
                    </a:lnTo>
                    <a:lnTo>
                      <a:pt x="2724" y="576"/>
                    </a:lnTo>
                    <a:lnTo>
                      <a:pt x="2724" y="582"/>
                    </a:lnTo>
                    <a:lnTo>
                      <a:pt x="2730" y="600"/>
                    </a:lnTo>
                    <a:lnTo>
                      <a:pt x="2736" y="612"/>
                    </a:lnTo>
                    <a:lnTo>
                      <a:pt x="2748" y="618"/>
                    </a:lnTo>
                    <a:lnTo>
                      <a:pt x="2766" y="624"/>
                    </a:lnTo>
                    <a:lnTo>
                      <a:pt x="2802" y="624"/>
                    </a:lnTo>
                    <a:lnTo>
                      <a:pt x="2820" y="630"/>
                    </a:lnTo>
                    <a:lnTo>
                      <a:pt x="2844" y="630"/>
                    </a:lnTo>
                    <a:lnTo>
                      <a:pt x="2856" y="636"/>
                    </a:lnTo>
                    <a:lnTo>
                      <a:pt x="2862" y="648"/>
                    </a:lnTo>
                    <a:lnTo>
                      <a:pt x="2874" y="654"/>
                    </a:lnTo>
                    <a:lnTo>
                      <a:pt x="2844" y="654"/>
                    </a:lnTo>
                    <a:lnTo>
                      <a:pt x="2838" y="648"/>
                    </a:lnTo>
                    <a:lnTo>
                      <a:pt x="2826" y="642"/>
                    </a:lnTo>
                    <a:lnTo>
                      <a:pt x="2772" y="642"/>
                    </a:lnTo>
                    <a:lnTo>
                      <a:pt x="2760" y="636"/>
                    </a:lnTo>
                    <a:lnTo>
                      <a:pt x="2730" y="636"/>
                    </a:lnTo>
                    <a:lnTo>
                      <a:pt x="2724" y="624"/>
                    </a:lnTo>
                    <a:lnTo>
                      <a:pt x="2700" y="624"/>
                    </a:lnTo>
                    <a:lnTo>
                      <a:pt x="2694" y="606"/>
                    </a:lnTo>
                    <a:lnTo>
                      <a:pt x="2664" y="594"/>
                    </a:lnTo>
                    <a:lnTo>
                      <a:pt x="2670" y="588"/>
                    </a:lnTo>
                    <a:lnTo>
                      <a:pt x="2682" y="582"/>
                    </a:lnTo>
                    <a:lnTo>
                      <a:pt x="2688" y="576"/>
                    </a:lnTo>
                    <a:lnTo>
                      <a:pt x="2688" y="564"/>
                    </a:lnTo>
                    <a:lnTo>
                      <a:pt x="2658" y="534"/>
                    </a:lnTo>
                    <a:lnTo>
                      <a:pt x="2646" y="528"/>
                    </a:lnTo>
                    <a:lnTo>
                      <a:pt x="2616" y="528"/>
                    </a:lnTo>
                    <a:lnTo>
                      <a:pt x="2628" y="534"/>
                    </a:lnTo>
                    <a:lnTo>
                      <a:pt x="2652" y="558"/>
                    </a:lnTo>
                    <a:lnTo>
                      <a:pt x="2640" y="570"/>
                    </a:lnTo>
                    <a:lnTo>
                      <a:pt x="2616" y="582"/>
                    </a:lnTo>
                    <a:lnTo>
                      <a:pt x="2604" y="582"/>
                    </a:lnTo>
                    <a:lnTo>
                      <a:pt x="2586" y="624"/>
                    </a:lnTo>
                    <a:lnTo>
                      <a:pt x="2658" y="660"/>
                    </a:lnTo>
                    <a:lnTo>
                      <a:pt x="2676" y="660"/>
                    </a:lnTo>
                    <a:lnTo>
                      <a:pt x="2676" y="696"/>
                    </a:lnTo>
                    <a:lnTo>
                      <a:pt x="2670" y="708"/>
                    </a:lnTo>
                    <a:lnTo>
                      <a:pt x="2670" y="720"/>
                    </a:lnTo>
                    <a:lnTo>
                      <a:pt x="2676" y="738"/>
                    </a:lnTo>
                    <a:lnTo>
                      <a:pt x="2712" y="744"/>
                    </a:lnTo>
                    <a:lnTo>
                      <a:pt x="2712" y="768"/>
                    </a:lnTo>
                    <a:lnTo>
                      <a:pt x="2772" y="780"/>
                    </a:lnTo>
                    <a:lnTo>
                      <a:pt x="2778" y="780"/>
                    </a:lnTo>
                    <a:lnTo>
                      <a:pt x="2784" y="774"/>
                    </a:lnTo>
                    <a:lnTo>
                      <a:pt x="2796" y="774"/>
                    </a:lnTo>
                    <a:lnTo>
                      <a:pt x="2814" y="768"/>
                    </a:lnTo>
                    <a:lnTo>
                      <a:pt x="2850" y="768"/>
                    </a:lnTo>
                    <a:lnTo>
                      <a:pt x="2868" y="774"/>
                    </a:lnTo>
                    <a:lnTo>
                      <a:pt x="2874" y="780"/>
                    </a:lnTo>
                    <a:lnTo>
                      <a:pt x="2886" y="786"/>
                    </a:lnTo>
                    <a:lnTo>
                      <a:pt x="2904" y="786"/>
                    </a:lnTo>
                    <a:lnTo>
                      <a:pt x="2916" y="792"/>
                    </a:lnTo>
                    <a:lnTo>
                      <a:pt x="2952" y="804"/>
                    </a:lnTo>
                    <a:lnTo>
                      <a:pt x="2976" y="828"/>
                    </a:lnTo>
                    <a:lnTo>
                      <a:pt x="2976" y="834"/>
                    </a:lnTo>
                    <a:lnTo>
                      <a:pt x="2964" y="834"/>
                    </a:lnTo>
                    <a:lnTo>
                      <a:pt x="2958" y="840"/>
                    </a:lnTo>
                    <a:lnTo>
                      <a:pt x="2946" y="840"/>
                    </a:lnTo>
                    <a:lnTo>
                      <a:pt x="2940" y="846"/>
                    </a:lnTo>
                    <a:lnTo>
                      <a:pt x="2946" y="852"/>
                    </a:lnTo>
                    <a:lnTo>
                      <a:pt x="2958" y="858"/>
                    </a:lnTo>
                    <a:lnTo>
                      <a:pt x="2976" y="876"/>
                    </a:lnTo>
                    <a:lnTo>
                      <a:pt x="3024" y="876"/>
                    </a:lnTo>
                    <a:lnTo>
                      <a:pt x="3012" y="882"/>
                    </a:lnTo>
                    <a:lnTo>
                      <a:pt x="3006" y="882"/>
                    </a:lnTo>
                    <a:lnTo>
                      <a:pt x="2994" y="888"/>
                    </a:lnTo>
                    <a:lnTo>
                      <a:pt x="2970" y="888"/>
                    </a:lnTo>
                    <a:lnTo>
                      <a:pt x="2958" y="882"/>
                    </a:lnTo>
                    <a:lnTo>
                      <a:pt x="2952" y="876"/>
                    </a:lnTo>
                    <a:lnTo>
                      <a:pt x="2940" y="870"/>
                    </a:lnTo>
                    <a:lnTo>
                      <a:pt x="2940" y="858"/>
                    </a:lnTo>
                    <a:lnTo>
                      <a:pt x="2928" y="834"/>
                    </a:lnTo>
                    <a:lnTo>
                      <a:pt x="2916" y="822"/>
                    </a:lnTo>
                    <a:lnTo>
                      <a:pt x="2892" y="810"/>
                    </a:lnTo>
                    <a:lnTo>
                      <a:pt x="2886" y="804"/>
                    </a:lnTo>
                    <a:lnTo>
                      <a:pt x="2880" y="804"/>
                    </a:lnTo>
                    <a:lnTo>
                      <a:pt x="2874" y="798"/>
                    </a:lnTo>
                    <a:lnTo>
                      <a:pt x="2874" y="786"/>
                    </a:lnTo>
                    <a:lnTo>
                      <a:pt x="2868" y="780"/>
                    </a:lnTo>
                    <a:lnTo>
                      <a:pt x="2844" y="780"/>
                    </a:lnTo>
                    <a:lnTo>
                      <a:pt x="2832" y="786"/>
                    </a:lnTo>
                    <a:lnTo>
                      <a:pt x="2814" y="786"/>
                    </a:lnTo>
                    <a:lnTo>
                      <a:pt x="2802" y="792"/>
                    </a:lnTo>
                    <a:lnTo>
                      <a:pt x="2778" y="792"/>
                    </a:lnTo>
                    <a:lnTo>
                      <a:pt x="2760" y="810"/>
                    </a:lnTo>
                    <a:lnTo>
                      <a:pt x="2766" y="816"/>
                    </a:lnTo>
                    <a:lnTo>
                      <a:pt x="2772" y="828"/>
                    </a:lnTo>
                    <a:lnTo>
                      <a:pt x="2784" y="834"/>
                    </a:lnTo>
                    <a:lnTo>
                      <a:pt x="2802" y="852"/>
                    </a:lnTo>
                    <a:lnTo>
                      <a:pt x="2814" y="858"/>
                    </a:lnTo>
                    <a:lnTo>
                      <a:pt x="2814" y="864"/>
                    </a:lnTo>
                    <a:lnTo>
                      <a:pt x="2790" y="888"/>
                    </a:lnTo>
                    <a:lnTo>
                      <a:pt x="2784" y="888"/>
                    </a:lnTo>
                    <a:lnTo>
                      <a:pt x="2778" y="930"/>
                    </a:lnTo>
                    <a:lnTo>
                      <a:pt x="2736" y="948"/>
                    </a:lnTo>
                    <a:lnTo>
                      <a:pt x="2736" y="954"/>
                    </a:lnTo>
                    <a:lnTo>
                      <a:pt x="2730" y="966"/>
                    </a:lnTo>
                    <a:lnTo>
                      <a:pt x="2724" y="972"/>
                    </a:lnTo>
                    <a:lnTo>
                      <a:pt x="2694" y="972"/>
                    </a:lnTo>
                    <a:lnTo>
                      <a:pt x="2682" y="966"/>
                    </a:lnTo>
                    <a:lnTo>
                      <a:pt x="2652" y="966"/>
                    </a:lnTo>
                    <a:lnTo>
                      <a:pt x="2592" y="960"/>
                    </a:lnTo>
                    <a:lnTo>
                      <a:pt x="2586" y="960"/>
                    </a:lnTo>
                    <a:lnTo>
                      <a:pt x="2580" y="954"/>
                    </a:lnTo>
                    <a:lnTo>
                      <a:pt x="2568" y="948"/>
                    </a:lnTo>
                    <a:lnTo>
                      <a:pt x="2556" y="948"/>
                    </a:lnTo>
                    <a:lnTo>
                      <a:pt x="2544" y="936"/>
                    </a:lnTo>
                    <a:lnTo>
                      <a:pt x="2598" y="936"/>
                    </a:lnTo>
                    <a:lnTo>
                      <a:pt x="2616" y="942"/>
                    </a:lnTo>
                    <a:lnTo>
                      <a:pt x="2640" y="924"/>
                    </a:lnTo>
                    <a:lnTo>
                      <a:pt x="2652" y="924"/>
                    </a:lnTo>
                    <a:lnTo>
                      <a:pt x="2664" y="930"/>
                    </a:lnTo>
                    <a:lnTo>
                      <a:pt x="2682" y="930"/>
                    </a:lnTo>
                    <a:lnTo>
                      <a:pt x="2694" y="924"/>
                    </a:lnTo>
                    <a:lnTo>
                      <a:pt x="2694" y="906"/>
                    </a:lnTo>
                    <a:lnTo>
                      <a:pt x="2700" y="894"/>
                    </a:lnTo>
                    <a:lnTo>
                      <a:pt x="2700" y="882"/>
                    </a:lnTo>
                    <a:lnTo>
                      <a:pt x="2724" y="876"/>
                    </a:lnTo>
                    <a:lnTo>
                      <a:pt x="2724" y="852"/>
                    </a:lnTo>
                    <a:lnTo>
                      <a:pt x="2712" y="852"/>
                    </a:lnTo>
                    <a:lnTo>
                      <a:pt x="2718" y="846"/>
                    </a:lnTo>
                    <a:lnTo>
                      <a:pt x="2724" y="834"/>
                    </a:lnTo>
                    <a:lnTo>
                      <a:pt x="2724" y="822"/>
                    </a:lnTo>
                    <a:lnTo>
                      <a:pt x="2718" y="816"/>
                    </a:lnTo>
                    <a:lnTo>
                      <a:pt x="2712" y="816"/>
                    </a:lnTo>
                    <a:lnTo>
                      <a:pt x="2700" y="810"/>
                    </a:lnTo>
                    <a:lnTo>
                      <a:pt x="2682" y="810"/>
                    </a:lnTo>
                    <a:lnTo>
                      <a:pt x="2664" y="804"/>
                    </a:lnTo>
                    <a:lnTo>
                      <a:pt x="2652" y="804"/>
                    </a:lnTo>
                    <a:lnTo>
                      <a:pt x="2634" y="786"/>
                    </a:lnTo>
                    <a:lnTo>
                      <a:pt x="2634" y="744"/>
                    </a:lnTo>
                    <a:lnTo>
                      <a:pt x="2628" y="732"/>
                    </a:lnTo>
                    <a:lnTo>
                      <a:pt x="2616" y="720"/>
                    </a:lnTo>
                    <a:lnTo>
                      <a:pt x="2604" y="714"/>
                    </a:lnTo>
                    <a:lnTo>
                      <a:pt x="2598" y="702"/>
                    </a:lnTo>
                    <a:lnTo>
                      <a:pt x="2592" y="696"/>
                    </a:lnTo>
                    <a:lnTo>
                      <a:pt x="2586" y="660"/>
                    </a:lnTo>
                    <a:lnTo>
                      <a:pt x="2520" y="624"/>
                    </a:lnTo>
                    <a:lnTo>
                      <a:pt x="2532" y="612"/>
                    </a:lnTo>
                    <a:lnTo>
                      <a:pt x="2544" y="588"/>
                    </a:lnTo>
                    <a:lnTo>
                      <a:pt x="2544" y="576"/>
                    </a:lnTo>
                    <a:lnTo>
                      <a:pt x="2538" y="564"/>
                    </a:lnTo>
                    <a:lnTo>
                      <a:pt x="2514" y="540"/>
                    </a:lnTo>
                    <a:lnTo>
                      <a:pt x="2496" y="540"/>
                    </a:lnTo>
                    <a:lnTo>
                      <a:pt x="2484" y="534"/>
                    </a:lnTo>
                    <a:lnTo>
                      <a:pt x="2472" y="534"/>
                    </a:lnTo>
                    <a:lnTo>
                      <a:pt x="2340" y="522"/>
                    </a:lnTo>
                    <a:lnTo>
                      <a:pt x="2328" y="552"/>
                    </a:lnTo>
                    <a:lnTo>
                      <a:pt x="2346" y="570"/>
                    </a:lnTo>
                    <a:lnTo>
                      <a:pt x="2334" y="600"/>
                    </a:lnTo>
                    <a:lnTo>
                      <a:pt x="2280" y="624"/>
                    </a:lnTo>
                    <a:lnTo>
                      <a:pt x="2268" y="654"/>
                    </a:lnTo>
                    <a:lnTo>
                      <a:pt x="2304" y="660"/>
                    </a:lnTo>
                    <a:lnTo>
                      <a:pt x="2334" y="708"/>
                    </a:lnTo>
                    <a:lnTo>
                      <a:pt x="2322" y="726"/>
                    </a:lnTo>
                    <a:lnTo>
                      <a:pt x="2352" y="750"/>
                    </a:lnTo>
                    <a:lnTo>
                      <a:pt x="2388" y="744"/>
                    </a:lnTo>
                    <a:lnTo>
                      <a:pt x="2394" y="750"/>
                    </a:lnTo>
                    <a:lnTo>
                      <a:pt x="2400" y="762"/>
                    </a:lnTo>
                    <a:lnTo>
                      <a:pt x="2412" y="768"/>
                    </a:lnTo>
                    <a:lnTo>
                      <a:pt x="2418" y="774"/>
                    </a:lnTo>
                    <a:lnTo>
                      <a:pt x="2430" y="780"/>
                    </a:lnTo>
                    <a:lnTo>
                      <a:pt x="2472" y="780"/>
                    </a:lnTo>
                    <a:lnTo>
                      <a:pt x="2466" y="840"/>
                    </a:lnTo>
                    <a:lnTo>
                      <a:pt x="2448" y="816"/>
                    </a:lnTo>
                    <a:lnTo>
                      <a:pt x="2430" y="828"/>
                    </a:lnTo>
                    <a:lnTo>
                      <a:pt x="2418" y="822"/>
                    </a:lnTo>
                    <a:lnTo>
                      <a:pt x="2388" y="804"/>
                    </a:lnTo>
                    <a:lnTo>
                      <a:pt x="2352" y="792"/>
                    </a:lnTo>
                    <a:lnTo>
                      <a:pt x="2328" y="780"/>
                    </a:lnTo>
                    <a:lnTo>
                      <a:pt x="2268" y="780"/>
                    </a:lnTo>
                    <a:lnTo>
                      <a:pt x="2250" y="762"/>
                    </a:lnTo>
                    <a:lnTo>
                      <a:pt x="2244" y="780"/>
                    </a:lnTo>
                    <a:lnTo>
                      <a:pt x="2220" y="756"/>
                    </a:lnTo>
                    <a:lnTo>
                      <a:pt x="2214" y="756"/>
                    </a:lnTo>
                    <a:lnTo>
                      <a:pt x="2208" y="750"/>
                    </a:lnTo>
                    <a:lnTo>
                      <a:pt x="2196" y="744"/>
                    </a:lnTo>
                    <a:lnTo>
                      <a:pt x="2178" y="744"/>
                    </a:lnTo>
                    <a:lnTo>
                      <a:pt x="2154" y="732"/>
                    </a:lnTo>
                    <a:lnTo>
                      <a:pt x="2130" y="732"/>
                    </a:lnTo>
                    <a:lnTo>
                      <a:pt x="2118" y="738"/>
                    </a:lnTo>
                    <a:lnTo>
                      <a:pt x="2088" y="738"/>
                    </a:lnTo>
                    <a:lnTo>
                      <a:pt x="2076" y="732"/>
                    </a:lnTo>
                    <a:lnTo>
                      <a:pt x="2022" y="732"/>
                    </a:lnTo>
                    <a:lnTo>
                      <a:pt x="2016" y="738"/>
                    </a:lnTo>
                    <a:lnTo>
                      <a:pt x="2010" y="738"/>
                    </a:lnTo>
                    <a:lnTo>
                      <a:pt x="2004" y="744"/>
                    </a:lnTo>
                    <a:lnTo>
                      <a:pt x="2004" y="750"/>
                    </a:lnTo>
                    <a:lnTo>
                      <a:pt x="2016" y="762"/>
                    </a:lnTo>
                    <a:lnTo>
                      <a:pt x="2028" y="768"/>
                    </a:lnTo>
                    <a:lnTo>
                      <a:pt x="2040" y="780"/>
                    </a:lnTo>
                    <a:lnTo>
                      <a:pt x="2046" y="780"/>
                    </a:lnTo>
                    <a:lnTo>
                      <a:pt x="2022" y="810"/>
                    </a:lnTo>
                    <a:lnTo>
                      <a:pt x="2010" y="798"/>
                    </a:lnTo>
                    <a:lnTo>
                      <a:pt x="2010" y="828"/>
                    </a:lnTo>
                    <a:lnTo>
                      <a:pt x="1998" y="828"/>
                    </a:lnTo>
                    <a:lnTo>
                      <a:pt x="1986" y="822"/>
                    </a:lnTo>
                    <a:lnTo>
                      <a:pt x="1980" y="822"/>
                    </a:lnTo>
                    <a:lnTo>
                      <a:pt x="1974" y="816"/>
                    </a:lnTo>
                    <a:lnTo>
                      <a:pt x="1974" y="786"/>
                    </a:lnTo>
                    <a:lnTo>
                      <a:pt x="1968" y="780"/>
                    </a:lnTo>
                    <a:lnTo>
                      <a:pt x="1950" y="780"/>
                    </a:lnTo>
                    <a:lnTo>
                      <a:pt x="1938" y="786"/>
                    </a:lnTo>
                    <a:lnTo>
                      <a:pt x="1920" y="792"/>
                    </a:lnTo>
                    <a:lnTo>
                      <a:pt x="1908" y="804"/>
                    </a:lnTo>
                    <a:lnTo>
                      <a:pt x="1884" y="816"/>
                    </a:lnTo>
                    <a:lnTo>
                      <a:pt x="1866" y="816"/>
                    </a:lnTo>
                    <a:lnTo>
                      <a:pt x="1842" y="804"/>
                    </a:lnTo>
                    <a:lnTo>
                      <a:pt x="1824" y="804"/>
                    </a:lnTo>
                    <a:lnTo>
                      <a:pt x="1800" y="810"/>
                    </a:lnTo>
                    <a:lnTo>
                      <a:pt x="1782" y="816"/>
                    </a:lnTo>
                    <a:lnTo>
                      <a:pt x="1764" y="828"/>
                    </a:lnTo>
                    <a:lnTo>
                      <a:pt x="1752" y="834"/>
                    </a:lnTo>
                    <a:lnTo>
                      <a:pt x="1746" y="840"/>
                    </a:lnTo>
                    <a:lnTo>
                      <a:pt x="1680" y="840"/>
                    </a:lnTo>
                    <a:lnTo>
                      <a:pt x="1692" y="816"/>
                    </a:lnTo>
                    <a:lnTo>
                      <a:pt x="1692" y="780"/>
                    </a:lnTo>
                    <a:lnTo>
                      <a:pt x="1680" y="780"/>
                    </a:lnTo>
                    <a:lnTo>
                      <a:pt x="1668" y="786"/>
                    </a:lnTo>
                    <a:lnTo>
                      <a:pt x="1650" y="792"/>
                    </a:lnTo>
                    <a:lnTo>
                      <a:pt x="1638" y="792"/>
                    </a:lnTo>
                    <a:lnTo>
                      <a:pt x="1626" y="804"/>
                    </a:lnTo>
                    <a:lnTo>
                      <a:pt x="1626" y="816"/>
                    </a:lnTo>
                    <a:lnTo>
                      <a:pt x="1632" y="822"/>
                    </a:lnTo>
                    <a:lnTo>
                      <a:pt x="1632" y="828"/>
                    </a:lnTo>
                    <a:lnTo>
                      <a:pt x="1608" y="834"/>
                    </a:lnTo>
                    <a:lnTo>
                      <a:pt x="1608" y="810"/>
                    </a:lnTo>
                    <a:lnTo>
                      <a:pt x="1584" y="816"/>
                    </a:lnTo>
                    <a:lnTo>
                      <a:pt x="1530" y="822"/>
                    </a:lnTo>
                    <a:lnTo>
                      <a:pt x="1488" y="852"/>
                    </a:lnTo>
                    <a:lnTo>
                      <a:pt x="1440" y="858"/>
                    </a:lnTo>
                    <a:lnTo>
                      <a:pt x="1452" y="876"/>
                    </a:lnTo>
                    <a:lnTo>
                      <a:pt x="1440" y="876"/>
                    </a:lnTo>
                    <a:lnTo>
                      <a:pt x="1428" y="870"/>
                    </a:lnTo>
                    <a:lnTo>
                      <a:pt x="1422" y="870"/>
                    </a:lnTo>
                    <a:lnTo>
                      <a:pt x="1410" y="876"/>
                    </a:lnTo>
                    <a:lnTo>
                      <a:pt x="1404" y="882"/>
                    </a:lnTo>
                    <a:lnTo>
                      <a:pt x="1404" y="924"/>
                    </a:lnTo>
                    <a:lnTo>
                      <a:pt x="1332" y="930"/>
                    </a:lnTo>
                    <a:lnTo>
                      <a:pt x="1326" y="924"/>
                    </a:lnTo>
                    <a:lnTo>
                      <a:pt x="1314" y="918"/>
                    </a:lnTo>
                    <a:lnTo>
                      <a:pt x="1308" y="912"/>
                    </a:lnTo>
                    <a:lnTo>
                      <a:pt x="1266" y="912"/>
                    </a:lnTo>
                    <a:lnTo>
                      <a:pt x="1260" y="906"/>
                    </a:lnTo>
                    <a:lnTo>
                      <a:pt x="1260" y="876"/>
                    </a:lnTo>
                    <a:lnTo>
                      <a:pt x="1266" y="870"/>
                    </a:lnTo>
                    <a:lnTo>
                      <a:pt x="1266" y="864"/>
                    </a:lnTo>
                    <a:lnTo>
                      <a:pt x="1272" y="858"/>
                    </a:lnTo>
                    <a:lnTo>
                      <a:pt x="1284" y="864"/>
                    </a:lnTo>
                    <a:lnTo>
                      <a:pt x="1344" y="864"/>
                    </a:lnTo>
                    <a:lnTo>
                      <a:pt x="1332" y="858"/>
                    </a:lnTo>
                    <a:lnTo>
                      <a:pt x="1326" y="846"/>
                    </a:lnTo>
                    <a:lnTo>
                      <a:pt x="1314" y="840"/>
                    </a:lnTo>
                    <a:lnTo>
                      <a:pt x="1302" y="828"/>
                    </a:lnTo>
                    <a:lnTo>
                      <a:pt x="1290" y="822"/>
                    </a:lnTo>
                    <a:lnTo>
                      <a:pt x="1278" y="810"/>
                    </a:lnTo>
                    <a:lnTo>
                      <a:pt x="1152" y="810"/>
                    </a:lnTo>
                    <a:lnTo>
                      <a:pt x="1164" y="822"/>
                    </a:lnTo>
                    <a:lnTo>
                      <a:pt x="1188" y="822"/>
                    </a:lnTo>
                    <a:lnTo>
                      <a:pt x="1200" y="828"/>
                    </a:lnTo>
                    <a:lnTo>
                      <a:pt x="1200" y="846"/>
                    </a:lnTo>
                    <a:lnTo>
                      <a:pt x="1194" y="864"/>
                    </a:lnTo>
                    <a:lnTo>
                      <a:pt x="1194" y="876"/>
                    </a:lnTo>
                    <a:lnTo>
                      <a:pt x="1188" y="894"/>
                    </a:lnTo>
                    <a:lnTo>
                      <a:pt x="1188" y="918"/>
                    </a:lnTo>
                    <a:lnTo>
                      <a:pt x="1194" y="918"/>
                    </a:lnTo>
                    <a:lnTo>
                      <a:pt x="1206" y="924"/>
                    </a:lnTo>
                    <a:lnTo>
                      <a:pt x="1230" y="924"/>
                    </a:lnTo>
                    <a:lnTo>
                      <a:pt x="1236" y="930"/>
                    </a:lnTo>
                    <a:lnTo>
                      <a:pt x="1242" y="930"/>
                    </a:lnTo>
                    <a:lnTo>
                      <a:pt x="1236" y="966"/>
                    </a:lnTo>
                    <a:lnTo>
                      <a:pt x="1248" y="996"/>
                    </a:lnTo>
                    <a:lnTo>
                      <a:pt x="1212" y="972"/>
                    </a:lnTo>
                    <a:lnTo>
                      <a:pt x="1194" y="996"/>
                    </a:lnTo>
                    <a:lnTo>
                      <a:pt x="1188" y="966"/>
                    </a:lnTo>
                    <a:lnTo>
                      <a:pt x="1116" y="948"/>
                    </a:lnTo>
                    <a:lnTo>
                      <a:pt x="1086" y="984"/>
                    </a:lnTo>
                    <a:lnTo>
                      <a:pt x="1062" y="984"/>
                    </a:lnTo>
                    <a:lnTo>
                      <a:pt x="1056" y="996"/>
                    </a:lnTo>
                    <a:lnTo>
                      <a:pt x="1044" y="1002"/>
                    </a:lnTo>
                    <a:lnTo>
                      <a:pt x="1038" y="1008"/>
                    </a:lnTo>
                    <a:lnTo>
                      <a:pt x="1026" y="1014"/>
                    </a:lnTo>
                    <a:lnTo>
                      <a:pt x="1014" y="1014"/>
                    </a:lnTo>
                    <a:lnTo>
                      <a:pt x="1002" y="1020"/>
                    </a:lnTo>
                    <a:lnTo>
                      <a:pt x="1002" y="1032"/>
                    </a:lnTo>
                    <a:lnTo>
                      <a:pt x="1008" y="1038"/>
                    </a:lnTo>
                    <a:lnTo>
                      <a:pt x="1020" y="1044"/>
                    </a:lnTo>
                    <a:lnTo>
                      <a:pt x="1032" y="1056"/>
                    </a:lnTo>
                    <a:lnTo>
                      <a:pt x="1044" y="1062"/>
                    </a:lnTo>
                    <a:lnTo>
                      <a:pt x="1050" y="1068"/>
                    </a:lnTo>
                    <a:lnTo>
                      <a:pt x="1062" y="1074"/>
                    </a:lnTo>
                    <a:lnTo>
                      <a:pt x="1080" y="1104"/>
                    </a:lnTo>
                    <a:lnTo>
                      <a:pt x="1050" y="1086"/>
                    </a:lnTo>
                    <a:lnTo>
                      <a:pt x="1038" y="1092"/>
                    </a:lnTo>
                    <a:lnTo>
                      <a:pt x="1032" y="1098"/>
                    </a:lnTo>
                    <a:lnTo>
                      <a:pt x="1020" y="1098"/>
                    </a:lnTo>
                    <a:lnTo>
                      <a:pt x="1008" y="1092"/>
                    </a:lnTo>
                    <a:lnTo>
                      <a:pt x="996" y="1092"/>
                    </a:lnTo>
                    <a:lnTo>
                      <a:pt x="978" y="1086"/>
                    </a:lnTo>
                    <a:lnTo>
                      <a:pt x="966" y="1080"/>
                    </a:lnTo>
                    <a:lnTo>
                      <a:pt x="948" y="1080"/>
                    </a:lnTo>
                    <a:lnTo>
                      <a:pt x="936" y="1074"/>
                    </a:lnTo>
                    <a:lnTo>
                      <a:pt x="924" y="1074"/>
                    </a:lnTo>
                    <a:lnTo>
                      <a:pt x="918" y="1068"/>
                    </a:lnTo>
                    <a:lnTo>
                      <a:pt x="918" y="1056"/>
                    </a:lnTo>
                    <a:lnTo>
                      <a:pt x="906" y="1050"/>
                    </a:lnTo>
                    <a:lnTo>
                      <a:pt x="888" y="1050"/>
                    </a:lnTo>
                    <a:lnTo>
                      <a:pt x="864" y="1062"/>
                    </a:lnTo>
                    <a:lnTo>
                      <a:pt x="858" y="1068"/>
                    </a:lnTo>
                    <a:lnTo>
                      <a:pt x="840" y="1068"/>
                    </a:lnTo>
                    <a:lnTo>
                      <a:pt x="882" y="1104"/>
                    </a:lnTo>
                    <a:lnTo>
                      <a:pt x="900" y="1104"/>
                    </a:lnTo>
                    <a:lnTo>
                      <a:pt x="912" y="1110"/>
                    </a:lnTo>
                    <a:lnTo>
                      <a:pt x="924" y="1110"/>
                    </a:lnTo>
                    <a:lnTo>
                      <a:pt x="936" y="1116"/>
                    </a:lnTo>
                    <a:lnTo>
                      <a:pt x="942" y="1116"/>
                    </a:lnTo>
                    <a:lnTo>
                      <a:pt x="942" y="1122"/>
                    </a:lnTo>
                    <a:lnTo>
                      <a:pt x="936" y="1134"/>
                    </a:lnTo>
                    <a:lnTo>
                      <a:pt x="924" y="1140"/>
                    </a:lnTo>
                    <a:lnTo>
                      <a:pt x="918" y="1146"/>
                    </a:lnTo>
                    <a:lnTo>
                      <a:pt x="852" y="1128"/>
                    </a:lnTo>
                    <a:lnTo>
                      <a:pt x="840" y="1122"/>
                    </a:lnTo>
                    <a:lnTo>
                      <a:pt x="834" y="1116"/>
                    </a:lnTo>
                    <a:lnTo>
                      <a:pt x="822" y="1110"/>
                    </a:lnTo>
                    <a:lnTo>
                      <a:pt x="762" y="1110"/>
                    </a:lnTo>
                    <a:lnTo>
                      <a:pt x="756" y="1104"/>
                    </a:lnTo>
                    <a:lnTo>
                      <a:pt x="756" y="1056"/>
                    </a:lnTo>
                    <a:lnTo>
                      <a:pt x="738" y="1044"/>
                    </a:lnTo>
                    <a:lnTo>
                      <a:pt x="750" y="1032"/>
                    </a:lnTo>
                    <a:lnTo>
                      <a:pt x="756" y="1020"/>
                    </a:lnTo>
                    <a:lnTo>
                      <a:pt x="756" y="1002"/>
                    </a:lnTo>
                    <a:lnTo>
                      <a:pt x="738" y="990"/>
                    </a:lnTo>
                    <a:lnTo>
                      <a:pt x="702" y="978"/>
                    </a:lnTo>
                    <a:lnTo>
                      <a:pt x="672" y="972"/>
                    </a:lnTo>
                    <a:lnTo>
                      <a:pt x="660" y="966"/>
                    </a:lnTo>
                    <a:lnTo>
                      <a:pt x="630" y="948"/>
                    </a:lnTo>
                    <a:lnTo>
                      <a:pt x="606" y="930"/>
                    </a:lnTo>
                    <a:lnTo>
                      <a:pt x="594" y="912"/>
                    </a:lnTo>
                    <a:lnTo>
                      <a:pt x="630" y="912"/>
                    </a:lnTo>
                    <a:lnTo>
                      <a:pt x="630" y="924"/>
                    </a:lnTo>
                    <a:lnTo>
                      <a:pt x="642" y="924"/>
                    </a:lnTo>
                    <a:lnTo>
                      <a:pt x="654" y="930"/>
                    </a:lnTo>
                    <a:lnTo>
                      <a:pt x="672" y="930"/>
                    </a:lnTo>
                    <a:lnTo>
                      <a:pt x="690" y="936"/>
                    </a:lnTo>
                    <a:lnTo>
                      <a:pt x="720" y="936"/>
                    </a:lnTo>
                    <a:lnTo>
                      <a:pt x="732" y="942"/>
                    </a:lnTo>
                    <a:lnTo>
                      <a:pt x="738" y="954"/>
                    </a:lnTo>
                    <a:lnTo>
                      <a:pt x="762" y="966"/>
                    </a:lnTo>
                    <a:lnTo>
                      <a:pt x="816" y="966"/>
                    </a:lnTo>
                    <a:lnTo>
                      <a:pt x="846" y="972"/>
                    </a:lnTo>
                    <a:lnTo>
                      <a:pt x="858" y="972"/>
                    </a:lnTo>
                    <a:lnTo>
                      <a:pt x="870" y="978"/>
                    </a:lnTo>
                    <a:lnTo>
                      <a:pt x="894" y="984"/>
                    </a:lnTo>
                    <a:lnTo>
                      <a:pt x="930" y="990"/>
                    </a:lnTo>
                    <a:lnTo>
                      <a:pt x="978" y="984"/>
                    </a:lnTo>
                    <a:lnTo>
                      <a:pt x="1026" y="972"/>
                    </a:lnTo>
                    <a:lnTo>
                      <a:pt x="1062" y="954"/>
                    </a:lnTo>
                    <a:lnTo>
                      <a:pt x="1080" y="936"/>
                    </a:lnTo>
                    <a:lnTo>
                      <a:pt x="1074" y="912"/>
                    </a:lnTo>
                    <a:lnTo>
                      <a:pt x="1032" y="870"/>
                    </a:lnTo>
                    <a:lnTo>
                      <a:pt x="1014" y="858"/>
                    </a:lnTo>
                    <a:lnTo>
                      <a:pt x="996" y="852"/>
                    </a:lnTo>
                    <a:lnTo>
                      <a:pt x="948" y="840"/>
                    </a:lnTo>
                    <a:lnTo>
                      <a:pt x="900" y="822"/>
                    </a:lnTo>
                    <a:lnTo>
                      <a:pt x="828" y="798"/>
                    </a:lnTo>
                    <a:lnTo>
                      <a:pt x="792" y="780"/>
                    </a:lnTo>
                    <a:lnTo>
                      <a:pt x="756" y="774"/>
                    </a:lnTo>
                    <a:lnTo>
                      <a:pt x="624" y="774"/>
                    </a:lnTo>
                    <a:lnTo>
                      <a:pt x="612" y="756"/>
                    </a:lnTo>
                    <a:lnTo>
                      <a:pt x="588" y="762"/>
                    </a:lnTo>
                    <a:lnTo>
                      <a:pt x="552" y="744"/>
                    </a:lnTo>
                    <a:lnTo>
                      <a:pt x="588" y="738"/>
                    </a:lnTo>
                    <a:lnTo>
                      <a:pt x="606" y="726"/>
                    </a:lnTo>
                    <a:lnTo>
                      <a:pt x="600" y="726"/>
                    </a:lnTo>
                    <a:lnTo>
                      <a:pt x="594" y="720"/>
                    </a:lnTo>
                    <a:lnTo>
                      <a:pt x="582" y="720"/>
                    </a:lnTo>
                    <a:lnTo>
                      <a:pt x="564" y="714"/>
                    </a:lnTo>
                    <a:lnTo>
                      <a:pt x="546" y="714"/>
                    </a:lnTo>
                    <a:lnTo>
                      <a:pt x="534" y="708"/>
                    </a:lnTo>
                    <a:lnTo>
                      <a:pt x="522" y="720"/>
                    </a:lnTo>
                    <a:lnTo>
                      <a:pt x="522" y="726"/>
                    </a:lnTo>
                    <a:lnTo>
                      <a:pt x="516" y="732"/>
                    </a:lnTo>
                    <a:lnTo>
                      <a:pt x="498" y="732"/>
                    </a:lnTo>
                    <a:lnTo>
                      <a:pt x="486" y="744"/>
                    </a:lnTo>
                    <a:lnTo>
                      <a:pt x="450" y="744"/>
                    </a:lnTo>
                    <a:lnTo>
                      <a:pt x="444" y="756"/>
                    </a:lnTo>
                    <a:lnTo>
                      <a:pt x="420" y="762"/>
                    </a:lnTo>
                    <a:lnTo>
                      <a:pt x="420" y="768"/>
                    </a:lnTo>
                    <a:lnTo>
                      <a:pt x="414" y="780"/>
                    </a:lnTo>
                    <a:lnTo>
                      <a:pt x="390" y="780"/>
                    </a:lnTo>
                    <a:lnTo>
                      <a:pt x="384" y="792"/>
                    </a:lnTo>
                    <a:lnTo>
                      <a:pt x="396" y="804"/>
                    </a:lnTo>
                    <a:lnTo>
                      <a:pt x="396" y="810"/>
                    </a:lnTo>
                    <a:lnTo>
                      <a:pt x="378" y="810"/>
                    </a:lnTo>
                    <a:lnTo>
                      <a:pt x="378" y="822"/>
                    </a:lnTo>
                    <a:lnTo>
                      <a:pt x="384" y="834"/>
                    </a:lnTo>
                    <a:lnTo>
                      <a:pt x="384" y="840"/>
                    </a:lnTo>
                    <a:lnTo>
                      <a:pt x="390" y="846"/>
                    </a:lnTo>
                    <a:lnTo>
                      <a:pt x="396" y="846"/>
                    </a:lnTo>
                    <a:lnTo>
                      <a:pt x="402" y="840"/>
                    </a:lnTo>
                    <a:lnTo>
                      <a:pt x="420" y="840"/>
                    </a:lnTo>
                    <a:lnTo>
                      <a:pt x="468" y="888"/>
                    </a:lnTo>
                    <a:lnTo>
                      <a:pt x="468" y="900"/>
                    </a:lnTo>
                    <a:lnTo>
                      <a:pt x="462" y="900"/>
                    </a:lnTo>
                    <a:lnTo>
                      <a:pt x="450" y="906"/>
                    </a:lnTo>
                    <a:lnTo>
                      <a:pt x="444" y="906"/>
                    </a:lnTo>
                    <a:lnTo>
                      <a:pt x="444" y="918"/>
                    </a:lnTo>
                    <a:lnTo>
                      <a:pt x="438" y="918"/>
                    </a:lnTo>
                    <a:lnTo>
                      <a:pt x="426" y="924"/>
                    </a:lnTo>
                    <a:lnTo>
                      <a:pt x="420" y="930"/>
                    </a:lnTo>
                    <a:lnTo>
                      <a:pt x="438" y="948"/>
                    </a:lnTo>
                    <a:lnTo>
                      <a:pt x="450" y="954"/>
                    </a:lnTo>
                    <a:lnTo>
                      <a:pt x="456" y="966"/>
                    </a:lnTo>
                    <a:lnTo>
                      <a:pt x="468" y="972"/>
                    </a:lnTo>
                    <a:lnTo>
                      <a:pt x="492" y="996"/>
                    </a:lnTo>
                    <a:lnTo>
                      <a:pt x="504" y="1002"/>
                    </a:lnTo>
                    <a:lnTo>
                      <a:pt x="510" y="1008"/>
                    </a:lnTo>
                    <a:lnTo>
                      <a:pt x="510" y="1014"/>
                    </a:lnTo>
                    <a:lnTo>
                      <a:pt x="504" y="1020"/>
                    </a:lnTo>
                    <a:lnTo>
                      <a:pt x="492" y="1020"/>
                    </a:lnTo>
                    <a:lnTo>
                      <a:pt x="480" y="1014"/>
                    </a:lnTo>
                    <a:lnTo>
                      <a:pt x="474" y="1014"/>
                    </a:lnTo>
                    <a:lnTo>
                      <a:pt x="468" y="1044"/>
                    </a:lnTo>
                    <a:lnTo>
                      <a:pt x="480" y="1056"/>
                    </a:lnTo>
                    <a:lnTo>
                      <a:pt x="480" y="1068"/>
                    </a:lnTo>
                    <a:lnTo>
                      <a:pt x="492" y="1068"/>
                    </a:lnTo>
                    <a:lnTo>
                      <a:pt x="498" y="1074"/>
                    </a:lnTo>
                    <a:lnTo>
                      <a:pt x="504" y="1074"/>
                    </a:lnTo>
                    <a:lnTo>
                      <a:pt x="510" y="1080"/>
                    </a:lnTo>
                    <a:lnTo>
                      <a:pt x="510" y="1086"/>
                    </a:lnTo>
                    <a:lnTo>
                      <a:pt x="504" y="1092"/>
                    </a:lnTo>
                    <a:lnTo>
                      <a:pt x="498" y="1104"/>
                    </a:lnTo>
                    <a:lnTo>
                      <a:pt x="522" y="1110"/>
                    </a:lnTo>
                    <a:lnTo>
                      <a:pt x="534" y="1116"/>
                    </a:lnTo>
                    <a:lnTo>
                      <a:pt x="540" y="1122"/>
                    </a:lnTo>
                    <a:lnTo>
                      <a:pt x="540" y="1128"/>
                    </a:lnTo>
                    <a:lnTo>
                      <a:pt x="516" y="1152"/>
                    </a:lnTo>
                    <a:lnTo>
                      <a:pt x="510" y="1152"/>
                    </a:lnTo>
                    <a:lnTo>
                      <a:pt x="582" y="1188"/>
                    </a:lnTo>
                    <a:lnTo>
                      <a:pt x="588" y="1200"/>
                    </a:lnTo>
                    <a:lnTo>
                      <a:pt x="594" y="1206"/>
                    </a:lnTo>
                    <a:lnTo>
                      <a:pt x="600" y="1218"/>
                    </a:lnTo>
                    <a:lnTo>
                      <a:pt x="600" y="1230"/>
                    </a:lnTo>
                    <a:lnTo>
                      <a:pt x="594" y="1236"/>
                    </a:lnTo>
                    <a:lnTo>
                      <a:pt x="588" y="1248"/>
                    </a:lnTo>
                    <a:lnTo>
                      <a:pt x="552" y="1284"/>
                    </a:lnTo>
                    <a:lnTo>
                      <a:pt x="546" y="1284"/>
                    </a:lnTo>
                    <a:lnTo>
                      <a:pt x="486" y="1344"/>
                    </a:lnTo>
                    <a:lnTo>
                      <a:pt x="426" y="1374"/>
                    </a:lnTo>
                    <a:lnTo>
                      <a:pt x="432" y="1386"/>
                    </a:lnTo>
                    <a:lnTo>
                      <a:pt x="462" y="1368"/>
                    </a:lnTo>
                    <a:lnTo>
                      <a:pt x="468" y="1386"/>
                    </a:lnTo>
                    <a:lnTo>
                      <a:pt x="480" y="1398"/>
                    </a:lnTo>
                    <a:lnTo>
                      <a:pt x="492" y="1404"/>
                    </a:lnTo>
                    <a:lnTo>
                      <a:pt x="498" y="1410"/>
                    </a:lnTo>
                    <a:lnTo>
                      <a:pt x="546" y="1410"/>
                    </a:lnTo>
                    <a:lnTo>
                      <a:pt x="558" y="1428"/>
                    </a:lnTo>
                    <a:lnTo>
                      <a:pt x="546" y="1428"/>
                    </a:lnTo>
                    <a:lnTo>
                      <a:pt x="534" y="1422"/>
                    </a:lnTo>
                    <a:lnTo>
                      <a:pt x="504" y="1422"/>
                    </a:lnTo>
                    <a:lnTo>
                      <a:pt x="492" y="1434"/>
                    </a:lnTo>
                    <a:lnTo>
                      <a:pt x="492" y="1440"/>
                    </a:lnTo>
                    <a:lnTo>
                      <a:pt x="456" y="1440"/>
                    </a:lnTo>
                    <a:lnTo>
                      <a:pt x="450" y="1470"/>
                    </a:lnTo>
                    <a:lnTo>
                      <a:pt x="438" y="1470"/>
                    </a:lnTo>
                    <a:lnTo>
                      <a:pt x="432" y="1482"/>
                    </a:lnTo>
                    <a:lnTo>
                      <a:pt x="438" y="1494"/>
                    </a:lnTo>
                    <a:lnTo>
                      <a:pt x="432" y="1500"/>
                    </a:lnTo>
                    <a:lnTo>
                      <a:pt x="426" y="1500"/>
                    </a:lnTo>
                    <a:lnTo>
                      <a:pt x="414" y="1512"/>
                    </a:lnTo>
                    <a:lnTo>
                      <a:pt x="414" y="1530"/>
                    </a:lnTo>
                    <a:lnTo>
                      <a:pt x="432" y="1536"/>
                    </a:lnTo>
                    <a:lnTo>
                      <a:pt x="420" y="1560"/>
                    </a:lnTo>
                    <a:lnTo>
                      <a:pt x="432" y="1566"/>
                    </a:lnTo>
                    <a:lnTo>
                      <a:pt x="444" y="1584"/>
                    </a:lnTo>
                    <a:lnTo>
                      <a:pt x="426" y="1596"/>
                    </a:lnTo>
                    <a:lnTo>
                      <a:pt x="426" y="1608"/>
                    </a:lnTo>
                    <a:lnTo>
                      <a:pt x="432" y="1608"/>
                    </a:lnTo>
                    <a:lnTo>
                      <a:pt x="444" y="1620"/>
                    </a:lnTo>
                    <a:lnTo>
                      <a:pt x="456" y="1626"/>
                    </a:lnTo>
                    <a:lnTo>
                      <a:pt x="462" y="1632"/>
                    </a:lnTo>
                    <a:lnTo>
                      <a:pt x="462" y="1638"/>
                    </a:lnTo>
                    <a:lnTo>
                      <a:pt x="444" y="1638"/>
                    </a:lnTo>
                    <a:lnTo>
                      <a:pt x="438" y="1656"/>
                    </a:lnTo>
                    <a:lnTo>
                      <a:pt x="462" y="1662"/>
                    </a:lnTo>
                    <a:lnTo>
                      <a:pt x="468" y="1668"/>
                    </a:lnTo>
                    <a:lnTo>
                      <a:pt x="474" y="1680"/>
                    </a:lnTo>
                    <a:lnTo>
                      <a:pt x="486" y="1692"/>
                    </a:lnTo>
                    <a:lnTo>
                      <a:pt x="486" y="1716"/>
                    </a:lnTo>
                    <a:lnTo>
                      <a:pt x="510" y="1716"/>
                    </a:lnTo>
                    <a:lnTo>
                      <a:pt x="516" y="1722"/>
                    </a:lnTo>
                    <a:lnTo>
                      <a:pt x="516" y="1728"/>
                    </a:lnTo>
                    <a:lnTo>
                      <a:pt x="528" y="1722"/>
                    </a:lnTo>
                    <a:lnTo>
                      <a:pt x="564" y="1728"/>
                    </a:lnTo>
                    <a:lnTo>
                      <a:pt x="570" y="1746"/>
                    </a:lnTo>
                    <a:lnTo>
                      <a:pt x="600" y="1728"/>
                    </a:lnTo>
                    <a:lnTo>
                      <a:pt x="606" y="1728"/>
                    </a:lnTo>
                    <a:lnTo>
                      <a:pt x="612" y="1734"/>
                    </a:lnTo>
                    <a:lnTo>
                      <a:pt x="648" y="1752"/>
                    </a:lnTo>
                    <a:lnTo>
                      <a:pt x="654" y="1758"/>
                    </a:lnTo>
                    <a:lnTo>
                      <a:pt x="654" y="1770"/>
                    </a:lnTo>
                    <a:lnTo>
                      <a:pt x="648" y="1776"/>
                    </a:lnTo>
                    <a:lnTo>
                      <a:pt x="660" y="1794"/>
                    </a:lnTo>
                    <a:lnTo>
                      <a:pt x="654" y="1812"/>
                    </a:lnTo>
                    <a:lnTo>
                      <a:pt x="660" y="1818"/>
                    </a:lnTo>
                    <a:lnTo>
                      <a:pt x="672" y="1824"/>
                    </a:lnTo>
                    <a:lnTo>
                      <a:pt x="690" y="1842"/>
                    </a:lnTo>
                    <a:lnTo>
                      <a:pt x="690" y="1854"/>
                    </a:lnTo>
                    <a:lnTo>
                      <a:pt x="720" y="1866"/>
                    </a:lnTo>
                    <a:lnTo>
                      <a:pt x="720" y="1890"/>
                    </a:lnTo>
                    <a:lnTo>
                      <a:pt x="756" y="1890"/>
                    </a:lnTo>
                    <a:lnTo>
                      <a:pt x="762" y="1896"/>
                    </a:lnTo>
                    <a:lnTo>
                      <a:pt x="768" y="1896"/>
                    </a:lnTo>
                    <a:lnTo>
                      <a:pt x="768" y="1902"/>
                    </a:lnTo>
                    <a:lnTo>
                      <a:pt x="762" y="1908"/>
                    </a:lnTo>
                    <a:lnTo>
                      <a:pt x="786" y="1920"/>
                    </a:lnTo>
                    <a:lnTo>
                      <a:pt x="774" y="1926"/>
                    </a:lnTo>
                    <a:lnTo>
                      <a:pt x="768" y="1938"/>
                    </a:lnTo>
                    <a:lnTo>
                      <a:pt x="744" y="1950"/>
                    </a:lnTo>
                    <a:lnTo>
                      <a:pt x="738" y="1950"/>
                    </a:lnTo>
                    <a:lnTo>
                      <a:pt x="732" y="1944"/>
                    </a:lnTo>
                    <a:lnTo>
                      <a:pt x="726" y="1944"/>
                    </a:lnTo>
                    <a:lnTo>
                      <a:pt x="726" y="1938"/>
                    </a:lnTo>
                    <a:lnTo>
                      <a:pt x="702" y="1938"/>
                    </a:lnTo>
                    <a:lnTo>
                      <a:pt x="696" y="1944"/>
                    </a:lnTo>
                    <a:lnTo>
                      <a:pt x="696" y="1950"/>
                    </a:lnTo>
                    <a:lnTo>
                      <a:pt x="720" y="1974"/>
                    </a:lnTo>
                    <a:lnTo>
                      <a:pt x="720" y="1992"/>
                    </a:lnTo>
                    <a:lnTo>
                      <a:pt x="726" y="1998"/>
                    </a:lnTo>
                    <a:lnTo>
                      <a:pt x="732" y="2010"/>
                    </a:lnTo>
                    <a:lnTo>
                      <a:pt x="732" y="2028"/>
                    </a:lnTo>
                    <a:lnTo>
                      <a:pt x="720" y="2028"/>
                    </a:lnTo>
                    <a:lnTo>
                      <a:pt x="714" y="2022"/>
                    </a:lnTo>
                    <a:lnTo>
                      <a:pt x="708" y="2022"/>
                    </a:lnTo>
                    <a:lnTo>
                      <a:pt x="720" y="2028"/>
                    </a:lnTo>
                    <a:lnTo>
                      <a:pt x="768" y="2028"/>
                    </a:lnTo>
                    <a:lnTo>
                      <a:pt x="774" y="2022"/>
                    </a:lnTo>
                    <a:lnTo>
                      <a:pt x="774" y="2010"/>
                    </a:lnTo>
                    <a:lnTo>
                      <a:pt x="804" y="2010"/>
                    </a:lnTo>
                    <a:lnTo>
                      <a:pt x="816" y="2004"/>
                    </a:lnTo>
                    <a:lnTo>
                      <a:pt x="864" y="2004"/>
                    </a:lnTo>
                    <a:lnTo>
                      <a:pt x="870" y="2022"/>
                    </a:lnTo>
                    <a:lnTo>
                      <a:pt x="876" y="2022"/>
                    </a:lnTo>
                    <a:lnTo>
                      <a:pt x="882" y="2028"/>
                    </a:lnTo>
                    <a:lnTo>
                      <a:pt x="894" y="2034"/>
                    </a:lnTo>
                    <a:lnTo>
                      <a:pt x="900" y="2034"/>
                    </a:lnTo>
                    <a:lnTo>
                      <a:pt x="900" y="2046"/>
                    </a:lnTo>
                    <a:lnTo>
                      <a:pt x="894" y="2052"/>
                    </a:lnTo>
                    <a:lnTo>
                      <a:pt x="888" y="2052"/>
                    </a:lnTo>
                    <a:lnTo>
                      <a:pt x="894" y="2070"/>
                    </a:lnTo>
                    <a:lnTo>
                      <a:pt x="894" y="2088"/>
                    </a:lnTo>
                    <a:lnTo>
                      <a:pt x="930" y="2088"/>
                    </a:lnTo>
                    <a:lnTo>
                      <a:pt x="972" y="2106"/>
                    </a:lnTo>
                    <a:lnTo>
                      <a:pt x="984" y="2154"/>
                    </a:lnTo>
                    <a:lnTo>
                      <a:pt x="990" y="2154"/>
                    </a:lnTo>
                    <a:lnTo>
                      <a:pt x="1014" y="2148"/>
                    </a:lnTo>
                    <a:lnTo>
                      <a:pt x="1020" y="2154"/>
                    </a:lnTo>
                    <a:lnTo>
                      <a:pt x="1032" y="2154"/>
                    </a:lnTo>
                    <a:lnTo>
                      <a:pt x="1038" y="2160"/>
                    </a:lnTo>
                    <a:lnTo>
                      <a:pt x="1086" y="2160"/>
                    </a:lnTo>
                    <a:lnTo>
                      <a:pt x="1092" y="2166"/>
                    </a:lnTo>
                    <a:lnTo>
                      <a:pt x="1092" y="2160"/>
                    </a:lnTo>
                    <a:lnTo>
                      <a:pt x="1098" y="2154"/>
                    </a:lnTo>
                    <a:lnTo>
                      <a:pt x="1110" y="2154"/>
                    </a:lnTo>
                    <a:lnTo>
                      <a:pt x="1116" y="2166"/>
                    </a:lnTo>
                    <a:lnTo>
                      <a:pt x="1140" y="2190"/>
                    </a:lnTo>
                    <a:lnTo>
                      <a:pt x="1152" y="2184"/>
                    </a:lnTo>
                    <a:lnTo>
                      <a:pt x="1170" y="2184"/>
                    </a:lnTo>
                    <a:lnTo>
                      <a:pt x="1176" y="2190"/>
                    </a:lnTo>
                    <a:lnTo>
                      <a:pt x="1188" y="2196"/>
                    </a:lnTo>
                    <a:lnTo>
                      <a:pt x="1230" y="2196"/>
                    </a:lnTo>
                    <a:lnTo>
                      <a:pt x="1230" y="2202"/>
                    </a:lnTo>
                    <a:lnTo>
                      <a:pt x="1236" y="2208"/>
                    </a:lnTo>
                    <a:lnTo>
                      <a:pt x="1254" y="2220"/>
                    </a:lnTo>
                    <a:lnTo>
                      <a:pt x="1278" y="2220"/>
                    </a:lnTo>
                    <a:lnTo>
                      <a:pt x="1284" y="2226"/>
                    </a:lnTo>
                    <a:lnTo>
                      <a:pt x="1284" y="2250"/>
                    </a:lnTo>
                    <a:lnTo>
                      <a:pt x="1266" y="2262"/>
                    </a:lnTo>
                    <a:lnTo>
                      <a:pt x="1272" y="2262"/>
                    </a:lnTo>
                    <a:lnTo>
                      <a:pt x="1278" y="2268"/>
                    </a:lnTo>
                    <a:lnTo>
                      <a:pt x="1284" y="2268"/>
                    </a:lnTo>
                    <a:lnTo>
                      <a:pt x="1290" y="2274"/>
                    </a:lnTo>
                    <a:lnTo>
                      <a:pt x="1284" y="2280"/>
                    </a:lnTo>
                    <a:lnTo>
                      <a:pt x="1266" y="2280"/>
                    </a:lnTo>
                    <a:lnTo>
                      <a:pt x="1260" y="2286"/>
                    </a:lnTo>
                    <a:lnTo>
                      <a:pt x="1272" y="2298"/>
                    </a:lnTo>
                    <a:lnTo>
                      <a:pt x="1284" y="2304"/>
                    </a:lnTo>
                    <a:lnTo>
                      <a:pt x="1284" y="2316"/>
                    </a:lnTo>
                    <a:lnTo>
                      <a:pt x="1290" y="2328"/>
                    </a:lnTo>
                    <a:lnTo>
                      <a:pt x="1290" y="2334"/>
                    </a:lnTo>
                    <a:lnTo>
                      <a:pt x="1278" y="2346"/>
                    </a:lnTo>
                    <a:lnTo>
                      <a:pt x="1266" y="2346"/>
                    </a:lnTo>
                    <a:lnTo>
                      <a:pt x="1254" y="2352"/>
                    </a:lnTo>
                    <a:lnTo>
                      <a:pt x="1224" y="2352"/>
                    </a:lnTo>
                    <a:lnTo>
                      <a:pt x="1212" y="2364"/>
                    </a:lnTo>
                    <a:lnTo>
                      <a:pt x="1212" y="2370"/>
                    </a:lnTo>
                    <a:lnTo>
                      <a:pt x="1206" y="2376"/>
                    </a:lnTo>
                    <a:lnTo>
                      <a:pt x="1188" y="2376"/>
                    </a:lnTo>
                    <a:lnTo>
                      <a:pt x="1188" y="2412"/>
                    </a:lnTo>
                    <a:lnTo>
                      <a:pt x="1194" y="2412"/>
                    </a:lnTo>
                    <a:lnTo>
                      <a:pt x="1200" y="2406"/>
                    </a:lnTo>
                    <a:lnTo>
                      <a:pt x="1212" y="2406"/>
                    </a:lnTo>
                    <a:lnTo>
                      <a:pt x="1224" y="2400"/>
                    </a:lnTo>
                    <a:lnTo>
                      <a:pt x="1254" y="2400"/>
                    </a:lnTo>
                    <a:lnTo>
                      <a:pt x="1254" y="2412"/>
                    </a:lnTo>
                    <a:lnTo>
                      <a:pt x="1248" y="2418"/>
                    </a:lnTo>
                    <a:lnTo>
                      <a:pt x="1242" y="2430"/>
                    </a:lnTo>
                    <a:lnTo>
                      <a:pt x="1230" y="2436"/>
                    </a:lnTo>
                    <a:lnTo>
                      <a:pt x="1224" y="2442"/>
                    </a:lnTo>
                    <a:lnTo>
                      <a:pt x="1170" y="2454"/>
                    </a:lnTo>
                    <a:lnTo>
                      <a:pt x="1218" y="2490"/>
                    </a:lnTo>
                    <a:lnTo>
                      <a:pt x="1212" y="2490"/>
                    </a:lnTo>
                    <a:lnTo>
                      <a:pt x="1206" y="2496"/>
                    </a:lnTo>
                    <a:lnTo>
                      <a:pt x="1194" y="2496"/>
                    </a:lnTo>
                    <a:lnTo>
                      <a:pt x="1188" y="2502"/>
                    </a:lnTo>
                    <a:lnTo>
                      <a:pt x="1176" y="2526"/>
                    </a:lnTo>
                    <a:lnTo>
                      <a:pt x="1176" y="2544"/>
                    </a:lnTo>
                    <a:lnTo>
                      <a:pt x="1164" y="2550"/>
                    </a:lnTo>
                    <a:lnTo>
                      <a:pt x="1158" y="2556"/>
                    </a:lnTo>
                    <a:lnTo>
                      <a:pt x="1146" y="2556"/>
                    </a:lnTo>
                    <a:lnTo>
                      <a:pt x="1140" y="2550"/>
                    </a:lnTo>
                    <a:lnTo>
                      <a:pt x="1128" y="2544"/>
                    </a:lnTo>
                    <a:lnTo>
                      <a:pt x="1122" y="2538"/>
                    </a:lnTo>
                    <a:lnTo>
                      <a:pt x="1116" y="2556"/>
                    </a:lnTo>
                    <a:lnTo>
                      <a:pt x="1122" y="2562"/>
                    </a:lnTo>
                    <a:lnTo>
                      <a:pt x="1128" y="2574"/>
                    </a:lnTo>
                    <a:lnTo>
                      <a:pt x="1134" y="2580"/>
                    </a:lnTo>
                    <a:lnTo>
                      <a:pt x="1146" y="2580"/>
                    </a:lnTo>
                    <a:lnTo>
                      <a:pt x="1146" y="2586"/>
                    </a:lnTo>
                    <a:lnTo>
                      <a:pt x="1152" y="2598"/>
                    </a:lnTo>
                    <a:lnTo>
                      <a:pt x="1158" y="2604"/>
                    </a:lnTo>
                    <a:lnTo>
                      <a:pt x="1194" y="2604"/>
                    </a:lnTo>
                    <a:lnTo>
                      <a:pt x="1200" y="2610"/>
                    </a:lnTo>
                    <a:lnTo>
                      <a:pt x="1212" y="2616"/>
                    </a:lnTo>
                    <a:lnTo>
                      <a:pt x="1218" y="2628"/>
                    </a:lnTo>
                    <a:lnTo>
                      <a:pt x="1224" y="2634"/>
                    </a:lnTo>
                    <a:lnTo>
                      <a:pt x="1254" y="2634"/>
                    </a:lnTo>
                    <a:lnTo>
                      <a:pt x="1272" y="2652"/>
                    </a:lnTo>
                    <a:lnTo>
                      <a:pt x="1278" y="2664"/>
                    </a:lnTo>
                    <a:lnTo>
                      <a:pt x="1290" y="2670"/>
                    </a:lnTo>
                    <a:lnTo>
                      <a:pt x="1314" y="2694"/>
                    </a:lnTo>
                    <a:lnTo>
                      <a:pt x="1320" y="2694"/>
                    </a:lnTo>
                    <a:lnTo>
                      <a:pt x="1332" y="2700"/>
                    </a:lnTo>
                    <a:lnTo>
                      <a:pt x="1338" y="2700"/>
                    </a:lnTo>
                    <a:lnTo>
                      <a:pt x="1350" y="2706"/>
                    </a:lnTo>
                    <a:lnTo>
                      <a:pt x="1344" y="2706"/>
                    </a:lnTo>
                    <a:lnTo>
                      <a:pt x="1368" y="2688"/>
                    </a:lnTo>
                    <a:lnTo>
                      <a:pt x="1380" y="2688"/>
                    </a:lnTo>
                    <a:lnTo>
                      <a:pt x="1398" y="2694"/>
                    </a:lnTo>
                    <a:lnTo>
                      <a:pt x="1410" y="2700"/>
                    </a:lnTo>
                    <a:lnTo>
                      <a:pt x="1428" y="2706"/>
                    </a:lnTo>
                    <a:lnTo>
                      <a:pt x="1488" y="2718"/>
                    </a:lnTo>
                    <a:lnTo>
                      <a:pt x="1524" y="2718"/>
                    </a:lnTo>
                    <a:lnTo>
                      <a:pt x="1530" y="2724"/>
                    </a:lnTo>
                    <a:lnTo>
                      <a:pt x="1536" y="2724"/>
                    </a:lnTo>
                    <a:lnTo>
                      <a:pt x="1584" y="2754"/>
                    </a:lnTo>
                    <a:lnTo>
                      <a:pt x="1584" y="2760"/>
                    </a:lnTo>
                    <a:lnTo>
                      <a:pt x="1590" y="2760"/>
                    </a:lnTo>
                    <a:lnTo>
                      <a:pt x="1602" y="2766"/>
                    </a:lnTo>
                    <a:lnTo>
                      <a:pt x="1626" y="2766"/>
                    </a:lnTo>
                    <a:lnTo>
                      <a:pt x="1632" y="2760"/>
                    </a:lnTo>
                    <a:lnTo>
                      <a:pt x="1644" y="2760"/>
                    </a:lnTo>
                    <a:lnTo>
                      <a:pt x="1644" y="2754"/>
                    </a:lnTo>
                    <a:lnTo>
                      <a:pt x="1674" y="2754"/>
                    </a:lnTo>
                    <a:lnTo>
                      <a:pt x="1686" y="2760"/>
                    </a:lnTo>
                    <a:lnTo>
                      <a:pt x="1698" y="2772"/>
                    </a:lnTo>
                    <a:lnTo>
                      <a:pt x="1728" y="2778"/>
                    </a:lnTo>
                    <a:lnTo>
                      <a:pt x="1728" y="2790"/>
                    </a:lnTo>
                    <a:lnTo>
                      <a:pt x="1722" y="2796"/>
                    </a:lnTo>
                    <a:lnTo>
                      <a:pt x="1722" y="2802"/>
                    </a:lnTo>
                    <a:lnTo>
                      <a:pt x="1740" y="2802"/>
                    </a:lnTo>
                    <a:lnTo>
                      <a:pt x="1752" y="2814"/>
                    </a:lnTo>
                    <a:lnTo>
                      <a:pt x="1764" y="2820"/>
                    </a:lnTo>
                    <a:lnTo>
                      <a:pt x="1776" y="2832"/>
                    </a:lnTo>
                    <a:lnTo>
                      <a:pt x="1788" y="2826"/>
                    </a:lnTo>
                    <a:lnTo>
                      <a:pt x="1794" y="2826"/>
                    </a:lnTo>
                    <a:lnTo>
                      <a:pt x="1818" y="2838"/>
                    </a:lnTo>
                    <a:lnTo>
                      <a:pt x="1836" y="2856"/>
                    </a:lnTo>
                    <a:lnTo>
                      <a:pt x="1842" y="2868"/>
                    </a:lnTo>
                    <a:lnTo>
                      <a:pt x="1854" y="2874"/>
                    </a:lnTo>
                    <a:lnTo>
                      <a:pt x="1860" y="2880"/>
                    </a:lnTo>
                    <a:lnTo>
                      <a:pt x="1884" y="2880"/>
                    </a:lnTo>
                    <a:lnTo>
                      <a:pt x="1890" y="2874"/>
                    </a:lnTo>
                    <a:lnTo>
                      <a:pt x="1890" y="2862"/>
                    </a:lnTo>
                    <a:lnTo>
                      <a:pt x="1908" y="2862"/>
                    </a:lnTo>
                    <a:lnTo>
                      <a:pt x="1914" y="2856"/>
                    </a:lnTo>
                    <a:lnTo>
                      <a:pt x="1914" y="2826"/>
                    </a:lnTo>
                    <a:lnTo>
                      <a:pt x="1908" y="2820"/>
                    </a:lnTo>
                    <a:lnTo>
                      <a:pt x="1908" y="2814"/>
                    </a:lnTo>
                    <a:lnTo>
                      <a:pt x="1896" y="2802"/>
                    </a:lnTo>
                    <a:lnTo>
                      <a:pt x="1890" y="2790"/>
                    </a:lnTo>
                    <a:lnTo>
                      <a:pt x="1884" y="2784"/>
                    </a:lnTo>
                    <a:lnTo>
                      <a:pt x="1872" y="2778"/>
                    </a:lnTo>
                    <a:lnTo>
                      <a:pt x="1866" y="2772"/>
                    </a:lnTo>
                    <a:lnTo>
                      <a:pt x="1854" y="2772"/>
                    </a:lnTo>
                    <a:lnTo>
                      <a:pt x="1854" y="2748"/>
                    </a:lnTo>
                    <a:lnTo>
                      <a:pt x="1848" y="2742"/>
                    </a:lnTo>
                    <a:lnTo>
                      <a:pt x="1836" y="2736"/>
                    </a:lnTo>
                    <a:lnTo>
                      <a:pt x="1830" y="2724"/>
                    </a:lnTo>
                    <a:lnTo>
                      <a:pt x="1824" y="2718"/>
                    </a:lnTo>
                    <a:lnTo>
                      <a:pt x="1824" y="2706"/>
                    </a:lnTo>
                    <a:lnTo>
                      <a:pt x="1830" y="2694"/>
                    </a:lnTo>
                    <a:lnTo>
                      <a:pt x="1830" y="2682"/>
                    </a:lnTo>
                    <a:lnTo>
                      <a:pt x="1818" y="2658"/>
                    </a:lnTo>
                    <a:lnTo>
                      <a:pt x="1812" y="2652"/>
                    </a:lnTo>
                    <a:lnTo>
                      <a:pt x="1806" y="2640"/>
                    </a:lnTo>
                    <a:lnTo>
                      <a:pt x="1794" y="2634"/>
                    </a:lnTo>
                    <a:lnTo>
                      <a:pt x="1788" y="2628"/>
                    </a:lnTo>
                    <a:lnTo>
                      <a:pt x="1776" y="2628"/>
                    </a:lnTo>
                    <a:lnTo>
                      <a:pt x="1758" y="2622"/>
                    </a:lnTo>
                    <a:lnTo>
                      <a:pt x="1758" y="2604"/>
                    </a:lnTo>
                    <a:lnTo>
                      <a:pt x="1794" y="2568"/>
                    </a:lnTo>
                    <a:lnTo>
                      <a:pt x="1800" y="2556"/>
                    </a:lnTo>
                    <a:lnTo>
                      <a:pt x="1806" y="2550"/>
                    </a:lnTo>
                    <a:lnTo>
                      <a:pt x="1806" y="2544"/>
                    </a:lnTo>
                    <a:lnTo>
                      <a:pt x="1800" y="2532"/>
                    </a:lnTo>
                    <a:lnTo>
                      <a:pt x="1788" y="2520"/>
                    </a:lnTo>
                    <a:lnTo>
                      <a:pt x="1800" y="2520"/>
                    </a:lnTo>
                    <a:lnTo>
                      <a:pt x="1812" y="2526"/>
                    </a:lnTo>
                    <a:lnTo>
                      <a:pt x="1830" y="2526"/>
                    </a:lnTo>
                    <a:lnTo>
                      <a:pt x="1842" y="2514"/>
                    </a:lnTo>
                    <a:lnTo>
                      <a:pt x="1872" y="2514"/>
                    </a:lnTo>
                    <a:lnTo>
                      <a:pt x="1878" y="2508"/>
                    </a:lnTo>
                    <a:lnTo>
                      <a:pt x="1860" y="2490"/>
                    </a:lnTo>
                    <a:lnTo>
                      <a:pt x="1890" y="2490"/>
                    </a:lnTo>
                    <a:lnTo>
                      <a:pt x="1890" y="2472"/>
                    </a:lnTo>
                    <a:lnTo>
                      <a:pt x="1878" y="2472"/>
                    </a:lnTo>
                    <a:lnTo>
                      <a:pt x="1854" y="2460"/>
                    </a:lnTo>
                    <a:lnTo>
                      <a:pt x="1842" y="2448"/>
                    </a:lnTo>
                    <a:lnTo>
                      <a:pt x="1842" y="2442"/>
                    </a:lnTo>
                    <a:lnTo>
                      <a:pt x="1878" y="2442"/>
                    </a:lnTo>
                    <a:lnTo>
                      <a:pt x="1878" y="2430"/>
                    </a:lnTo>
                    <a:lnTo>
                      <a:pt x="1866" y="2418"/>
                    </a:lnTo>
                    <a:lnTo>
                      <a:pt x="1860" y="2406"/>
                    </a:lnTo>
                    <a:lnTo>
                      <a:pt x="1812" y="2358"/>
                    </a:lnTo>
                    <a:lnTo>
                      <a:pt x="1800" y="2358"/>
                    </a:lnTo>
                    <a:lnTo>
                      <a:pt x="1788" y="2364"/>
                    </a:lnTo>
                    <a:lnTo>
                      <a:pt x="1746" y="2364"/>
                    </a:lnTo>
                    <a:lnTo>
                      <a:pt x="1740" y="2358"/>
                    </a:lnTo>
                    <a:lnTo>
                      <a:pt x="1740" y="2328"/>
                    </a:lnTo>
                    <a:lnTo>
                      <a:pt x="1734" y="2322"/>
                    </a:lnTo>
                    <a:lnTo>
                      <a:pt x="1710" y="2322"/>
                    </a:lnTo>
                    <a:lnTo>
                      <a:pt x="1704" y="2316"/>
                    </a:lnTo>
                    <a:lnTo>
                      <a:pt x="1698" y="2316"/>
                    </a:lnTo>
                    <a:lnTo>
                      <a:pt x="1698" y="2286"/>
                    </a:lnTo>
                    <a:lnTo>
                      <a:pt x="1710" y="2262"/>
                    </a:lnTo>
                    <a:lnTo>
                      <a:pt x="1710" y="2238"/>
                    </a:lnTo>
                    <a:lnTo>
                      <a:pt x="1704" y="2232"/>
                    </a:lnTo>
                    <a:lnTo>
                      <a:pt x="1698" y="2196"/>
                    </a:lnTo>
                    <a:lnTo>
                      <a:pt x="1722" y="2196"/>
                    </a:lnTo>
                    <a:lnTo>
                      <a:pt x="1722" y="2172"/>
                    </a:lnTo>
                    <a:lnTo>
                      <a:pt x="1716" y="2166"/>
                    </a:lnTo>
                    <a:lnTo>
                      <a:pt x="1716" y="2154"/>
                    </a:lnTo>
                    <a:lnTo>
                      <a:pt x="1722" y="2148"/>
                    </a:lnTo>
                    <a:lnTo>
                      <a:pt x="1734" y="2148"/>
                    </a:lnTo>
                    <a:lnTo>
                      <a:pt x="1746" y="2154"/>
                    </a:lnTo>
                    <a:lnTo>
                      <a:pt x="1758" y="2166"/>
                    </a:lnTo>
                    <a:lnTo>
                      <a:pt x="1770" y="2172"/>
                    </a:lnTo>
                    <a:lnTo>
                      <a:pt x="1776" y="2184"/>
                    </a:lnTo>
                    <a:lnTo>
                      <a:pt x="1788" y="2190"/>
                    </a:lnTo>
                    <a:lnTo>
                      <a:pt x="1800" y="2190"/>
                    </a:lnTo>
                    <a:lnTo>
                      <a:pt x="1806" y="2184"/>
                    </a:lnTo>
                    <a:lnTo>
                      <a:pt x="1812" y="2172"/>
                    </a:lnTo>
                    <a:lnTo>
                      <a:pt x="1818" y="2166"/>
                    </a:lnTo>
                    <a:lnTo>
                      <a:pt x="1812" y="2154"/>
                    </a:lnTo>
                    <a:lnTo>
                      <a:pt x="1800" y="2142"/>
                    </a:lnTo>
                    <a:lnTo>
                      <a:pt x="1830" y="2130"/>
                    </a:lnTo>
                    <a:lnTo>
                      <a:pt x="1830" y="2106"/>
                    </a:lnTo>
                    <a:lnTo>
                      <a:pt x="1836" y="2106"/>
                    </a:lnTo>
                    <a:lnTo>
                      <a:pt x="1848" y="2100"/>
                    </a:lnTo>
                    <a:lnTo>
                      <a:pt x="1860" y="2100"/>
                    </a:lnTo>
                    <a:lnTo>
                      <a:pt x="1872" y="2094"/>
                    </a:lnTo>
                    <a:lnTo>
                      <a:pt x="1884" y="2082"/>
                    </a:lnTo>
                    <a:lnTo>
                      <a:pt x="1884" y="2064"/>
                    </a:lnTo>
                    <a:lnTo>
                      <a:pt x="1878" y="2058"/>
                    </a:lnTo>
                    <a:lnTo>
                      <a:pt x="1878" y="2052"/>
                    </a:lnTo>
                    <a:lnTo>
                      <a:pt x="1908" y="2052"/>
                    </a:lnTo>
                    <a:lnTo>
                      <a:pt x="1920" y="2058"/>
                    </a:lnTo>
                    <a:lnTo>
                      <a:pt x="1926" y="2058"/>
                    </a:lnTo>
                    <a:lnTo>
                      <a:pt x="1926" y="2064"/>
                    </a:lnTo>
                    <a:lnTo>
                      <a:pt x="1932" y="2070"/>
                    </a:lnTo>
                    <a:lnTo>
                      <a:pt x="1962" y="2070"/>
                    </a:lnTo>
                    <a:lnTo>
                      <a:pt x="1974" y="2058"/>
                    </a:lnTo>
                    <a:lnTo>
                      <a:pt x="1986" y="2052"/>
                    </a:lnTo>
                    <a:lnTo>
                      <a:pt x="2004" y="2052"/>
                    </a:lnTo>
                    <a:lnTo>
                      <a:pt x="2010" y="2058"/>
                    </a:lnTo>
                    <a:lnTo>
                      <a:pt x="2016" y="2070"/>
                    </a:lnTo>
                    <a:lnTo>
                      <a:pt x="2076" y="2070"/>
                    </a:lnTo>
                    <a:lnTo>
                      <a:pt x="2082" y="2076"/>
                    </a:lnTo>
                    <a:lnTo>
                      <a:pt x="2082" y="2082"/>
                    </a:lnTo>
                    <a:lnTo>
                      <a:pt x="2088" y="2094"/>
                    </a:lnTo>
                    <a:lnTo>
                      <a:pt x="2124" y="2094"/>
                    </a:lnTo>
                    <a:lnTo>
                      <a:pt x="2136" y="2124"/>
                    </a:lnTo>
                    <a:lnTo>
                      <a:pt x="2136" y="2130"/>
                    </a:lnTo>
                    <a:lnTo>
                      <a:pt x="2148" y="2142"/>
                    </a:lnTo>
                    <a:lnTo>
                      <a:pt x="2160" y="2142"/>
                    </a:lnTo>
                    <a:lnTo>
                      <a:pt x="2160" y="2124"/>
                    </a:lnTo>
                    <a:lnTo>
                      <a:pt x="2148" y="2112"/>
                    </a:lnTo>
                    <a:lnTo>
                      <a:pt x="2148" y="2106"/>
                    </a:lnTo>
                    <a:lnTo>
                      <a:pt x="2160" y="2106"/>
                    </a:lnTo>
                    <a:lnTo>
                      <a:pt x="2232" y="2142"/>
                    </a:lnTo>
                    <a:lnTo>
                      <a:pt x="2238" y="2136"/>
                    </a:lnTo>
                    <a:lnTo>
                      <a:pt x="2244" y="2124"/>
                    </a:lnTo>
                    <a:lnTo>
                      <a:pt x="2256" y="2118"/>
                    </a:lnTo>
                    <a:lnTo>
                      <a:pt x="2268" y="2106"/>
                    </a:lnTo>
                    <a:lnTo>
                      <a:pt x="2280" y="2100"/>
                    </a:lnTo>
                    <a:lnTo>
                      <a:pt x="2286" y="2100"/>
                    </a:lnTo>
                    <a:lnTo>
                      <a:pt x="2322" y="2118"/>
                    </a:lnTo>
                    <a:lnTo>
                      <a:pt x="2334" y="2118"/>
                    </a:lnTo>
                    <a:lnTo>
                      <a:pt x="2352" y="2112"/>
                    </a:lnTo>
                    <a:lnTo>
                      <a:pt x="2364" y="2106"/>
                    </a:lnTo>
                    <a:lnTo>
                      <a:pt x="2370" y="2100"/>
                    </a:lnTo>
                    <a:lnTo>
                      <a:pt x="2382" y="2100"/>
                    </a:lnTo>
                    <a:lnTo>
                      <a:pt x="2388" y="2106"/>
                    </a:lnTo>
                    <a:lnTo>
                      <a:pt x="2400" y="2112"/>
                    </a:lnTo>
                    <a:lnTo>
                      <a:pt x="2406" y="2124"/>
                    </a:lnTo>
                    <a:lnTo>
                      <a:pt x="2430" y="2136"/>
                    </a:lnTo>
                    <a:lnTo>
                      <a:pt x="2454" y="2136"/>
                    </a:lnTo>
                    <a:lnTo>
                      <a:pt x="2466" y="2142"/>
                    </a:lnTo>
                    <a:lnTo>
                      <a:pt x="2478" y="2142"/>
                    </a:lnTo>
                    <a:lnTo>
                      <a:pt x="2490" y="2118"/>
                    </a:lnTo>
                    <a:lnTo>
                      <a:pt x="2496" y="2124"/>
                    </a:lnTo>
                    <a:lnTo>
                      <a:pt x="2508" y="2124"/>
                    </a:lnTo>
                    <a:lnTo>
                      <a:pt x="2514" y="2130"/>
                    </a:lnTo>
                    <a:lnTo>
                      <a:pt x="2526" y="2136"/>
                    </a:lnTo>
                    <a:lnTo>
                      <a:pt x="2562" y="2136"/>
                    </a:lnTo>
                    <a:lnTo>
                      <a:pt x="2568" y="2130"/>
                    </a:lnTo>
                    <a:lnTo>
                      <a:pt x="2574" y="2118"/>
                    </a:lnTo>
                    <a:lnTo>
                      <a:pt x="2574" y="2106"/>
                    </a:lnTo>
                    <a:lnTo>
                      <a:pt x="2568" y="2088"/>
                    </a:lnTo>
                    <a:lnTo>
                      <a:pt x="2544" y="2064"/>
                    </a:lnTo>
                    <a:lnTo>
                      <a:pt x="2532" y="2058"/>
                    </a:lnTo>
                    <a:lnTo>
                      <a:pt x="2514" y="2052"/>
                    </a:lnTo>
                    <a:lnTo>
                      <a:pt x="2490" y="2052"/>
                    </a:lnTo>
                    <a:lnTo>
                      <a:pt x="2460" y="2022"/>
                    </a:lnTo>
                    <a:lnTo>
                      <a:pt x="2472" y="2022"/>
                    </a:lnTo>
                    <a:lnTo>
                      <a:pt x="2484" y="2016"/>
                    </a:lnTo>
                    <a:lnTo>
                      <a:pt x="2496" y="2016"/>
                    </a:lnTo>
                    <a:lnTo>
                      <a:pt x="2508" y="2004"/>
                    </a:lnTo>
                    <a:lnTo>
                      <a:pt x="2508" y="1992"/>
                    </a:lnTo>
                    <a:lnTo>
                      <a:pt x="2502" y="1986"/>
                    </a:lnTo>
                    <a:lnTo>
                      <a:pt x="2496" y="1974"/>
                    </a:lnTo>
                    <a:lnTo>
                      <a:pt x="2490" y="1968"/>
                    </a:lnTo>
                    <a:lnTo>
                      <a:pt x="2502" y="1956"/>
                    </a:lnTo>
                    <a:lnTo>
                      <a:pt x="2556" y="1956"/>
                    </a:lnTo>
                    <a:lnTo>
                      <a:pt x="2544" y="1944"/>
                    </a:lnTo>
                    <a:lnTo>
                      <a:pt x="2532" y="1944"/>
                    </a:lnTo>
                    <a:lnTo>
                      <a:pt x="2508" y="1932"/>
                    </a:lnTo>
                    <a:lnTo>
                      <a:pt x="2496" y="1932"/>
                    </a:lnTo>
                    <a:lnTo>
                      <a:pt x="2508" y="1914"/>
                    </a:lnTo>
                    <a:lnTo>
                      <a:pt x="2484" y="1914"/>
                    </a:lnTo>
                    <a:lnTo>
                      <a:pt x="2484" y="1908"/>
                    </a:lnTo>
                    <a:lnTo>
                      <a:pt x="2478" y="1902"/>
                    </a:lnTo>
                    <a:lnTo>
                      <a:pt x="2478" y="1896"/>
                    </a:lnTo>
                    <a:lnTo>
                      <a:pt x="2490" y="1884"/>
                    </a:lnTo>
                    <a:lnTo>
                      <a:pt x="2526" y="1872"/>
                    </a:lnTo>
                    <a:lnTo>
                      <a:pt x="2586" y="1866"/>
                    </a:lnTo>
                    <a:lnTo>
                      <a:pt x="2640" y="1866"/>
                    </a:lnTo>
                    <a:lnTo>
                      <a:pt x="2646" y="1848"/>
                    </a:lnTo>
                    <a:lnTo>
                      <a:pt x="2712" y="1848"/>
                    </a:lnTo>
                    <a:lnTo>
                      <a:pt x="2712" y="1830"/>
                    </a:lnTo>
                    <a:lnTo>
                      <a:pt x="2718" y="1824"/>
                    </a:lnTo>
                    <a:lnTo>
                      <a:pt x="2808" y="1824"/>
                    </a:lnTo>
                    <a:lnTo>
                      <a:pt x="2862" y="1806"/>
                    </a:lnTo>
                    <a:lnTo>
                      <a:pt x="2874" y="1806"/>
                    </a:lnTo>
                    <a:lnTo>
                      <a:pt x="2874" y="1794"/>
                    </a:lnTo>
                    <a:lnTo>
                      <a:pt x="2886" y="1782"/>
                    </a:lnTo>
                    <a:lnTo>
                      <a:pt x="2898" y="1776"/>
                    </a:lnTo>
                    <a:lnTo>
                      <a:pt x="2916" y="1770"/>
                    </a:lnTo>
                    <a:lnTo>
                      <a:pt x="2940" y="1770"/>
                    </a:lnTo>
                    <a:lnTo>
                      <a:pt x="2958" y="1776"/>
                    </a:lnTo>
                    <a:lnTo>
                      <a:pt x="2976" y="1776"/>
                    </a:lnTo>
                    <a:lnTo>
                      <a:pt x="2988" y="1788"/>
                    </a:lnTo>
                    <a:lnTo>
                      <a:pt x="3000" y="1788"/>
                    </a:lnTo>
                    <a:lnTo>
                      <a:pt x="3012" y="1776"/>
                    </a:lnTo>
                    <a:lnTo>
                      <a:pt x="3018" y="1776"/>
                    </a:lnTo>
                    <a:lnTo>
                      <a:pt x="3036" y="1794"/>
                    </a:lnTo>
                    <a:lnTo>
                      <a:pt x="3042" y="1806"/>
                    </a:lnTo>
                    <a:lnTo>
                      <a:pt x="3048" y="1812"/>
                    </a:lnTo>
                    <a:lnTo>
                      <a:pt x="3060" y="1812"/>
                    </a:lnTo>
                    <a:lnTo>
                      <a:pt x="3066" y="1818"/>
                    </a:lnTo>
                    <a:lnTo>
                      <a:pt x="3066" y="1860"/>
                    </a:lnTo>
                    <a:lnTo>
                      <a:pt x="3072" y="1866"/>
                    </a:lnTo>
                    <a:lnTo>
                      <a:pt x="3090" y="1866"/>
                    </a:lnTo>
                    <a:lnTo>
                      <a:pt x="3102" y="1860"/>
                    </a:lnTo>
                    <a:lnTo>
                      <a:pt x="3120" y="1860"/>
                    </a:lnTo>
                    <a:lnTo>
                      <a:pt x="3132" y="1842"/>
                    </a:lnTo>
                    <a:lnTo>
                      <a:pt x="3156" y="1878"/>
                    </a:lnTo>
                    <a:lnTo>
                      <a:pt x="3180" y="1866"/>
                    </a:lnTo>
                    <a:lnTo>
                      <a:pt x="3204" y="1878"/>
                    </a:lnTo>
                    <a:lnTo>
                      <a:pt x="3210" y="1872"/>
                    </a:lnTo>
                    <a:lnTo>
                      <a:pt x="3216" y="1872"/>
                    </a:lnTo>
                    <a:lnTo>
                      <a:pt x="3228" y="1878"/>
                    </a:lnTo>
                    <a:lnTo>
                      <a:pt x="3228" y="1902"/>
                    </a:lnTo>
                    <a:lnTo>
                      <a:pt x="3222" y="1908"/>
                    </a:lnTo>
                    <a:lnTo>
                      <a:pt x="3222" y="1914"/>
                    </a:lnTo>
                    <a:lnTo>
                      <a:pt x="3228" y="1914"/>
                    </a:lnTo>
                    <a:lnTo>
                      <a:pt x="3234" y="1908"/>
                    </a:lnTo>
                    <a:lnTo>
                      <a:pt x="3240" y="1908"/>
                    </a:lnTo>
                    <a:lnTo>
                      <a:pt x="3246" y="1902"/>
                    </a:lnTo>
                    <a:lnTo>
                      <a:pt x="3252" y="1902"/>
                    </a:lnTo>
                    <a:lnTo>
                      <a:pt x="3258" y="1908"/>
                    </a:lnTo>
                    <a:lnTo>
                      <a:pt x="3270" y="1914"/>
                    </a:lnTo>
                    <a:lnTo>
                      <a:pt x="3276" y="1920"/>
                    </a:lnTo>
                    <a:lnTo>
                      <a:pt x="3288" y="1926"/>
                    </a:lnTo>
                    <a:lnTo>
                      <a:pt x="3300" y="1914"/>
                    </a:lnTo>
                    <a:lnTo>
                      <a:pt x="3300" y="1896"/>
                    </a:lnTo>
                    <a:lnTo>
                      <a:pt x="3306" y="1890"/>
                    </a:lnTo>
                    <a:lnTo>
                      <a:pt x="3318" y="1884"/>
                    </a:lnTo>
                    <a:lnTo>
                      <a:pt x="3330" y="1884"/>
                    </a:lnTo>
                    <a:lnTo>
                      <a:pt x="3342" y="1866"/>
                    </a:lnTo>
                    <a:lnTo>
                      <a:pt x="3378" y="1854"/>
                    </a:lnTo>
                    <a:lnTo>
                      <a:pt x="3396" y="1836"/>
                    </a:lnTo>
                    <a:lnTo>
                      <a:pt x="3402" y="1836"/>
                    </a:lnTo>
                    <a:lnTo>
                      <a:pt x="3408" y="1842"/>
                    </a:lnTo>
                    <a:lnTo>
                      <a:pt x="3408" y="1860"/>
                    </a:lnTo>
                    <a:lnTo>
                      <a:pt x="3396" y="1872"/>
                    </a:lnTo>
                    <a:lnTo>
                      <a:pt x="3390" y="1872"/>
                    </a:lnTo>
                    <a:lnTo>
                      <a:pt x="3426" y="1890"/>
                    </a:lnTo>
                    <a:lnTo>
                      <a:pt x="3456" y="1902"/>
                    </a:lnTo>
                    <a:lnTo>
                      <a:pt x="3486" y="1920"/>
                    </a:lnTo>
                    <a:lnTo>
                      <a:pt x="3498" y="1926"/>
                    </a:lnTo>
                    <a:lnTo>
                      <a:pt x="3516" y="1938"/>
                    </a:lnTo>
                    <a:lnTo>
                      <a:pt x="3546" y="1968"/>
                    </a:lnTo>
                    <a:lnTo>
                      <a:pt x="3618" y="2028"/>
                    </a:lnTo>
                    <a:lnTo>
                      <a:pt x="3636" y="2052"/>
                    </a:lnTo>
                    <a:lnTo>
                      <a:pt x="3672" y="2088"/>
                    </a:lnTo>
                    <a:lnTo>
                      <a:pt x="3684" y="2106"/>
                    </a:lnTo>
                    <a:lnTo>
                      <a:pt x="3696" y="2118"/>
                    </a:lnTo>
                    <a:lnTo>
                      <a:pt x="3708" y="2124"/>
                    </a:lnTo>
                    <a:lnTo>
                      <a:pt x="3720" y="2124"/>
                    </a:lnTo>
                    <a:lnTo>
                      <a:pt x="3732" y="2118"/>
                    </a:lnTo>
                    <a:lnTo>
                      <a:pt x="3744" y="2106"/>
                    </a:lnTo>
                    <a:lnTo>
                      <a:pt x="3744" y="2094"/>
                    </a:lnTo>
                    <a:lnTo>
                      <a:pt x="3750" y="2088"/>
                    </a:lnTo>
                    <a:lnTo>
                      <a:pt x="3750" y="2082"/>
                    </a:lnTo>
                    <a:lnTo>
                      <a:pt x="3762" y="2082"/>
                    </a:lnTo>
                    <a:lnTo>
                      <a:pt x="3768" y="2088"/>
                    </a:lnTo>
                    <a:lnTo>
                      <a:pt x="3768" y="2100"/>
                    </a:lnTo>
                    <a:lnTo>
                      <a:pt x="3774" y="2106"/>
                    </a:lnTo>
                    <a:lnTo>
                      <a:pt x="3774" y="2112"/>
                    </a:lnTo>
                    <a:lnTo>
                      <a:pt x="3804" y="2112"/>
                    </a:lnTo>
                    <a:lnTo>
                      <a:pt x="3816" y="2118"/>
                    </a:lnTo>
                    <a:lnTo>
                      <a:pt x="3822" y="2130"/>
                    </a:lnTo>
                    <a:lnTo>
                      <a:pt x="3834" y="2136"/>
                    </a:lnTo>
                    <a:lnTo>
                      <a:pt x="3858" y="2136"/>
                    </a:lnTo>
                    <a:lnTo>
                      <a:pt x="3864" y="2124"/>
                    </a:lnTo>
                    <a:lnTo>
                      <a:pt x="3876" y="2118"/>
                    </a:lnTo>
                    <a:lnTo>
                      <a:pt x="3894" y="2112"/>
                    </a:lnTo>
                    <a:lnTo>
                      <a:pt x="3906" y="2106"/>
                    </a:lnTo>
                    <a:lnTo>
                      <a:pt x="3924" y="2106"/>
                    </a:lnTo>
                    <a:lnTo>
                      <a:pt x="3948" y="2118"/>
                    </a:lnTo>
                    <a:lnTo>
                      <a:pt x="3972" y="2142"/>
                    </a:lnTo>
                    <a:lnTo>
                      <a:pt x="3984" y="2148"/>
                    </a:lnTo>
                    <a:lnTo>
                      <a:pt x="3990" y="2160"/>
                    </a:lnTo>
                    <a:lnTo>
                      <a:pt x="4002" y="2160"/>
                    </a:lnTo>
                    <a:lnTo>
                      <a:pt x="4014" y="2166"/>
                    </a:lnTo>
                    <a:lnTo>
                      <a:pt x="4026" y="2166"/>
                    </a:lnTo>
                    <a:lnTo>
                      <a:pt x="4038" y="2172"/>
                    </a:lnTo>
                    <a:lnTo>
                      <a:pt x="4044" y="2172"/>
                    </a:lnTo>
                    <a:lnTo>
                      <a:pt x="4044" y="2178"/>
                    </a:lnTo>
                    <a:lnTo>
                      <a:pt x="4050" y="2190"/>
                    </a:lnTo>
                    <a:lnTo>
                      <a:pt x="4056" y="2196"/>
                    </a:lnTo>
                    <a:lnTo>
                      <a:pt x="4062" y="2208"/>
                    </a:lnTo>
                    <a:lnTo>
                      <a:pt x="4068" y="2214"/>
                    </a:lnTo>
                    <a:lnTo>
                      <a:pt x="4068" y="2220"/>
                    </a:lnTo>
                    <a:lnTo>
                      <a:pt x="4140" y="2226"/>
                    </a:lnTo>
                    <a:lnTo>
                      <a:pt x="4152" y="2190"/>
                    </a:lnTo>
                    <a:lnTo>
                      <a:pt x="4176" y="2214"/>
                    </a:lnTo>
                    <a:lnTo>
                      <a:pt x="4212" y="2256"/>
                    </a:lnTo>
                    <a:lnTo>
                      <a:pt x="4254" y="2256"/>
                    </a:lnTo>
                    <a:lnTo>
                      <a:pt x="4266" y="2244"/>
                    </a:lnTo>
                    <a:lnTo>
                      <a:pt x="4266" y="2226"/>
                    </a:lnTo>
                    <a:lnTo>
                      <a:pt x="4326" y="2226"/>
                    </a:lnTo>
                    <a:lnTo>
                      <a:pt x="4320" y="2214"/>
                    </a:lnTo>
                    <a:lnTo>
                      <a:pt x="4344" y="2214"/>
                    </a:lnTo>
                    <a:lnTo>
                      <a:pt x="4338" y="2208"/>
                    </a:lnTo>
                    <a:lnTo>
                      <a:pt x="4338" y="2202"/>
                    </a:lnTo>
                    <a:lnTo>
                      <a:pt x="4374" y="2166"/>
                    </a:lnTo>
                    <a:lnTo>
                      <a:pt x="4392" y="2166"/>
                    </a:lnTo>
                    <a:lnTo>
                      <a:pt x="4404" y="2148"/>
                    </a:lnTo>
                    <a:lnTo>
                      <a:pt x="4428" y="2148"/>
                    </a:lnTo>
                    <a:lnTo>
                      <a:pt x="4428" y="2142"/>
                    </a:lnTo>
                    <a:lnTo>
                      <a:pt x="4434" y="2136"/>
                    </a:lnTo>
                    <a:lnTo>
                      <a:pt x="4434" y="2130"/>
                    </a:lnTo>
                    <a:lnTo>
                      <a:pt x="4440" y="2124"/>
                    </a:lnTo>
                    <a:lnTo>
                      <a:pt x="4458" y="2124"/>
                    </a:lnTo>
                    <a:lnTo>
                      <a:pt x="4464" y="2130"/>
                    </a:lnTo>
                    <a:lnTo>
                      <a:pt x="4482" y="2124"/>
                    </a:lnTo>
                    <a:lnTo>
                      <a:pt x="4482" y="2130"/>
                    </a:lnTo>
                    <a:lnTo>
                      <a:pt x="4518" y="2130"/>
                    </a:lnTo>
                    <a:lnTo>
                      <a:pt x="4524" y="2148"/>
                    </a:lnTo>
                    <a:lnTo>
                      <a:pt x="4548" y="2148"/>
                    </a:lnTo>
                    <a:lnTo>
                      <a:pt x="4566" y="2142"/>
                    </a:lnTo>
                    <a:lnTo>
                      <a:pt x="4608" y="2142"/>
                    </a:lnTo>
                    <a:lnTo>
                      <a:pt x="4608" y="2148"/>
                    </a:lnTo>
                    <a:lnTo>
                      <a:pt x="4614" y="2154"/>
                    </a:lnTo>
                    <a:lnTo>
                      <a:pt x="4614" y="2166"/>
                    </a:lnTo>
                    <a:lnTo>
                      <a:pt x="4620" y="2172"/>
                    </a:lnTo>
                    <a:lnTo>
                      <a:pt x="4638" y="2178"/>
                    </a:lnTo>
                    <a:lnTo>
                      <a:pt x="4668" y="2178"/>
                    </a:lnTo>
                    <a:lnTo>
                      <a:pt x="4674" y="2190"/>
                    </a:lnTo>
                    <a:lnTo>
                      <a:pt x="4698" y="2184"/>
                    </a:lnTo>
                    <a:lnTo>
                      <a:pt x="4704" y="2196"/>
                    </a:lnTo>
                    <a:lnTo>
                      <a:pt x="4704" y="2190"/>
                    </a:lnTo>
                    <a:lnTo>
                      <a:pt x="4710" y="2184"/>
                    </a:lnTo>
                    <a:lnTo>
                      <a:pt x="4752" y="2184"/>
                    </a:lnTo>
                    <a:lnTo>
                      <a:pt x="4752" y="2196"/>
                    </a:lnTo>
                    <a:lnTo>
                      <a:pt x="4800" y="2190"/>
                    </a:lnTo>
                    <a:lnTo>
                      <a:pt x="4800" y="2202"/>
                    </a:lnTo>
                    <a:lnTo>
                      <a:pt x="4806" y="2208"/>
                    </a:lnTo>
                    <a:lnTo>
                      <a:pt x="4830" y="2196"/>
                    </a:lnTo>
                    <a:lnTo>
                      <a:pt x="4836" y="2190"/>
                    </a:lnTo>
                    <a:lnTo>
                      <a:pt x="4836" y="2184"/>
                    </a:lnTo>
                    <a:lnTo>
                      <a:pt x="4854" y="2184"/>
                    </a:lnTo>
                    <a:lnTo>
                      <a:pt x="4854" y="2160"/>
                    </a:lnTo>
                    <a:lnTo>
                      <a:pt x="4848" y="2148"/>
                    </a:lnTo>
                    <a:lnTo>
                      <a:pt x="4842" y="2142"/>
                    </a:lnTo>
                    <a:lnTo>
                      <a:pt x="4836" y="2142"/>
                    </a:lnTo>
                    <a:lnTo>
                      <a:pt x="4812" y="2106"/>
                    </a:lnTo>
                    <a:lnTo>
                      <a:pt x="4806" y="2088"/>
                    </a:lnTo>
                    <a:lnTo>
                      <a:pt x="4794" y="2076"/>
                    </a:lnTo>
                    <a:lnTo>
                      <a:pt x="4794" y="2064"/>
                    </a:lnTo>
                    <a:lnTo>
                      <a:pt x="4812" y="2064"/>
                    </a:lnTo>
                    <a:lnTo>
                      <a:pt x="4806" y="2052"/>
                    </a:lnTo>
                    <a:lnTo>
                      <a:pt x="4812" y="2052"/>
                    </a:lnTo>
                    <a:lnTo>
                      <a:pt x="4824" y="2046"/>
                    </a:lnTo>
                    <a:lnTo>
                      <a:pt x="4830" y="2034"/>
                    </a:lnTo>
                    <a:lnTo>
                      <a:pt x="4830" y="2016"/>
                    </a:lnTo>
                    <a:lnTo>
                      <a:pt x="4890" y="2046"/>
                    </a:lnTo>
                    <a:lnTo>
                      <a:pt x="4902" y="2046"/>
                    </a:lnTo>
                    <a:lnTo>
                      <a:pt x="4926" y="2052"/>
                    </a:lnTo>
                    <a:lnTo>
                      <a:pt x="4962" y="2052"/>
                    </a:lnTo>
                    <a:lnTo>
                      <a:pt x="4974" y="2058"/>
                    </a:lnTo>
                    <a:lnTo>
                      <a:pt x="4980" y="2064"/>
                    </a:lnTo>
                    <a:lnTo>
                      <a:pt x="5004" y="2076"/>
                    </a:lnTo>
                    <a:lnTo>
                      <a:pt x="5010" y="2076"/>
                    </a:lnTo>
                    <a:lnTo>
                      <a:pt x="5022" y="2070"/>
                    </a:lnTo>
                    <a:lnTo>
                      <a:pt x="5040" y="2070"/>
                    </a:lnTo>
                    <a:lnTo>
                      <a:pt x="5052" y="2076"/>
                    </a:lnTo>
                    <a:lnTo>
                      <a:pt x="5058" y="2082"/>
                    </a:lnTo>
                    <a:lnTo>
                      <a:pt x="5064" y="2094"/>
                    </a:lnTo>
                    <a:lnTo>
                      <a:pt x="5076" y="2106"/>
                    </a:lnTo>
                    <a:lnTo>
                      <a:pt x="5088" y="2130"/>
                    </a:lnTo>
                    <a:lnTo>
                      <a:pt x="5094" y="2136"/>
                    </a:lnTo>
                    <a:lnTo>
                      <a:pt x="5094" y="2142"/>
                    </a:lnTo>
                    <a:lnTo>
                      <a:pt x="5118" y="2136"/>
                    </a:lnTo>
                    <a:lnTo>
                      <a:pt x="5118" y="2142"/>
                    </a:lnTo>
                    <a:lnTo>
                      <a:pt x="5136" y="2160"/>
                    </a:lnTo>
                    <a:lnTo>
                      <a:pt x="5166" y="2160"/>
                    </a:lnTo>
                    <a:lnTo>
                      <a:pt x="5172" y="2166"/>
                    </a:lnTo>
                    <a:lnTo>
                      <a:pt x="5184" y="2166"/>
                    </a:lnTo>
                    <a:lnTo>
                      <a:pt x="5196" y="2172"/>
                    </a:lnTo>
                    <a:lnTo>
                      <a:pt x="5208" y="2172"/>
                    </a:lnTo>
                    <a:lnTo>
                      <a:pt x="5220" y="2166"/>
                    </a:lnTo>
                    <a:lnTo>
                      <a:pt x="5274" y="2148"/>
                    </a:lnTo>
                    <a:lnTo>
                      <a:pt x="5322" y="2148"/>
                    </a:lnTo>
                    <a:lnTo>
                      <a:pt x="5334" y="2154"/>
                    </a:lnTo>
                    <a:lnTo>
                      <a:pt x="5340" y="2154"/>
                    </a:lnTo>
                    <a:lnTo>
                      <a:pt x="5346" y="2160"/>
                    </a:lnTo>
                    <a:lnTo>
                      <a:pt x="5382" y="2160"/>
                    </a:lnTo>
                    <a:lnTo>
                      <a:pt x="5406" y="2184"/>
                    </a:lnTo>
                    <a:lnTo>
                      <a:pt x="5466" y="2184"/>
                    </a:lnTo>
                    <a:lnTo>
                      <a:pt x="5472" y="2190"/>
                    </a:lnTo>
                    <a:lnTo>
                      <a:pt x="5472" y="2196"/>
                    </a:lnTo>
                    <a:lnTo>
                      <a:pt x="5484" y="2208"/>
                    </a:lnTo>
                    <a:lnTo>
                      <a:pt x="5484" y="2214"/>
                    </a:lnTo>
                    <a:lnTo>
                      <a:pt x="5502" y="2214"/>
                    </a:lnTo>
                    <a:lnTo>
                      <a:pt x="5514" y="2220"/>
                    </a:lnTo>
                    <a:lnTo>
                      <a:pt x="5514" y="2232"/>
                    </a:lnTo>
                    <a:lnTo>
                      <a:pt x="5520" y="2238"/>
                    </a:lnTo>
                    <a:lnTo>
                      <a:pt x="5586" y="2238"/>
                    </a:lnTo>
                    <a:lnTo>
                      <a:pt x="5592" y="2244"/>
                    </a:lnTo>
                    <a:lnTo>
                      <a:pt x="5598" y="2244"/>
                    </a:lnTo>
                    <a:lnTo>
                      <a:pt x="5610" y="2250"/>
                    </a:lnTo>
                    <a:lnTo>
                      <a:pt x="5634" y="2250"/>
                    </a:lnTo>
                    <a:lnTo>
                      <a:pt x="5646" y="2244"/>
                    </a:lnTo>
                    <a:lnTo>
                      <a:pt x="5664" y="2244"/>
                    </a:lnTo>
                    <a:lnTo>
                      <a:pt x="5670" y="2250"/>
                    </a:lnTo>
                    <a:lnTo>
                      <a:pt x="5670" y="2256"/>
                    </a:lnTo>
                    <a:lnTo>
                      <a:pt x="5676" y="2256"/>
                    </a:lnTo>
                    <a:lnTo>
                      <a:pt x="5694" y="2238"/>
                    </a:lnTo>
                    <a:lnTo>
                      <a:pt x="5694" y="2232"/>
                    </a:lnTo>
                    <a:lnTo>
                      <a:pt x="5742" y="2232"/>
                    </a:lnTo>
                    <a:lnTo>
                      <a:pt x="5754" y="2220"/>
                    </a:lnTo>
                    <a:lnTo>
                      <a:pt x="5790" y="2220"/>
                    </a:lnTo>
                    <a:lnTo>
                      <a:pt x="5802" y="2208"/>
                    </a:lnTo>
                    <a:lnTo>
                      <a:pt x="5802" y="2196"/>
                    </a:lnTo>
                    <a:lnTo>
                      <a:pt x="5832" y="2166"/>
                    </a:lnTo>
                    <a:lnTo>
                      <a:pt x="5850" y="2166"/>
                    </a:lnTo>
                    <a:lnTo>
                      <a:pt x="5862" y="2172"/>
                    </a:lnTo>
                    <a:lnTo>
                      <a:pt x="5898" y="2172"/>
                    </a:lnTo>
                    <a:lnTo>
                      <a:pt x="5916" y="2190"/>
                    </a:lnTo>
                    <a:lnTo>
                      <a:pt x="5928" y="2196"/>
                    </a:lnTo>
                    <a:lnTo>
                      <a:pt x="5952" y="2196"/>
                    </a:lnTo>
                    <a:lnTo>
                      <a:pt x="5964" y="2190"/>
                    </a:lnTo>
                    <a:lnTo>
                      <a:pt x="5970" y="2184"/>
                    </a:lnTo>
                    <a:lnTo>
                      <a:pt x="5994" y="2190"/>
                    </a:lnTo>
                    <a:lnTo>
                      <a:pt x="6012" y="2190"/>
                    </a:lnTo>
                    <a:lnTo>
                      <a:pt x="6048" y="2214"/>
                    </a:lnTo>
                    <a:lnTo>
                      <a:pt x="6084" y="2214"/>
                    </a:lnTo>
                    <a:lnTo>
                      <a:pt x="6090" y="2220"/>
                    </a:lnTo>
                    <a:lnTo>
                      <a:pt x="6102" y="2220"/>
                    </a:lnTo>
                    <a:lnTo>
                      <a:pt x="6120" y="2202"/>
                    </a:lnTo>
                    <a:lnTo>
                      <a:pt x="6120" y="2190"/>
                    </a:lnTo>
                    <a:lnTo>
                      <a:pt x="6144" y="2190"/>
                    </a:lnTo>
                    <a:lnTo>
                      <a:pt x="6156" y="2184"/>
                    </a:lnTo>
                    <a:lnTo>
                      <a:pt x="6162" y="2178"/>
                    </a:lnTo>
                    <a:lnTo>
                      <a:pt x="6162" y="2166"/>
                    </a:lnTo>
                    <a:lnTo>
                      <a:pt x="6150" y="2166"/>
                    </a:lnTo>
                    <a:lnTo>
                      <a:pt x="6144" y="2160"/>
                    </a:lnTo>
                    <a:lnTo>
                      <a:pt x="6138" y="2118"/>
                    </a:lnTo>
                    <a:lnTo>
                      <a:pt x="6138" y="2046"/>
                    </a:lnTo>
                    <a:lnTo>
                      <a:pt x="6156" y="2028"/>
                    </a:lnTo>
                    <a:lnTo>
                      <a:pt x="6156" y="2016"/>
                    </a:lnTo>
                    <a:lnTo>
                      <a:pt x="6150" y="2010"/>
                    </a:lnTo>
                    <a:lnTo>
                      <a:pt x="6138" y="2004"/>
                    </a:lnTo>
                    <a:lnTo>
                      <a:pt x="6126" y="1992"/>
                    </a:lnTo>
                    <a:lnTo>
                      <a:pt x="6114" y="1992"/>
                    </a:lnTo>
                    <a:lnTo>
                      <a:pt x="6108" y="1986"/>
                    </a:lnTo>
                    <a:lnTo>
                      <a:pt x="6096" y="1986"/>
                    </a:lnTo>
                    <a:lnTo>
                      <a:pt x="6078" y="1980"/>
                    </a:lnTo>
                    <a:lnTo>
                      <a:pt x="6072" y="1980"/>
                    </a:lnTo>
                    <a:lnTo>
                      <a:pt x="6072" y="1968"/>
                    </a:lnTo>
                    <a:lnTo>
                      <a:pt x="6078" y="1968"/>
                    </a:lnTo>
                    <a:lnTo>
                      <a:pt x="6120" y="1926"/>
                    </a:lnTo>
                    <a:lnTo>
                      <a:pt x="6156" y="1920"/>
                    </a:lnTo>
                    <a:lnTo>
                      <a:pt x="6162" y="1908"/>
                    </a:lnTo>
                    <a:lnTo>
                      <a:pt x="6204" y="1914"/>
                    </a:lnTo>
                    <a:lnTo>
                      <a:pt x="6258" y="1902"/>
                    </a:lnTo>
                    <a:lnTo>
                      <a:pt x="6294" y="1920"/>
                    </a:lnTo>
                    <a:lnTo>
                      <a:pt x="6330" y="1944"/>
                    </a:lnTo>
                    <a:lnTo>
                      <a:pt x="6402" y="1944"/>
                    </a:lnTo>
                    <a:lnTo>
                      <a:pt x="6408" y="1950"/>
                    </a:lnTo>
                    <a:lnTo>
                      <a:pt x="6420" y="1956"/>
                    </a:lnTo>
                    <a:lnTo>
                      <a:pt x="6426" y="1962"/>
                    </a:lnTo>
                    <a:lnTo>
                      <a:pt x="6438" y="1968"/>
                    </a:lnTo>
                    <a:lnTo>
                      <a:pt x="6438" y="1980"/>
                    </a:lnTo>
                    <a:lnTo>
                      <a:pt x="6444" y="1980"/>
                    </a:lnTo>
                    <a:lnTo>
                      <a:pt x="6456" y="1992"/>
                    </a:lnTo>
                    <a:lnTo>
                      <a:pt x="6468" y="1998"/>
                    </a:lnTo>
                    <a:lnTo>
                      <a:pt x="6480" y="2010"/>
                    </a:lnTo>
                    <a:lnTo>
                      <a:pt x="6492" y="2010"/>
                    </a:lnTo>
                    <a:lnTo>
                      <a:pt x="6498" y="2016"/>
                    </a:lnTo>
                    <a:lnTo>
                      <a:pt x="6504" y="2016"/>
                    </a:lnTo>
                    <a:lnTo>
                      <a:pt x="6510" y="2046"/>
                    </a:lnTo>
                    <a:lnTo>
                      <a:pt x="6558" y="2070"/>
                    </a:lnTo>
                    <a:lnTo>
                      <a:pt x="6570" y="2100"/>
                    </a:lnTo>
                    <a:lnTo>
                      <a:pt x="6582" y="2100"/>
                    </a:lnTo>
                    <a:lnTo>
                      <a:pt x="6630" y="2124"/>
                    </a:lnTo>
                    <a:lnTo>
                      <a:pt x="6636" y="2136"/>
                    </a:lnTo>
                    <a:lnTo>
                      <a:pt x="6654" y="2154"/>
                    </a:lnTo>
                    <a:lnTo>
                      <a:pt x="6660" y="2166"/>
                    </a:lnTo>
                    <a:lnTo>
                      <a:pt x="6672" y="2166"/>
                    </a:lnTo>
                    <a:lnTo>
                      <a:pt x="6678" y="2190"/>
                    </a:lnTo>
                    <a:lnTo>
                      <a:pt x="6684" y="2190"/>
                    </a:lnTo>
                    <a:lnTo>
                      <a:pt x="6690" y="2196"/>
                    </a:lnTo>
                    <a:lnTo>
                      <a:pt x="6714" y="2208"/>
                    </a:lnTo>
                    <a:lnTo>
                      <a:pt x="6720" y="2214"/>
                    </a:lnTo>
                    <a:lnTo>
                      <a:pt x="6732" y="2220"/>
                    </a:lnTo>
                    <a:lnTo>
                      <a:pt x="6780" y="2220"/>
                    </a:lnTo>
                    <a:lnTo>
                      <a:pt x="6792" y="2226"/>
                    </a:lnTo>
                    <a:lnTo>
                      <a:pt x="6798" y="2232"/>
                    </a:lnTo>
                    <a:lnTo>
                      <a:pt x="6810" y="2238"/>
                    </a:lnTo>
                    <a:lnTo>
                      <a:pt x="6822" y="2226"/>
                    </a:lnTo>
                    <a:lnTo>
                      <a:pt x="6834" y="2226"/>
                    </a:lnTo>
                    <a:lnTo>
                      <a:pt x="6852" y="2244"/>
                    </a:lnTo>
                    <a:lnTo>
                      <a:pt x="6864" y="2250"/>
                    </a:lnTo>
                    <a:lnTo>
                      <a:pt x="6882" y="2268"/>
                    </a:lnTo>
                    <a:lnTo>
                      <a:pt x="6924" y="2268"/>
                    </a:lnTo>
                    <a:lnTo>
                      <a:pt x="6942" y="2298"/>
                    </a:lnTo>
                    <a:lnTo>
                      <a:pt x="6960" y="2298"/>
                    </a:lnTo>
                    <a:lnTo>
                      <a:pt x="6966" y="2304"/>
                    </a:lnTo>
                    <a:lnTo>
                      <a:pt x="6966" y="2310"/>
                    </a:lnTo>
                    <a:lnTo>
                      <a:pt x="6972" y="2322"/>
                    </a:lnTo>
                    <a:lnTo>
                      <a:pt x="6972" y="2334"/>
                    </a:lnTo>
                    <a:lnTo>
                      <a:pt x="7014" y="2364"/>
                    </a:lnTo>
                    <a:lnTo>
                      <a:pt x="7038" y="2358"/>
                    </a:lnTo>
                    <a:lnTo>
                      <a:pt x="7050" y="2370"/>
                    </a:lnTo>
                    <a:lnTo>
                      <a:pt x="7068" y="2370"/>
                    </a:lnTo>
                    <a:lnTo>
                      <a:pt x="7068" y="2358"/>
                    </a:lnTo>
                    <a:lnTo>
                      <a:pt x="7098" y="2364"/>
                    </a:lnTo>
                    <a:lnTo>
                      <a:pt x="7098" y="2346"/>
                    </a:lnTo>
                    <a:lnTo>
                      <a:pt x="7104" y="2340"/>
                    </a:lnTo>
                    <a:lnTo>
                      <a:pt x="7110" y="2340"/>
                    </a:lnTo>
                    <a:lnTo>
                      <a:pt x="7122" y="2334"/>
                    </a:lnTo>
                    <a:lnTo>
                      <a:pt x="7152" y="2334"/>
                    </a:lnTo>
                    <a:lnTo>
                      <a:pt x="7158" y="2310"/>
                    </a:lnTo>
                    <a:lnTo>
                      <a:pt x="7200" y="2310"/>
                    </a:lnTo>
                    <a:lnTo>
                      <a:pt x="7212" y="2316"/>
                    </a:lnTo>
                    <a:lnTo>
                      <a:pt x="7218" y="2328"/>
                    </a:lnTo>
                    <a:lnTo>
                      <a:pt x="7218" y="2346"/>
                    </a:lnTo>
                    <a:lnTo>
                      <a:pt x="7242" y="2358"/>
                    </a:lnTo>
                    <a:lnTo>
                      <a:pt x="7242" y="2388"/>
                    </a:lnTo>
                    <a:lnTo>
                      <a:pt x="7224" y="2394"/>
                    </a:lnTo>
                    <a:lnTo>
                      <a:pt x="7236" y="2412"/>
                    </a:lnTo>
                    <a:lnTo>
                      <a:pt x="7236" y="2430"/>
                    </a:lnTo>
                    <a:lnTo>
                      <a:pt x="7248" y="2442"/>
                    </a:lnTo>
                    <a:lnTo>
                      <a:pt x="7248" y="2466"/>
                    </a:lnTo>
                    <a:lnTo>
                      <a:pt x="7266" y="2472"/>
                    </a:lnTo>
                    <a:lnTo>
                      <a:pt x="7260" y="2502"/>
                    </a:lnTo>
                    <a:lnTo>
                      <a:pt x="7266" y="2526"/>
                    </a:lnTo>
                    <a:lnTo>
                      <a:pt x="7260" y="2532"/>
                    </a:lnTo>
                    <a:lnTo>
                      <a:pt x="7254" y="2532"/>
                    </a:lnTo>
                    <a:lnTo>
                      <a:pt x="7254" y="2550"/>
                    </a:lnTo>
                    <a:lnTo>
                      <a:pt x="7260" y="2562"/>
                    </a:lnTo>
                    <a:lnTo>
                      <a:pt x="7260" y="2574"/>
                    </a:lnTo>
                    <a:lnTo>
                      <a:pt x="7254" y="2580"/>
                    </a:lnTo>
                    <a:lnTo>
                      <a:pt x="7248" y="2580"/>
                    </a:lnTo>
                    <a:lnTo>
                      <a:pt x="7236" y="2574"/>
                    </a:lnTo>
                    <a:lnTo>
                      <a:pt x="7224" y="2574"/>
                    </a:lnTo>
                    <a:lnTo>
                      <a:pt x="7206" y="2568"/>
                    </a:lnTo>
                    <a:lnTo>
                      <a:pt x="7194" y="2562"/>
                    </a:lnTo>
                    <a:lnTo>
                      <a:pt x="7170" y="2562"/>
                    </a:lnTo>
                    <a:lnTo>
                      <a:pt x="7164" y="2568"/>
                    </a:lnTo>
                    <a:lnTo>
                      <a:pt x="7170" y="2574"/>
                    </a:lnTo>
                    <a:lnTo>
                      <a:pt x="7170" y="2586"/>
                    </a:lnTo>
                    <a:lnTo>
                      <a:pt x="7146" y="2586"/>
                    </a:lnTo>
                    <a:lnTo>
                      <a:pt x="7146" y="2598"/>
                    </a:lnTo>
                    <a:lnTo>
                      <a:pt x="7152" y="2610"/>
                    </a:lnTo>
                    <a:lnTo>
                      <a:pt x="7158" y="2610"/>
                    </a:lnTo>
                    <a:lnTo>
                      <a:pt x="7170" y="2622"/>
                    </a:lnTo>
                    <a:lnTo>
                      <a:pt x="7182" y="2628"/>
                    </a:lnTo>
                    <a:lnTo>
                      <a:pt x="7194" y="2646"/>
                    </a:lnTo>
                    <a:lnTo>
                      <a:pt x="7206" y="2658"/>
                    </a:lnTo>
                    <a:lnTo>
                      <a:pt x="7212" y="2676"/>
                    </a:lnTo>
                    <a:lnTo>
                      <a:pt x="7212" y="2688"/>
                    </a:lnTo>
                    <a:lnTo>
                      <a:pt x="7224" y="2700"/>
                    </a:lnTo>
                    <a:lnTo>
                      <a:pt x="7230" y="2712"/>
                    </a:lnTo>
                    <a:lnTo>
                      <a:pt x="7236" y="2748"/>
                    </a:lnTo>
                    <a:lnTo>
                      <a:pt x="7206" y="2742"/>
                    </a:lnTo>
                    <a:lnTo>
                      <a:pt x="7200" y="2766"/>
                    </a:lnTo>
                    <a:lnTo>
                      <a:pt x="7224" y="2778"/>
                    </a:lnTo>
                    <a:lnTo>
                      <a:pt x="7260" y="2778"/>
                    </a:lnTo>
                    <a:lnTo>
                      <a:pt x="7260" y="2718"/>
                    </a:lnTo>
                    <a:lnTo>
                      <a:pt x="7266" y="2712"/>
                    </a:lnTo>
                    <a:lnTo>
                      <a:pt x="7272" y="2712"/>
                    </a:lnTo>
                    <a:lnTo>
                      <a:pt x="7284" y="2718"/>
                    </a:lnTo>
                    <a:lnTo>
                      <a:pt x="7290" y="2724"/>
                    </a:lnTo>
                    <a:lnTo>
                      <a:pt x="7302" y="2712"/>
                    </a:lnTo>
                    <a:lnTo>
                      <a:pt x="7308" y="2724"/>
                    </a:lnTo>
                    <a:lnTo>
                      <a:pt x="7314" y="2730"/>
                    </a:lnTo>
                    <a:lnTo>
                      <a:pt x="7320" y="2742"/>
                    </a:lnTo>
                    <a:lnTo>
                      <a:pt x="7332" y="2754"/>
                    </a:lnTo>
                    <a:lnTo>
                      <a:pt x="7344" y="2754"/>
                    </a:lnTo>
                    <a:lnTo>
                      <a:pt x="7356" y="2748"/>
                    </a:lnTo>
                    <a:lnTo>
                      <a:pt x="7368" y="2748"/>
                    </a:lnTo>
                    <a:lnTo>
                      <a:pt x="7374" y="2742"/>
                    </a:lnTo>
                    <a:lnTo>
                      <a:pt x="7380" y="2742"/>
                    </a:lnTo>
                    <a:lnTo>
                      <a:pt x="7380" y="2760"/>
                    </a:lnTo>
                    <a:lnTo>
                      <a:pt x="7386" y="2760"/>
                    </a:lnTo>
                    <a:lnTo>
                      <a:pt x="7392" y="2754"/>
                    </a:lnTo>
                    <a:lnTo>
                      <a:pt x="7404" y="2748"/>
                    </a:lnTo>
                    <a:lnTo>
                      <a:pt x="7422" y="2742"/>
                    </a:lnTo>
                    <a:lnTo>
                      <a:pt x="7440" y="2730"/>
                    </a:lnTo>
                    <a:lnTo>
                      <a:pt x="7452" y="2724"/>
                    </a:lnTo>
                    <a:lnTo>
                      <a:pt x="7464" y="2700"/>
                    </a:lnTo>
                    <a:lnTo>
                      <a:pt x="7464" y="2682"/>
                    </a:lnTo>
                    <a:lnTo>
                      <a:pt x="7470" y="2664"/>
                    </a:lnTo>
                    <a:lnTo>
                      <a:pt x="7470" y="2628"/>
                    </a:lnTo>
                    <a:lnTo>
                      <a:pt x="7494" y="2622"/>
                    </a:lnTo>
                    <a:lnTo>
                      <a:pt x="7494" y="2562"/>
                    </a:lnTo>
                    <a:lnTo>
                      <a:pt x="7500" y="2550"/>
                    </a:lnTo>
                    <a:lnTo>
                      <a:pt x="7506" y="2544"/>
                    </a:lnTo>
                    <a:lnTo>
                      <a:pt x="7518" y="2520"/>
                    </a:lnTo>
                    <a:lnTo>
                      <a:pt x="7518" y="2490"/>
                    </a:lnTo>
                    <a:lnTo>
                      <a:pt x="7524" y="2472"/>
                    </a:lnTo>
                    <a:lnTo>
                      <a:pt x="7524" y="2454"/>
                    </a:lnTo>
                    <a:lnTo>
                      <a:pt x="7518" y="2442"/>
                    </a:lnTo>
                    <a:lnTo>
                      <a:pt x="7518" y="2424"/>
                    </a:lnTo>
                    <a:lnTo>
                      <a:pt x="7512" y="2418"/>
                    </a:lnTo>
                    <a:lnTo>
                      <a:pt x="7512" y="2412"/>
                    </a:lnTo>
                    <a:lnTo>
                      <a:pt x="7518" y="2400"/>
                    </a:lnTo>
                    <a:lnTo>
                      <a:pt x="7524" y="2394"/>
                    </a:lnTo>
                    <a:lnTo>
                      <a:pt x="7524" y="2382"/>
                    </a:lnTo>
                    <a:lnTo>
                      <a:pt x="7530" y="2376"/>
                    </a:lnTo>
                    <a:lnTo>
                      <a:pt x="7530" y="2364"/>
                    </a:lnTo>
                    <a:lnTo>
                      <a:pt x="7524" y="2358"/>
                    </a:lnTo>
                    <a:lnTo>
                      <a:pt x="7518" y="2346"/>
                    </a:lnTo>
                    <a:lnTo>
                      <a:pt x="7524" y="2334"/>
                    </a:lnTo>
                    <a:lnTo>
                      <a:pt x="7530" y="2328"/>
                    </a:lnTo>
                    <a:lnTo>
                      <a:pt x="7536" y="2316"/>
                    </a:lnTo>
                    <a:lnTo>
                      <a:pt x="7536" y="2298"/>
                    </a:lnTo>
                    <a:lnTo>
                      <a:pt x="7530" y="2292"/>
                    </a:lnTo>
                    <a:lnTo>
                      <a:pt x="7530" y="2280"/>
                    </a:lnTo>
                    <a:lnTo>
                      <a:pt x="7518" y="2256"/>
                    </a:lnTo>
                    <a:lnTo>
                      <a:pt x="7512" y="2250"/>
                    </a:lnTo>
                    <a:lnTo>
                      <a:pt x="7512" y="2238"/>
                    </a:lnTo>
                    <a:lnTo>
                      <a:pt x="7506" y="2232"/>
                    </a:lnTo>
                    <a:lnTo>
                      <a:pt x="7506" y="2220"/>
                    </a:lnTo>
                    <a:lnTo>
                      <a:pt x="7500" y="2214"/>
                    </a:lnTo>
                    <a:lnTo>
                      <a:pt x="7500" y="2202"/>
                    </a:lnTo>
                    <a:lnTo>
                      <a:pt x="7494" y="2196"/>
                    </a:lnTo>
                    <a:lnTo>
                      <a:pt x="7482" y="2190"/>
                    </a:lnTo>
                    <a:lnTo>
                      <a:pt x="7476" y="2184"/>
                    </a:lnTo>
                    <a:lnTo>
                      <a:pt x="7482" y="2178"/>
                    </a:lnTo>
                    <a:lnTo>
                      <a:pt x="7476" y="2178"/>
                    </a:lnTo>
                    <a:lnTo>
                      <a:pt x="7470" y="2172"/>
                    </a:lnTo>
                    <a:lnTo>
                      <a:pt x="7458" y="2166"/>
                    </a:lnTo>
                    <a:lnTo>
                      <a:pt x="7446" y="2154"/>
                    </a:lnTo>
                    <a:lnTo>
                      <a:pt x="7440" y="2142"/>
                    </a:lnTo>
                    <a:lnTo>
                      <a:pt x="7434" y="2124"/>
                    </a:lnTo>
                    <a:lnTo>
                      <a:pt x="7434" y="2112"/>
                    </a:lnTo>
                    <a:lnTo>
                      <a:pt x="7428" y="2106"/>
                    </a:lnTo>
                    <a:lnTo>
                      <a:pt x="7428" y="2100"/>
                    </a:lnTo>
                    <a:lnTo>
                      <a:pt x="7416" y="2094"/>
                    </a:lnTo>
                    <a:lnTo>
                      <a:pt x="7416" y="2082"/>
                    </a:lnTo>
                    <a:lnTo>
                      <a:pt x="7422" y="2070"/>
                    </a:lnTo>
                    <a:lnTo>
                      <a:pt x="7422" y="2040"/>
                    </a:lnTo>
                    <a:lnTo>
                      <a:pt x="7410" y="2028"/>
                    </a:lnTo>
                    <a:lnTo>
                      <a:pt x="7404" y="2016"/>
                    </a:lnTo>
                    <a:lnTo>
                      <a:pt x="7398" y="2010"/>
                    </a:lnTo>
                    <a:lnTo>
                      <a:pt x="7380" y="2004"/>
                    </a:lnTo>
                    <a:lnTo>
                      <a:pt x="7380" y="1998"/>
                    </a:lnTo>
                    <a:lnTo>
                      <a:pt x="7374" y="1992"/>
                    </a:lnTo>
                    <a:lnTo>
                      <a:pt x="7368" y="1980"/>
                    </a:lnTo>
                    <a:lnTo>
                      <a:pt x="7356" y="1968"/>
                    </a:lnTo>
                    <a:lnTo>
                      <a:pt x="7344" y="1968"/>
                    </a:lnTo>
                    <a:lnTo>
                      <a:pt x="7332" y="1956"/>
                    </a:lnTo>
                    <a:lnTo>
                      <a:pt x="7326" y="1956"/>
                    </a:lnTo>
                    <a:lnTo>
                      <a:pt x="7308" y="1950"/>
                    </a:lnTo>
                    <a:lnTo>
                      <a:pt x="7302" y="1938"/>
                    </a:lnTo>
                    <a:lnTo>
                      <a:pt x="7308" y="1938"/>
                    </a:lnTo>
                    <a:lnTo>
                      <a:pt x="7314" y="1944"/>
                    </a:lnTo>
                    <a:lnTo>
                      <a:pt x="7326" y="1944"/>
                    </a:lnTo>
                    <a:lnTo>
                      <a:pt x="7332" y="1950"/>
                    </a:lnTo>
                    <a:lnTo>
                      <a:pt x="7344" y="1950"/>
                    </a:lnTo>
                    <a:lnTo>
                      <a:pt x="7350" y="1944"/>
                    </a:lnTo>
                    <a:lnTo>
                      <a:pt x="7350" y="1938"/>
                    </a:lnTo>
                    <a:lnTo>
                      <a:pt x="7344" y="1938"/>
                    </a:lnTo>
                    <a:lnTo>
                      <a:pt x="7332" y="1932"/>
                    </a:lnTo>
                    <a:lnTo>
                      <a:pt x="7326" y="1926"/>
                    </a:lnTo>
                    <a:lnTo>
                      <a:pt x="7320" y="1926"/>
                    </a:lnTo>
                    <a:lnTo>
                      <a:pt x="7242" y="1890"/>
                    </a:lnTo>
                    <a:lnTo>
                      <a:pt x="7236" y="1890"/>
                    </a:lnTo>
                    <a:lnTo>
                      <a:pt x="7230" y="1884"/>
                    </a:lnTo>
                    <a:lnTo>
                      <a:pt x="7218" y="1878"/>
                    </a:lnTo>
                    <a:lnTo>
                      <a:pt x="7206" y="1866"/>
                    </a:lnTo>
                    <a:lnTo>
                      <a:pt x="7194" y="1860"/>
                    </a:lnTo>
                    <a:lnTo>
                      <a:pt x="7188" y="1854"/>
                    </a:lnTo>
                    <a:lnTo>
                      <a:pt x="7170" y="1854"/>
                    </a:lnTo>
                    <a:lnTo>
                      <a:pt x="7164" y="1860"/>
                    </a:lnTo>
                    <a:lnTo>
                      <a:pt x="7152" y="1866"/>
                    </a:lnTo>
                    <a:lnTo>
                      <a:pt x="7116" y="1854"/>
                    </a:lnTo>
                    <a:lnTo>
                      <a:pt x="7152" y="1896"/>
                    </a:lnTo>
                    <a:lnTo>
                      <a:pt x="7146" y="1920"/>
                    </a:lnTo>
                    <a:lnTo>
                      <a:pt x="7134" y="1920"/>
                    </a:lnTo>
                    <a:lnTo>
                      <a:pt x="7134" y="1890"/>
                    </a:lnTo>
                    <a:lnTo>
                      <a:pt x="7116" y="1878"/>
                    </a:lnTo>
                    <a:lnTo>
                      <a:pt x="7116" y="1908"/>
                    </a:lnTo>
                    <a:lnTo>
                      <a:pt x="7068" y="1908"/>
                    </a:lnTo>
                    <a:lnTo>
                      <a:pt x="7074" y="1902"/>
                    </a:lnTo>
                    <a:lnTo>
                      <a:pt x="7074" y="1884"/>
                    </a:lnTo>
                    <a:lnTo>
                      <a:pt x="7068" y="1878"/>
                    </a:lnTo>
                    <a:lnTo>
                      <a:pt x="7044" y="1878"/>
                    </a:lnTo>
                    <a:lnTo>
                      <a:pt x="7038" y="1890"/>
                    </a:lnTo>
                    <a:lnTo>
                      <a:pt x="7014" y="1890"/>
                    </a:lnTo>
                    <a:lnTo>
                      <a:pt x="7002" y="1854"/>
                    </a:lnTo>
                    <a:lnTo>
                      <a:pt x="6996" y="1854"/>
                    </a:lnTo>
                    <a:lnTo>
                      <a:pt x="6984" y="1830"/>
                    </a:lnTo>
                    <a:lnTo>
                      <a:pt x="6912" y="1836"/>
                    </a:lnTo>
                    <a:lnTo>
                      <a:pt x="6906" y="1824"/>
                    </a:lnTo>
                    <a:lnTo>
                      <a:pt x="6882" y="1824"/>
                    </a:lnTo>
                    <a:lnTo>
                      <a:pt x="6870" y="1818"/>
                    </a:lnTo>
                    <a:lnTo>
                      <a:pt x="6864" y="1812"/>
                    </a:lnTo>
                    <a:lnTo>
                      <a:pt x="6864" y="1794"/>
                    </a:lnTo>
                    <a:lnTo>
                      <a:pt x="6876" y="1788"/>
                    </a:lnTo>
                    <a:lnTo>
                      <a:pt x="6888" y="1776"/>
                    </a:lnTo>
                    <a:lnTo>
                      <a:pt x="6900" y="1776"/>
                    </a:lnTo>
                    <a:lnTo>
                      <a:pt x="6900" y="1752"/>
                    </a:lnTo>
                    <a:lnTo>
                      <a:pt x="6906" y="1752"/>
                    </a:lnTo>
                    <a:lnTo>
                      <a:pt x="6918" y="1746"/>
                    </a:lnTo>
                    <a:lnTo>
                      <a:pt x="6930" y="1734"/>
                    </a:lnTo>
                    <a:lnTo>
                      <a:pt x="6930" y="1728"/>
                    </a:lnTo>
                    <a:lnTo>
                      <a:pt x="6936" y="1716"/>
                    </a:lnTo>
                    <a:lnTo>
                      <a:pt x="6936" y="1710"/>
                    </a:lnTo>
                    <a:lnTo>
                      <a:pt x="6942" y="1698"/>
                    </a:lnTo>
                    <a:lnTo>
                      <a:pt x="6930" y="1686"/>
                    </a:lnTo>
                    <a:lnTo>
                      <a:pt x="6942" y="1662"/>
                    </a:lnTo>
                    <a:lnTo>
                      <a:pt x="6930" y="1650"/>
                    </a:lnTo>
                    <a:lnTo>
                      <a:pt x="6948" y="1632"/>
                    </a:lnTo>
                    <a:lnTo>
                      <a:pt x="6972" y="1626"/>
                    </a:lnTo>
                    <a:lnTo>
                      <a:pt x="6960" y="1596"/>
                    </a:lnTo>
                    <a:lnTo>
                      <a:pt x="6984" y="1590"/>
                    </a:lnTo>
                    <a:lnTo>
                      <a:pt x="6960" y="1554"/>
                    </a:lnTo>
                    <a:lnTo>
                      <a:pt x="6990" y="1542"/>
                    </a:lnTo>
                    <a:lnTo>
                      <a:pt x="6990" y="1500"/>
                    </a:lnTo>
                    <a:lnTo>
                      <a:pt x="6996" y="1488"/>
                    </a:lnTo>
                    <a:lnTo>
                      <a:pt x="7002" y="1482"/>
                    </a:lnTo>
                    <a:lnTo>
                      <a:pt x="7020" y="1470"/>
                    </a:lnTo>
                    <a:lnTo>
                      <a:pt x="7032" y="1464"/>
                    </a:lnTo>
                    <a:lnTo>
                      <a:pt x="7050" y="1464"/>
                    </a:lnTo>
                    <a:lnTo>
                      <a:pt x="7068" y="1470"/>
                    </a:lnTo>
                    <a:lnTo>
                      <a:pt x="7188" y="1470"/>
                    </a:lnTo>
                    <a:lnTo>
                      <a:pt x="7206" y="1488"/>
                    </a:lnTo>
                    <a:lnTo>
                      <a:pt x="7224" y="1482"/>
                    </a:lnTo>
                    <a:lnTo>
                      <a:pt x="7218" y="1464"/>
                    </a:lnTo>
                    <a:lnTo>
                      <a:pt x="7290" y="1482"/>
                    </a:lnTo>
                    <a:lnTo>
                      <a:pt x="7320" y="1464"/>
                    </a:lnTo>
                    <a:lnTo>
                      <a:pt x="7350" y="1488"/>
                    </a:lnTo>
                    <a:lnTo>
                      <a:pt x="7356" y="1452"/>
                    </a:lnTo>
                    <a:lnTo>
                      <a:pt x="7434" y="1452"/>
                    </a:lnTo>
                    <a:lnTo>
                      <a:pt x="7446" y="1458"/>
                    </a:lnTo>
                    <a:lnTo>
                      <a:pt x="7452" y="1470"/>
                    </a:lnTo>
                    <a:lnTo>
                      <a:pt x="7458" y="1470"/>
                    </a:lnTo>
                    <a:lnTo>
                      <a:pt x="7464" y="1464"/>
                    </a:lnTo>
                    <a:lnTo>
                      <a:pt x="7476" y="1464"/>
                    </a:lnTo>
                    <a:lnTo>
                      <a:pt x="7482" y="1458"/>
                    </a:lnTo>
                    <a:lnTo>
                      <a:pt x="7494" y="1452"/>
                    </a:lnTo>
                    <a:lnTo>
                      <a:pt x="7518" y="1470"/>
                    </a:lnTo>
                    <a:lnTo>
                      <a:pt x="7560" y="1476"/>
                    </a:lnTo>
                    <a:lnTo>
                      <a:pt x="7506" y="1488"/>
                    </a:lnTo>
                    <a:lnTo>
                      <a:pt x="7506" y="1494"/>
                    </a:lnTo>
                    <a:lnTo>
                      <a:pt x="7512" y="1500"/>
                    </a:lnTo>
                    <a:lnTo>
                      <a:pt x="7524" y="1506"/>
                    </a:lnTo>
                    <a:lnTo>
                      <a:pt x="7530" y="1512"/>
                    </a:lnTo>
                    <a:lnTo>
                      <a:pt x="7542" y="1512"/>
                    </a:lnTo>
                    <a:lnTo>
                      <a:pt x="7548" y="1506"/>
                    </a:lnTo>
                    <a:lnTo>
                      <a:pt x="7560" y="1506"/>
                    </a:lnTo>
                    <a:lnTo>
                      <a:pt x="7572" y="1500"/>
                    </a:lnTo>
                    <a:lnTo>
                      <a:pt x="7578" y="1494"/>
                    </a:lnTo>
                    <a:lnTo>
                      <a:pt x="7584" y="1494"/>
                    </a:lnTo>
                    <a:lnTo>
                      <a:pt x="7614" y="1506"/>
                    </a:lnTo>
                    <a:lnTo>
                      <a:pt x="7638" y="1488"/>
                    </a:lnTo>
                    <a:lnTo>
                      <a:pt x="7644" y="1488"/>
                    </a:lnTo>
                    <a:lnTo>
                      <a:pt x="7650" y="1494"/>
                    </a:lnTo>
                    <a:lnTo>
                      <a:pt x="7686" y="1494"/>
                    </a:lnTo>
                    <a:lnTo>
                      <a:pt x="7692" y="1488"/>
                    </a:lnTo>
                    <a:lnTo>
                      <a:pt x="7692" y="1476"/>
                    </a:lnTo>
                    <a:lnTo>
                      <a:pt x="7728" y="1482"/>
                    </a:lnTo>
                    <a:lnTo>
                      <a:pt x="7680" y="1452"/>
                    </a:lnTo>
                    <a:lnTo>
                      <a:pt x="7650" y="1464"/>
                    </a:lnTo>
                    <a:lnTo>
                      <a:pt x="7644" y="1446"/>
                    </a:lnTo>
                    <a:lnTo>
                      <a:pt x="7638" y="1434"/>
                    </a:lnTo>
                    <a:lnTo>
                      <a:pt x="7632" y="1428"/>
                    </a:lnTo>
                    <a:lnTo>
                      <a:pt x="7626" y="1416"/>
                    </a:lnTo>
                    <a:lnTo>
                      <a:pt x="7626" y="1398"/>
                    </a:lnTo>
                    <a:lnTo>
                      <a:pt x="7650" y="1374"/>
                    </a:lnTo>
                    <a:lnTo>
                      <a:pt x="7644" y="1344"/>
                    </a:lnTo>
                    <a:lnTo>
                      <a:pt x="7662" y="1332"/>
                    </a:lnTo>
                    <a:lnTo>
                      <a:pt x="7650" y="1326"/>
                    </a:lnTo>
                    <a:lnTo>
                      <a:pt x="7638" y="1314"/>
                    </a:lnTo>
                    <a:lnTo>
                      <a:pt x="7638" y="1302"/>
                    </a:lnTo>
                    <a:lnTo>
                      <a:pt x="7644" y="1296"/>
                    </a:lnTo>
                    <a:lnTo>
                      <a:pt x="7662" y="1290"/>
                    </a:lnTo>
                    <a:lnTo>
                      <a:pt x="7698" y="1290"/>
                    </a:lnTo>
                    <a:lnTo>
                      <a:pt x="7710" y="1296"/>
                    </a:lnTo>
                    <a:lnTo>
                      <a:pt x="7728" y="1296"/>
                    </a:lnTo>
                    <a:lnTo>
                      <a:pt x="7746" y="1278"/>
                    </a:lnTo>
                    <a:lnTo>
                      <a:pt x="7782" y="1308"/>
                    </a:lnTo>
                    <a:lnTo>
                      <a:pt x="7806" y="1290"/>
                    </a:lnTo>
                    <a:lnTo>
                      <a:pt x="7812" y="1302"/>
                    </a:lnTo>
                    <a:lnTo>
                      <a:pt x="7818" y="1308"/>
                    </a:lnTo>
                    <a:lnTo>
                      <a:pt x="7830" y="1332"/>
                    </a:lnTo>
                    <a:lnTo>
                      <a:pt x="7830" y="1338"/>
                    </a:lnTo>
                    <a:lnTo>
                      <a:pt x="7836" y="1344"/>
                    </a:lnTo>
                    <a:lnTo>
                      <a:pt x="7878" y="1344"/>
                    </a:lnTo>
                    <a:lnTo>
                      <a:pt x="7878" y="1362"/>
                    </a:lnTo>
                    <a:lnTo>
                      <a:pt x="7884" y="1374"/>
                    </a:lnTo>
                    <a:lnTo>
                      <a:pt x="7890" y="1380"/>
                    </a:lnTo>
                    <a:lnTo>
                      <a:pt x="7896" y="1380"/>
                    </a:lnTo>
                    <a:lnTo>
                      <a:pt x="7914" y="1362"/>
                    </a:lnTo>
                    <a:lnTo>
                      <a:pt x="7932" y="1326"/>
                    </a:lnTo>
                    <a:lnTo>
                      <a:pt x="7938" y="1320"/>
                    </a:lnTo>
                    <a:lnTo>
                      <a:pt x="7938" y="1314"/>
                    </a:lnTo>
                    <a:lnTo>
                      <a:pt x="7962" y="1302"/>
                    </a:lnTo>
                    <a:lnTo>
                      <a:pt x="7992" y="1314"/>
                    </a:lnTo>
                    <a:lnTo>
                      <a:pt x="7986" y="1302"/>
                    </a:lnTo>
                    <a:lnTo>
                      <a:pt x="7962" y="1284"/>
                    </a:lnTo>
                    <a:lnTo>
                      <a:pt x="7956" y="1278"/>
                    </a:lnTo>
                    <a:lnTo>
                      <a:pt x="7932" y="1266"/>
                    </a:lnTo>
                    <a:lnTo>
                      <a:pt x="7926" y="1254"/>
                    </a:lnTo>
                    <a:lnTo>
                      <a:pt x="7914" y="1248"/>
                    </a:lnTo>
                    <a:lnTo>
                      <a:pt x="7908" y="1242"/>
                    </a:lnTo>
                    <a:lnTo>
                      <a:pt x="7908" y="1230"/>
                    </a:lnTo>
                    <a:lnTo>
                      <a:pt x="7962" y="1230"/>
                    </a:lnTo>
                    <a:lnTo>
                      <a:pt x="7992" y="1236"/>
                    </a:lnTo>
                    <a:lnTo>
                      <a:pt x="8052" y="1236"/>
                    </a:lnTo>
                    <a:lnTo>
                      <a:pt x="8052" y="1254"/>
                    </a:lnTo>
                    <a:lnTo>
                      <a:pt x="8040" y="1254"/>
                    </a:lnTo>
                    <a:lnTo>
                      <a:pt x="8028" y="1248"/>
                    </a:lnTo>
                    <a:lnTo>
                      <a:pt x="7992" y="1248"/>
                    </a:lnTo>
                    <a:lnTo>
                      <a:pt x="7992" y="1266"/>
                    </a:lnTo>
                    <a:lnTo>
                      <a:pt x="8016" y="1290"/>
                    </a:lnTo>
                    <a:lnTo>
                      <a:pt x="8028" y="1296"/>
                    </a:lnTo>
                    <a:lnTo>
                      <a:pt x="8034" y="1320"/>
                    </a:lnTo>
                    <a:lnTo>
                      <a:pt x="8064" y="1326"/>
                    </a:lnTo>
                    <a:lnTo>
                      <a:pt x="8058" y="1344"/>
                    </a:lnTo>
                    <a:lnTo>
                      <a:pt x="8076" y="1362"/>
                    </a:lnTo>
                    <a:lnTo>
                      <a:pt x="8046" y="1368"/>
                    </a:lnTo>
                    <a:lnTo>
                      <a:pt x="8040" y="1380"/>
                    </a:lnTo>
                    <a:lnTo>
                      <a:pt x="8022" y="1386"/>
                    </a:lnTo>
                    <a:lnTo>
                      <a:pt x="8028" y="1398"/>
                    </a:lnTo>
                    <a:lnTo>
                      <a:pt x="8028" y="1404"/>
                    </a:lnTo>
                    <a:lnTo>
                      <a:pt x="8034" y="1416"/>
                    </a:lnTo>
                    <a:lnTo>
                      <a:pt x="8034" y="1440"/>
                    </a:lnTo>
                    <a:lnTo>
                      <a:pt x="8028" y="1452"/>
                    </a:lnTo>
                    <a:lnTo>
                      <a:pt x="8016" y="1464"/>
                    </a:lnTo>
                    <a:lnTo>
                      <a:pt x="8004" y="1488"/>
                    </a:lnTo>
                    <a:lnTo>
                      <a:pt x="8004" y="1506"/>
                    </a:lnTo>
                    <a:lnTo>
                      <a:pt x="8010" y="1506"/>
                    </a:lnTo>
                    <a:lnTo>
                      <a:pt x="8016" y="1512"/>
                    </a:lnTo>
                    <a:lnTo>
                      <a:pt x="8022" y="1524"/>
                    </a:lnTo>
                    <a:lnTo>
                      <a:pt x="8016" y="1530"/>
                    </a:lnTo>
                    <a:lnTo>
                      <a:pt x="8010" y="1542"/>
                    </a:lnTo>
                    <a:lnTo>
                      <a:pt x="7986" y="1566"/>
                    </a:lnTo>
                    <a:lnTo>
                      <a:pt x="7974" y="1572"/>
                    </a:lnTo>
                    <a:lnTo>
                      <a:pt x="7968" y="1578"/>
                    </a:lnTo>
                    <a:lnTo>
                      <a:pt x="7962" y="1578"/>
                    </a:lnTo>
                    <a:lnTo>
                      <a:pt x="7962" y="1596"/>
                    </a:lnTo>
                    <a:lnTo>
                      <a:pt x="7944" y="1596"/>
                    </a:lnTo>
                    <a:lnTo>
                      <a:pt x="7950" y="1596"/>
                    </a:lnTo>
                    <a:lnTo>
                      <a:pt x="7956" y="1602"/>
                    </a:lnTo>
                    <a:lnTo>
                      <a:pt x="7968" y="1608"/>
                    </a:lnTo>
                    <a:lnTo>
                      <a:pt x="7980" y="1632"/>
                    </a:lnTo>
                    <a:lnTo>
                      <a:pt x="7974" y="1650"/>
                    </a:lnTo>
                    <a:lnTo>
                      <a:pt x="7974" y="1662"/>
                    </a:lnTo>
                    <a:lnTo>
                      <a:pt x="7968" y="1674"/>
                    </a:lnTo>
                    <a:lnTo>
                      <a:pt x="7968" y="1686"/>
                    </a:lnTo>
                    <a:lnTo>
                      <a:pt x="7974" y="1704"/>
                    </a:lnTo>
                    <a:lnTo>
                      <a:pt x="7992" y="1722"/>
                    </a:lnTo>
                    <a:lnTo>
                      <a:pt x="8016" y="1752"/>
                    </a:lnTo>
                    <a:lnTo>
                      <a:pt x="8046" y="1776"/>
                    </a:lnTo>
                    <a:lnTo>
                      <a:pt x="8070" y="1800"/>
                    </a:lnTo>
                    <a:lnTo>
                      <a:pt x="8082" y="1806"/>
                    </a:lnTo>
                    <a:lnTo>
                      <a:pt x="8142" y="1872"/>
                    </a:lnTo>
                    <a:lnTo>
                      <a:pt x="8154" y="1866"/>
                    </a:lnTo>
                    <a:lnTo>
                      <a:pt x="8238" y="1962"/>
                    </a:lnTo>
                    <a:lnTo>
                      <a:pt x="8286" y="1980"/>
                    </a:lnTo>
                    <a:lnTo>
                      <a:pt x="8310" y="2004"/>
                    </a:lnTo>
                    <a:lnTo>
                      <a:pt x="8316" y="2016"/>
                    </a:lnTo>
                    <a:lnTo>
                      <a:pt x="8328" y="2022"/>
                    </a:lnTo>
                    <a:lnTo>
                      <a:pt x="8334" y="2034"/>
                    </a:lnTo>
                    <a:lnTo>
                      <a:pt x="8388" y="2088"/>
                    </a:lnTo>
                    <a:lnTo>
                      <a:pt x="8406" y="2088"/>
                    </a:lnTo>
                    <a:lnTo>
                      <a:pt x="8406" y="2106"/>
                    </a:lnTo>
                    <a:lnTo>
                      <a:pt x="8418" y="2106"/>
                    </a:lnTo>
                    <a:lnTo>
                      <a:pt x="8430" y="2100"/>
                    </a:lnTo>
                    <a:lnTo>
                      <a:pt x="8436" y="2094"/>
                    </a:lnTo>
                    <a:lnTo>
                      <a:pt x="8442" y="2082"/>
                    </a:lnTo>
                    <a:lnTo>
                      <a:pt x="8442" y="2076"/>
                    </a:lnTo>
                    <a:lnTo>
                      <a:pt x="8430" y="2064"/>
                    </a:lnTo>
                    <a:lnTo>
                      <a:pt x="8436" y="2058"/>
                    </a:lnTo>
                    <a:lnTo>
                      <a:pt x="8442" y="2046"/>
                    </a:lnTo>
                    <a:lnTo>
                      <a:pt x="8448" y="2040"/>
                    </a:lnTo>
                    <a:lnTo>
                      <a:pt x="8448" y="2022"/>
                    </a:lnTo>
                    <a:lnTo>
                      <a:pt x="8430" y="2004"/>
                    </a:lnTo>
                    <a:lnTo>
                      <a:pt x="8418" y="1998"/>
                    </a:lnTo>
                    <a:lnTo>
                      <a:pt x="8406" y="1974"/>
                    </a:lnTo>
                    <a:lnTo>
                      <a:pt x="8406" y="1962"/>
                    </a:lnTo>
                    <a:lnTo>
                      <a:pt x="8412" y="1950"/>
                    </a:lnTo>
                    <a:lnTo>
                      <a:pt x="8430" y="1932"/>
                    </a:lnTo>
                    <a:lnTo>
                      <a:pt x="8442" y="1932"/>
                    </a:lnTo>
                    <a:lnTo>
                      <a:pt x="8454" y="1938"/>
                    </a:lnTo>
                    <a:lnTo>
                      <a:pt x="8460" y="1938"/>
                    </a:lnTo>
                    <a:lnTo>
                      <a:pt x="8466" y="1944"/>
                    </a:lnTo>
                    <a:lnTo>
                      <a:pt x="8472" y="1944"/>
                    </a:lnTo>
                    <a:lnTo>
                      <a:pt x="8466" y="1938"/>
                    </a:lnTo>
                    <a:lnTo>
                      <a:pt x="8460" y="1926"/>
                    </a:lnTo>
                    <a:lnTo>
                      <a:pt x="8448" y="1920"/>
                    </a:lnTo>
                    <a:lnTo>
                      <a:pt x="8442" y="1908"/>
                    </a:lnTo>
                    <a:lnTo>
                      <a:pt x="8424" y="1890"/>
                    </a:lnTo>
                    <a:lnTo>
                      <a:pt x="8412" y="1890"/>
                    </a:lnTo>
                    <a:lnTo>
                      <a:pt x="8406" y="1884"/>
                    </a:lnTo>
                    <a:lnTo>
                      <a:pt x="8400" y="1872"/>
                    </a:lnTo>
                    <a:lnTo>
                      <a:pt x="8400" y="1860"/>
                    </a:lnTo>
                    <a:lnTo>
                      <a:pt x="8406" y="1848"/>
                    </a:lnTo>
                    <a:lnTo>
                      <a:pt x="8412" y="1842"/>
                    </a:lnTo>
                    <a:lnTo>
                      <a:pt x="8424" y="1836"/>
                    </a:lnTo>
                    <a:lnTo>
                      <a:pt x="8430" y="1830"/>
                    </a:lnTo>
                    <a:lnTo>
                      <a:pt x="8442" y="1836"/>
                    </a:lnTo>
                    <a:lnTo>
                      <a:pt x="8466" y="1836"/>
                    </a:lnTo>
                    <a:lnTo>
                      <a:pt x="8472" y="1830"/>
                    </a:lnTo>
                    <a:lnTo>
                      <a:pt x="8472" y="1812"/>
                    </a:lnTo>
                    <a:lnTo>
                      <a:pt x="8454" y="1794"/>
                    </a:lnTo>
                    <a:lnTo>
                      <a:pt x="8436" y="1788"/>
                    </a:lnTo>
                    <a:lnTo>
                      <a:pt x="8424" y="1782"/>
                    </a:lnTo>
                    <a:lnTo>
                      <a:pt x="8406" y="1770"/>
                    </a:lnTo>
                    <a:lnTo>
                      <a:pt x="8394" y="1758"/>
                    </a:lnTo>
                    <a:lnTo>
                      <a:pt x="8388" y="1740"/>
                    </a:lnTo>
                    <a:lnTo>
                      <a:pt x="8376" y="1716"/>
                    </a:lnTo>
                    <a:lnTo>
                      <a:pt x="8376" y="1704"/>
                    </a:lnTo>
                    <a:lnTo>
                      <a:pt x="8370" y="1698"/>
                    </a:lnTo>
                    <a:lnTo>
                      <a:pt x="8370" y="1692"/>
                    </a:lnTo>
                    <a:lnTo>
                      <a:pt x="8382" y="1686"/>
                    </a:lnTo>
                    <a:lnTo>
                      <a:pt x="8406" y="1710"/>
                    </a:lnTo>
                    <a:lnTo>
                      <a:pt x="8418" y="1716"/>
                    </a:lnTo>
                    <a:lnTo>
                      <a:pt x="8430" y="1716"/>
                    </a:lnTo>
                    <a:lnTo>
                      <a:pt x="8430" y="1710"/>
                    </a:lnTo>
                    <a:lnTo>
                      <a:pt x="8424" y="1704"/>
                    </a:lnTo>
                    <a:lnTo>
                      <a:pt x="8418" y="1692"/>
                    </a:lnTo>
                    <a:lnTo>
                      <a:pt x="8412" y="1686"/>
                    </a:lnTo>
                    <a:lnTo>
                      <a:pt x="8406" y="1674"/>
                    </a:lnTo>
                    <a:lnTo>
                      <a:pt x="8400" y="1668"/>
                    </a:lnTo>
                    <a:lnTo>
                      <a:pt x="8364" y="1668"/>
                    </a:lnTo>
                    <a:lnTo>
                      <a:pt x="8316" y="1626"/>
                    </a:lnTo>
                    <a:lnTo>
                      <a:pt x="8316" y="1596"/>
                    </a:lnTo>
                    <a:lnTo>
                      <a:pt x="8310" y="1590"/>
                    </a:lnTo>
                    <a:lnTo>
                      <a:pt x="8298" y="1584"/>
                    </a:lnTo>
                    <a:lnTo>
                      <a:pt x="8280" y="1578"/>
                    </a:lnTo>
                    <a:lnTo>
                      <a:pt x="8268" y="1572"/>
                    </a:lnTo>
                    <a:lnTo>
                      <a:pt x="8256" y="1572"/>
                    </a:lnTo>
                    <a:lnTo>
                      <a:pt x="8256" y="1590"/>
                    </a:lnTo>
                    <a:lnTo>
                      <a:pt x="8250" y="1590"/>
                    </a:lnTo>
                    <a:lnTo>
                      <a:pt x="8244" y="1584"/>
                    </a:lnTo>
                    <a:lnTo>
                      <a:pt x="8232" y="1584"/>
                    </a:lnTo>
                    <a:lnTo>
                      <a:pt x="8214" y="1572"/>
                    </a:lnTo>
                    <a:lnTo>
                      <a:pt x="8202" y="1566"/>
                    </a:lnTo>
                    <a:lnTo>
                      <a:pt x="8196" y="1560"/>
                    </a:lnTo>
                    <a:lnTo>
                      <a:pt x="8190" y="1548"/>
                    </a:lnTo>
                    <a:lnTo>
                      <a:pt x="8190" y="1536"/>
                    </a:lnTo>
                    <a:lnTo>
                      <a:pt x="8196" y="1524"/>
                    </a:lnTo>
                    <a:lnTo>
                      <a:pt x="8196" y="1500"/>
                    </a:lnTo>
                    <a:lnTo>
                      <a:pt x="8184" y="1476"/>
                    </a:lnTo>
                    <a:lnTo>
                      <a:pt x="8166" y="1458"/>
                    </a:lnTo>
                    <a:lnTo>
                      <a:pt x="8154" y="1452"/>
                    </a:lnTo>
                    <a:lnTo>
                      <a:pt x="8154" y="1434"/>
                    </a:lnTo>
                    <a:lnTo>
                      <a:pt x="8160" y="1428"/>
                    </a:lnTo>
                    <a:lnTo>
                      <a:pt x="8172" y="1428"/>
                    </a:lnTo>
                    <a:lnTo>
                      <a:pt x="8184" y="1434"/>
                    </a:lnTo>
                    <a:lnTo>
                      <a:pt x="8196" y="1416"/>
                    </a:lnTo>
                    <a:lnTo>
                      <a:pt x="8232" y="1446"/>
                    </a:lnTo>
                    <a:lnTo>
                      <a:pt x="8238" y="1440"/>
                    </a:lnTo>
                    <a:lnTo>
                      <a:pt x="8226" y="1428"/>
                    </a:lnTo>
                    <a:lnTo>
                      <a:pt x="8226" y="1422"/>
                    </a:lnTo>
                    <a:lnTo>
                      <a:pt x="8232" y="1416"/>
                    </a:lnTo>
                    <a:lnTo>
                      <a:pt x="8232" y="1404"/>
                    </a:lnTo>
                    <a:lnTo>
                      <a:pt x="8238" y="1392"/>
                    </a:lnTo>
                    <a:lnTo>
                      <a:pt x="8250" y="1386"/>
                    </a:lnTo>
                    <a:lnTo>
                      <a:pt x="8256" y="1386"/>
                    </a:lnTo>
                    <a:lnTo>
                      <a:pt x="8274" y="1404"/>
                    </a:lnTo>
                    <a:lnTo>
                      <a:pt x="8280" y="1416"/>
                    </a:lnTo>
                    <a:lnTo>
                      <a:pt x="8292" y="1428"/>
                    </a:lnTo>
                    <a:lnTo>
                      <a:pt x="8304" y="1434"/>
                    </a:lnTo>
                    <a:lnTo>
                      <a:pt x="8310" y="1446"/>
                    </a:lnTo>
                    <a:lnTo>
                      <a:pt x="8322" y="1398"/>
                    </a:lnTo>
                    <a:lnTo>
                      <a:pt x="8334" y="1398"/>
                    </a:lnTo>
                    <a:lnTo>
                      <a:pt x="8364" y="1392"/>
                    </a:lnTo>
                    <a:lnTo>
                      <a:pt x="8400" y="1386"/>
                    </a:lnTo>
                    <a:lnTo>
                      <a:pt x="8430" y="1386"/>
                    </a:lnTo>
                    <a:lnTo>
                      <a:pt x="8478" y="1410"/>
                    </a:lnTo>
                    <a:lnTo>
                      <a:pt x="8484" y="1416"/>
                    </a:lnTo>
                    <a:lnTo>
                      <a:pt x="8490" y="1416"/>
                    </a:lnTo>
                    <a:lnTo>
                      <a:pt x="8532" y="1434"/>
                    </a:lnTo>
                    <a:lnTo>
                      <a:pt x="8502" y="1374"/>
                    </a:lnTo>
                    <a:lnTo>
                      <a:pt x="8526" y="1374"/>
                    </a:lnTo>
                    <a:lnTo>
                      <a:pt x="8538" y="1368"/>
                    </a:lnTo>
                    <a:lnTo>
                      <a:pt x="8550" y="1356"/>
                    </a:lnTo>
                    <a:lnTo>
                      <a:pt x="8550" y="1332"/>
                    </a:lnTo>
                    <a:lnTo>
                      <a:pt x="8544" y="1326"/>
                    </a:lnTo>
                    <a:lnTo>
                      <a:pt x="8538" y="1314"/>
                    </a:lnTo>
                    <a:lnTo>
                      <a:pt x="8562" y="1314"/>
                    </a:lnTo>
                    <a:lnTo>
                      <a:pt x="8562" y="1290"/>
                    </a:lnTo>
                    <a:lnTo>
                      <a:pt x="8574" y="1290"/>
                    </a:lnTo>
                    <a:lnTo>
                      <a:pt x="8586" y="1296"/>
                    </a:lnTo>
                    <a:lnTo>
                      <a:pt x="8616" y="1296"/>
                    </a:lnTo>
                    <a:lnTo>
                      <a:pt x="8628" y="1290"/>
                    </a:lnTo>
                    <a:lnTo>
                      <a:pt x="8634" y="1284"/>
                    </a:lnTo>
                    <a:lnTo>
                      <a:pt x="8640" y="1272"/>
                    </a:lnTo>
                    <a:lnTo>
                      <a:pt x="8652" y="1260"/>
                    </a:lnTo>
                    <a:lnTo>
                      <a:pt x="8658" y="1248"/>
                    </a:lnTo>
                    <a:lnTo>
                      <a:pt x="8664" y="1242"/>
                    </a:lnTo>
                    <a:lnTo>
                      <a:pt x="8670" y="1242"/>
                    </a:lnTo>
                    <a:lnTo>
                      <a:pt x="8652" y="1218"/>
                    </a:lnTo>
                    <a:lnTo>
                      <a:pt x="8682" y="1218"/>
                    </a:lnTo>
                    <a:lnTo>
                      <a:pt x="8688" y="1236"/>
                    </a:lnTo>
                    <a:lnTo>
                      <a:pt x="8748" y="1242"/>
                    </a:lnTo>
                    <a:lnTo>
                      <a:pt x="8760" y="1242"/>
                    </a:lnTo>
                    <a:lnTo>
                      <a:pt x="8772" y="1248"/>
                    </a:lnTo>
                    <a:lnTo>
                      <a:pt x="8808" y="1248"/>
                    </a:lnTo>
                    <a:lnTo>
                      <a:pt x="8808" y="1230"/>
                    </a:lnTo>
                    <a:lnTo>
                      <a:pt x="8802" y="1218"/>
                    </a:lnTo>
                    <a:lnTo>
                      <a:pt x="8766" y="1218"/>
                    </a:lnTo>
                    <a:lnTo>
                      <a:pt x="8760" y="1194"/>
                    </a:lnTo>
                    <a:lnTo>
                      <a:pt x="8754" y="1194"/>
                    </a:lnTo>
                    <a:lnTo>
                      <a:pt x="8748" y="1188"/>
                    </a:lnTo>
                    <a:lnTo>
                      <a:pt x="8736" y="1188"/>
                    </a:lnTo>
                    <a:lnTo>
                      <a:pt x="8712" y="1176"/>
                    </a:lnTo>
                    <a:lnTo>
                      <a:pt x="8700" y="1176"/>
                    </a:lnTo>
                    <a:lnTo>
                      <a:pt x="8688" y="1170"/>
                    </a:lnTo>
                    <a:lnTo>
                      <a:pt x="8658" y="1170"/>
                    </a:lnTo>
                    <a:lnTo>
                      <a:pt x="8664" y="1152"/>
                    </a:lnTo>
                    <a:lnTo>
                      <a:pt x="8592" y="1104"/>
                    </a:lnTo>
                    <a:lnTo>
                      <a:pt x="8574" y="1122"/>
                    </a:lnTo>
                    <a:lnTo>
                      <a:pt x="8568" y="1122"/>
                    </a:lnTo>
                    <a:lnTo>
                      <a:pt x="8562" y="1116"/>
                    </a:lnTo>
                    <a:lnTo>
                      <a:pt x="8550" y="1116"/>
                    </a:lnTo>
                    <a:lnTo>
                      <a:pt x="8538" y="1110"/>
                    </a:lnTo>
                    <a:lnTo>
                      <a:pt x="8532" y="1110"/>
                    </a:lnTo>
                    <a:lnTo>
                      <a:pt x="8520" y="1104"/>
                    </a:lnTo>
                    <a:lnTo>
                      <a:pt x="8508" y="1092"/>
                    </a:lnTo>
                    <a:lnTo>
                      <a:pt x="8502" y="1092"/>
                    </a:lnTo>
                    <a:lnTo>
                      <a:pt x="8466" y="1098"/>
                    </a:lnTo>
                    <a:lnTo>
                      <a:pt x="8442" y="1092"/>
                    </a:lnTo>
                    <a:lnTo>
                      <a:pt x="8430" y="1086"/>
                    </a:lnTo>
                    <a:lnTo>
                      <a:pt x="8412" y="1068"/>
                    </a:lnTo>
                    <a:lnTo>
                      <a:pt x="8406" y="1068"/>
                    </a:lnTo>
                    <a:lnTo>
                      <a:pt x="8412" y="1062"/>
                    </a:lnTo>
                    <a:lnTo>
                      <a:pt x="8436" y="1062"/>
                    </a:lnTo>
                    <a:lnTo>
                      <a:pt x="8460" y="1074"/>
                    </a:lnTo>
                    <a:lnTo>
                      <a:pt x="8478" y="1074"/>
                    </a:lnTo>
                    <a:lnTo>
                      <a:pt x="8496" y="1080"/>
                    </a:lnTo>
                    <a:lnTo>
                      <a:pt x="8514" y="1080"/>
                    </a:lnTo>
                    <a:lnTo>
                      <a:pt x="8526" y="1086"/>
                    </a:lnTo>
                    <a:lnTo>
                      <a:pt x="8544" y="1086"/>
                    </a:lnTo>
                    <a:lnTo>
                      <a:pt x="8550" y="1080"/>
                    </a:lnTo>
                    <a:lnTo>
                      <a:pt x="8562" y="1080"/>
                    </a:lnTo>
                    <a:lnTo>
                      <a:pt x="8580" y="1074"/>
                    </a:lnTo>
                    <a:lnTo>
                      <a:pt x="8604" y="1062"/>
                    </a:lnTo>
                    <a:lnTo>
                      <a:pt x="8616" y="1050"/>
                    </a:lnTo>
                    <a:lnTo>
                      <a:pt x="8604" y="1038"/>
                    </a:lnTo>
                    <a:lnTo>
                      <a:pt x="8592" y="1032"/>
                    </a:lnTo>
                    <a:lnTo>
                      <a:pt x="8586" y="1026"/>
                    </a:lnTo>
                    <a:lnTo>
                      <a:pt x="8574" y="1020"/>
                    </a:lnTo>
                    <a:lnTo>
                      <a:pt x="8568" y="1014"/>
                    </a:lnTo>
                    <a:lnTo>
                      <a:pt x="8562" y="1014"/>
                    </a:lnTo>
                    <a:lnTo>
                      <a:pt x="8556" y="1008"/>
                    </a:lnTo>
                    <a:lnTo>
                      <a:pt x="8520" y="990"/>
                    </a:lnTo>
                    <a:lnTo>
                      <a:pt x="8508" y="978"/>
                    </a:lnTo>
                    <a:lnTo>
                      <a:pt x="8514" y="972"/>
                    </a:lnTo>
                    <a:lnTo>
                      <a:pt x="8538" y="972"/>
                    </a:lnTo>
                    <a:lnTo>
                      <a:pt x="8556" y="978"/>
                    </a:lnTo>
                    <a:lnTo>
                      <a:pt x="8562" y="984"/>
                    </a:lnTo>
                    <a:lnTo>
                      <a:pt x="8574" y="990"/>
                    </a:lnTo>
                    <a:lnTo>
                      <a:pt x="8580" y="990"/>
                    </a:lnTo>
                    <a:lnTo>
                      <a:pt x="8586" y="996"/>
                    </a:lnTo>
                    <a:lnTo>
                      <a:pt x="8610" y="1008"/>
                    </a:lnTo>
                    <a:lnTo>
                      <a:pt x="8628" y="1020"/>
                    </a:lnTo>
                    <a:lnTo>
                      <a:pt x="8652" y="1032"/>
                    </a:lnTo>
                    <a:lnTo>
                      <a:pt x="8664" y="1032"/>
                    </a:lnTo>
                    <a:lnTo>
                      <a:pt x="8676" y="1026"/>
                    </a:lnTo>
                    <a:lnTo>
                      <a:pt x="8682" y="1026"/>
                    </a:lnTo>
                    <a:lnTo>
                      <a:pt x="8688" y="1020"/>
                    </a:lnTo>
                    <a:lnTo>
                      <a:pt x="8730" y="1020"/>
                    </a:lnTo>
                    <a:lnTo>
                      <a:pt x="8754" y="1026"/>
                    </a:lnTo>
                    <a:lnTo>
                      <a:pt x="8808" y="1044"/>
                    </a:lnTo>
                    <a:lnTo>
                      <a:pt x="8850" y="1062"/>
                    </a:lnTo>
                    <a:lnTo>
                      <a:pt x="8880" y="1068"/>
                    </a:lnTo>
                    <a:lnTo>
                      <a:pt x="8886" y="1074"/>
                    </a:lnTo>
                    <a:lnTo>
                      <a:pt x="8898" y="1074"/>
                    </a:lnTo>
                    <a:lnTo>
                      <a:pt x="8934" y="1086"/>
                    </a:lnTo>
                    <a:lnTo>
                      <a:pt x="8946" y="1086"/>
                    </a:lnTo>
                    <a:lnTo>
                      <a:pt x="8952" y="1092"/>
                    </a:lnTo>
                    <a:lnTo>
                      <a:pt x="8958" y="1092"/>
                    </a:lnTo>
                    <a:lnTo>
                      <a:pt x="8970" y="1098"/>
                    </a:lnTo>
                    <a:lnTo>
                      <a:pt x="8976" y="1104"/>
                    </a:lnTo>
                    <a:lnTo>
                      <a:pt x="8988" y="1110"/>
                    </a:lnTo>
                    <a:lnTo>
                      <a:pt x="9000" y="1110"/>
                    </a:lnTo>
                    <a:lnTo>
                      <a:pt x="9018" y="1116"/>
                    </a:lnTo>
                    <a:lnTo>
                      <a:pt x="9024" y="1122"/>
                    </a:lnTo>
                    <a:lnTo>
                      <a:pt x="9042" y="1122"/>
                    </a:lnTo>
                    <a:lnTo>
                      <a:pt x="9042" y="1116"/>
                    </a:lnTo>
                    <a:lnTo>
                      <a:pt x="9036" y="1098"/>
                    </a:lnTo>
                    <a:lnTo>
                      <a:pt x="9012" y="1074"/>
                    </a:lnTo>
                    <a:lnTo>
                      <a:pt x="9006" y="1074"/>
                    </a:lnTo>
                    <a:lnTo>
                      <a:pt x="9024" y="1056"/>
                    </a:lnTo>
                    <a:lnTo>
                      <a:pt x="8976" y="1038"/>
                    </a:lnTo>
                    <a:lnTo>
                      <a:pt x="8988" y="1032"/>
                    </a:lnTo>
                    <a:lnTo>
                      <a:pt x="8940" y="1008"/>
                    </a:lnTo>
                    <a:lnTo>
                      <a:pt x="8994" y="1020"/>
                    </a:lnTo>
                    <a:lnTo>
                      <a:pt x="8988" y="996"/>
                    </a:lnTo>
                    <a:lnTo>
                      <a:pt x="9000" y="996"/>
                    </a:lnTo>
                    <a:lnTo>
                      <a:pt x="9012" y="1002"/>
                    </a:lnTo>
                    <a:lnTo>
                      <a:pt x="9048" y="1002"/>
                    </a:lnTo>
                    <a:lnTo>
                      <a:pt x="9048" y="996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grpSp>
            <p:nvGrpSpPr>
              <p:cNvPr id="268" name="Gruppieren 475"/>
              <p:cNvGrpSpPr/>
              <p:nvPr/>
            </p:nvGrpSpPr>
            <p:grpSpPr>
              <a:xfrm>
                <a:off x="3759200" y="1611314"/>
                <a:ext cx="1676400" cy="1335087"/>
                <a:chOff x="3759200" y="1611313"/>
                <a:chExt cx="1676400" cy="1335087"/>
              </a:xfrm>
            </p:grpSpPr>
            <p:sp>
              <p:nvSpPr>
                <p:cNvPr id="315" name="Ukraine"/>
                <p:cNvSpPr>
                  <a:spLocks/>
                </p:cNvSpPr>
                <p:nvPr/>
              </p:nvSpPr>
              <p:spPr bwMode="gray">
                <a:xfrm>
                  <a:off x="4806956" y="2389189"/>
                  <a:ext cx="450851" cy="250825"/>
                </a:xfrm>
                <a:custGeom>
                  <a:avLst/>
                  <a:gdLst>
                    <a:gd name="T0" fmla="*/ 2147483647 w 1116"/>
                    <a:gd name="T1" fmla="*/ 2147483647 h 624"/>
                    <a:gd name="T2" fmla="*/ 2147483647 w 1116"/>
                    <a:gd name="T3" fmla="*/ 2147483647 h 624"/>
                    <a:gd name="T4" fmla="*/ 2147483647 w 1116"/>
                    <a:gd name="T5" fmla="*/ 2147483647 h 624"/>
                    <a:gd name="T6" fmla="*/ 2147483647 w 1116"/>
                    <a:gd name="T7" fmla="*/ 2147483647 h 624"/>
                    <a:gd name="T8" fmla="*/ 2147483647 w 1116"/>
                    <a:gd name="T9" fmla="*/ 2147483647 h 624"/>
                    <a:gd name="T10" fmla="*/ 2147483647 w 1116"/>
                    <a:gd name="T11" fmla="*/ 2147483647 h 624"/>
                    <a:gd name="T12" fmla="*/ 2147483647 w 1116"/>
                    <a:gd name="T13" fmla="*/ 2147483647 h 624"/>
                    <a:gd name="T14" fmla="*/ 2147483647 w 1116"/>
                    <a:gd name="T15" fmla="*/ 2147483647 h 624"/>
                    <a:gd name="T16" fmla="*/ 2147483647 w 1116"/>
                    <a:gd name="T17" fmla="*/ 2147483647 h 624"/>
                    <a:gd name="T18" fmla="*/ 2147483647 w 1116"/>
                    <a:gd name="T19" fmla="*/ 2147483647 h 624"/>
                    <a:gd name="T20" fmla="*/ 2147483647 w 1116"/>
                    <a:gd name="T21" fmla="*/ 2147483647 h 624"/>
                    <a:gd name="T22" fmla="*/ 2147483647 w 1116"/>
                    <a:gd name="T23" fmla="*/ 2147483647 h 624"/>
                    <a:gd name="T24" fmla="*/ 2147483647 w 1116"/>
                    <a:gd name="T25" fmla="*/ 2147483647 h 624"/>
                    <a:gd name="T26" fmla="*/ 2147483647 w 1116"/>
                    <a:gd name="T27" fmla="*/ 2147483647 h 624"/>
                    <a:gd name="T28" fmla="*/ 2147483647 w 1116"/>
                    <a:gd name="T29" fmla="*/ 2147483647 h 624"/>
                    <a:gd name="T30" fmla="*/ 2147483647 w 1116"/>
                    <a:gd name="T31" fmla="*/ 2147483647 h 624"/>
                    <a:gd name="T32" fmla="*/ 2147483647 w 1116"/>
                    <a:gd name="T33" fmla="*/ 2147483647 h 624"/>
                    <a:gd name="T34" fmla="*/ 2147483647 w 1116"/>
                    <a:gd name="T35" fmla="*/ 2147483647 h 624"/>
                    <a:gd name="T36" fmla="*/ 2147483647 w 1116"/>
                    <a:gd name="T37" fmla="*/ 2147483647 h 624"/>
                    <a:gd name="T38" fmla="*/ 2147483647 w 1116"/>
                    <a:gd name="T39" fmla="*/ 2147483647 h 624"/>
                    <a:gd name="T40" fmla="*/ 2147483647 w 1116"/>
                    <a:gd name="T41" fmla="*/ 2147483647 h 624"/>
                    <a:gd name="T42" fmla="*/ 2147483647 w 1116"/>
                    <a:gd name="T43" fmla="*/ 2147483647 h 624"/>
                    <a:gd name="T44" fmla="*/ 2147483647 w 1116"/>
                    <a:gd name="T45" fmla="*/ 2147483647 h 624"/>
                    <a:gd name="T46" fmla="*/ 2147483647 w 1116"/>
                    <a:gd name="T47" fmla="*/ 2147483647 h 624"/>
                    <a:gd name="T48" fmla="*/ 2147483647 w 1116"/>
                    <a:gd name="T49" fmla="*/ 2147483647 h 624"/>
                    <a:gd name="T50" fmla="*/ 2147483647 w 1116"/>
                    <a:gd name="T51" fmla="*/ 2147483647 h 624"/>
                    <a:gd name="T52" fmla="*/ 2147483647 w 1116"/>
                    <a:gd name="T53" fmla="*/ 2147483647 h 624"/>
                    <a:gd name="T54" fmla="*/ 2147483647 w 1116"/>
                    <a:gd name="T55" fmla="*/ 2147483647 h 624"/>
                    <a:gd name="T56" fmla="*/ 2147483647 w 1116"/>
                    <a:gd name="T57" fmla="*/ 2147483647 h 624"/>
                    <a:gd name="T58" fmla="*/ 2147483647 w 1116"/>
                    <a:gd name="T59" fmla="*/ 2147483647 h 624"/>
                    <a:gd name="T60" fmla="*/ 2147483647 w 1116"/>
                    <a:gd name="T61" fmla="*/ 2147483647 h 624"/>
                    <a:gd name="T62" fmla="*/ 2147483647 w 1116"/>
                    <a:gd name="T63" fmla="*/ 2147483647 h 624"/>
                    <a:gd name="T64" fmla="*/ 2147483647 w 1116"/>
                    <a:gd name="T65" fmla="*/ 2147483647 h 624"/>
                    <a:gd name="T66" fmla="*/ 2147483647 w 1116"/>
                    <a:gd name="T67" fmla="*/ 2147483647 h 624"/>
                    <a:gd name="T68" fmla="*/ 2147483647 w 1116"/>
                    <a:gd name="T69" fmla="*/ 2147483647 h 624"/>
                    <a:gd name="T70" fmla="*/ 2147483647 w 1116"/>
                    <a:gd name="T71" fmla="*/ 2147483647 h 624"/>
                    <a:gd name="T72" fmla="*/ 2147483647 w 1116"/>
                    <a:gd name="T73" fmla="*/ 2147483647 h 624"/>
                    <a:gd name="T74" fmla="*/ 2147483647 w 1116"/>
                    <a:gd name="T75" fmla="*/ 2147483647 h 624"/>
                    <a:gd name="T76" fmla="*/ 2147483647 w 1116"/>
                    <a:gd name="T77" fmla="*/ 2147483647 h 624"/>
                    <a:gd name="T78" fmla="*/ 2147483647 w 1116"/>
                    <a:gd name="T79" fmla="*/ 2147483647 h 624"/>
                    <a:gd name="T80" fmla="*/ 2147483647 w 1116"/>
                    <a:gd name="T81" fmla="*/ 2147483647 h 624"/>
                    <a:gd name="T82" fmla="*/ 2147483647 w 1116"/>
                    <a:gd name="T83" fmla="*/ 2147483647 h 624"/>
                    <a:gd name="T84" fmla="*/ 2147483647 w 1116"/>
                    <a:gd name="T85" fmla="*/ 2147483647 h 624"/>
                    <a:gd name="T86" fmla="*/ 2147483647 w 1116"/>
                    <a:gd name="T87" fmla="*/ 2147483647 h 624"/>
                    <a:gd name="T88" fmla="*/ 2147483647 w 1116"/>
                    <a:gd name="T89" fmla="*/ 0 h 624"/>
                    <a:gd name="T90" fmla="*/ 2147483647 w 1116"/>
                    <a:gd name="T91" fmla="*/ 2147483647 h 624"/>
                    <a:gd name="T92" fmla="*/ 2147483647 w 1116"/>
                    <a:gd name="T93" fmla="*/ 2147483647 h 624"/>
                    <a:gd name="T94" fmla="*/ 2147483647 w 1116"/>
                    <a:gd name="T95" fmla="*/ 2147483647 h 624"/>
                    <a:gd name="T96" fmla="*/ 2147483647 w 1116"/>
                    <a:gd name="T97" fmla="*/ 2147483647 h 624"/>
                    <a:gd name="T98" fmla="*/ 2147483647 w 1116"/>
                    <a:gd name="T99" fmla="*/ 2147483647 h 624"/>
                    <a:gd name="T100" fmla="*/ 2147483647 w 1116"/>
                    <a:gd name="T101" fmla="*/ 2147483647 h 624"/>
                    <a:gd name="T102" fmla="*/ 2147483647 w 1116"/>
                    <a:gd name="T103" fmla="*/ 2147483647 h 624"/>
                    <a:gd name="T104" fmla="*/ 2147483647 w 1116"/>
                    <a:gd name="T105" fmla="*/ 2147483647 h 624"/>
                    <a:gd name="T106" fmla="*/ 2147483647 w 1116"/>
                    <a:gd name="T107" fmla="*/ 2147483647 h 624"/>
                    <a:gd name="T108" fmla="*/ 2147483647 w 1116"/>
                    <a:gd name="T109" fmla="*/ 2147483647 h 624"/>
                    <a:gd name="T110" fmla="*/ 2147483647 w 1116"/>
                    <a:gd name="T111" fmla="*/ 2147483647 h 624"/>
                    <a:gd name="T112" fmla="*/ 2147483647 w 1116"/>
                    <a:gd name="T113" fmla="*/ 2147483647 h 624"/>
                    <a:gd name="T114" fmla="*/ 2147483647 w 1116"/>
                    <a:gd name="T115" fmla="*/ 2147483647 h 624"/>
                    <a:gd name="T116" fmla="*/ 2147483647 w 1116"/>
                    <a:gd name="T117" fmla="*/ 2147483647 h 624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116"/>
                    <a:gd name="T178" fmla="*/ 0 h 624"/>
                    <a:gd name="T179" fmla="*/ 1116 w 1116"/>
                    <a:gd name="T180" fmla="*/ 624 h 624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116" h="624">
                      <a:moveTo>
                        <a:pt x="24" y="324"/>
                      </a:moveTo>
                      <a:lnTo>
                        <a:pt x="30" y="324"/>
                      </a:lnTo>
                      <a:lnTo>
                        <a:pt x="36" y="330"/>
                      </a:lnTo>
                      <a:lnTo>
                        <a:pt x="48" y="330"/>
                      </a:lnTo>
                      <a:lnTo>
                        <a:pt x="54" y="336"/>
                      </a:lnTo>
                      <a:lnTo>
                        <a:pt x="78" y="336"/>
                      </a:lnTo>
                      <a:lnTo>
                        <a:pt x="84" y="342"/>
                      </a:lnTo>
                      <a:lnTo>
                        <a:pt x="108" y="342"/>
                      </a:lnTo>
                      <a:lnTo>
                        <a:pt x="114" y="348"/>
                      </a:lnTo>
                      <a:lnTo>
                        <a:pt x="126" y="342"/>
                      </a:lnTo>
                      <a:lnTo>
                        <a:pt x="132" y="342"/>
                      </a:lnTo>
                      <a:lnTo>
                        <a:pt x="144" y="336"/>
                      </a:lnTo>
                      <a:lnTo>
                        <a:pt x="150" y="336"/>
                      </a:lnTo>
                      <a:lnTo>
                        <a:pt x="174" y="360"/>
                      </a:lnTo>
                      <a:lnTo>
                        <a:pt x="186" y="360"/>
                      </a:lnTo>
                      <a:lnTo>
                        <a:pt x="198" y="348"/>
                      </a:lnTo>
                      <a:lnTo>
                        <a:pt x="198" y="342"/>
                      </a:lnTo>
                      <a:lnTo>
                        <a:pt x="222" y="348"/>
                      </a:lnTo>
                      <a:lnTo>
                        <a:pt x="228" y="336"/>
                      </a:lnTo>
                      <a:lnTo>
                        <a:pt x="234" y="342"/>
                      </a:lnTo>
                      <a:lnTo>
                        <a:pt x="252" y="342"/>
                      </a:lnTo>
                      <a:lnTo>
                        <a:pt x="258" y="336"/>
                      </a:lnTo>
                      <a:lnTo>
                        <a:pt x="258" y="330"/>
                      </a:lnTo>
                      <a:lnTo>
                        <a:pt x="270" y="318"/>
                      </a:lnTo>
                      <a:lnTo>
                        <a:pt x="282" y="318"/>
                      </a:lnTo>
                      <a:lnTo>
                        <a:pt x="288" y="306"/>
                      </a:lnTo>
                      <a:lnTo>
                        <a:pt x="294" y="306"/>
                      </a:lnTo>
                      <a:lnTo>
                        <a:pt x="306" y="312"/>
                      </a:lnTo>
                      <a:lnTo>
                        <a:pt x="318" y="312"/>
                      </a:lnTo>
                      <a:lnTo>
                        <a:pt x="318" y="306"/>
                      </a:lnTo>
                      <a:lnTo>
                        <a:pt x="324" y="306"/>
                      </a:lnTo>
                      <a:lnTo>
                        <a:pt x="336" y="300"/>
                      </a:lnTo>
                      <a:lnTo>
                        <a:pt x="342" y="300"/>
                      </a:lnTo>
                      <a:lnTo>
                        <a:pt x="354" y="312"/>
                      </a:lnTo>
                      <a:lnTo>
                        <a:pt x="360" y="312"/>
                      </a:lnTo>
                      <a:lnTo>
                        <a:pt x="360" y="318"/>
                      </a:lnTo>
                      <a:lnTo>
                        <a:pt x="402" y="318"/>
                      </a:lnTo>
                      <a:lnTo>
                        <a:pt x="408" y="324"/>
                      </a:lnTo>
                      <a:lnTo>
                        <a:pt x="408" y="336"/>
                      </a:lnTo>
                      <a:lnTo>
                        <a:pt x="426" y="336"/>
                      </a:lnTo>
                      <a:lnTo>
                        <a:pt x="438" y="342"/>
                      </a:lnTo>
                      <a:lnTo>
                        <a:pt x="444" y="348"/>
                      </a:lnTo>
                      <a:lnTo>
                        <a:pt x="450" y="360"/>
                      </a:lnTo>
                      <a:lnTo>
                        <a:pt x="444" y="366"/>
                      </a:lnTo>
                      <a:lnTo>
                        <a:pt x="444" y="390"/>
                      </a:lnTo>
                      <a:lnTo>
                        <a:pt x="456" y="384"/>
                      </a:lnTo>
                      <a:lnTo>
                        <a:pt x="462" y="384"/>
                      </a:lnTo>
                      <a:lnTo>
                        <a:pt x="468" y="390"/>
                      </a:lnTo>
                      <a:lnTo>
                        <a:pt x="462" y="396"/>
                      </a:lnTo>
                      <a:lnTo>
                        <a:pt x="462" y="414"/>
                      </a:lnTo>
                      <a:lnTo>
                        <a:pt x="474" y="414"/>
                      </a:lnTo>
                      <a:lnTo>
                        <a:pt x="480" y="420"/>
                      </a:lnTo>
                      <a:lnTo>
                        <a:pt x="492" y="420"/>
                      </a:lnTo>
                      <a:lnTo>
                        <a:pt x="498" y="426"/>
                      </a:lnTo>
                      <a:lnTo>
                        <a:pt x="498" y="456"/>
                      </a:lnTo>
                      <a:lnTo>
                        <a:pt x="492" y="456"/>
                      </a:lnTo>
                      <a:lnTo>
                        <a:pt x="480" y="462"/>
                      </a:lnTo>
                      <a:lnTo>
                        <a:pt x="462" y="462"/>
                      </a:lnTo>
                      <a:lnTo>
                        <a:pt x="456" y="456"/>
                      </a:lnTo>
                      <a:lnTo>
                        <a:pt x="438" y="456"/>
                      </a:lnTo>
                      <a:lnTo>
                        <a:pt x="432" y="462"/>
                      </a:lnTo>
                      <a:lnTo>
                        <a:pt x="432" y="468"/>
                      </a:lnTo>
                      <a:lnTo>
                        <a:pt x="438" y="468"/>
                      </a:lnTo>
                      <a:lnTo>
                        <a:pt x="450" y="474"/>
                      </a:lnTo>
                      <a:lnTo>
                        <a:pt x="456" y="480"/>
                      </a:lnTo>
                      <a:lnTo>
                        <a:pt x="438" y="492"/>
                      </a:lnTo>
                      <a:lnTo>
                        <a:pt x="432" y="498"/>
                      </a:lnTo>
                      <a:lnTo>
                        <a:pt x="420" y="504"/>
                      </a:lnTo>
                      <a:lnTo>
                        <a:pt x="414" y="504"/>
                      </a:lnTo>
                      <a:lnTo>
                        <a:pt x="414" y="516"/>
                      </a:lnTo>
                      <a:lnTo>
                        <a:pt x="420" y="522"/>
                      </a:lnTo>
                      <a:lnTo>
                        <a:pt x="420" y="534"/>
                      </a:lnTo>
                      <a:lnTo>
                        <a:pt x="396" y="540"/>
                      </a:lnTo>
                      <a:lnTo>
                        <a:pt x="390" y="528"/>
                      </a:lnTo>
                      <a:lnTo>
                        <a:pt x="390" y="516"/>
                      </a:lnTo>
                      <a:lnTo>
                        <a:pt x="390" y="528"/>
                      </a:lnTo>
                      <a:lnTo>
                        <a:pt x="396" y="540"/>
                      </a:lnTo>
                      <a:lnTo>
                        <a:pt x="396" y="546"/>
                      </a:lnTo>
                      <a:lnTo>
                        <a:pt x="408" y="552"/>
                      </a:lnTo>
                      <a:lnTo>
                        <a:pt x="438" y="552"/>
                      </a:lnTo>
                      <a:lnTo>
                        <a:pt x="444" y="546"/>
                      </a:lnTo>
                      <a:lnTo>
                        <a:pt x="450" y="546"/>
                      </a:lnTo>
                      <a:lnTo>
                        <a:pt x="456" y="540"/>
                      </a:lnTo>
                      <a:lnTo>
                        <a:pt x="474" y="540"/>
                      </a:lnTo>
                      <a:lnTo>
                        <a:pt x="480" y="534"/>
                      </a:lnTo>
                      <a:lnTo>
                        <a:pt x="486" y="534"/>
                      </a:lnTo>
                      <a:lnTo>
                        <a:pt x="480" y="528"/>
                      </a:lnTo>
                      <a:lnTo>
                        <a:pt x="486" y="528"/>
                      </a:lnTo>
                      <a:lnTo>
                        <a:pt x="492" y="522"/>
                      </a:lnTo>
                      <a:lnTo>
                        <a:pt x="510" y="516"/>
                      </a:lnTo>
                      <a:lnTo>
                        <a:pt x="522" y="510"/>
                      </a:lnTo>
                      <a:lnTo>
                        <a:pt x="528" y="504"/>
                      </a:lnTo>
                      <a:lnTo>
                        <a:pt x="534" y="492"/>
                      </a:lnTo>
                      <a:lnTo>
                        <a:pt x="540" y="486"/>
                      </a:lnTo>
                      <a:lnTo>
                        <a:pt x="546" y="474"/>
                      </a:lnTo>
                      <a:lnTo>
                        <a:pt x="552" y="468"/>
                      </a:lnTo>
                      <a:lnTo>
                        <a:pt x="552" y="462"/>
                      </a:lnTo>
                      <a:lnTo>
                        <a:pt x="582" y="450"/>
                      </a:lnTo>
                      <a:lnTo>
                        <a:pt x="600" y="438"/>
                      </a:lnTo>
                      <a:lnTo>
                        <a:pt x="612" y="444"/>
                      </a:lnTo>
                      <a:lnTo>
                        <a:pt x="624" y="444"/>
                      </a:lnTo>
                      <a:lnTo>
                        <a:pt x="636" y="450"/>
                      </a:lnTo>
                      <a:lnTo>
                        <a:pt x="654" y="450"/>
                      </a:lnTo>
                      <a:lnTo>
                        <a:pt x="666" y="438"/>
                      </a:lnTo>
                      <a:lnTo>
                        <a:pt x="648" y="462"/>
                      </a:lnTo>
                      <a:lnTo>
                        <a:pt x="624" y="462"/>
                      </a:lnTo>
                      <a:lnTo>
                        <a:pt x="630" y="468"/>
                      </a:lnTo>
                      <a:lnTo>
                        <a:pt x="642" y="474"/>
                      </a:lnTo>
                      <a:lnTo>
                        <a:pt x="654" y="486"/>
                      </a:lnTo>
                      <a:lnTo>
                        <a:pt x="726" y="486"/>
                      </a:lnTo>
                      <a:lnTo>
                        <a:pt x="738" y="504"/>
                      </a:lnTo>
                      <a:lnTo>
                        <a:pt x="726" y="510"/>
                      </a:lnTo>
                      <a:lnTo>
                        <a:pt x="720" y="516"/>
                      </a:lnTo>
                      <a:lnTo>
                        <a:pt x="684" y="534"/>
                      </a:lnTo>
                      <a:lnTo>
                        <a:pt x="678" y="540"/>
                      </a:lnTo>
                      <a:lnTo>
                        <a:pt x="678" y="546"/>
                      </a:lnTo>
                      <a:lnTo>
                        <a:pt x="684" y="546"/>
                      </a:lnTo>
                      <a:lnTo>
                        <a:pt x="690" y="552"/>
                      </a:lnTo>
                      <a:lnTo>
                        <a:pt x="720" y="552"/>
                      </a:lnTo>
                      <a:lnTo>
                        <a:pt x="732" y="558"/>
                      </a:lnTo>
                      <a:lnTo>
                        <a:pt x="744" y="570"/>
                      </a:lnTo>
                      <a:lnTo>
                        <a:pt x="744" y="594"/>
                      </a:lnTo>
                      <a:lnTo>
                        <a:pt x="738" y="606"/>
                      </a:lnTo>
                      <a:lnTo>
                        <a:pt x="738" y="618"/>
                      </a:lnTo>
                      <a:lnTo>
                        <a:pt x="756" y="618"/>
                      </a:lnTo>
                      <a:lnTo>
                        <a:pt x="768" y="624"/>
                      </a:lnTo>
                      <a:lnTo>
                        <a:pt x="780" y="624"/>
                      </a:lnTo>
                      <a:lnTo>
                        <a:pt x="780" y="618"/>
                      </a:lnTo>
                      <a:lnTo>
                        <a:pt x="792" y="606"/>
                      </a:lnTo>
                      <a:lnTo>
                        <a:pt x="804" y="600"/>
                      </a:lnTo>
                      <a:lnTo>
                        <a:pt x="810" y="594"/>
                      </a:lnTo>
                      <a:lnTo>
                        <a:pt x="840" y="594"/>
                      </a:lnTo>
                      <a:lnTo>
                        <a:pt x="858" y="576"/>
                      </a:lnTo>
                      <a:lnTo>
                        <a:pt x="858" y="570"/>
                      </a:lnTo>
                      <a:lnTo>
                        <a:pt x="864" y="564"/>
                      </a:lnTo>
                      <a:lnTo>
                        <a:pt x="870" y="564"/>
                      </a:lnTo>
                      <a:lnTo>
                        <a:pt x="882" y="576"/>
                      </a:lnTo>
                      <a:lnTo>
                        <a:pt x="918" y="570"/>
                      </a:lnTo>
                      <a:lnTo>
                        <a:pt x="918" y="552"/>
                      </a:lnTo>
                      <a:lnTo>
                        <a:pt x="930" y="540"/>
                      </a:lnTo>
                      <a:lnTo>
                        <a:pt x="900" y="540"/>
                      </a:lnTo>
                      <a:lnTo>
                        <a:pt x="894" y="546"/>
                      </a:lnTo>
                      <a:lnTo>
                        <a:pt x="882" y="552"/>
                      </a:lnTo>
                      <a:lnTo>
                        <a:pt x="852" y="552"/>
                      </a:lnTo>
                      <a:lnTo>
                        <a:pt x="846" y="546"/>
                      </a:lnTo>
                      <a:lnTo>
                        <a:pt x="834" y="540"/>
                      </a:lnTo>
                      <a:lnTo>
                        <a:pt x="828" y="534"/>
                      </a:lnTo>
                      <a:lnTo>
                        <a:pt x="828" y="522"/>
                      </a:lnTo>
                      <a:lnTo>
                        <a:pt x="822" y="516"/>
                      </a:lnTo>
                      <a:lnTo>
                        <a:pt x="810" y="516"/>
                      </a:lnTo>
                      <a:lnTo>
                        <a:pt x="786" y="498"/>
                      </a:lnTo>
                      <a:lnTo>
                        <a:pt x="750" y="492"/>
                      </a:lnTo>
                      <a:lnTo>
                        <a:pt x="744" y="480"/>
                      </a:lnTo>
                      <a:lnTo>
                        <a:pt x="810" y="480"/>
                      </a:lnTo>
                      <a:lnTo>
                        <a:pt x="822" y="474"/>
                      </a:lnTo>
                      <a:lnTo>
                        <a:pt x="834" y="462"/>
                      </a:lnTo>
                      <a:lnTo>
                        <a:pt x="846" y="468"/>
                      </a:lnTo>
                      <a:lnTo>
                        <a:pt x="852" y="462"/>
                      </a:lnTo>
                      <a:lnTo>
                        <a:pt x="864" y="456"/>
                      </a:lnTo>
                      <a:lnTo>
                        <a:pt x="870" y="450"/>
                      </a:lnTo>
                      <a:lnTo>
                        <a:pt x="882" y="444"/>
                      </a:lnTo>
                      <a:lnTo>
                        <a:pt x="906" y="444"/>
                      </a:lnTo>
                      <a:lnTo>
                        <a:pt x="918" y="438"/>
                      </a:lnTo>
                      <a:lnTo>
                        <a:pt x="930" y="438"/>
                      </a:lnTo>
                      <a:lnTo>
                        <a:pt x="978" y="408"/>
                      </a:lnTo>
                      <a:lnTo>
                        <a:pt x="1014" y="408"/>
                      </a:lnTo>
                      <a:lnTo>
                        <a:pt x="1014" y="372"/>
                      </a:lnTo>
                      <a:lnTo>
                        <a:pt x="1032" y="372"/>
                      </a:lnTo>
                      <a:lnTo>
                        <a:pt x="1038" y="366"/>
                      </a:lnTo>
                      <a:lnTo>
                        <a:pt x="1038" y="360"/>
                      </a:lnTo>
                      <a:lnTo>
                        <a:pt x="1050" y="348"/>
                      </a:lnTo>
                      <a:lnTo>
                        <a:pt x="1080" y="348"/>
                      </a:lnTo>
                      <a:lnTo>
                        <a:pt x="1092" y="342"/>
                      </a:lnTo>
                      <a:lnTo>
                        <a:pt x="1104" y="342"/>
                      </a:lnTo>
                      <a:lnTo>
                        <a:pt x="1116" y="330"/>
                      </a:lnTo>
                      <a:lnTo>
                        <a:pt x="1116" y="324"/>
                      </a:lnTo>
                      <a:lnTo>
                        <a:pt x="1110" y="312"/>
                      </a:lnTo>
                      <a:lnTo>
                        <a:pt x="1110" y="300"/>
                      </a:lnTo>
                      <a:lnTo>
                        <a:pt x="1098" y="294"/>
                      </a:lnTo>
                      <a:lnTo>
                        <a:pt x="1086" y="282"/>
                      </a:lnTo>
                      <a:lnTo>
                        <a:pt x="1092" y="276"/>
                      </a:lnTo>
                      <a:lnTo>
                        <a:pt x="1110" y="276"/>
                      </a:lnTo>
                      <a:lnTo>
                        <a:pt x="1116" y="270"/>
                      </a:lnTo>
                      <a:lnTo>
                        <a:pt x="1110" y="264"/>
                      </a:lnTo>
                      <a:lnTo>
                        <a:pt x="1104" y="264"/>
                      </a:lnTo>
                      <a:lnTo>
                        <a:pt x="1098" y="258"/>
                      </a:lnTo>
                      <a:lnTo>
                        <a:pt x="1092" y="258"/>
                      </a:lnTo>
                      <a:lnTo>
                        <a:pt x="1110" y="246"/>
                      </a:lnTo>
                      <a:lnTo>
                        <a:pt x="1110" y="222"/>
                      </a:lnTo>
                      <a:lnTo>
                        <a:pt x="1104" y="216"/>
                      </a:lnTo>
                      <a:lnTo>
                        <a:pt x="1080" y="216"/>
                      </a:lnTo>
                      <a:lnTo>
                        <a:pt x="1062" y="204"/>
                      </a:lnTo>
                      <a:lnTo>
                        <a:pt x="1056" y="198"/>
                      </a:lnTo>
                      <a:lnTo>
                        <a:pt x="1056" y="192"/>
                      </a:lnTo>
                      <a:lnTo>
                        <a:pt x="1014" y="192"/>
                      </a:lnTo>
                      <a:lnTo>
                        <a:pt x="1002" y="186"/>
                      </a:lnTo>
                      <a:lnTo>
                        <a:pt x="996" y="180"/>
                      </a:lnTo>
                      <a:lnTo>
                        <a:pt x="978" y="180"/>
                      </a:lnTo>
                      <a:lnTo>
                        <a:pt x="966" y="186"/>
                      </a:lnTo>
                      <a:lnTo>
                        <a:pt x="942" y="162"/>
                      </a:lnTo>
                      <a:lnTo>
                        <a:pt x="936" y="150"/>
                      </a:lnTo>
                      <a:lnTo>
                        <a:pt x="924" y="150"/>
                      </a:lnTo>
                      <a:lnTo>
                        <a:pt x="918" y="156"/>
                      </a:lnTo>
                      <a:lnTo>
                        <a:pt x="918" y="162"/>
                      </a:lnTo>
                      <a:lnTo>
                        <a:pt x="912" y="156"/>
                      </a:lnTo>
                      <a:lnTo>
                        <a:pt x="864" y="156"/>
                      </a:lnTo>
                      <a:lnTo>
                        <a:pt x="858" y="150"/>
                      </a:lnTo>
                      <a:lnTo>
                        <a:pt x="846" y="150"/>
                      </a:lnTo>
                      <a:lnTo>
                        <a:pt x="840" y="144"/>
                      </a:lnTo>
                      <a:lnTo>
                        <a:pt x="816" y="150"/>
                      </a:lnTo>
                      <a:lnTo>
                        <a:pt x="810" y="150"/>
                      </a:lnTo>
                      <a:lnTo>
                        <a:pt x="798" y="102"/>
                      </a:lnTo>
                      <a:lnTo>
                        <a:pt x="756" y="84"/>
                      </a:lnTo>
                      <a:lnTo>
                        <a:pt x="720" y="84"/>
                      </a:lnTo>
                      <a:lnTo>
                        <a:pt x="720" y="66"/>
                      </a:lnTo>
                      <a:lnTo>
                        <a:pt x="714" y="48"/>
                      </a:lnTo>
                      <a:lnTo>
                        <a:pt x="720" y="48"/>
                      </a:lnTo>
                      <a:lnTo>
                        <a:pt x="726" y="42"/>
                      </a:lnTo>
                      <a:lnTo>
                        <a:pt x="726" y="30"/>
                      </a:lnTo>
                      <a:lnTo>
                        <a:pt x="720" y="30"/>
                      </a:lnTo>
                      <a:lnTo>
                        <a:pt x="708" y="24"/>
                      </a:lnTo>
                      <a:lnTo>
                        <a:pt x="702" y="18"/>
                      </a:lnTo>
                      <a:lnTo>
                        <a:pt x="696" y="18"/>
                      </a:lnTo>
                      <a:lnTo>
                        <a:pt x="690" y="0"/>
                      </a:lnTo>
                      <a:lnTo>
                        <a:pt x="642" y="0"/>
                      </a:lnTo>
                      <a:lnTo>
                        <a:pt x="630" y="6"/>
                      </a:lnTo>
                      <a:lnTo>
                        <a:pt x="600" y="6"/>
                      </a:lnTo>
                      <a:lnTo>
                        <a:pt x="600" y="18"/>
                      </a:lnTo>
                      <a:lnTo>
                        <a:pt x="594" y="24"/>
                      </a:lnTo>
                      <a:lnTo>
                        <a:pt x="558" y="24"/>
                      </a:lnTo>
                      <a:lnTo>
                        <a:pt x="546" y="18"/>
                      </a:lnTo>
                      <a:lnTo>
                        <a:pt x="516" y="18"/>
                      </a:lnTo>
                      <a:lnTo>
                        <a:pt x="510" y="30"/>
                      </a:lnTo>
                      <a:lnTo>
                        <a:pt x="498" y="36"/>
                      </a:lnTo>
                      <a:lnTo>
                        <a:pt x="492" y="42"/>
                      </a:lnTo>
                      <a:lnTo>
                        <a:pt x="486" y="54"/>
                      </a:lnTo>
                      <a:lnTo>
                        <a:pt x="492" y="60"/>
                      </a:lnTo>
                      <a:lnTo>
                        <a:pt x="492" y="72"/>
                      </a:lnTo>
                      <a:lnTo>
                        <a:pt x="486" y="78"/>
                      </a:lnTo>
                      <a:lnTo>
                        <a:pt x="468" y="78"/>
                      </a:lnTo>
                      <a:lnTo>
                        <a:pt x="462" y="72"/>
                      </a:lnTo>
                      <a:lnTo>
                        <a:pt x="438" y="72"/>
                      </a:lnTo>
                      <a:lnTo>
                        <a:pt x="426" y="78"/>
                      </a:lnTo>
                      <a:lnTo>
                        <a:pt x="420" y="78"/>
                      </a:lnTo>
                      <a:lnTo>
                        <a:pt x="420" y="66"/>
                      </a:lnTo>
                      <a:lnTo>
                        <a:pt x="414" y="60"/>
                      </a:lnTo>
                      <a:lnTo>
                        <a:pt x="396" y="60"/>
                      </a:lnTo>
                      <a:lnTo>
                        <a:pt x="390" y="66"/>
                      </a:lnTo>
                      <a:lnTo>
                        <a:pt x="390" y="72"/>
                      </a:lnTo>
                      <a:lnTo>
                        <a:pt x="378" y="60"/>
                      </a:lnTo>
                      <a:lnTo>
                        <a:pt x="366" y="66"/>
                      </a:lnTo>
                      <a:lnTo>
                        <a:pt x="360" y="60"/>
                      </a:lnTo>
                      <a:lnTo>
                        <a:pt x="342" y="66"/>
                      </a:lnTo>
                      <a:lnTo>
                        <a:pt x="336" y="54"/>
                      </a:lnTo>
                      <a:lnTo>
                        <a:pt x="324" y="66"/>
                      </a:lnTo>
                      <a:lnTo>
                        <a:pt x="306" y="54"/>
                      </a:lnTo>
                      <a:lnTo>
                        <a:pt x="300" y="60"/>
                      </a:lnTo>
                      <a:lnTo>
                        <a:pt x="282" y="48"/>
                      </a:lnTo>
                      <a:lnTo>
                        <a:pt x="258" y="42"/>
                      </a:lnTo>
                      <a:lnTo>
                        <a:pt x="222" y="42"/>
                      </a:lnTo>
                      <a:lnTo>
                        <a:pt x="216" y="36"/>
                      </a:lnTo>
                      <a:lnTo>
                        <a:pt x="216" y="30"/>
                      </a:lnTo>
                      <a:lnTo>
                        <a:pt x="168" y="30"/>
                      </a:lnTo>
                      <a:lnTo>
                        <a:pt x="162" y="36"/>
                      </a:lnTo>
                      <a:lnTo>
                        <a:pt x="150" y="42"/>
                      </a:lnTo>
                      <a:lnTo>
                        <a:pt x="114" y="42"/>
                      </a:lnTo>
                      <a:lnTo>
                        <a:pt x="114" y="48"/>
                      </a:lnTo>
                      <a:lnTo>
                        <a:pt x="96" y="66"/>
                      </a:lnTo>
                      <a:lnTo>
                        <a:pt x="78" y="66"/>
                      </a:lnTo>
                      <a:lnTo>
                        <a:pt x="66" y="60"/>
                      </a:lnTo>
                      <a:lnTo>
                        <a:pt x="72" y="78"/>
                      </a:lnTo>
                      <a:lnTo>
                        <a:pt x="90" y="96"/>
                      </a:lnTo>
                      <a:lnTo>
                        <a:pt x="90" y="102"/>
                      </a:lnTo>
                      <a:lnTo>
                        <a:pt x="102" y="108"/>
                      </a:lnTo>
                      <a:lnTo>
                        <a:pt x="108" y="114"/>
                      </a:lnTo>
                      <a:lnTo>
                        <a:pt x="102" y="126"/>
                      </a:lnTo>
                      <a:lnTo>
                        <a:pt x="108" y="132"/>
                      </a:lnTo>
                      <a:lnTo>
                        <a:pt x="108" y="138"/>
                      </a:lnTo>
                      <a:lnTo>
                        <a:pt x="114" y="144"/>
                      </a:lnTo>
                      <a:lnTo>
                        <a:pt x="108" y="150"/>
                      </a:lnTo>
                      <a:lnTo>
                        <a:pt x="102" y="150"/>
                      </a:lnTo>
                      <a:lnTo>
                        <a:pt x="96" y="156"/>
                      </a:lnTo>
                      <a:lnTo>
                        <a:pt x="84" y="156"/>
                      </a:lnTo>
                      <a:lnTo>
                        <a:pt x="30" y="204"/>
                      </a:lnTo>
                      <a:lnTo>
                        <a:pt x="30" y="246"/>
                      </a:lnTo>
                      <a:lnTo>
                        <a:pt x="42" y="258"/>
                      </a:lnTo>
                      <a:lnTo>
                        <a:pt x="18" y="258"/>
                      </a:lnTo>
                      <a:lnTo>
                        <a:pt x="18" y="270"/>
                      </a:lnTo>
                      <a:lnTo>
                        <a:pt x="12" y="276"/>
                      </a:lnTo>
                      <a:lnTo>
                        <a:pt x="12" y="282"/>
                      </a:lnTo>
                      <a:lnTo>
                        <a:pt x="6" y="288"/>
                      </a:lnTo>
                      <a:lnTo>
                        <a:pt x="0" y="288"/>
                      </a:lnTo>
                      <a:lnTo>
                        <a:pt x="0" y="306"/>
                      </a:lnTo>
                      <a:lnTo>
                        <a:pt x="6" y="306"/>
                      </a:lnTo>
                      <a:lnTo>
                        <a:pt x="24" y="324"/>
                      </a:ln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spcBef>
                      <a:spcPct val="0"/>
                    </a:spcBef>
                    <a:defRPr/>
                  </a:pPr>
                  <a:endParaRPr lang="en-US" dirty="0">
                    <a:solidFill>
                      <a:srgbClr val="000000"/>
                    </a:solidFill>
                    <a:latin typeface="Calibri" pitchFamily="34" charset="0"/>
                    <a:cs typeface="Calibri" pitchFamily="34" charset="0"/>
                  </a:endParaRPr>
                </a:p>
              </p:txBody>
            </p:sp>
            <p:grpSp>
              <p:nvGrpSpPr>
                <p:cNvPr id="316" name="Gruppieren 531"/>
                <p:cNvGrpSpPr>
                  <a:grpSpLocks/>
                </p:cNvGrpSpPr>
                <p:nvPr/>
              </p:nvGrpSpPr>
              <p:grpSpPr bwMode="auto">
                <a:xfrm>
                  <a:off x="3759200" y="1611313"/>
                  <a:ext cx="1676400" cy="1335087"/>
                  <a:chOff x="3759204" y="1611314"/>
                  <a:chExt cx="1676404" cy="1335088"/>
                </a:xfrm>
              </p:grpSpPr>
              <p:sp>
                <p:nvSpPr>
                  <p:cNvPr id="317" name="Poland" descr="© INSCALE GmbH, 05.05.2010&#10;http://www.presentationload.com/"/>
                  <p:cNvSpPr>
                    <a:spLocks/>
                  </p:cNvSpPr>
                  <p:nvPr/>
                </p:nvSpPr>
                <p:spPr bwMode="gray">
                  <a:xfrm>
                    <a:off x="4602168" y="2311402"/>
                    <a:ext cx="252413" cy="180975"/>
                  </a:xfrm>
                  <a:custGeom>
                    <a:avLst/>
                    <a:gdLst>
                      <a:gd name="T0" fmla="*/ 2147483647 w 624"/>
                      <a:gd name="T1" fmla="*/ 2147483647 h 450"/>
                      <a:gd name="T2" fmla="*/ 2147483647 w 624"/>
                      <a:gd name="T3" fmla="*/ 2147483647 h 450"/>
                      <a:gd name="T4" fmla="*/ 2147483647 w 624"/>
                      <a:gd name="T5" fmla="*/ 2147483647 h 450"/>
                      <a:gd name="T6" fmla="*/ 2147483647 w 624"/>
                      <a:gd name="T7" fmla="*/ 2147483647 h 450"/>
                      <a:gd name="T8" fmla="*/ 2147483647 w 624"/>
                      <a:gd name="T9" fmla="*/ 2147483647 h 450"/>
                      <a:gd name="T10" fmla="*/ 2147483647 w 624"/>
                      <a:gd name="T11" fmla="*/ 2147483647 h 450"/>
                      <a:gd name="T12" fmla="*/ 2147483647 w 624"/>
                      <a:gd name="T13" fmla="*/ 2147483647 h 450"/>
                      <a:gd name="T14" fmla="*/ 2147483647 w 624"/>
                      <a:gd name="T15" fmla="*/ 2147483647 h 450"/>
                      <a:gd name="T16" fmla="*/ 2147483647 w 624"/>
                      <a:gd name="T17" fmla="*/ 2147483647 h 450"/>
                      <a:gd name="T18" fmla="*/ 2147483647 w 624"/>
                      <a:gd name="T19" fmla="*/ 2147483647 h 450"/>
                      <a:gd name="T20" fmla="*/ 2147483647 w 624"/>
                      <a:gd name="T21" fmla="*/ 2147483647 h 450"/>
                      <a:gd name="T22" fmla="*/ 2147483647 w 624"/>
                      <a:gd name="T23" fmla="*/ 2147483647 h 450"/>
                      <a:gd name="T24" fmla="*/ 2147483647 w 624"/>
                      <a:gd name="T25" fmla="*/ 2147483647 h 450"/>
                      <a:gd name="T26" fmla="*/ 2147483647 w 624"/>
                      <a:gd name="T27" fmla="*/ 2147483647 h 450"/>
                      <a:gd name="T28" fmla="*/ 2147483647 w 624"/>
                      <a:gd name="T29" fmla="*/ 2147483647 h 450"/>
                      <a:gd name="T30" fmla="*/ 2147483647 w 624"/>
                      <a:gd name="T31" fmla="*/ 2147483647 h 450"/>
                      <a:gd name="T32" fmla="*/ 2147483647 w 624"/>
                      <a:gd name="T33" fmla="*/ 2147483647 h 450"/>
                      <a:gd name="T34" fmla="*/ 2147483647 w 624"/>
                      <a:gd name="T35" fmla="*/ 2147483647 h 450"/>
                      <a:gd name="T36" fmla="*/ 2147483647 w 624"/>
                      <a:gd name="T37" fmla="*/ 2147483647 h 450"/>
                      <a:gd name="T38" fmla="*/ 2147483647 w 624"/>
                      <a:gd name="T39" fmla="*/ 2147483647 h 450"/>
                      <a:gd name="T40" fmla="*/ 2147483647 w 624"/>
                      <a:gd name="T41" fmla="*/ 2147483647 h 450"/>
                      <a:gd name="T42" fmla="*/ 2147483647 w 624"/>
                      <a:gd name="T43" fmla="*/ 2147483647 h 450"/>
                      <a:gd name="T44" fmla="*/ 2147483647 w 624"/>
                      <a:gd name="T45" fmla="*/ 2147483647 h 450"/>
                      <a:gd name="T46" fmla="*/ 2147483647 w 624"/>
                      <a:gd name="T47" fmla="*/ 2147483647 h 450"/>
                      <a:gd name="T48" fmla="*/ 2147483647 w 624"/>
                      <a:gd name="T49" fmla="*/ 2147483647 h 450"/>
                      <a:gd name="T50" fmla="*/ 2147483647 w 624"/>
                      <a:gd name="T51" fmla="*/ 2147483647 h 450"/>
                      <a:gd name="T52" fmla="*/ 2147483647 w 624"/>
                      <a:gd name="T53" fmla="*/ 2147483647 h 450"/>
                      <a:gd name="T54" fmla="*/ 2147483647 w 624"/>
                      <a:gd name="T55" fmla="*/ 2147483647 h 450"/>
                      <a:gd name="T56" fmla="*/ 2147483647 w 624"/>
                      <a:gd name="T57" fmla="*/ 2147483647 h 450"/>
                      <a:gd name="T58" fmla="*/ 0 w 624"/>
                      <a:gd name="T59" fmla="*/ 2147483647 h 450"/>
                      <a:gd name="T60" fmla="*/ 2147483647 w 624"/>
                      <a:gd name="T61" fmla="*/ 2147483647 h 450"/>
                      <a:gd name="T62" fmla="*/ 2147483647 w 624"/>
                      <a:gd name="T63" fmla="*/ 2147483647 h 450"/>
                      <a:gd name="T64" fmla="*/ 2147483647 w 624"/>
                      <a:gd name="T65" fmla="*/ 2147483647 h 450"/>
                      <a:gd name="T66" fmla="*/ 2147483647 w 624"/>
                      <a:gd name="T67" fmla="*/ 2147483647 h 450"/>
                      <a:gd name="T68" fmla="*/ 2147483647 w 624"/>
                      <a:gd name="T69" fmla="*/ 2147483647 h 450"/>
                      <a:gd name="T70" fmla="*/ 2147483647 w 624"/>
                      <a:gd name="T71" fmla="*/ 2147483647 h 450"/>
                      <a:gd name="T72" fmla="*/ 2147483647 w 624"/>
                      <a:gd name="T73" fmla="*/ 2147483647 h 450"/>
                      <a:gd name="T74" fmla="*/ 2147483647 w 624"/>
                      <a:gd name="T75" fmla="*/ 2147483647 h 450"/>
                      <a:gd name="T76" fmla="*/ 2147483647 w 624"/>
                      <a:gd name="T77" fmla="*/ 2147483647 h 450"/>
                      <a:gd name="T78" fmla="*/ 2147483647 w 624"/>
                      <a:gd name="T79" fmla="*/ 2147483647 h 450"/>
                      <a:gd name="T80" fmla="*/ 2147483647 w 624"/>
                      <a:gd name="T81" fmla="*/ 2147483647 h 450"/>
                      <a:gd name="T82" fmla="*/ 2147483647 w 624"/>
                      <a:gd name="T83" fmla="*/ 2147483647 h 450"/>
                      <a:gd name="T84" fmla="*/ 2147483647 w 624"/>
                      <a:gd name="T85" fmla="*/ 2147483647 h 450"/>
                      <a:gd name="T86" fmla="*/ 2147483647 w 624"/>
                      <a:gd name="T87" fmla="*/ 2147483647 h 450"/>
                      <a:gd name="T88" fmla="*/ 2147483647 w 624"/>
                      <a:gd name="T89" fmla="*/ 2147483647 h 450"/>
                      <a:gd name="T90" fmla="*/ 2147483647 w 624"/>
                      <a:gd name="T91" fmla="*/ 2147483647 h 450"/>
                      <a:gd name="T92" fmla="*/ 2147483647 w 624"/>
                      <a:gd name="T93" fmla="*/ 2147483647 h 450"/>
                      <a:gd name="T94" fmla="*/ 2147483647 w 624"/>
                      <a:gd name="T95" fmla="*/ 2147483647 h 450"/>
                      <a:gd name="T96" fmla="*/ 2147483647 w 624"/>
                      <a:gd name="T97" fmla="*/ 2147483647 h 450"/>
                      <a:gd name="T98" fmla="*/ 2147483647 w 624"/>
                      <a:gd name="T99" fmla="*/ 2147483647 h 450"/>
                      <a:gd name="T100" fmla="*/ 2147483647 w 624"/>
                      <a:gd name="T101" fmla="*/ 2147483647 h 450"/>
                      <a:gd name="T102" fmla="*/ 2147483647 w 624"/>
                      <a:gd name="T103" fmla="*/ 2147483647 h 450"/>
                      <a:gd name="T104" fmla="*/ 2147483647 w 624"/>
                      <a:gd name="T105" fmla="*/ 2147483647 h 450"/>
                      <a:gd name="T106" fmla="*/ 2147483647 w 624"/>
                      <a:gd name="T107" fmla="*/ 2147483647 h 450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624"/>
                      <a:gd name="T163" fmla="*/ 0 h 450"/>
                      <a:gd name="T164" fmla="*/ 624 w 624"/>
                      <a:gd name="T165" fmla="*/ 450 h 450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624" h="450">
                        <a:moveTo>
                          <a:pt x="426" y="426"/>
                        </a:moveTo>
                        <a:lnTo>
                          <a:pt x="432" y="426"/>
                        </a:lnTo>
                        <a:lnTo>
                          <a:pt x="444" y="420"/>
                        </a:lnTo>
                        <a:lnTo>
                          <a:pt x="450" y="414"/>
                        </a:lnTo>
                        <a:lnTo>
                          <a:pt x="474" y="414"/>
                        </a:lnTo>
                        <a:lnTo>
                          <a:pt x="498" y="438"/>
                        </a:lnTo>
                        <a:lnTo>
                          <a:pt x="528" y="438"/>
                        </a:lnTo>
                        <a:lnTo>
                          <a:pt x="528" y="450"/>
                        </a:lnTo>
                        <a:lnTo>
                          <a:pt x="552" y="450"/>
                        </a:lnTo>
                        <a:lnTo>
                          <a:pt x="540" y="438"/>
                        </a:lnTo>
                        <a:lnTo>
                          <a:pt x="540" y="396"/>
                        </a:lnTo>
                        <a:lnTo>
                          <a:pt x="594" y="348"/>
                        </a:lnTo>
                        <a:lnTo>
                          <a:pt x="606" y="348"/>
                        </a:lnTo>
                        <a:lnTo>
                          <a:pt x="612" y="342"/>
                        </a:lnTo>
                        <a:lnTo>
                          <a:pt x="618" y="342"/>
                        </a:lnTo>
                        <a:lnTo>
                          <a:pt x="624" y="336"/>
                        </a:lnTo>
                        <a:lnTo>
                          <a:pt x="618" y="330"/>
                        </a:lnTo>
                        <a:lnTo>
                          <a:pt x="618" y="324"/>
                        </a:lnTo>
                        <a:lnTo>
                          <a:pt x="612" y="318"/>
                        </a:lnTo>
                        <a:lnTo>
                          <a:pt x="618" y="306"/>
                        </a:lnTo>
                        <a:lnTo>
                          <a:pt x="612" y="300"/>
                        </a:lnTo>
                        <a:lnTo>
                          <a:pt x="600" y="294"/>
                        </a:lnTo>
                        <a:lnTo>
                          <a:pt x="600" y="288"/>
                        </a:lnTo>
                        <a:lnTo>
                          <a:pt x="582" y="270"/>
                        </a:lnTo>
                        <a:lnTo>
                          <a:pt x="576" y="252"/>
                        </a:lnTo>
                        <a:lnTo>
                          <a:pt x="582" y="252"/>
                        </a:lnTo>
                        <a:lnTo>
                          <a:pt x="576" y="240"/>
                        </a:lnTo>
                        <a:lnTo>
                          <a:pt x="576" y="210"/>
                        </a:lnTo>
                        <a:lnTo>
                          <a:pt x="564" y="198"/>
                        </a:lnTo>
                        <a:lnTo>
                          <a:pt x="558" y="198"/>
                        </a:lnTo>
                        <a:lnTo>
                          <a:pt x="552" y="192"/>
                        </a:lnTo>
                        <a:lnTo>
                          <a:pt x="552" y="186"/>
                        </a:lnTo>
                        <a:lnTo>
                          <a:pt x="564" y="186"/>
                        </a:lnTo>
                        <a:lnTo>
                          <a:pt x="564" y="168"/>
                        </a:lnTo>
                        <a:lnTo>
                          <a:pt x="588" y="162"/>
                        </a:lnTo>
                        <a:lnTo>
                          <a:pt x="588" y="150"/>
                        </a:lnTo>
                        <a:lnTo>
                          <a:pt x="594" y="144"/>
                        </a:lnTo>
                        <a:lnTo>
                          <a:pt x="594" y="138"/>
                        </a:lnTo>
                        <a:lnTo>
                          <a:pt x="588" y="132"/>
                        </a:lnTo>
                        <a:lnTo>
                          <a:pt x="576" y="108"/>
                        </a:lnTo>
                        <a:lnTo>
                          <a:pt x="570" y="102"/>
                        </a:lnTo>
                        <a:lnTo>
                          <a:pt x="570" y="90"/>
                        </a:lnTo>
                        <a:lnTo>
                          <a:pt x="564" y="84"/>
                        </a:lnTo>
                        <a:lnTo>
                          <a:pt x="558" y="72"/>
                        </a:lnTo>
                        <a:lnTo>
                          <a:pt x="558" y="48"/>
                        </a:lnTo>
                        <a:lnTo>
                          <a:pt x="546" y="42"/>
                        </a:lnTo>
                        <a:lnTo>
                          <a:pt x="540" y="42"/>
                        </a:lnTo>
                        <a:lnTo>
                          <a:pt x="522" y="36"/>
                        </a:lnTo>
                        <a:lnTo>
                          <a:pt x="498" y="36"/>
                        </a:lnTo>
                        <a:lnTo>
                          <a:pt x="498" y="42"/>
                        </a:lnTo>
                        <a:lnTo>
                          <a:pt x="408" y="42"/>
                        </a:lnTo>
                        <a:lnTo>
                          <a:pt x="402" y="36"/>
                        </a:lnTo>
                        <a:lnTo>
                          <a:pt x="390" y="36"/>
                        </a:lnTo>
                        <a:lnTo>
                          <a:pt x="384" y="30"/>
                        </a:lnTo>
                        <a:lnTo>
                          <a:pt x="360" y="30"/>
                        </a:lnTo>
                        <a:lnTo>
                          <a:pt x="354" y="36"/>
                        </a:lnTo>
                        <a:lnTo>
                          <a:pt x="348" y="36"/>
                        </a:lnTo>
                        <a:lnTo>
                          <a:pt x="342" y="30"/>
                        </a:lnTo>
                        <a:lnTo>
                          <a:pt x="312" y="30"/>
                        </a:lnTo>
                        <a:lnTo>
                          <a:pt x="300" y="36"/>
                        </a:lnTo>
                        <a:lnTo>
                          <a:pt x="282" y="36"/>
                        </a:lnTo>
                        <a:lnTo>
                          <a:pt x="276" y="30"/>
                        </a:lnTo>
                        <a:lnTo>
                          <a:pt x="270" y="18"/>
                        </a:lnTo>
                        <a:lnTo>
                          <a:pt x="264" y="12"/>
                        </a:lnTo>
                        <a:lnTo>
                          <a:pt x="264" y="6"/>
                        </a:lnTo>
                        <a:lnTo>
                          <a:pt x="258" y="6"/>
                        </a:lnTo>
                        <a:lnTo>
                          <a:pt x="252" y="0"/>
                        </a:lnTo>
                        <a:lnTo>
                          <a:pt x="210" y="0"/>
                        </a:lnTo>
                        <a:lnTo>
                          <a:pt x="192" y="6"/>
                        </a:lnTo>
                        <a:lnTo>
                          <a:pt x="180" y="12"/>
                        </a:lnTo>
                        <a:lnTo>
                          <a:pt x="162" y="12"/>
                        </a:lnTo>
                        <a:lnTo>
                          <a:pt x="150" y="18"/>
                        </a:lnTo>
                        <a:lnTo>
                          <a:pt x="144" y="24"/>
                        </a:lnTo>
                        <a:lnTo>
                          <a:pt x="138" y="24"/>
                        </a:lnTo>
                        <a:lnTo>
                          <a:pt x="120" y="42"/>
                        </a:lnTo>
                        <a:lnTo>
                          <a:pt x="60" y="48"/>
                        </a:lnTo>
                        <a:lnTo>
                          <a:pt x="54" y="48"/>
                        </a:lnTo>
                        <a:lnTo>
                          <a:pt x="48" y="54"/>
                        </a:lnTo>
                        <a:lnTo>
                          <a:pt x="24" y="66"/>
                        </a:lnTo>
                        <a:lnTo>
                          <a:pt x="18" y="66"/>
                        </a:lnTo>
                        <a:lnTo>
                          <a:pt x="12" y="72"/>
                        </a:lnTo>
                        <a:lnTo>
                          <a:pt x="18" y="78"/>
                        </a:lnTo>
                        <a:lnTo>
                          <a:pt x="18" y="96"/>
                        </a:lnTo>
                        <a:lnTo>
                          <a:pt x="6" y="90"/>
                        </a:lnTo>
                        <a:lnTo>
                          <a:pt x="6" y="108"/>
                        </a:lnTo>
                        <a:lnTo>
                          <a:pt x="12" y="108"/>
                        </a:lnTo>
                        <a:lnTo>
                          <a:pt x="18" y="114"/>
                        </a:lnTo>
                        <a:lnTo>
                          <a:pt x="18" y="132"/>
                        </a:lnTo>
                        <a:lnTo>
                          <a:pt x="6" y="144"/>
                        </a:lnTo>
                        <a:lnTo>
                          <a:pt x="0" y="144"/>
                        </a:lnTo>
                        <a:lnTo>
                          <a:pt x="0" y="156"/>
                        </a:lnTo>
                        <a:lnTo>
                          <a:pt x="6" y="162"/>
                        </a:lnTo>
                        <a:lnTo>
                          <a:pt x="12" y="162"/>
                        </a:lnTo>
                        <a:lnTo>
                          <a:pt x="18" y="168"/>
                        </a:lnTo>
                        <a:lnTo>
                          <a:pt x="30" y="168"/>
                        </a:lnTo>
                        <a:lnTo>
                          <a:pt x="30" y="186"/>
                        </a:lnTo>
                        <a:lnTo>
                          <a:pt x="24" y="186"/>
                        </a:lnTo>
                        <a:lnTo>
                          <a:pt x="24" y="198"/>
                        </a:lnTo>
                        <a:lnTo>
                          <a:pt x="36" y="198"/>
                        </a:lnTo>
                        <a:lnTo>
                          <a:pt x="36" y="204"/>
                        </a:lnTo>
                        <a:lnTo>
                          <a:pt x="30" y="210"/>
                        </a:lnTo>
                        <a:lnTo>
                          <a:pt x="36" y="210"/>
                        </a:lnTo>
                        <a:lnTo>
                          <a:pt x="42" y="216"/>
                        </a:lnTo>
                        <a:lnTo>
                          <a:pt x="36" y="222"/>
                        </a:lnTo>
                        <a:lnTo>
                          <a:pt x="24" y="228"/>
                        </a:lnTo>
                        <a:lnTo>
                          <a:pt x="24" y="234"/>
                        </a:lnTo>
                        <a:lnTo>
                          <a:pt x="30" y="240"/>
                        </a:lnTo>
                        <a:lnTo>
                          <a:pt x="36" y="240"/>
                        </a:lnTo>
                        <a:lnTo>
                          <a:pt x="42" y="246"/>
                        </a:lnTo>
                        <a:lnTo>
                          <a:pt x="42" y="264"/>
                        </a:lnTo>
                        <a:lnTo>
                          <a:pt x="48" y="258"/>
                        </a:lnTo>
                        <a:lnTo>
                          <a:pt x="54" y="258"/>
                        </a:lnTo>
                        <a:lnTo>
                          <a:pt x="54" y="270"/>
                        </a:lnTo>
                        <a:lnTo>
                          <a:pt x="48" y="276"/>
                        </a:lnTo>
                        <a:lnTo>
                          <a:pt x="60" y="276"/>
                        </a:lnTo>
                        <a:lnTo>
                          <a:pt x="60" y="282"/>
                        </a:lnTo>
                        <a:lnTo>
                          <a:pt x="54" y="282"/>
                        </a:lnTo>
                        <a:lnTo>
                          <a:pt x="54" y="294"/>
                        </a:lnTo>
                        <a:lnTo>
                          <a:pt x="72" y="294"/>
                        </a:lnTo>
                        <a:lnTo>
                          <a:pt x="78" y="312"/>
                        </a:lnTo>
                        <a:lnTo>
                          <a:pt x="96" y="312"/>
                        </a:lnTo>
                        <a:lnTo>
                          <a:pt x="108" y="318"/>
                        </a:lnTo>
                        <a:lnTo>
                          <a:pt x="114" y="318"/>
                        </a:lnTo>
                        <a:lnTo>
                          <a:pt x="114" y="324"/>
                        </a:lnTo>
                        <a:lnTo>
                          <a:pt x="138" y="324"/>
                        </a:lnTo>
                        <a:lnTo>
                          <a:pt x="144" y="330"/>
                        </a:lnTo>
                        <a:lnTo>
                          <a:pt x="132" y="336"/>
                        </a:lnTo>
                        <a:lnTo>
                          <a:pt x="144" y="342"/>
                        </a:lnTo>
                        <a:lnTo>
                          <a:pt x="144" y="354"/>
                        </a:lnTo>
                        <a:lnTo>
                          <a:pt x="150" y="354"/>
                        </a:lnTo>
                        <a:lnTo>
                          <a:pt x="156" y="360"/>
                        </a:lnTo>
                        <a:lnTo>
                          <a:pt x="174" y="360"/>
                        </a:lnTo>
                        <a:lnTo>
                          <a:pt x="174" y="354"/>
                        </a:lnTo>
                        <a:lnTo>
                          <a:pt x="180" y="354"/>
                        </a:lnTo>
                        <a:lnTo>
                          <a:pt x="192" y="348"/>
                        </a:lnTo>
                        <a:lnTo>
                          <a:pt x="210" y="348"/>
                        </a:lnTo>
                        <a:lnTo>
                          <a:pt x="204" y="354"/>
                        </a:lnTo>
                        <a:lnTo>
                          <a:pt x="222" y="354"/>
                        </a:lnTo>
                        <a:lnTo>
                          <a:pt x="228" y="360"/>
                        </a:lnTo>
                        <a:lnTo>
                          <a:pt x="234" y="372"/>
                        </a:lnTo>
                        <a:lnTo>
                          <a:pt x="240" y="378"/>
                        </a:lnTo>
                        <a:lnTo>
                          <a:pt x="246" y="366"/>
                        </a:lnTo>
                        <a:lnTo>
                          <a:pt x="252" y="372"/>
                        </a:lnTo>
                        <a:lnTo>
                          <a:pt x="252" y="378"/>
                        </a:lnTo>
                        <a:lnTo>
                          <a:pt x="270" y="378"/>
                        </a:lnTo>
                        <a:lnTo>
                          <a:pt x="282" y="384"/>
                        </a:lnTo>
                        <a:lnTo>
                          <a:pt x="282" y="390"/>
                        </a:lnTo>
                        <a:lnTo>
                          <a:pt x="288" y="402"/>
                        </a:lnTo>
                        <a:lnTo>
                          <a:pt x="306" y="420"/>
                        </a:lnTo>
                        <a:lnTo>
                          <a:pt x="318" y="420"/>
                        </a:lnTo>
                        <a:lnTo>
                          <a:pt x="330" y="408"/>
                        </a:lnTo>
                        <a:lnTo>
                          <a:pt x="342" y="408"/>
                        </a:lnTo>
                        <a:lnTo>
                          <a:pt x="354" y="420"/>
                        </a:lnTo>
                        <a:lnTo>
                          <a:pt x="360" y="420"/>
                        </a:lnTo>
                        <a:lnTo>
                          <a:pt x="360" y="426"/>
                        </a:lnTo>
                        <a:lnTo>
                          <a:pt x="366" y="432"/>
                        </a:lnTo>
                        <a:lnTo>
                          <a:pt x="378" y="432"/>
                        </a:lnTo>
                        <a:lnTo>
                          <a:pt x="384" y="426"/>
                        </a:lnTo>
                        <a:lnTo>
                          <a:pt x="384" y="420"/>
                        </a:lnTo>
                        <a:lnTo>
                          <a:pt x="414" y="420"/>
                        </a:lnTo>
                        <a:lnTo>
                          <a:pt x="420" y="426"/>
                        </a:lnTo>
                        <a:lnTo>
                          <a:pt x="426" y="426"/>
                        </a:lnTo>
                        <a:close/>
                      </a:path>
                    </a:pathLst>
                  </a:custGeom>
                  <a:solidFill>
                    <a:schemeClr val="tx1">
                      <a:lumMod val="75000"/>
                      <a:lumOff val="25000"/>
                    </a:schemeClr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85800"/>
                    <a:endParaRPr lang="en-US">
                      <a:solidFill>
                        <a:srgbClr val="000000"/>
                      </a:solidFill>
                      <a:latin typeface="Verdana" panose="020B0604030504040204"/>
                    </a:endParaRPr>
                  </a:p>
                </p:txBody>
              </p:sp>
              <p:sp>
                <p:nvSpPr>
                  <p:cNvPr id="318" name="Norway" descr="© INSCALE GmbH, 05.05.2010&#10;http://www.presentationload.com/"/>
                  <p:cNvSpPr>
                    <a:spLocks noEditPoints="1"/>
                  </p:cNvSpPr>
                  <p:nvPr/>
                </p:nvSpPr>
                <p:spPr bwMode="gray">
                  <a:xfrm>
                    <a:off x="4391031" y="1611314"/>
                    <a:ext cx="546101" cy="601662"/>
                  </a:xfrm>
                  <a:custGeom>
                    <a:avLst/>
                    <a:gdLst>
                      <a:gd name="T0" fmla="*/ 2147483647 w 1362"/>
                      <a:gd name="T1" fmla="*/ 2147483647 h 1500"/>
                      <a:gd name="T2" fmla="*/ 2147483647 w 1362"/>
                      <a:gd name="T3" fmla="*/ 2147483647 h 1500"/>
                      <a:gd name="T4" fmla="*/ 2147483647 w 1362"/>
                      <a:gd name="T5" fmla="*/ 2147483647 h 1500"/>
                      <a:gd name="T6" fmla="*/ 2147483647 w 1362"/>
                      <a:gd name="T7" fmla="*/ 2147483647 h 1500"/>
                      <a:gd name="T8" fmla="*/ 2147483647 w 1362"/>
                      <a:gd name="T9" fmla="*/ 0 h 1500"/>
                      <a:gd name="T10" fmla="*/ 2147483647 w 1362"/>
                      <a:gd name="T11" fmla="*/ 2147483647 h 1500"/>
                      <a:gd name="T12" fmla="*/ 2147483647 w 1362"/>
                      <a:gd name="T13" fmla="*/ 2147483647 h 1500"/>
                      <a:gd name="T14" fmla="*/ 2147483647 w 1362"/>
                      <a:gd name="T15" fmla="*/ 2147483647 h 1500"/>
                      <a:gd name="T16" fmla="*/ 2147483647 w 1362"/>
                      <a:gd name="T17" fmla="*/ 2147483647 h 1500"/>
                      <a:gd name="T18" fmla="*/ 2147483647 w 1362"/>
                      <a:gd name="T19" fmla="*/ 2147483647 h 1500"/>
                      <a:gd name="T20" fmla="*/ 2147483647 w 1362"/>
                      <a:gd name="T21" fmla="*/ 2147483647 h 1500"/>
                      <a:gd name="T22" fmla="*/ 2147483647 w 1362"/>
                      <a:gd name="T23" fmla="*/ 2147483647 h 1500"/>
                      <a:gd name="T24" fmla="*/ 2147483647 w 1362"/>
                      <a:gd name="T25" fmla="*/ 2147483647 h 1500"/>
                      <a:gd name="T26" fmla="*/ 2147483647 w 1362"/>
                      <a:gd name="T27" fmla="*/ 2147483647 h 1500"/>
                      <a:gd name="T28" fmla="*/ 2147483647 w 1362"/>
                      <a:gd name="T29" fmla="*/ 2147483647 h 1500"/>
                      <a:gd name="T30" fmla="*/ 2147483647 w 1362"/>
                      <a:gd name="T31" fmla="*/ 2147483647 h 1500"/>
                      <a:gd name="T32" fmla="*/ 2147483647 w 1362"/>
                      <a:gd name="T33" fmla="*/ 2147483647 h 1500"/>
                      <a:gd name="T34" fmla="*/ 2147483647 w 1362"/>
                      <a:gd name="T35" fmla="*/ 2147483647 h 1500"/>
                      <a:gd name="T36" fmla="*/ 2147483647 w 1362"/>
                      <a:gd name="T37" fmla="*/ 2147483647 h 1500"/>
                      <a:gd name="T38" fmla="*/ 2147483647 w 1362"/>
                      <a:gd name="T39" fmla="*/ 2147483647 h 1500"/>
                      <a:gd name="T40" fmla="*/ 2147483647 w 1362"/>
                      <a:gd name="T41" fmla="*/ 2147483647 h 1500"/>
                      <a:gd name="T42" fmla="*/ 2147483647 w 1362"/>
                      <a:gd name="T43" fmla="*/ 2147483647 h 1500"/>
                      <a:gd name="T44" fmla="*/ 2147483647 w 1362"/>
                      <a:gd name="T45" fmla="*/ 2147483647 h 1500"/>
                      <a:gd name="T46" fmla="*/ 2147483647 w 1362"/>
                      <a:gd name="T47" fmla="*/ 2147483647 h 1500"/>
                      <a:gd name="T48" fmla="*/ 2147483647 w 1362"/>
                      <a:gd name="T49" fmla="*/ 2147483647 h 1500"/>
                      <a:gd name="T50" fmla="*/ 2147483647 w 1362"/>
                      <a:gd name="T51" fmla="*/ 2147483647 h 1500"/>
                      <a:gd name="T52" fmla="*/ 2147483647 w 1362"/>
                      <a:gd name="T53" fmla="*/ 2147483647 h 1500"/>
                      <a:gd name="T54" fmla="*/ 2147483647 w 1362"/>
                      <a:gd name="T55" fmla="*/ 2147483647 h 1500"/>
                      <a:gd name="T56" fmla="*/ 2147483647 w 1362"/>
                      <a:gd name="T57" fmla="*/ 2147483647 h 1500"/>
                      <a:gd name="T58" fmla="*/ 2147483647 w 1362"/>
                      <a:gd name="T59" fmla="*/ 2147483647 h 1500"/>
                      <a:gd name="T60" fmla="*/ 2147483647 w 1362"/>
                      <a:gd name="T61" fmla="*/ 2147483647 h 1500"/>
                      <a:gd name="T62" fmla="*/ 2147483647 w 1362"/>
                      <a:gd name="T63" fmla="*/ 2147483647 h 1500"/>
                      <a:gd name="T64" fmla="*/ 2147483647 w 1362"/>
                      <a:gd name="T65" fmla="*/ 2147483647 h 1500"/>
                      <a:gd name="T66" fmla="*/ 2147483647 w 1362"/>
                      <a:gd name="T67" fmla="*/ 2147483647 h 1500"/>
                      <a:gd name="T68" fmla="*/ 2147483647 w 1362"/>
                      <a:gd name="T69" fmla="*/ 2147483647 h 1500"/>
                      <a:gd name="T70" fmla="*/ 2147483647 w 1362"/>
                      <a:gd name="T71" fmla="*/ 2147483647 h 1500"/>
                      <a:gd name="T72" fmla="*/ 2147483647 w 1362"/>
                      <a:gd name="T73" fmla="*/ 2147483647 h 1500"/>
                      <a:gd name="T74" fmla="*/ 2147483647 w 1362"/>
                      <a:gd name="T75" fmla="*/ 2147483647 h 1500"/>
                      <a:gd name="T76" fmla="*/ 2147483647 w 1362"/>
                      <a:gd name="T77" fmla="*/ 2147483647 h 1500"/>
                      <a:gd name="T78" fmla="*/ 2147483647 w 1362"/>
                      <a:gd name="T79" fmla="*/ 2147483647 h 1500"/>
                      <a:gd name="T80" fmla="*/ 2147483647 w 1362"/>
                      <a:gd name="T81" fmla="*/ 2147483647 h 1500"/>
                      <a:gd name="T82" fmla="*/ 2147483647 w 1362"/>
                      <a:gd name="T83" fmla="*/ 2147483647 h 1500"/>
                      <a:gd name="T84" fmla="*/ 2147483647 w 1362"/>
                      <a:gd name="T85" fmla="*/ 2147483647 h 1500"/>
                      <a:gd name="T86" fmla="*/ 2147483647 w 1362"/>
                      <a:gd name="T87" fmla="*/ 2147483647 h 1500"/>
                      <a:gd name="T88" fmla="*/ 2147483647 w 1362"/>
                      <a:gd name="T89" fmla="*/ 2147483647 h 1500"/>
                      <a:gd name="T90" fmla="*/ 2147483647 w 1362"/>
                      <a:gd name="T91" fmla="*/ 2147483647 h 1500"/>
                      <a:gd name="T92" fmla="*/ 2147483647 w 1362"/>
                      <a:gd name="T93" fmla="*/ 2147483647 h 1500"/>
                      <a:gd name="T94" fmla="*/ 2147483647 w 1362"/>
                      <a:gd name="T95" fmla="*/ 2147483647 h 1500"/>
                      <a:gd name="T96" fmla="*/ 2147483647 w 1362"/>
                      <a:gd name="T97" fmla="*/ 2147483647 h 1500"/>
                      <a:gd name="T98" fmla="*/ 2147483647 w 1362"/>
                      <a:gd name="T99" fmla="*/ 2147483647 h 1500"/>
                      <a:gd name="T100" fmla="*/ 2147483647 w 1362"/>
                      <a:gd name="T101" fmla="*/ 2147483647 h 1500"/>
                      <a:gd name="T102" fmla="*/ 2147483647 w 1362"/>
                      <a:gd name="T103" fmla="*/ 2147483647 h 1500"/>
                      <a:gd name="T104" fmla="*/ 2147483647 w 1362"/>
                      <a:gd name="T105" fmla="*/ 2147483647 h 1500"/>
                      <a:gd name="T106" fmla="*/ 2147483647 w 1362"/>
                      <a:gd name="T107" fmla="*/ 2147483647 h 1500"/>
                      <a:gd name="T108" fmla="*/ 2147483647 w 1362"/>
                      <a:gd name="T109" fmla="*/ 2147483647 h 1500"/>
                      <a:gd name="T110" fmla="*/ 2147483647 w 1362"/>
                      <a:gd name="T111" fmla="*/ 2147483647 h 1500"/>
                      <a:gd name="T112" fmla="*/ 2147483647 w 1362"/>
                      <a:gd name="T113" fmla="*/ 2147483647 h 1500"/>
                      <a:gd name="T114" fmla="*/ 2147483647 w 1362"/>
                      <a:gd name="T115" fmla="*/ 2147483647 h 1500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1362"/>
                      <a:gd name="T175" fmla="*/ 0 h 1500"/>
                      <a:gd name="T176" fmla="*/ 1362 w 1362"/>
                      <a:gd name="T177" fmla="*/ 1500 h 1500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1362" h="1500">
                        <a:moveTo>
                          <a:pt x="324" y="120"/>
                        </a:moveTo>
                        <a:lnTo>
                          <a:pt x="336" y="126"/>
                        </a:lnTo>
                        <a:lnTo>
                          <a:pt x="354" y="132"/>
                        </a:lnTo>
                        <a:lnTo>
                          <a:pt x="378" y="132"/>
                        </a:lnTo>
                        <a:lnTo>
                          <a:pt x="294" y="90"/>
                        </a:lnTo>
                        <a:lnTo>
                          <a:pt x="294" y="102"/>
                        </a:lnTo>
                        <a:lnTo>
                          <a:pt x="306" y="108"/>
                        </a:lnTo>
                        <a:lnTo>
                          <a:pt x="312" y="114"/>
                        </a:lnTo>
                        <a:lnTo>
                          <a:pt x="324" y="120"/>
                        </a:lnTo>
                        <a:close/>
                        <a:moveTo>
                          <a:pt x="684" y="48"/>
                        </a:moveTo>
                        <a:lnTo>
                          <a:pt x="732" y="48"/>
                        </a:lnTo>
                        <a:lnTo>
                          <a:pt x="738" y="54"/>
                        </a:lnTo>
                        <a:lnTo>
                          <a:pt x="750" y="54"/>
                        </a:lnTo>
                        <a:lnTo>
                          <a:pt x="774" y="66"/>
                        </a:lnTo>
                        <a:lnTo>
                          <a:pt x="786" y="66"/>
                        </a:lnTo>
                        <a:lnTo>
                          <a:pt x="798" y="60"/>
                        </a:lnTo>
                        <a:lnTo>
                          <a:pt x="804" y="60"/>
                        </a:lnTo>
                        <a:lnTo>
                          <a:pt x="816" y="54"/>
                        </a:lnTo>
                        <a:lnTo>
                          <a:pt x="828" y="54"/>
                        </a:lnTo>
                        <a:lnTo>
                          <a:pt x="840" y="60"/>
                        </a:lnTo>
                        <a:lnTo>
                          <a:pt x="876" y="72"/>
                        </a:lnTo>
                        <a:lnTo>
                          <a:pt x="888" y="78"/>
                        </a:lnTo>
                        <a:lnTo>
                          <a:pt x="894" y="84"/>
                        </a:lnTo>
                        <a:lnTo>
                          <a:pt x="900" y="84"/>
                        </a:lnTo>
                        <a:lnTo>
                          <a:pt x="924" y="60"/>
                        </a:lnTo>
                        <a:lnTo>
                          <a:pt x="984" y="66"/>
                        </a:lnTo>
                        <a:lnTo>
                          <a:pt x="984" y="42"/>
                        </a:lnTo>
                        <a:lnTo>
                          <a:pt x="1014" y="42"/>
                        </a:lnTo>
                        <a:lnTo>
                          <a:pt x="1026" y="36"/>
                        </a:lnTo>
                        <a:lnTo>
                          <a:pt x="1032" y="24"/>
                        </a:lnTo>
                        <a:lnTo>
                          <a:pt x="1038" y="18"/>
                        </a:lnTo>
                        <a:lnTo>
                          <a:pt x="1032" y="12"/>
                        </a:lnTo>
                        <a:lnTo>
                          <a:pt x="1002" y="12"/>
                        </a:lnTo>
                        <a:lnTo>
                          <a:pt x="990" y="18"/>
                        </a:lnTo>
                        <a:lnTo>
                          <a:pt x="984" y="18"/>
                        </a:lnTo>
                        <a:lnTo>
                          <a:pt x="972" y="6"/>
                        </a:lnTo>
                        <a:lnTo>
                          <a:pt x="960" y="0"/>
                        </a:lnTo>
                        <a:lnTo>
                          <a:pt x="918" y="0"/>
                        </a:lnTo>
                        <a:lnTo>
                          <a:pt x="900" y="6"/>
                        </a:lnTo>
                        <a:lnTo>
                          <a:pt x="882" y="18"/>
                        </a:lnTo>
                        <a:lnTo>
                          <a:pt x="870" y="18"/>
                        </a:lnTo>
                        <a:lnTo>
                          <a:pt x="864" y="12"/>
                        </a:lnTo>
                        <a:lnTo>
                          <a:pt x="864" y="6"/>
                        </a:lnTo>
                        <a:lnTo>
                          <a:pt x="858" y="6"/>
                        </a:lnTo>
                        <a:lnTo>
                          <a:pt x="852" y="0"/>
                        </a:lnTo>
                        <a:lnTo>
                          <a:pt x="822" y="0"/>
                        </a:lnTo>
                        <a:lnTo>
                          <a:pt x="804" y="18"/>
                        </a:lnTo>
                        <a:lnTo>
                          <a:pt x="738" y="0"/>
                        </a:lnTo>
                        <a:lnTo>
                          <a:pt x="726" y="0"/>
                        </a:lnTo>
                        <a:lnTo>
                          <a:pt x="708" y="6"/>
                        </a:lnTo>
                        <a:lnTo>
                          <a:pt x="690" y="6"/>
                        </a:lnTo>
                        <a:lnTo>
                          <a:pt x="672" y="12"/>
                        </a:lnTo>
                        <a:lnTo>
                          <a:pt x="660" y="12"/>
                        </a:lnTo>
                        <a:lnTo>
                          <a:pt x="660" y="6"/>
                        </a:lnTo>
                        <a:lnTo>
                          <a:pt x="666" y="0"/>
                        </a:lnTo>
                        <a:lnTo>
                          <a:pt x="630" y="12"/>
                        </a:lnTo>
                        <a:lnTo>
                          <a:pt x="648" y="36"/>
                        </a:lnTo>
                        <a:lnTo>
                          <a:pt x="684" y="48"/>
                        </a:lnTo>
                        <a:close/>
                        <a:moveTo>
                          <a:pt x="324" y="66"/>
                        </a:moveTo>
                        <a:lnTo>
                          <a:pt x="342" y="66"/>
                        </a:lnTo>
                        <a:lnTo>
                          <a:pt x="348" y="72"/>
                        </a:lnTo>
                        <a:lnTo>
                          <a:pt x="360" y="72"/>
                        </a:lnTo>
                        <a:lnTo>
                          <a:pt x="360" y="78"/>
                        </a:lnTo>
                        <a:lnTo>
                          <a:pt x="342" y="96"/>
                        </a:lnTo>
                        <a:lnTo>
                          <a:pt x="336" y="96"/>
                        </a:lnTo>
                        <a:lnTo>
                          <a:pt x="378" y="114"/>
                        </a:lnTo>
                        <a:lnTo>
                          <a:pt x="390" y="120"/>
                        </a:lnTo>
                        <a:lnTo>
                          <a:pt x="396" y="126"/>
                        </a:lnTo>
                        <a:lnTo>
                          <a:pt x="414" y="126"/>
                        </a:lnTo>
                        <a:lnTo>
                          <a:pt x="426" y="132"/>
                        </a:lnTo>
                        <a:lnTo>
                          <a:pt x="438" y="132"/>
                        </a:lnTo>
                        <a:lnTo>
                          <a:pt x="462" y="108"/>
                        </a:lnTo>
                        <a:lnTo>
                          <a:pt x="504" y="96"/>
                        </a:lnTo>
                        <a:lnTo>
                          <a:pt x="534" y="120"/>
                        </a:lnTo>
                        <a:lnTo>
                          <a:pt x="528" y="120"/>
                        </a:lnTo>
                        <a:lnTo>
                          <a:pt x="516" y="126"/>
                        </a:lnTo>
                        <a:lnTo>
                          <a:pt x="504" y="126"/>
                        </a:lnTo>
                        <a:lnTo>
                          <a:pt x="480" y="132"/>
                        </a:lnTo>
                        <a:lnTo>
                          <a:pt x="468" y="138"/>
                        </a:lnTo>
                        <a:lnTo>
                          <a:pt x="456" y="150"/>
                        </a:lnTo>
                        <a:lnTo>
                          <a:pt x="486" y="150"/>
                        </a:lnTo>
                        <a:lnTo>
                          <a:pt x="498" y="156"/>
                        </a:lnTo>
                        <a:lnTo>
                          <a:pt x="522" y="156"/>
                        </a:lnTo>
                        <a:lnTo>
                          <a:pt x="516" y="162"/>
                        </a:lnTo>
                        <a:lnTo>
                          <a:pt x="504" y="162"/>
                        </a:lnTo>
                        <a:lnTo>
                          <a:pt x="486" y="168"/>
                        </a:lnTo>
                        <a:lnTo>
                          <a:pt x="474" y="174"/>
                        </a:lnTo>
                        <a:lnTo>
                          <a:pt x="468" y="180"/>
                        </a:lnTo>
                        <a:lnTo>
                          <a:pt x="462" y="180"/>
                        </a:lnTo>
                        <a:lnTo>
                          <a:pt x="516" y="198"/>
                        </a:lnTo>
                        <a:lnTo>
                          <a:pt x="522" y="198"/>
                        </a:lnTo>
                        <a:lnTo>
                          <a:pt x="528" y="204"/>
                        </a:lnTo>
                        <a:lnTo>
                          <a:pt x="540" y="210"/>
                        </a:lnTo>
                        <a:lnTo>
                          <a:pt x="558" y="210"/>
                        </a:lnTo>
                        <a:lnTo>
                          <a:pt x="576" y="216"/>
                        </a:lnTo>
                        <a:lnTo>
                          <a:pt x="594" y="210"/>
                        </a:lnTo>
                        <a:lnTo>
                          <a:pt x="606" y="204"/>
                        </a:lnTo>
                        <a:lnTo>
                          <a:pt x="612" y="204"/>
                        </a:lnTo>
                        <a:lnTo>
                          <a:pt x="618" y="198"/>
                        </a:lnTo>
                        <a:lnTo>
                          <a:pt x="612" y="192"/>
                        </a:lnTo>
                        <a:lnTo>
                          <a:pt x="612" y="186"/>
                        </a:lnTo>
                        <a:lnTo>
                          <a:pt x="606" y="180"/>
                        </a:lnTo>
                        <a:lnTo>
                          <a:pt x="606" y="174"/>
                        </a:lnTo>
                        <a:lnTo>
                          <a:pt x="612" y="168"/>
                        </a:lnTo>
                        <a:lnTo>
                          <a:pt x="618" y="168"/>
                        </a:lnTo>
                        <a:lnTo>
                          <a:pt x="630" y="162"/>
                        </a:lnTo>
                        <a:lnTo>
                          <a:pt x="648" y="162"/>
                        </a:lnTo>
                        <a:lnTo>
                          <a:pt x="648" y="144"/>
                        </a:lnTo>
                        <a:lnTo>
                          <a:pt x="678" y="132"/>
                        </a:lnTo>
                        <a:lnTo>
                          <a:pt x="690" y="102"/>
                        </a:lnTo>
                        <a:lnTo>
                          <a:pt x="714" y="114"/>
                        </a:lnTo>
                        <a:lnTo>
                          <a:pt x="738" y="102"/>
                        </a:lnTo>
                        <a:lnTo>
                          <a:pt x="750" y="114"/>
                        </a:lnTo>
                        <a:lnTo>
                          <a:pt x="762" y="120"/>
                        </a:lnTo>
                        <a:lnTo>
                          <a:pt x="780" y="126"/>
                        </a:lnTo>
                        <a:lnTo>
                          <a:pt x="792" y="138"/>
                        </a:lnTo>
                        <a:lnTo>
                          <a:pt x="792" y="144"/>
                        </a:lnTo>
                        <a:lnTo>
                          <a:pt x="786" y="150"/>
                        </a:lnTo>
                        <a:lnTo>
                          <a:pt x="786" y="162"/>
                        </a:lnTo>
                        <a:lnTo>
                          <a:pt x="774" y="174"/>
                        </a:lnTo>
                        <a:lnTo>
                          <a:pt x="828" y="174"/>
                        </a:lnTo>
                        <a:lnTo>
                          <a:pt x="834" y="180"/>
                        </a:lnTo>
                        <a:lnTo>
                          <a:pt x="846" y="186"/>
                        </a:lnTo>
                        <a:lnTo>
                          <a:pt x="852" y="192"/>
                        </a:lnTo>
                        <a:lnTo>
                          <a:pt x="858" y="192"/>
                        </a:lnTo>
                        <a:lnTo>
                          <a:pt x="864" y="186"/>
                        </a:lnTo>
                        <a:lnTo>
                          <a:pt x="876" y="186"/>
                        </a:lnTo>
                        <a:lnTo>
                          <a:pt x="894" y="174"/>
                        </a:lnTo>
                        <a:lnTo>
                          <a:pt x="906" y="168"/>
                        </a:lnTo>
                        <a:lnTo>
                          <a:pt x="924" y="162"/>
                        </a:lnTo>
                        <a:lnTo>
                          <a:pt x="936" y="156"/>
                        </a:lnTo>
                        <a:lnTo>
                          <a:pt x="942" y="150"/>
                        </a:lnTo>
                        <a:lnTo>
                          <a:pt x="942" y="144"/>
                        </a:lnTo>
                        <a:lnTo>
                          <a:pt x="936" y="144"/>
                        </a:lnTo>
                        <a:lnTo>
                          <a:pt x="924" y="138"/>
                        </a:lnTo>
                        <a:lnTo>
                          <a:pt x="888" y="138"/>
                        </a:lnTo>
                        <a:lnTo>
                          <a:pt x="882" y="120"/>
                        </a:lnTo>
                        <a:lnTo>
                          <a:pt x="828" y="114"/>
                        </a:lnTo>
                        <a:lnTo>
                          <a:pt x="828" y="96"/>
                        </a:lnTo>
                        <a:lnTo>
                          <a:pt x="798" y="102"/>
                        </a:lnTo>
                        <a:lnTo>
                          <a:pt x="798" y="84"/>
                        </a:lnTo>
                        <a:lnTo>
                          <a:pt x="726" y="84"/>
                        </a:lnTo>
                        <a:lnTo>
                          <a:pt x="720" y="72"/>
                        </a:lnTo>
                        <a:lnTo>
                          <a:pt x="684" y="72"/>
                        </a:lnTo>
                        <a:lnTo>
                          <a:pt x="678" y="60"/>
                        </a:lnTo>
                        <a:lnTo>
                          <a:pt x="654" y="48"/>
                        </a:lnTo>
                        <a:lnTo>
                          <a:pt x="624" y="48"/>
                        </a:lnTo>
                        <a:lnTo>
                          <a:pt x="624" y="30"/>
                        </a:lnTo>
                        <a:lnTo>
                          <a:pt x="618" y="30"/>
                        </a:lnTo>
                        <a:lnTo>
                          <a:pt x="612" y="24"/>
                        </a:lnTo>
                        <a:lnTo>
                          <a:pt x="540" y="24"/>
                        </a:lnTo>
                        <a:lnTo>
                          <a:pt x="534" y="30"/>
                        </a:lnTo>
                        <a:lnTo>
                          <a:pt x="534" y="36"/>
                        </a:lnTo>
                        <a:lnTo>
                          <a:pt x="540" y="42"/>
                        </a:lnTo>
                        <a:lnTo>
                          <a:pt x="546" y="54"/>
                        </a:lnTo>
                        <a:lnTo>
                          <a:pt x="564" y="72"/>
                        </a:lnTo>
                        <a:lnTo>
                          <a:pt x="552" y="66"/>
                        </a:lnTo>
                        <a:lnTo>
                          <a:pt x="546" y="60"/>
                        </a:lnTo>
                        <a:lnTo>
                          <a:pt x="528" y="48"/>
                        </a:lnTo>
                        <a:lnTo>
                          <a:pt x="492" y="30"/>
                        </a:lnTo>
                        <a:lnTo>
                          <a:pt x="480" y="30"/>
                        </a:lnTo>
                        <a:lnTo>
                          <a:pt x="474" y="36"/>
                        </a:lnTo>
                        <a:lnTo>
                          <a:pt x="468" y="48"/>
                        </a:lnTo>
                        <a:lnTo>
                          <a:pt x="462" y="54"/>
                        </a:lnTo>
                        <a:lnTo>
                          <a:pt x="450" y="54"/>
                        </a:lnTo>
                        <a:lnTo>
                          <a:pt x="438" y="48"/>
                        </a:lnTo>
                        <a:lnTo>
                          <a:pt x="420" y="48"/>
                        </a:lnTo>
                        <a:lnTo>
                          <a:pt x="420" y="42"/>
                        </a:lnTo>
                        <a:lnTo>
                          <a:pt x="426" y="42"/>
                        </a:lnTo>
                        <a:lnTo>
                          <a:pt x="438" y="30"/>
                        </a:lnTo>
                        <a:lnTo>
                          <a:pt x="384" y="30"/>
                        </a:lnTo>
                        <a:lnTo>
                          <a:pt x="372" y="42"/>
                        </a:lnTo>
                        <a:lnTo>
                          <a:pt x="366" y="30"/>
                        </a:lnTo>
                        <a:lnTo>
                          <a:pt x="354" y="30"/>
                        </a:lnTo>
                        <a:lnTo>
                          <a:pt x="318" y="48"/>
                        </a:lnTo>
                        <a:lnTo>
                          <a:pt x="318" y="60"/>
                        </a:lnTo>
                        <a:lnTo>
                          <a:pt x="324" y="66"/>
                        </a:lnTo>
                        <a:close/>
                        <a:moveTo>
                          <a:pt x="642" y="708"/>
                        </a:moveTo>
                        <a:lnTo>
                          <a:pt x="666" y="696"/>
                        </a:lnTo>
                        <a:lnTo>
                          <a:pt x="666" y="690"/>
                        </a:lnTo>
                        <a:lnTo>
                          <a:pt x="678" y="690"/>
                        </a:lnTo>
                        <a:lnTo>
                          <a:pt x="678" y="678"/>
                        </a:lnTo>
                        <a:lnTo>
                          <a:pt x="672" y="672"/>
                        </a:lnTo>
                        <a:lnTo>
                          <a:pt x="630" y="690"/>
                        </a:lnTo>
                        <a:lnTo>
                          <a:pt x="642" y="708"/>
                        </a:lnTo>
                        <a:close/>
                        <a:moveTo>
                          <a:pt x="774" y="648"/>
                        </a:moveTo>
                        <a:lnTo>
                          <a:pt x="780" y="642"/>
                        </a:lnTo>
                        <a:lnTo>
                          <a:pt x="786" y="642"/>
                        </a:lnTo>
                        <a:lnTo>
                          <a:pt x="792" y="636"/>
                        </a:lnTo>
                        <a:lnTo>
                          <a:pt x="792" y="630"/>
                        </a:lnTo>
                        <a:lnTo>
                          <a:pt x="786" y="624"/>
                        </a:lnTo>
                        <a:lnTo>
                          <a:pt x="774" y="624"/>
                        </a:lnTo>
                        <a:lnTo>
                          <a:pt x="768" y="630"/>
                        </a:lnTo>
                        <a:lnTo>
                          <a:pt x="768" y="642"/>
                        </a:lnTo>
                        <a:lnTo>
                          <a:pt x="774" y="648"/>
                        </a:lnTo>
                        <a:close/>
                        <a:moveTo>
                          <a:pt x="594" y="696"/>
                        </a:moveTo>
                        <a:lnTo>
                          <a:pt x="576" y="696"/>
                        </a:lnTo>
                        <a:lnTo>
                          <a:pt x="552" y="708"/>
                        </a:lnTo>
                        <a:lnTo>
                          <a:pt x="546" y="714"/>
                        </a:lnTo>
                        <a:lnTo>
                          <a:pt x="570" y="720"/>
                        </a:lnTo>
                        <a:lnTo>
                          <a:pt x="576" y="714"/>
                        </a:lnTo>
                        <a:lnTo>
                          <a:pt x="588" y="714"/>
                        </a:lnTo>
                        <a:lnTo>
                          <a:pt x="600" y="702"/>
                        </a:lnTo>
                        <a:lnTo>
                          <a:pt x="594" y="696"/>
                        </a:lnTo>
                        <a:close/>
                        <a:moveTo>
                          <a:pt x="918" y="612"/>
                        </a:moveTo>
                        <a:lnTo>
                          <a:pt x="936" y="618"/>
                        </a:lnTo>
                        <a:lnTo>
                          <a:pt x="942" y="606"/>
                        </a:lnTo>
                        <a:lnTo>
                          <a:pt x="948" y="600"/>
                        </a:lnTo>
                        <a:lnTo>
                          <a:pt x="948" y="594"/>
                        </a:lnTo>
                        <a:lnTo>
                          <a:pt x="918" y="594"/>
                        </a:lnTo>
                        <a:lnTo>
                          <a:pt x="918" y="612"/>
                        </a:lnTo>
                        <a:close/>
                        <a:moveTo>
                          <a:pt x="486" y="756"/>
                        </a:moveTo>
                        <a:lnTo>
                          <a:pt x="474" y="756"/>
                        </a:lnTo>
                        <a:lnTo>
                          <a:pt x="438" y="774"/>
                        </a:lnTo>
                        <a:lnTo>
                          <a:pt x="432" y="780"/>
                        </a:lnTo>
                        <a:lnTo>
                          <a:pt x="432" y="786"/>
                        </a:lnTo>
                        <a:lnTo>
                          <a:pt x="444" y="786"/>
                        </a:lnTo>
                        <a:lnTo>
                          <a:pt x="456" y="780"/>
                        </a:lnTo>
                        <a:lnTo>
                          <a:pt x="462" y="774"/>
                        </a:lnTo>
                        <a:lnTo>
                          <a:pt x="474" y="768"/>
                        </a:lnTo>
                        <a:lnTo>
                          <a:pt x="510" y="768"/>
                        </a:lnTo>
                        <a:lnTo>
                          <a:pt x="510" y="762"/>
                        </a:lnTo>
                        <a:lnTo>
                          <a:pt x="504" y="762"/>
                        </a:lnTo>
                        <a:lnTo>
                          <a:pt x="504" y="756"/>
                        </a:lnTo>
                        <a:lnTo>
                          <a:pt x="486" y="756"/>
                        </a:lnTo>
                        <a:close/>
                        <a:moveTo>
                          <a:pt x="1356" y="660"/>
                        </a:moveTo>
                        <a:lnTo>
                          <a:pt x="1326" y="666"/>
                        </a:lnTo>
                        <a:lnTo>
                          <a:pt x="1290" y="654"/>
                        </a:lnTo>
                        <a:lnTo>
                          <a:pt x="1260" y="642"/>
                        </a:lnTo>
                        <a:lnTo>
                          <a:pt x="1302" y="642"/>
                        </a:lnTo>
                        <a:lnTo>
                          <a:pt x="1326" y="630"/>
                        </a:lnTo>
                        <a:lnTo>
                          <a:pt x="1344" y="630"/>
                        </a:lnTo>
                        <a:lnTo>
                          <a:pt x="1350" y="624"/>
                        </a:lnTo>
                        <a:lnTo>
                          <a:pt x="1356" y="624"/>
                        </a:lnTo>
                        <a:lnTo>
                          <a:pt x="1344" y="618"/>
                        </a:lnTo>
                        <a:lnTo>
                          <a:pt x="1338" y="612"/>
                        </a:lnTo>
                        <a:lnTo>
                          <a:pt x="1320" y="606"/>
                        </a:lnTo>
                        <a:lnTo>
                          <a:pt x="1308" y="600"/>
                        </a:lnTo>
                        <a:lnTo>
                          <a:pt x="1284" y="600"/>
                        </a:lnTo>
                        <a:lnTo>
                          <a:pt x="1260" y="588"/>
                        </a:lnTo>
                        <a:lnTo>
                          <a:pt x="1254" y="588"/>
                        </a:lnTo>
                        <a:lnTo>
                          <a:pt x="1242" y="582"/>
                        </a:lnTo>
                        <a:lnTo>
                          <a:pt x="1242" y="588"/>
                        </a:lnTo>
                        <a:lnTo>
                          <a:pt x="1236" y="594"/>
                        </a:lnTo>
                        <a:lnTo>
                          <a:pt x="1236" y="600"/>
                        </a:lnTo>
                        <a:lnTo>
                          <a:pt x="1218" y="618"/>
                        </a:lnTo>
                        <a:lnTo>
                          <a:pt x="1206" y="618"/>
                        </a:lnTo>
                        <a:lnTo>
                          <a:pt x="1200" y="612"/>
                        </a:lnTo>
                        <a:lnTo>
                          <a:pt x="1224" y="588"/>
                        </a:lnTo>
                        <a:lnTo>
                          <a:pt x="1158" y="564"/>
                        </a:lnTo>
                        <a:lnTo>
                          <a:pt x="1158" y="576"/>
                        </a:lnTo>
                        <a:lnTo>
                          <a:pt x="1152" y="594"/>
                        </a:lnTo>
                        <a:lnTo>
                          <a:pt x="1134" y="630"/>
                        </a:lnTo>
                        <a:lnTo>
                          <a:pt x="1128" y="630"/>
                        </a:lnTo>
                        <a:lnTo>
                          <a:pt x="1122" y="624"/>
                        </a:lnTo>
                        <a:lnTo>
                          <a:pt x="1116" y="612"/>
                        </a:lnTo>
                        <a:lnTo>
                          <a:pt x="1116" y="594"/>
                        </a:lnTo>
                        <a:lnTo>
                          <a:pt x="1122" y="582"/>
                        </a:lnTo>
                        <a:lnTo>
                          <a:pt x="1116" y="594"/>
                        </a:lnTo>
                        <a:lnTo>
                          <a:pt x="1104" y="600"/>
                        </a:lnTo>
                        <a:lnTo>
                          <a:pt x="1080" y="624"/>
                        </a:lnTo>
                        <a:lnTo>
                          <a:pt x="1056" y="636"/>
                        </a:lnTo>
                        <a:lnTo>
                          <a:pt x="1050" y="636"/>
                        </a:lnTo>
                        <a:lnTo>
                          <a:pt x="1050" y="630"/>
                        </a:lnTo>
                        <a:lnTo>
                          <a:pt x="1056" y="618"/>
                        </a:lnTo>
                        <a:lnTo>
                          <a:pt x="1086" y="588"/>
                        </a:lnTo>
                        <a:lnTo>
                          <a:pt x="1092" y="576"/>
                        </a:lnTo>
                        <a:lnTo>
                          <a:pt x="1104" y="570"/>
                        </a:lnTo>
                        <a:lnTo>
                          <a:pt x="1068" y="570"/>
                        </a:lnTo>
                        <a:lnTo>
                          <a:pt x="1050" y="582"/>
                        </a:lnTo>
                        <a:lnTo>
                          <a:pt x="1026" y="582"/>
                        </a:lnTo>
                        <a:lnTo>
                          <a:pt x="984" y="606"/>
                        </a:lnTo>
                        <a:lnTo>
                          <a:pt x="960" y="606"/>
                        </a:lnTo>
                        <a:lnTo>
                          <a:pt x="954" y="636"/>
                        </a:lnTo>
                        <a:lnTo>
                          <a:pt x="918" y="624"/>
                        </a:lnTo>
                        <a:lnTo>
                          <a:pt x="882" y="630"/>
                        </a:lnTo>
                        <a:lnTo>
                          <a:pt x="894" y="660"/>
                        </a:lnTo>
                        <a:lnTo>
                          <a:pt x="846" y="648"/>
                        </a:lnTo>
                        <a:lnTo>
                          <a:pt x="828" y="654"/>
                        </a:lnTo>
                        <a:lnTo>
                          <a:pt x="834" y="678"/>
                        </a:lnTo>
                        <a:lnTo>
                          <a:pt x="792" y="690"/>
                        </a:lnTo>
                        <a:lnTo>
                          <a:pt x="792" y="654"/>
                        </a:lnTo>
                        <a:lnTo>
                          <a:pt x="762" y="654"/>
                        </a:lnTo>
                        <a:lnTo>
                          <a:pt x="774" y="678"/>
                        </a:lnTo>
                        <a:lnTo>
                          <a:pt x="750" y="660"/>
                        </a:lnTo>
                        <a:lnTo>
                          <a:pt x="750" y="690"/>
                        </a:lnTo>
                        <a:lnTo>
                          <a:pt x="726" y="690"/>
                        </a:lnTo>
                        <a:lnTo>
                          <a:pt x="726" y="660"/>
                        </a:lnTo>
                        <a:lnTo>
                          <a:pt x="738" y="654"/>
                        </a:lnTo>
                        <a:lnTo>
                          <a:pt x="744" y="648"/>
                        </a:lnTo>
                        <a:lnTo>
                          <a:pt x="708" y="642"/>
                        </a:lnTo>
                        <a:lnTo>
                          <a:pt x="708" y="684"/>
                        </a:lnTo>
                        <a:lnTo>
                          <a:pt x="678" y="696"/>
                        </a:lnTo>
                        <a:lnTo>
                          <a:pt x="696" y="708"/>
                        </a:lnTo>
                        <a:lnTo>
                          <a:pt x="660" y="714"/>
                        </a:lnTo>
                        <a:lnTo>
                          <a:pt x="672" y="726"/>
                        </a:lnTo>
                        <a:lnTo>
                          <a:pt x="630" y="726"/>
                        </a:lnTo>
                        <a:lnTo>
                          <a:pt x="630" y="738"/>
                        </a:lnTo>
                        <a:lnTo>
                          <a:pt x="660" y="750"/>
                        </a:lnTo>
                        <a:lnTo>
                          <a:pt x="654" y="762"/>
                        </a:lnTo>
                        <a:lnTo>
                          <a:pt x="618" y="744"/>
                        </a:lnTo>
                        <a:lnTo>
                          <a:pt x="600" y="750"/>
                        </a:lnTo>
                        <a:lnTo>
                          <a:pt x="624" y="762"/>
                        </a:lnTo>
                        <a:lnTo>
                          <a:pt x="606" y="780"/>
                        </a:lnTo>
                        <a:lnTo>
                          <a:pt x="594" y="762"/>
                        </a:lnTo>
                        <a:lnTo>
                          <a:pt x="576" y="768"/>
                        </a:lnTo>
                        <a:lnTo>
                          <a:pt x="576" y="780"/>
                        </a:lnTo>
                        <a:lnTo>
                          <a:pt x="546" y="780"/>
                        </a:lnTo>
                        <a:lnTo>
                          <a:pt x="540" y="792"/>
                        </a:lnTo>
                        <a:lnTo>
                          <a:pt x="564" y="804"/>
                        </a:lnTo>
                        <a:lnTo>
                          <a:pt x="564" y="822"/>
                        </a:lnTo>
                        <a:lnTo>
                          <a:pt x="528" y="810"/>
                        </a:lnTo>
                        <a:lnTo>
                          <a:pt x="522" y="822"/>
                        </a:lnTo>
                        <a:lnTo>
                          <a:pt x="552" y="834"/>
                        </a:lnTo>
                        <a:lnTo>
                          <a:pt x="504" y="834"/>
                        </a:lnTo>
                        <a:lnTo>
                          <a:pt x="504" y="852"/>
                        </a:lnTo>
                        <a:lnTo>
                          <a:pt x="492" y="846"/>
                        </a:lnTo>
                        <a:lnTo>
                          <a:pt x="486" y="846"/>
                        </a:lnTo>
                        <a:lnTo>
                          <a:pt x="474" y="852"/>
                        </a:lnTo>
                        <a:lnTo>
                          <a:pt x="468" y="858"/>
                        </a:lnTo>
                        <a:lnTo>
                          <a:pt x="456" y="858"/>
                        </a:lnTo>
                        <a:lnTo>
                          <a:pt x="456" y="870"/>
                        </a:lnTo>
                        <a:lnTo>
                          <a:pt x="462" y="876"/>
                        </a:lnTo>
                        <a:lnTo>
                          <a:pt x="456" y="876"/>
                        </a:lnTo>
                        <a:lnTo>
                          <a:pt x="450" y="882"/>
                        </a:lnTo>
                        <a:lnTo>
                          <a:pt x="444" y="882"/>
                        </a:lnTo>
                        <a:lnTo>
                          <a:pt x="444" y="900"/>
                        </a:lnTo>
                        <a:lnTo>
                          <a:pt x="480" y="900"/>
                        </a:lnTo>
                        <a:lnTo>
                          <a:pt x="468" y="912"/>
                        </a:lnTo>
                        <a:lnTo>
                          <a:pt x="432" y="906"/>
                        </a:lnTo>
                        <a:lnTo>
                          <a:pt x="420" y="912"/>
                        </a:lnTo>
                        <a:lnTo>
                          <a:pt x="414" y="918"/>
                        </a:lnTo>
                        <a:lnTo>
                          <a:pt x="414" y="930"/>
                        </a:lnTo>
                        <a:lnTo>
                          <a:pt x="420" y="936"/>
                        </a:lnTo>
                        <a:lnTo>
                          <a:pt x="420" y="948"/>
                        </a:lnTo>
                        <a:lnTo>
                          <a:pt x="408" y="954"/>
                        </a:lnTo>
                        <a:lnTo>
                          <a:pt x="390" y="954"/>
                        </a:lnTo>
                        <a:lnTo>
                          <a:pt x="390" y="972"/>
                        </a:lnTo>
                        <a:lnTo>
                          <a:pt x="408" y="990"/>
                        </a:lnTo>
                        <a:lnTo>
                          <a:pt x="408" y="996"/>
                        </a:lnTo>
                        <a:lnTo>
                          <a:pt x="402" y="1002"/>
                        </a:lnTo>
                        <a:lnTo>
                          <a:pt x="366" y="1002"/>
                        </a:lnTo>
                        <a:lnTo>
                          <a:pt x="360" y="1008"/>
                        </a:lnTo>
                        <a:lnTo>
                          <a:pt x="360" y="1026"/>
                        </a:lnTo>
                        <a:lnTo>
                          <a:pt x="354" y="1032"/>
                        </a:lnTo>
                        <a:lnTo>
                          <a:pt x="342" y="1032"/>
                        </a:lnTo>
                        <a:lnTo>
                          <a:pt x="336" y="1026"/>
                        </a:lnTo>
                        <a:lnTo>
                          <a:pt x="318" y="1026"/>
                        </a:lnTo>
                        <a:lnTo>
                          <a:pt x="294" y="1050"/>
                        </a:lnTo>
                        <a:lnTo>
                          <a:pt x="282" y="1050"/>
                        </a:lnTo>
                        <a:lnTo>
                          <a:pt x="270" y="1062"/>
                        </a:lnTo>
                        <a:lnTo>
                          <a:pt x="270" y="1068"/>
                        </a:lnTo>
                        <a:lnTo>
                          <a:pt x="276" y="1074"/>
                        </a:lnTo>
                        <a:lnTo>
                          <a:pt x="276" y="1080"/>
                        </a:lnTo>
                        <a:lnTo>
                          <a:pt x="264" y="1092"/>
                        </a:lnTo>
                        <a:lnTo>
                          <a:pt x="252" y="1092"/>
                        </a:lnTo>
                        <a:lnTo>
                          <a:pt x="246" y="1086"/>
                        </a:lnTo>
                        <a:lnTo>
                          <a:pt x="234" y="1080"/>
                        </a:lnTo>
                        <a:lnTo>
                          <a:pt x="234" y="1074"/>
                        </a:lnTo>
                        <a:lnTo>
                          <a:pt x="228" y="1074"/>
                        </a:lnTo>
                        <a:lnTo>
                          <a:pt x="204" y="1086"/>
                        </a:lnTo>
                        <a:lnTo>
                          <a:pt x="198" y="1092"/>
                        </a:lnTo>
                        <a:lnTo>
                          <a:pt x="180" y="1092"/>
                        </a:lnTo>
                        <a:lnTo>
                          <a:pt x="180" y="1110"/>
                        </a:lnTo>
                        <a:lnTo>
                          <a:pt x="186" y="1116"/>
                        </a:lnTo>
                        <a:lnTo>
                          <a:pt x="192" y="1116"/>
                        </a:lnTo>
                        <a:lnTo>
                          <a:pt x="192" y="1128"/>
                        </a:lnTo>
                        <a:lnTo>
                          <a:pt x="186" y="1128"/>
                        </a:lnTo>
                        <a:lnTo>
                          <a:pt x="174" y="1116"/>
                        </a:lnTo>
                        <a:lnTo>
                          <a:pt x="162" y="1116"/>
                        </a:lnTo>
                        <a:lnTo>
                          <a:pt x="156" y="1122"/>
                        </a:lnTo>
                        <a:lnTo>
                          <a:pt x="156" y="1134"/>
                        </a:lnTo>
                        <a:lnTo>
                          <a:pt x="168" y="1134"/>
                        </a:lnTo>
                        <a:lnTo>
                          <a:pt x="174" y="1140"/>
                        </a:lnTo>
                        <a:lnTo>
                          <a:pt x="180" y="1140"/>
                        </a:lnTo>
                        <a:lnTo>
                          <a:pt x="180" y="1152"/>
                        </a:lnTo>
                        <a:lnTo>
                          <a:pt x="138" y="1152"/>
                        </a:lnTo>
                        <a:lnTo>
                          <a:pt x="138" y="1146"/>
                        </a:lnTo>
                        <a:lnTo>
                          <a:pt x="132" y="1146"/>
                        </a:lnTo>
                        <a:lnTo>
                          <a:pt x="126" y="1158"/>
                        </a:lnTo>
                        <a:lnTo>
                          <a:pt x="126" y="1170"/>
                        </a:lnTo>
                        <a:lnTo>
                          <a:pt x="120" y="1164"/>
                        </a:lnTo>
                        <a:lnTo>
                          <a:pt x="102" y="1164"/>
                        </a:lnTo>
                        <a:lnTo>
                          <a:pt x="96" y="1158"/>
                        </a:lnTo>
                        <a:lnTo>
                          <a:pt x="90" y="1158"/>
                        </a:lnTo>
                        <a:lnTo>
                          <a:pt x="90" y="1164"/>
                        </a:lnTo>
                        <a:lnTo>
                          <a:pt x="96" y="1170"/>
                        </a:lnTo>
                        <a:lnTo>
                          <a:pt x="120" y="1182"/>
                        </a:lnTo>
                        <a:lnTo>
                          <a:pt x="132" y="1182"/>
                        </a:lnTo>
                        <a:lnTo>
                          <a:pt x="108" y="1200"/>
                        </a:lnTo>
                        <a:lnTo>
                          <a:pt x="108" y="1188"/>
                        </a:lnTo>
                        <a:lnTo>
                          <a:pt x="90" y="1188"/>
                        </a:lnTo>
                        <a:lnTo>
                          <a:pt x="84" y="1194"/>
                        </a:lnTo>
                        <a:lnTo>
                          <a:pt x="60" y="1182"/>
                        </a:lnTo>
                        <a:lnTo>
                          <a:pt x="54" y="1194"/>
                        </a:lnTo>
                        <a:lnTo>
                          <a:pt x="66" y="1200"/>
                        </a:lnTo>
                        <a:lnTo>
                          <a:pt x="30" y="1194"/>
                        </a:lnTo>
                        <a:lnTo>
                          <a:pt x="30" y="1212"/>
                        </a:lnTo>
                        <a:lnTo>
                          <a:pt x="78" y="1212"/>
                        </a:lnTo>
                        <a:lnTo>
                          <a:pt x="54" y="1218"/>
                        </a:lnTo>
                        <a:lnTo>
                          <a:pt x="18" y="1212"/>
                        </a:lnTo>
                        <a:lnTo>
                          <a:pt x="6" y="1224"/>
                        </a:lnTo>
                        <a:lnTo>
                          <a:pt x="6" y="1230"/>
                        </a:lnTo>
                        <a:lnTo>
                          <a:pt x="18" y="1242"/>
                        </a:lnTo>
                        <a:lnTo>
                          <a:pt x="36" y="1242"/>
                        </a:lnTo>
                        <a:lnTo>
                          <a:pt x="18" y="1248"/>
                        </a:lnTo>
                        <a:lnTo>
                          <a:pt x="12" y="1254"/>
                        </a:lnTo>
                        <a:lnTo>
                          <a:pt x="12" y="1260"/>
                        </a:lnTo>
                        <a:lnTo>
                          <a:pt x="66" y="1260"/>
                        </a:lnTo>
                        <a:lnTo>
                          <a:pt x="78" y="1272"/>
                        </a:lnTo>
                        <a:lnTo>
                          <a:pt x="96" y="1260"/>
                        </a:lnTo>
                        <a:lnTo>
                          <a:pt x="108" y="1272"/>
                        </a:lnTo>
                        <a:lnTo>
                          <a:pt x="138" y="1260"/>
                        </a:lnTo>
                        <a:lnTo>
                          <a:pt x="132" y="1266"/>
                        </a:lnTo>
                        <a:lnTo>
                          <a:pt x="126" y="1278"/>
                        </a:lnTo>
                        <a:lnTo>
                          <a:pt x="60" y="1278"/>
                        </a:lnTo>
                        <a:lnTo>
                          <a:pt x="54" y="1272"/>
                        </a:lnTo>
                        <a:lnTo>
                          <a:pt x="24" y="1272"/>
                        </a:lnTo>
                        <a:lnTo>
                          <a:pt x="12" y="1278"/>
                        </a:lnTo>
                        <a:lnTo>
                          <a:pt x="0" y="1278"/>
                        </a:lnTo>
                        <a:lnTo>
                          <a:pt x="6" y="1284"/>
                        </a:lnTo>
                        <a:lnTo>
                          <a:pt x="6" y="1296"/>
                        </a:lnTo>
                        <a:lnTo>
                          <a:pt x="12" y="1296"/>
                        </a:lnTo>
                        <a:lnTo>
                          <a:pt x="18" y="1302"/>
                        </a:lnTo>
                        <a:lnTo>
                          <a:pt x="30" y="1302"/>
                        </a:lnTo>
                        <a:lnTo>
                          <a:pt x="24" y="1308"/>
                        </a:lnTo>
                        <a:lnTo>
                          <a:pt x="18" y="1320"/>
                        </a:lnTo>
                        <a:lnTo>
                          <a:pt x="36" y="1338"/>
                        </a:lnTo>
                        <a:lnTo>
                          <a:pt x="48" y="1338"/>
                        </a:lnTo>
                        <a:lnTo>
                          <a:pt x="72" y="1320"/>
                        </a:lnTo>
                        <a:lnTo>
                          <a:pt x="102" y="1314"/>
                        </a:lnTo>
                        <a:lnTo>
                          <a:pt x="90" y="1338"/>
                        </a:lnTo>
                        <a:lnTo>
                          <a:pt x="78" y="1332"/>
                        </a:lnTo>
                        <a:lnTo>
                          <a:pt x="66" y="1350"/>
                        </a:lnTo>
                        <a:lnTo>
                          <a:pt x="30" y="1350"/>
                        </a:lnTo>
                        <a:lnTo>
                          <a:pt x="48" y="1368"/>
                        </a:lnTo>
                        <a:lnTo>
                          <a:pt x="24" y="1380"/>
                        </a:lnTo>
                        <a:lnTo>
                          <a:pt x="6" y="1380"/>
                        </a:lnTo>
                        <a:lnTo>
                          <a:pt x="6" y="1398"/>
                        </a:lnTo>
                        <a:lnTo>
                          <a:pt x="66" y="1398"/>
                        </a:lnTo>
                        <a:lnTo>
                          <a:pt x="54" y="1422"/>
                        </a:lnTo>
                        <a:lnTo>
                          <a:pt x="66" y="1422"/>
                        </a:lnTo>
                        <a:lnTo>
                          <a:pt x="54" y="1440"/>
                        </a:lnTo>
                        <a:lnTo>
                          <a:pt x="42" y="1434"/>
                        </a:lnTo>
                        <a:lnTo>
                          <a:pt x="36" y="1434"/>
                        </a:lnTo>
                        <a:lnTo>
                          <a:pt x="30" y="1428"/>
                        </a:lnTo>
                        <a:lnTo>
                          <a:pt x="18" y="1428"/>
                        </a:lnTo>
                        <a:lnTo>
                          <a:pt x="18" y="1440"/>
                        </a:lnTo>
                        <a:lnTo>
                          <a:pt x="24" y="1452"/>
                        </a:lnTo>
                        <a:lnTo>
                          <a:pt x="36" y="1464"/>
                        </a:lnTo>
                        <a:lnTo>
                          <a:pt x="84" y="1482"/>
                        </a:lnTo>
                        <a:lnTo>
                          <a:pt x="78" y="1488"/>
                        </a:lnTo>
                        <a:lnTo>
                          <a:pt x="84" y="1494"/>
                        </a:lnTo>
                        <a:lnTo>
                          <a:pt x="126" y="1494"/>
                        </a:lnTo>
                        <a:lnTo>
                          <a:pt x="132" y="1500"/>
                        </a:lnTo>
                        <a:lnTo>
                          <a:pt x="144" y="1500"/>
                        </a:lnTo>
                        <a:lnTo>
                          <a:pt x="192" y="1476"/>
                        </a:lnTo>
                        <a:lnTo>
                          <a:pt x="204" y="1464"/>
                        </a:lnTo>
                        <a:lnTo>
                          <a:pt x="216" y="1458"/>
                        </a:lnTo>
                        <a:lnTo>
                          <a:pt x="222" y="1452"/>
                        </a:lnTo>
                        <a:lnTo>
                          <a:pt x="258" y="1422"/>
                        </a:lnTo>
                        <a:lnTo>
                          <a:pt x="282" y="1422"/>
                        </a:lnTo>
                        <a:lnTo>
                          <a:pt x="294" y="1416"/>
                        </a:lnTo>
                        <a:lnTo>
                          <a:pt x="300" y="1410"/>
                        </a:lnTo>
                        <a:lnTo>
                          <a:pt x="300" y="1386"/>
                        </a:lnTo>
                        <a:lnTo>
                          <a:pt x="294" y="1380"/>
                        </a:lnTo>
                        <a:lnTo>
                          <a:pt x="294" y="1374"/>
                        </a:lnTo>
                        <a:lnTo>
                          <a:pt x="312" y="1368"/>
                        </a:lnTo>
                        <a:lnTo>
                          <a:pt x="306" y="1374"/>
                        </a:lnTo>
                        <a:lnTo>
                          <a:pt x="306" y="1380"/>
                        </a:lnTo>
                        <a:lnTo>
                          <a:pt x="300" y="1386"/>
                        </a:lnTo>
                        <a:lnTo>
                          <a:pt x="300" y="1392"/>
                        </a:lnTo>
                        <a:lnTo>
                          <a:pt x="312" y="1404"/>
                        </a:lnTo>
                        <a:lnTo>
                          <a:pt x="330" y="1410"/>
                        </a:lnTo>
                        <a:lnTo>
                          <a:pt x="342" y="1410"/>
                        </a:lnTo>
                        <a:lnTo>
                          <a:pt x="348" y="1416"/>
                        </a:lnTo>
                        <a:lnTo>
                          <a:pt x="354" y="1416"/>
                        </a:lnTo>
                        <a:lnTo>
                          <a:pt x="372" y="1434"/>
                        </a:lnTo>
                        <a:lnTo>
                          <a:pt x="378" y="1422"/>
                        </a:lnTo>
                        <a:lnTo>
                          <a:pt x="384" y="1416"/>
                        </a:lnTo>
                        <a:lnTo>
                          <a:pt x="384" y="1398"/>
                        </a:lnTo>
                        <a:lnTo>
                          <a:pt x="372" y="1386"/>
                        </a:lnTo>
                        <a:lnTo>
                          <a:pt x="372" y="1380"/>
                        </a:lnTo>
                        <a:lnTo>
                          <a:pt x="378" y="1374"/>
                        </a:lnTo>
                        <a:lnTo>
                          <a:pt x="384" y="1374"/>
                        </a:lnTo>
                        <a:lnTo>
                          <a:pt x="384" y="1368"/>
                        </a:lnTo>
                        <a:lnTo>
                          <a:pt x="378" y="1356"/>
                        </a:lnTo>
                        <a:lnTo>
                          <a:pt x="414" y="1356"/>
                        </a:lnTo>
                        <a:lnTo>
                          <a:pt x="420" y="1350"/>
                        </a:lnTo>
                        <a:lnTo>
                          <a:pt x="420" y="1326"/>
                        </a:lnTo>
                        <a:lnTo>
                          <a:pt x="426" y="1326"/>
                        </a:lnTo>
                        <a:lnTo>
                          <a:pt x="420" y="1314"/>
                        </a:lnTo>
                        <a:lnTo>
                          <a:pt x="420" y="1308"/>
                        </a:lnTo>
                        <a:lnTo>
                          <a:pt x="414" y="1302"/>
                        </a:lnTo>
                        <a:lnTo>
                          <a:pt x="414" y="1296"/>
                        </a:lnTo>
                        <a:lnTo>
                          <a:pt x="408" y="1284"/>
                        </a:lnTo>
                        <a:lnTo>
                          <a:pt x="402" y="1278"/>
                        </a:lnTo>
                        <a:lnTo>
                          <a:pt x="426" y="1272"/>
                        </a:lnTo>
                        <a:lnTo>
                          <a:pt x="438" y="1260"/>
                        </a:lnTo>
                        <a:lnTo>
                          <a:pt x="438" y="1248"/>
                        </a:lnTo>
                        <a:lnTo>
                          <a:pt x="420" y="1230"/>
                        </a:lnTo>
                        <a:lnTo>
                          <a:pt x="414" y="1230"/>
                        </a:lnTo>
                        <a:lnTo>
                          <a:pt x="402" y="1218"/>
                        </a:lnTo>
                        <a:lnTo>
                          <a:pt x="402" y="1200"/>
                        </a:lnTo>
                        <a:lnTo>
                          <a:pt x="408" y="1188"/>
                        </a:lnTo>
                        <a:lnTo>
                          <a:pt x="408" y="1176"/>
                        </a:lnTo>
                        <a:lnTo>
                          <a:pt x="384" y="1152"/>
                        </a:lnTo>
                        <a:lnTo>
                          <a:pt x="384" y="1140"/>
                        </a:lnTo>
                        <a:lnTo>
                          <a:pt x="390" y="1134"/>
                        </a:lnTo>
                        <a:lnTo>
                          <a:pt x="396" y="1134"/>
                        </a:lnTo>
                        <a:lnTo>
                          <a:pt x="402" y="1128"/>
                        </a:lnTo>
                        <a:lnTo>
                          <a:pt x="402" y="1122"/>
                        </a:lnTo>
                        <a:lnTo>
                          <a:pt x="396" y="1116"/>
                        </a:lnTo>
                        <a:lnTo>
                          <a:pt x="390" y="1116"/>
                        </a:lnTo>
                        <a:lnTo>
                          <a:pt x="384" y="1110"/>
                        </a:lnTo>
                        <a:lnTo>
                          <a:pt x="426" y="1068"/>
                        </a:lnTo>
                        <a:lnTo>
                          <a:pt x="438" y="1062"/>
                        </a:lnTo>
                        <a:lnTo>
                          <a:pt x="444" y="1056"/>
                        </a:lnTo>
                        <a:lnTo>
                          <a:pt x="456" y="1050"/>
                        </a:lnTo>
                        <a:lnTo>
                          <a:pt x="498" y="1050"/>
                        </a:lnTo>
                        <a:lnTo>
                          <a:pt x="504" y="1044"/>
                        </a:lnTo>
                        <a:lnTo>
                          <a:pt x="504" y="1038"/>
                        </a:lnTo>
                        <a:lnTo>
                          <a:pt x="486" y="1020"/>
                        </a:lnTo>
                        <a:lnTo>
                          <a:pt x="474" y="1014"/>
                        </a:lnTo>
                        <a:lnTo>
                          <a:pt x="486" y="1008"/>
                        </a:lnTo>
                        <a:lnTo>
                          <a:pt x="492" y="1008"/>
                        </a:lnTo>
                        <a:lnTo>
                          <a:pt x="522" y="978"/>
                        </a:lnTo>
                        <a:lnTo>
                          <a:pt x="528" y="936"/>
                        </a:lnTo>
                        <a:lnTo>
                          <a:pt x="528" y="900"/>
                        </a:lnTo>
                        <a:lnTo>
                          <a:pt x="546" y="912"/>
                        </a:lnTo>
                        <a:lnTo>
                          <a:pt x="558" y="906"/>
                        </a:lnTo>
                        <a:lnTo>
                          <a:pt x="564" y="906"/>
                        </a:lnTo>
                        <a:lnTo>
                          <a:pt x="570" y="900"/>
                        </a:lnTo>
                        <a:lnTo>
                          <a:pt x="576" y="900"/>
                        </a:lnTo>
                        <a:lnTo>
                          <a:pt x="576" y="894"/>
                        </a:lnTo>
                        <a:lnTo>
                          <a:pt x="570" y="888"/>
                        </a:lnTo>
                        <a:lnTo>
                          <a:pt x="570" y="882"/>
                        </a:lnTo>
                        <a:lnTo>
                          <a:pt x="564" y="876"/>
                        </a:lnTo>
                        <a:lnTo>
                          <a:pt x="582" y="876"/>
                        </a:lnTo>
                        <a:lnTo>
                          <a:pt x="588" y="870"/>
                        </a:lnTo>
                        <a:lnTo>
                          <a:pt x="588" y="864"/>
                        </a:lnTo>
                        <a:lnTo>
                          <a:pt x="594" y="858"/>
                        </a:lnTo>
                        <a:lnTo>
                          <a:pt x="606" y="852"/>
                        </a:lnTo>
                        <a:lnTo>
                          <a:pt x="612" y="852"/>
                        </a:lnTo>
                        <a:lnTo>
                          <a:pt x="618" y="834"/>
                        </a:lnTo>
                        <a:lnTo>
                          <a:pt x="612" y="828"/>
                        </a:lnTo>
                        <a:lnTo>
                          <a:pt x="600" y="822"/>
                        </a:lnTo>
                        <a:lnTo>
                          <a:pt x="600" y="810"/>
                        </a:lnTo>
                        <a:lnTo>
                          <a:pt x="606" y="810"/>
                        </a:lnTo>
                        <a:lnTo>
                          <a:pt x="618" y="804"/>
                        </a:lnTo>
                        <a:lnTo>
                          <a:pt x="636" y="786"/>
                        </a:lnTo>
                        <a:lnTo>
                          <a:pt x="678" y="780"/>
                        </a:lnTo>
                        <a:lnTo>
                          <a:pt x="696" y="780"/>
                        </a:lnTo>
                        <a:lnTo>
                          <a:pt x="702" y="774"/>
                        </a:lnTo>
                        <a:lnTo>
                          <a:pt x="702" y="744"/>
                        </a:lnTo>
                        <a:lnTo>
                          <a:pt x="714" y="732"/>
                        </a:lnTo>
                        <a:lnTo>
                          <a:pt x="720" y="738"/>
                        </a:lnTo>
                        <a:lnTo>
                          <a:pt x="720" y="750"/>
                        </a:lnTo>
                        <a:lnTo>
                          <a:pt x="744" y="744"/>
                        </a:lnTo>
                        <a:lnTo>
                          <a:pt x="768" y="750"/>
                        </a:lnTo>
                        <a:lnTo>
                          <a:pt x="792" y="750"/>
                        </a:lnTo>
                        <a:lnTo>
                          <a:pt x="798" y="756"/>
                        </a:lnTo>
                        <a:lnTo>
                          <a:pt x="810" y="756"/>
                        </a:lnTo>
                        <a:lnTo>
                          <a:pt x="816" y="750"/>
                        </a:lnTo>
                        <a:lnTo>
                          <a:pt x="810" y="750"/>
                        </a:lnTo>
                        <a:lnTo>
                          <a:pt x="798" y="738"/>
                        </a:lnTo>
                        <a:lnTo>
                          <a:pt x="798" y="732"/>
                        </a:lnTo>
                        <a:lnTo>
                          <a:pt x="810" y="732"/>
                        </a:lnTo>
                        <a:lnTo>
                          <a:pt x="810" y="708"/>
                        </a:lnTo>
                        <a:lnTo>
                          <a:pt x="840" y="714"/>
                        </a:lnTo>
                        <a:lnTo>
                          <a:pt x="834" y="708"/>
                        </a:lnTo>
                        <a:lnTo>
                          <a:pt x="840" y="702"/>
                        </a:lnTo>
                        <a:lnTo>
                          <a:pt x="858" y="708"/>
                        </a:lnTo>
                        <a:lnTo>
                          <a:pt x="858" y="696"/>
                        </a:lnTo>
                        <a:lnTo>
                          <a:pt x="864" y="690"/>
                        </a:lnTo>
                        <a:lnTo>
                          <a:pt x="882" y="690"/>
                        </a:lnTo>
                        <a:lnTo>
                          <a:pt x="888" y="696"/>
                        </a:lnTo>
                        <a:lnTo>
                          <a:pt x="894" y="708"/>
                        </a:lnTo>
                        <a:lnTo>
                          <a:pt x="906" y="714"/>
                        </a:lnTo>
                        <a:lnTo>
                          <a:pt x="918" y="726"/>
                        </a:lnTo>
                        <a:lnTo>
                          <a:pt x="930" y="726"/>
                        </a:lnTo>
                        <a:lnTo>
                          <a:pt x="942" y="732"/>
                        </a:lnTo>
                        <a:lnTo>
                          <a:pt x="960" y="732"/>
                        </a:lnTo>
                        <a:lnTo>
                          <a:pt x="966" y="738"/>
                        </a:lnTo>
                        <a:lnTo>
                          <a:pt x="978" y="738"/>
                        </a:lnTo>
                        <a:lnTo>
                          <a:pt x="990" y="732"/>
                        </a:lnTo>
                        <a:lnTo>
                          <a:pt x="996" y="726"/>
                        </a:lnTo>
                        <a:lnTo>
                          <a:pt x="1026" y="726"/>
                        </a:lnTo>
                        <a:lnTo>
                          <a:pt x="1038" y="732"/>
                        </a:lnTo>
                        <a:lnTo>
                          <a:pt x="1044" y="738"/>
                        </a:lnTo>
                        <a:lnTo>
                          <a:pt x="1062" y="738"/>
                        </a:lnTo>
                        <a:lnTo>
                          <a:pt x="1062" y="726"/>
                        </a:lnTo>
                        <a:lnTo>
                          <a:pt x="1068" y="720"/>
                        </a:lnTo>
                        <a:lnTo>
                          <a:pt x="1068" y="714"/>
                        </a:lnTo>
                        <a:lnTo>
                          <a:pt x="1092" y="714"/>
                        </a:lnTo>
                        <a:lnTo>
                          <a:pt x="1092" y="678"/>
                        </a:lnTo>
                        <a:lnTo>
                          <a:pt x="1098" y="672"/>
                        </a:lnTo>
                        <a:lnTo>
                          <a:pt x="1098" y="660"/>
                        </a:lnTo>
                        <a:lnTo>
                          <a:pt x="1110" y="654"/>
                        </a:lnTo>
                        <a:lnTo>
                          <a:pt x="1116" y="654"/>
                        </a:lnTo>
                        <a:lnTo>
                          <a:pt x="1128" y="648"/>
                        </a:lnTo>
                        <a:lnTo>
                          <a:pt x="1158" y="648"/>
                        </a:lnTo>
                        <a:lnTo>
                          <a:pt x="1170" y="642"/>
                        </a:lnTo>
                        <a:lnTo>
                          <a:pt x="1206" y="642"/>
                        </a:lnTo>
                        <a:lnTo>
                          <a:pt x="1206" y="654"/>
                        </a:lnTo>
                        <a:lnTo>
                          <a:pt x="1242" y="660"/>
                        </a:lnTo>
                        <a:lnTo>
                          <a:pt x="1248" y="660"/>
                        </a:lnTo>
                        <a:lnTo>
                          <a:pt x="1260" y="672"/>
                        </a:lnTo>
                        <a:lnTo>
                          <a:pt x="1266" y="684"/>
                        </a:lnTo>
                        <a:lnTo>
                          <a:pt x="1266" y="702"/>
                        </a:lnTo>
                        <a:lnTo>
                          <a:pt x="1260" y="702"/>
                        </a:lnTo>
                        <a:lnTo>
                          <a:pt x="1260" y="696"/>
                        </a:lnTo>
                        <a:lnTo>
                          <a:pt x="1254" y="696"/>
                        </a:lnTo>
                        <a:lnTo>
                          <a:pt x="1254" y="708"/>
                        </a:lnTo>
                        <a:lnTo>
                          <a:pt x="1278" y="708"/>
                        </a:lnTo>
                        <a:lnTo>
                          <a:pt x="1284" y="696"/>
                        </a:lnTo>
                        <a:lnTo>
                          <a:pt x="1284" y="690"/>
                        </a:lnTo>
                        <a:lnTo>
                          <a:pt x="1308" y="684"/>
                        </a:lnTo>
                        <a:lnTo>
                          <a:pt x="1314" y="672"/>
                        </a:lnTo>
                        <a:lnTo>
                          <a:pt x="1350" y="672"/>
                        </a:lnTo>
                        <a:lnTo>
                          <a:pt x="1362" y="660"/>
                        </a:lnTo>
                        <a:lnTo>
                          <a:pt x="1356" y="660"/>
                        </a:lnTo>
                        <a:close/>
                        <a:moveTo>
                          <a:pt x="564" y="726"/>
                        </a:moveTo>
                        <a:lnTo>
                          <a:pt x="540" y="738"/>
                        </a:lnTo>
                        <a:lnTo>
                          <a:pt x="546" y="756"/>
                        </a:lnTo>
                        <a:lnTo>
                          <a:pt x="576" y="756"/>
                        </a:lnTo>
                        <a:lnTo>
                          <a:pt x="570" y="738"/>
                        </a:lnTo>
                        <a:lnTo>
                          <a:pt x="564" y="726"/>
                        </a:lnTo>
                        <a:close/>
                        <a:moveTo>
                          <a:pt x="522" y="714"/>
                        </a:moveTo>
                        <a:lnTo>
                          <a:pt x="516" y="720"/>
                        </a:lnTo>
                        <a:lnTo>
                          <a:pt x="510" y="732"/>
                        </a:lnTo>
                        <a:lnTo>
                          <a:pt x="510" y="750"/>
                        </a:lnTo>
                        <a:lnTo>
                          <a:pt x="528" y="768"/>
                        </a:lnTo>
                        <a:lnTo>
                          <a:pt x="528" y="756"/>
                        </a:lnTo>
                        <a:lnTo>
                          <a:pt x="534" y="744"/>
                        </a:lnTo>
                        <a:lnTo>
                          <a:pt x="534" y="720"/>
                        </a:lnTo>
                        <a:lnTo>
                          <a:pt x="528" y="714"/>
                        </a:lnTo>
                        <a:lnTo>
                          <a:pt x="522" y="714"/>
                        </a:lnTo>
                        <a:close/>
                        <a:moveTo>
                          <a:pt x="606" y="738"/>
                        </a:moveTo>
                        <a:lnTo>
                          <a:pt x="618" y="732"/>
                        </a:lnTo>
                        <a:lnTo>
                          <a:pt x="624" y="732"/>
                        </a:lnTo>
                        <a:lnTo>
                          <a:pt x="630" y="726"/>
                        </a:lnTo>
                        <a:lnTo>
                          <a:pt x="618" y="720"/>
                        </a:lnTo>
                        <a:lnTo>
                          <a:pt x="588" y="720"/>
                        </a:lnTo>
                        <a:lnTo>
                          <a:pt x="576" y="732"/>
                        </a:lnTo>
                        <a:lnTo>
                          <a:pt x="582" y="744"/>
                        </a:lnTo>
                        <a:lnTo>
                          <a:pt x="606" y="738"/>
                        </a:lnTo>
                        <a:close/>
                      </a:path>
                    </a:pathLst>
                  </a:custGeom>
                  <a:solidFill>
                    <a:schemeClr val="tx1">
                      <a:lumMod val="75000"/>
                      <a:lumOff val="25000"/>
                    </a:schemeClr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85800">
                      <a:spcBef>
                        <a:spcPct val="0"/>
                      </a:spcBef>
                      <a:defRPr/>
                    </a:pPr>
                    <a:endParaRPr lang="en-US" dirty="0">
                      <a:solidFill>
                        <a:srgbClr val="000000"/>
                      </a:solidFill>
                      <a:latin typeface="Calibri" pitchFamily="34" charset="0"/>
                      <a:cs typeface="Calibri" pitchFamily="34" charset="0"/>
                    </a:endParaRPr>
                  </a:p>
                </p:txBody>
              </p:sp>
              <p:grpSp>
                <p:nvGrpSpPr>
                  <p:cNvPr id="319" name="Gruppieren 537"/>
                  <p:cNvGrpSpPr/>
                  <p:nvPr/>
                </p:nvGrpSpPr>
                <p:grpSpPr>
                  <a:xfrm>
                    <a:off x="3759204" y="1868489"/>
                    <a:ext cx="1676404" cy="1077913"/>
                    <a:chOff x="3759204" y="1868489"/>
                    <a:chExt cx="1676404" cy="1077913"/>
                  </a:xfrm>
                  <a:solidFill>
                    <a:srgbClr val="FF0000"/>
                  </a:solidFill>
                </p:grpSpPr>
                <p:sp>
                  <p:nvSpPr>
                    <p:cNvPr id="320" name="United Kingdom" descr="© INSCALE GmbH, 05.05.2010&#10;http://www.presentationload.com/"/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4065592" y="2132014"/>
                      <a:ext cx="233363" cy="331788"/>
                    </a:xfrm>
                    <a:custGeom>
                      <a:avLst/>
                      <a:gdLst>
                        <a:gd name="T0" fmla="*/ 2147483647 w 576"/>
                        <a:gd name="T1" fmla="*/ 2147483647 h 822"/>
                        <a:gd name="T2" fmla="*/ 2147483647 w 576"/>
                        <a:gd name="T3" fmla="*/ 2147483647 h 822"/>
                        <a:gd name="T4" fmla="*/ 2147483647 w 576"/>
                        <a:gd name="T5" fmla="*/ 2147483647 h 822"/>
                        <a:gd name="T6" fmla="*/ 2147483647 w 576"/>
                        <a:gd name="T7" fmla="*/ 2147483647 h 822"/>
                        <a:gd name="T8" fmla="*/ 2147483647 w 576"/>
                        <a:gd name="T9" fmla="*/ 2147483647 h 822"/>
                        <a:gd name="T10" fmla="*/ 2147483647 w 576"/>
                        <a:gd name="T11" fmla="*/ 2147483647 h 822"/>
                        <a:gd name="T12" fmla="*/ 2147483647 w 576"/>
                        <a:gd name="T13" fmla="*/ 2147483647 h 822"/>
                        <a:gd name="T14" fmla="*/ 2147483647 w 576"/>
                        <a:gd name="T15" fmla="*/ 0 h 822"/>
                        <a:gd name="T16" fmla="*/ 2147483647 w 576"/>
                        <a:gd name="T17" fmla="*/ 0 h 822"/>
                        <a:gd name="T18" fmla="*/ 2147483647 w 576"/>
                        <a:gd name="T19" fmla="*/ 2147483647 h 822"/>
                        <a:gd name="T20" fmla="*/ 2147483647 w 576"/>
                        <a:gd name="T21" fmla="*/ 2147483647 h 822"/>
                        <a:gd name="T22" fmla="*/ 2147483647 w 576"/>
                        <a:gd name="T23" fmla="*/ 2147483647 h 822"/>
                        <a:gd name="T24" fmla="*/ 2147483647 w 576"/>
                        <a:gd name="T25" fmla="*/ 2147483647 h 822"/>
                        <a:gd name="T26" fmla="*/ 2147483647 w 576"/>
                        <a:gd name="T27" fmla="*/ 2147483647 h 822"/>
                        <a:gd name="T28" fmla="*/ 2147483647 w 576"/>
                        <a:gd name="T29" fmla="*/ 2147483647 h 822"/>
                        <a:gd name="T30" fmla="*/ 2147483647 w 576"/>
                        <a:gd name="T31" fmla="*/ 2147483647 h 822"/>
                        <a:gd name="T32" fmla="*/ 2147483647 w 576"/>
                        <a:gd name="T33" fmla="*/ 2147483647 h 822"/>
                        <a:gd name="T34" fmla="*/ 2147483647 w 576"/>
                        <a:gd name="T35" fmla="*/ 2147483647 h 822"/>
                        <a:gd name="T36" fmla="*/ 2147483647 w 576"/>
                        <a:gd name="T37" fmla="*/ 2147483647 h 822"/>
                        <a:gd name="T38" fmla="*/ 2147483647 w 576"/>
                        <a:gd name="T39" fmla="*/ 2147483647 h 822"/>
                        <a:gd name="T40" fmla="*/ 2147483647 w 576"/>
                        <a:gd name="T41" fmla="*/ 2147483647 h 822"/>
                        <a:gd name="T42" fmla="*/ 2147483647 w 576"/>
                        <a:gd name="T43" fmla="*/ 2147483647 h 822"/>
                        <a:gd name="T44" fmla="*/ 2147483647 w 576"/>
                        <a:gd name="T45" fmla="*/ 2147483647 h 822"/>
                        <a:gd name="T46" fmla="*/ 2147483647 w 576"/>
                        <a:gd name="T47" fmla="*/ 2147483647 h 822"/>
                        <a:gd name="T48" fmla="*/ 2147483647 w 576"/>
                        <a:gd name="T49" fmla="*/ 2147483647 h 822"/>
                        <a:gd name="T50" fmla="*/ 2147483647 w 576"/>
                        <a:gd name="T51" fmla="*/ 2147483647 h 822"/>
                        <a:gd name="T52" fmla="*/ 2147483647 w 576"/>
                        <a:gd name="T53" fmla="*/ 2147483647 h 822"/>
                        <a:gd name="T54" fmla="*/ 2147483647 w 576"/>
                        <a:gd name="T55" fmla="*/ 2147483647 h 822"/>
                        <a:gd name="T56" fmla="*/ 2147483647 w 576"/>
                        <a:gd name="T57" fmla="*/ 2147483647 h 822"/>
                        <a:gd name="T58" fmla="*/ 2147483647 w 576"/>
                        <a:gd name="T59" fmla="*/ 2147483647 h 822"/>
                        <a:gd name="T60" fmla="*/ 2147483647 w 576"/>
                        <a:gd name="T61" fmla="*/ 2147483647 h 822"/>
                        <a:gd name="T62" fmla="*/ 2147483647 w 576"/>
                        <a:gd name="T63" fmla="*/ 2147483647 h 822"/>
                        <a:gd name="T64" fmla="*/ 2147483647 w 576"/>
                        <a:gd name="T65" fmla="*/ 2147483647 h 822"/>
                        <a:gd name="T66" fmla="*/ 2147483647 w 576"/>
                        <a:gd name="T67" fmla="*/ 2147483647 h 822"/>
                        <a:gd name="T68" fmla="*/ 2147483647 w 576"/>
                        <a:gd name="T69" fmla="*/ 2147483647 h 822"/>
                        <a:gd name="T70" fmla="*/ 2147483647 w 576"/>
                        <a:gd name="T71" fmla="*/ 2147483647 h 822"/>
                        <a:gd name="T72" fmla="*/ 2147483647 w 576"/>
                        <a:gd name="T73" fmla="*/ 2147483647 h 822"/>
                        <a:gd name="T74" fmla="*/ 2147483647 w 576"/>
                        <a:gd name="T75" fmla="*/ 2147483647 h 822"/>
                        <a:gd name="T76" fmla="*/ 2147483647 w 576"/>
                        <a:gd name="T77" fmla="*/ 2147483647 h 822"/>
                        <a:gd name="T78" fmla="*/ 2147483647 w 576"/>
                        <a:gd name="T79" fmla="*/ 2147483647 h 822"/>
                        <a:gd name="T80" fmla="*/ 2147483647 w 576"/>
                        <a:gd name="T81" fmla="*/ 2147483647 h 822"/>
                        <a:gd name="T82" fmla="*/ 2147483647 w 576"/>
                        <a:gd name="T83" fmla="*/ 2147483647 h 822"/>
                        <a:gd name="T84" fmla="*/ 2147483647 w 576"/>
                        <a:gd name="T85" fmla="*/ 2147483647 h 822"/>
                        <a:gd name="T86" fmla="*/ 2147483647 w 576"/>
                        <a:gd name="T87" fmla="*/ 2147483647 h 822"/>
                        <a:gd name="T88" fmla="*/ 2147483647 w 576"/>
                        <a:gd name="T89" fmla="*/ 2147483647 h 822"/>
                        <a:gd name="T90" fmla="*/ 2147483647 w 576"/>
                        <a:gd name="T91" fmla="*/ 2147483647 h 822"/>
                        <a:gd name="T92" fmla="*/ 2147483647 w 576"/>
                        <a:gd name="T93" fmla="*/ 2147483647 h 822"/>
                        <a:gd name="T94" fmla="*/ 2147483647 w 576"/>
                        <a:gd name="T95" fmla="*/ 2147483647 h 822"/>
                        <a:gd name="T96" fmla="*/ 2147483647 w 576"/>
                        <a:gd name="T97" fmla="*/ 2147483647 h 822"/>
                        <a:gd name="T98" fmla="*/ 2147483647 w 576"/>
                        <a:gd name="T99" fmla="*/ 2147483647 h 822"/>
                        <a:gd name="T100" fmla="*/ 2147483647 w 576"/>
                        <a:gd name="T101" fmla="*/ 2147483647 h 822"/>
                        <a:gd name="T102" fmla="*/ 2147483647 w 576"/>
                        <a:gd name="T103" fmla="*/ 2147483647 h 822"/>
                        <a:gd name="T104" fmla="*/ 2147483647 w 576"/>
                        <a:gd name="T105" fmla="*/ 2147483647 h 822"/>
                        <a:gd name="T106" fmla="*/ 2147483647 w 576"/>
                        <a:gd name="T107" fmla="*/ 2147483647 h 822"/>
                        <a:gd name="T108" fmla="*/ 2147483647 w 576"/>
                        <a:gd name="T109" fmla="*/ 2147483647 h 822"/>
                        <a:gd name="T110" fmla="*/ 2147483647 w 576"/>
                        <a:gd name="T111" fmla="*/ 2147483647 h 822"/>
                        <a:gd name="T112" fmla="*/ 2147483647 w 576"/>
                        <a:gd name="T113" fmla="*/ 2147483647 h 822"/>
                        <a:gd name="T114" fmla="*/ 2147483647 w 576"/>
                        <a:gd name="T115" fmla="*/ 2147483647 h 822"/>
                        <a:gd name="T116" fmla="*/ 2147483647 w 576"/>
                        <a:gd name="T117" fmla="*/ 2147483647 h 822"/>
                        <a:gd name="T118" fmla="*/ 2147483647 w 576"/>
                        <a:gd name="T119" fmla="*/ 2147483647 h 822"/>
                        <a:gd name="T120" fmla="*/ 2147483647 w 576"/>
                        <a:gd name="T121" fmla="*/ 2147483647 h 822"/>
                        <a:gd name="T122" fmla="*/ 2147483647 w 576"/>
                        <a:gd name="T123" fmla="*/ 2147483647 h 822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60000 65536"/>
                        <a:gd name="T178" fmla="*/ 0 60000 65536"/>
                        <a:gd name="T179" fmla="*/ 0 60000 65536"/>
                        <a:gd name="T180" fmla="*/ 0 60000 65536"/>
                        <a:gd name="T181" fmla="*/ 0 60000 65536"/>
                        <a:gd name="T182" fmla="*/ 0 60000 65536"/>
                        <a:gd name="T183" fmla="*/ 0 60000 65536"/>
                        <a:gd name="T184" fmla="*/ 0 60000 65536"/>
                        <a:gd name="T185" fmla="*/ 0 60000 65536"/>
                        <a:gd name="T186" fmla="*/ 0 w 576"/>
                        <a:gd name="T187" fmla="*/ 0 h 822"/>
                        <a:gd name="T188" fmla="*/ 576 w 576"/>
                        <a:gd name="T189" fmla="*/ 822 h 822"/>
                      </a:gdLst>
                      <a:ahLst/>
                      <a:cxnLst>
                        <a:cxn ang="T124">
                          <a:pos x="T0" y="T1"/>
                        </a:cxn>
                        <a:cxn ang="T125">
                          <a:pos x="T2" y="T3"/>
                        </a:cxn>
                        <a:cxn ang="T126">
                          <a:pos x="T4" y="T5"/>
                        </a:cxn>
                        <a:cxn ang="T127">
                          <a:pos x="T6" y="T7"/>
                        </a:cxn>
                        <a:cxn ang="T128">
                          <a:pos x="T8" y="T9"/>
                        </a:cxn>
                        <a:cxn ang="T129">
                          <a:pos x="T10" y="T11"/>
                        </a:cxn>
                        <a:cxn ang="T130">
                          <a:pos x="T12" y="T13"/>
                        </a:cxn>
                        <a:cxn ang="T131">
                          <a:pos x="T14" y="T15"/>
                        </a:cxn>
                        <a:cxn ang="T132">
                          <a:pos x="T16" y="T17"/>
                        </a:cxn>
                        <a:cxn ang="T133">
                          <a:pos x="T18" y="T19"/>
                        </a:cxn>
                        <a:cxn ang="T134">
                          <a:pos x="T20" y="T21"/>
                        </a:cxn>
                        <a:cxn ang="T135">
                          <a:pos x="T22" y="T23"/>
                        </a:cxn>
                        <a:cxn ang="T136">
                          <a:pos x="T24" y="T25"/>
                        </a:cxn>
                        <a:cxn ang="T137">
                          <a:pos x="T26" y="T27"/>
                        </a:cxn>
                        <a:cxn ang="T138">
                          <a:pos x="T28" y="T29"/>
                        </a:cxn>
                        <a:cxn ang="T139">
                          <a:pos x="T30" y="T31"/>
                        </a:cxn>
                        <a:cxn ang="T140">
                          <a:pos x="T32" y="T33"/>
                        </a:cxn>
                        <a:cxn ang="T141">
                          <a:pos x="T34" y="T35"/>
                        </a:cxn>
                        <a:cxn ang="T142">
                          <a:pos x="T36" y="T37"/>
                        </a:cxn>
                        <a:cxn ang="T143">
                          <a:pos x="T38" y="T39"/>
                        </a:cxn>
                        <a:cxn ang="T144">
                          <a:pos x="T40" y="T41"/>
                        </a:cxn>
                        <a:cxn ang="T145">
                          <a:pos x="T42" y="T43"/>
                        </a:cxn>
                        <a:cxn ang="T146">
                          <a:pos x="T44" y="T45"/>
                        </a:cxn>
                        <a:cxn ang="T147">
                          <a:pos x="T46" y="T47"/>
                        </a:cxn>
                        <a:cxn ang="T148">
                          <a:pos x="T48" y="T49"/>
                        </a:cxn>
                        <a:cxn ang="T149">
                          <a:pos x="T50" y="T51"/>
                        </a:cxn>
                        <a:cxn ang="T150">
                          <a:pos x="T52" y="T53"/>
                        </a:cxn>
                        <a:cxn ang="T151">
                          <a:pos x="T54" y="T55"/>
                        </a:cxn>
                        <a:cxn ang="T152">
                          <a:pos x="T56" y="T57"/>
                        </a:cxn>
                        <a:cxn ang="T153">
                          <a:pos x="T58" y="T59"/>
                        </a:cxn>
                        <a:cxn ang="T154">
                          <a:pos x="T60" y="T61"/>
                        </a:cxn>
                        <a:cxn ang="T155">
                          <a:pos x="T62" y="T63"/>
                        </a:cxn>
                        <a:cxn ang="T156">
                          <a:pos x="T64" y="T65"/>
                        </a:cxn>
                        <a:cxn ang="T157">
                          <a:pos x="T66" y="T67"/>
                        </a:cxn>
                        <a:cxn ang="T158">
                          <a:pos x="T68" y="T69"/>
                        </a:cxn>
                        <a:cxn ang="T159">
                          <a:pos x="T70" y="T71"/>
                        </a:cxn>
                        <a:cxn ang="T160">
                          <a:pos x="T72" y="T73"/>
                        </a:cxn>
                        <a:cxn ang="T161">
                          <a:pos x="T74" y="T75"/>
                        </a:cxn>
                        <a:cxn ang="T162">
                          <a:pos x="T76" y="T77"/>
                        </a:cxn>
                        <a:cxn ang="T163">
                          <a:pos x="T78" y="T79"/>
                        </a:cxn>
                        <a:cxn ang="T164">
                          <a:pos x="T80" y="T81"/>
                        </a:cxn>
                        <a:cxn ang="T165">
                          <a:pos x="T82" y="T83"/>
                        </a:cxn>
                        <a:cxn ang="T166">
                          <a:pos x="T84" y="T85"/>
                        </a:cxn>
                        <a:cxn ang="T167">
                          <a:pos x="T86" y="T87"/>
                        </a:cxn>
                        <a:cxn ang="T168">
                          <a:pos x="T88" y="T89"/>
                        </a:cxn>
                        <a:cxn ang="T169">
                          <a:pos x="T90" y="T91"/>
                        </a:cxn>
                        <a:cxn ang="T170">
                          <a:pos x="T92" y="T93"/>
                        </a:cxn>
                        <a:cxn ang="T171">
                          <a:pos x="T94" y="T95"/>
                        </a:cxn>
                        <a:cxn ang="T172">
                          <a:pos x="T96" y="T97"/>
                        </a:cxn>
                        <a:cxn ang="T173">
                          <a:pos x="T98" y="T99"/>
                        </a:cxn>
                        <a:cxn ang="T174">
                          <a:pos x="T100" y="T101"/>
                        </a:cxn>
                        <a:cxn ang="T175">
                          <a:pos x="T102" y="T103"/>
                        </a:cxn>
                        <a:cxn ang="T176">
                          <a:pos x="T104" y="T105"/>
                        </a:cxn>
                        <a:cxn ang="T177">
                          <a:pos x="T106" y="T107"/>
                        </a:cxn>
                        <a:cxn ang="T178">
                          <a:pos x="T108" y="T109"/>
                        </a:cxn>
                        <a:cxn ang="T179">
                          <a:pos x="T110" y="T111"/>
                        </a:cxn>
                        <a:cxn ang="T180">
                          <a:pos x="T112" y="T113"/>
                        </a:cxn>
                        <a:cxn ang="T181">
                          <a:pos x="T114" y="T115"/>
                        </a:cxn>
                        <a:cxn ang="T182">
                          <a:pos x="T116" y="T117"/>
                        </a:cxn>
                        <a:cxn ang="T183">
                          <a:pos x="T118" y="T119"/>
                        </a:cxn>
                        <a:cxn ang="T184">
                          <a:pos x="T120" y="T121"/>
                        </a:cxn>
                        <a:cxn ang="T185">
                          <a:pos x="T122" y="T123"/>
                        </a:cxn>
                      </a:cxnLst>
                      <a:rect l="T186" t="T187" r="T188" b="T189"/>
                      <a:pathLst>
                        <a:path w="576" h="822">
                          <a:moveTo>
                            <a:pt x="162" y="378"/>
                          </a:moveTo>
                          <a:lnTo>
                            <a:pt x="156" y="378"/>
                          </a:lnTo>
                          <a:lnTo>
                            <a:pt x="150" y="384"/>
                          </a:lnTo>
                          <a:lnTo>
                            <a:pt x="150" y="396"/>
                          </a:lnTo>
                          <a:lnTo>
                            <a:pt x="144" y="414"/>
                          </a:lnTo>
                          <a:lnTo>
                            <a:pt x="156" y="402"/>
                          </a:lnTo>
                          <a:lnTo>
                            <a:pt x="162" y="390"/>
                          </a:lnTo>
                          <a:lnTo>
                            <a:pt x="162" y="378"/>
                          </a:lnTo>
                          <a:close/>
                          <a:moveTo>
                            <a:pt x="132" y="312"/>
                          </a:moveTo>
                          <a:lnTo>
                            <a:pt x="126" y="312"/>
                          </a:lnTo>
                          <a:lnTo>
                            <a:pt x="126" y="336"/>
                          </a:lnTo>
                          <a:lnTo>
                            <a:pt x="132" y="336"/>
                          </a:lnTo>
                          <a:lnTo>
                            <a:pt x="138" y="330"/>
                          </a:lnTo>
                          <a:lnTo>
                            <a:pt x="150" y="330"/>
                          </a:lnTo>
                          <a:lnTo>
                            <a:pt x="144" y="318"/>
                          </a:lnTo>
                          <a:lnTo>
                            <a:pt x="138" y="312"/>
                          </a:lnTo>
                          <a:lnTo>
                            <a:pt x="132" y="312"/>
                          </a:lnTo>
                          <a:close/>
                          <a:moveTo>
                            <a:pt x="114" y="390"/>
                          </a:moveTo>
                          <a:lnTo>
                            <a:pt x="126" y="390"/>
                          </a:lnTo>
                          <a:lnTo>
                            <a:pt x="138" y="384"/>
                          </a:lnTo>
                          <a:lnTo>
                            <a:pt x="138" y="372"/>
                          </a:lnTo>
                          <a:lnTo>
                            <a:pt x="132" y="366"/>
                          </a:lnTo>
                          <a:lnTo>
                            <a:pt x="120" y="366"/>
                          </a:lnTo>
                          <a:lnTo>
                            <a:pt x="114" y="372"/>
                          </a:lnTo>
                          <a:lnTo>
                            <a:pt x="108" y="384"/>
                          </a:lnTo>
                          <a:lnTo>
                            <a:pt x="108" y="390"/>
                          </a:lnTo>
                          <a:lnTo>
                            <a:pt x="114" y="390"/>
                          </a:lnTo>
                          <a:close/>
                          <a:moveTo>
                            <a:pt x="330" y="120"/>
                          </a:moveTo>
                          <a:lnTo>
                            <a:pt x="324" y="120"/>
                          </a:lnTo>
                          <a:lnTo>
                            <a:pt x="318" y="126"/>
                          </a:lnTo>
                          <a:lnTo>
                            <a:pt x="318" y="138"/>
                          </a:lnTo>
                          <a:lnTo>
                            <a:pt x="330" y="138"/>
                          </a:lnTo>
                          <a:lnTo>
                            <a:pt x="336" y="126"/>
                          </a:lnTo>
                          <a:lnTo>
                            <a:pt x="330" y="120"/>
                          </a:lnTo>
                          <a:close/>
                          <a:moveTo>
                            <a:pt x="138" y="258"/>
                          </a:moveTo>
                          <a:lnTo>
                            <a:pt x="138" y="234"/>
                          </a:lnTo>
                          <a:lnTo>
                            <a:pt x="126" y="234"/>
                          </a:lnTo>
                          <a:lnTo>
                            <a:pt x="120" y="240"/>
                          </a:lnTo>
                          <a:lnTo>
                            <a:pt x="120" y="246"/>
                          </a:lnTo>
                          <a:lnTo>
                            <a:pt x="126" y="252"/>
                          </a:lnTo>
                          <a:lnTo>
                            <a:pt x="108" y="252"/>
                          </a:lnTo>
                          <a:lnTo>
                            <a:pt x="108" y="258"/>
                          </a:lnTo>
                          <a:lnTo>
                            <a:pt x="114" y="264"/>
                          </a:lnTo>
                          <a:lnTo>
                            <a:pt x="120" y="264"/>
                          </a:lnTo>
                          <a:lnTo>
                            <a:pt x="126" y="270"/>
                          </a:lnTo>
                          <a:lnTo>
                            <a:pt x="150" y="270"/>
                          </a:lnTo>
                          <a:lnTo>
                            <a:pt x="138" y="258"/>
                          </a:lnTo>
                          <a:close/>
                          <a:moveTo>
                            <a:pt x="474" y="0"/>
                          </a:moveTo>
                          <a:lnTo>
                            <a:pt x="468" y="0"/>
                          </a:lnTo>
                          <a:lnTo>
                            <a:pt x="456" y="12"/>
                          </a:lnTo>
                          <a:lnTo>
                            <a:pt x="474" y="12"/>
                          </a:lnTo>
                          <a:lnTo>
                            <a:pt x="474" y="6"/>
                          </a:lnTo>
                          <a:lnTo>
                            <a:pt x="480" y="0"/>
                          </a:lnTo>
                          <a:lnTo>
                            <a:pt x="474" y="0"/>
                          </a:lnTo>
                          <a:close/>
                          <a:moveTo>
                            <a:pt x="432" y="48"/>
                          </a:moveTo>
                          <a:lnTo>
                            <a:pt x="432" y="66"/>
                          </a:lnTo>
                          <a:lnTo>
                            <a:pt x="438" y="66"/>
                          </a:lnTo>
                          <a:lnTo>
                            <a:pt x="444" y="60"/>
                          </a:lnTo>
                          <a:lnTo>
                            <a:pt x="450" y="48"/>
                          </a:lnTo>
                          <a:lnTo>
                            <a:pt x="450" y="24"/>
                          </a:lnTo>
                          <a:lnTo>
                            <a:pt x="438" y="12"/>
                          </a:lnTo>
                          <a:lnTo>
                            <a:pt x="432" y="24"/>
                          </a:lnTo>
                          <a:lnTo>
                            <a:pt x="426" y="30"/>
                          </a:lnTo>
                          <a:lnTo>
                            <a:pt x="420" y="30"/>
                          </a:lnTo>
                          <a:lnTo>
                            <a:pt x="420" y="42"/>
                          </a:lnTo>
                          <a:lnTo>
                            <a:pt x="426" y="42"/>
                          </a:lnTo>
                          <a:lnTo>
                            <a:pt x="432" y="48"/>
                          </a:lnTo>
                          <a:close/>
                          <a:moveTo>
                            <a:pt x="342" y="138"/>
                          </a:moveTo>
                          <a:lnTo>
                            <a:pt x="342" y="150"/>
                          </a:lnTo>
                          <a:lnTo>
                            <a:pt x="354" y="138"/>
                          </a:lnTo>
                          <a:lnTo>
                            <a:pt x="342" y="138"/>
                          </a:lnTo>
                          <a:close/>
                          <a:moveTo>
                            <a:pt x="192" y="402"/>
                          </a:moveTo>
                          <a:lnTo>
                            <a:pt x="192" y="390"/>
                          </a:lnTo>
                          <a:lnTo>
                            <a:pt x="186" y="384"/>
                          </a:lnTo>
                          <a:lnTo>
                            <a:pt x="186" y="378"/>
                          </a:lnTo>
                          <a:lnTo>
                            <a:pt x="174" y="390"/>
                          </a:lnTo>
                          <a:lnTo>
                            <a:pt x="174" y="396"/>
                          </a:lnTo>
                          <a:lnTo>
                            <a:pt x="180" y="402"/>
                          </a:lnTo>
                          <a:lnTo>
                            <a:pt x="192" y="402"/>
                          </a:lnTo>
                          <a:close/>
                          <a:moveTo>
                            <a:pt x="504" y="588"/>
                          </a:moveTo>
                          <a:lnTo>
                            <a:pt x="498" y="594"/>
                          </a:lnTo>
                          <a:lnTo>
                            <a:pt x="498" y="600"/>
                          </a:lnTo>
                          <a:lnTo>
                            <a:pt x="480" y="600"/>
                          </a:lnTo>
                          <a:lnTo>
                            <a:pt x="480" y="588"/>
                          </a:lnTo>
                          <a:lnTo>
                            <a:pt x="486" y="576"/>
                          </a:lnTo>
                          <a:lnTo>
                            <a:pt x="498" y="564"/>
                          </a:lnTo>
                          <a:lnTo>
                            <a:pt x="492" y="558"/>
                          </a:lnTo>
                          <a:lnTo>
                            <a:pt x="456" y="540"/>
                          </a:lnTo>
                          <a:lnTo>
                            <a:pt x="450" y="540"/>
                          </a:lnTo>
                          <a:lnTo>
                            <a:pt x="444" y="534"/>
                          </a:lnTo>
                          <a:lnTo>
                            <a:pt x="450" y="534"/>
                          </a:lnTo>
                          <a:lnTo>
                            <a:pt x="456" y="528"/>
                          </a:lnTo>
                          <a:lnTo>
                            <a:pt x="480" y="528"/>
                          </a:lnTo>
                          <a:lnTo>
                            <a:pt x="468" y="516"/>
                          </a:lnTo>
                          <a:lnTo>
                            <a:pt x="468" y="510"/>
                          </a:lnTo>
                          <a:lnTo>
                            <a:pt x="456" y="498"/>
                          </a:lnTo>
                          <a:lnTo>
                            <a:pt x="450" y="486"/>
                          </a:lnTo>
                          <a:lnTo>
                            <a:pt x="432" y="468"/>
                          </a:lnTo>
                          <a:lnTo>
                            <a:pt x="420" y="468"/>
                          </a:lnTo>
                          <a:lnTo>
                            <a:pt x="414" y="456"/>
                          </a:lnTo>
                          <a:lnTo>
                            <a:pt x="402" y="450"/>
                          </a:lnTo>
                          <a:lnTo>
                            <a:pt x="390" y="438"/>
                          </a:lnTo>
                          <a:lnTo>
                            <a:pt x="390" y="414"/>
                          </a:lnTo>
                          <a:lnTo>
                            <a:pt x="396" y="402"/>
                          </a:lnTo>
                          <a:lnTo>
                            <a:pt x="396" y="390"/>
                          </a:lnTo>
                          <a:lnTo>
                            <a:pt x="384" y="390"/>
                          </a:lnTo>
                          <a:lnTo>
                            <a:pt x="378" y="384"/>
                          </a:lnTo>
                          <a:lnTo>
                            <a:pt x="372" y="372"/>
                          </a:lnTo>
                          <a:lnTo>
                            <a:pt x="360" y="360"/>
                          </a:lnTo>
                          <a:lnTo>
                            <a:pt x="342" y="354"/>
                          </a:lnTo>
                          <a:lnTo>
                            <a:pt x="324" y="354"/>
                          </a:lnTo>
                          <a:lnTo>
                            <a:pt x="306" y="360"/>
                          </a:lnTo>
                          <a:lnTo>
                            <a:pt x="294" y="366"/>
                          </a:lnTo>
                          <a:lnTo>
                            <a:pt x="288" y="366"/>
                          </a:lnTo>
                          <a:lnTo>
                            <a:pt x="270" y="348"/>
                          </a:lnTo>
                          <a:lnTo>
                            <a:pt x="282" y="348"/>
                          </a:lnTo>
                          <a:lnTo>
                            <a:pt x="294" y="354"/>
                          </a:lnTo>
                          <a:lnTo>
                            <a:pt x="306" y="354"/>
                          </a:lnTo>
                          <a:lnTo>
                            <a:pt x="330" y="342"/>
                          </a:lnTo>
                          <a:lnTo>
                            <a:pt x="336" y="336"/>
                          </a:lnTo>
                          <a:lnTo>
                            <a:pt x="330" y="336"/>
                          </a:lnTo>
                          <a:lnTo>
                            <a:pt x="324" y="330"/>
                          </a:lnTo>
                          <a:lnTo>
                            <a:pt x="306" y="330"/>
                          </a:lnTo>
                          <a:lnTo>
                            <a:pt x="330" y="324"/>
                          </a:lnTo>
                          <a:lnTo>
                            <a:pt x="336" y="318"/>
                          </a:lnTo>
                          <a:lnTo>
                            <a:pt x="348" y="312"/>
                          </a:lnTo>
                          <a:lnTo>
                            <a:pt x="360" y="300"/>
                          </a:lnTo>
                          <a:lnTo>
                            <a:pt x="360" y="288"/>
                          </a:lnTo>
                          <a:lnTo>
                            <a:pt x="366" y="276"/>
                          </a:lnTo>
                          <a:lnTo>
                            <a:pt x="372" y="270"/>
                          </a:lnTo>
                          <a:lnTo>
                            <a:pt x="378" y="258"/>
                          </a:lnTo>
                          <a:lnTo>
                            <a:pt x="384" y="252"/>
                          </a:lnTo>
                          <a:lnTo>
                            <a:pt x="396" y="246"/>
                          </a:lnTo>
                          <a:lnTo>
                            <a:pt x="402" y="246"/>
                          </a:lnTo>
                          <a:lnTo>
                            <a:pt x="402" y="240"/>
                          </a:lnTo>
                          <a:lnTo>
                            <a:pt x="396" y="234"/>
                          </a:lnTo>
                          <a:lnTo>
                            <a:pt x="318" y="234"/>
                          </a:lnTo>
                          <a:lnTo>
                            <a:pt x="318" y="228"/>
                          </a:lnTo>
                          <a:lnTo>
                            <a:pt x="288" y="228"/>
                          </a:lnTo>
                          <a:lnTo>
                            <a:pt x="276" y="234"/>
                          </a:lnTo>
                          <a:lnTo>
                            <a:pt x="264" y="234"/>
                          </a:lnTo>
                          <a:lnTo>
                            <a:pt x="258" y="240"/>
                          </a:lnTo>
                          <a:lnTo>
                            <a:pt x="252" y="240"/>
                          </a:lnTo>
                          <a:lnTo>
                            <a:pt x="264" y="228"/>
                          </a:lnTo>
                          <a:lnTo>
                            <a:pt x="252" y="216"/>
                          </a:lnTo>
                          <a:lnTo>
                            <a:pt x="270" y="210"/>
                          </a:lnTo>
                          <a:lnTo>
                            <a:pt x="300" y="192"/>
                          </a:lnTo>
                          <a:lnTo>
                            <a:pt x="312" y="186"/>
                          </a:lnTo>
                          <a:lnTo>
                            <a:pt x="324" y="162"/>
                          </a:lnTo>
                          <a:lnTo>
                            <a:pt x="318" y="156"/>
                          </a:lnTo>
                          <a:lnTo>
                            <a:pt x="288" y="156"/>
                          </a:lnTo>
                          <a:lnTo>
                            <a:pt x="276" y="162"/>
                          </a:lnTo>
                          <a:lnTo>
                            <a:pt x="258" y="168"/>
                          </a:lnTo>
                          <a:lnTo>
                            <a:pt x="240" y="168"/>
                          </a:lnTo>
                          <a:lnTo>
                            <a:pt x="228" y="162"/>
                          </a:lnTo>
                          <a:lnTo>
                            <a:pt x="216" y="162"/>
                          </a:lnTo>
                          <a:lnTo>
                            <a:pt x="210" y="168"/>
                          </a:lnTo>
                          <a:lnTo>
                            <a:pt x="210" y="174"/>
                          </a:lnTo>
                          <a:lnTo>
                            <a:pt x="216" y="180"/>
                          </a:lnTo>
                          <a:lnTo>
                            <a:pt x="204" y="180"/>
                          </a:lnTo>
                          <a:lnTo>
                            <a:pt x="192" y="192"/>
                          </a:lnTo>
                          <a:lnTo>
                            <a:pt x="192" y="210"/>
                          </a:lnTo>
                          <a:lnTo>
                            <a:pt x="198" y="216"/>
                          </a:lnTo>
                          <a:lnTo>
                            <a:pt x="156" y="222"/>
                          </a:lnTo>
                          <a:lnTo>
                            <a:pt x="156" y="234"/>
                          </a:lnTo>
                          <a:lnTo>
                            <a:pt x="168" y="240"/>
                          </a:lnTo>
                          <a:lnTo>
                            <a:pt x="180" y="264"/>
                          </a:lnTo>
                          <a:lnTo>
                            <a:pt x="162" y="282"/>
                          </a:lnTo>
                          <a:lnTo>
                            <a:pt x="162" y="294"/>
                          </a:lnTo>
                          <a:lnTo>
                            <a:pt x="144" y="300"/>
                          </a:lnTo>
                          <a:lnTo>
                            <a:pt x="156" y="312"/>
                          </a:lnTo>
                          <a:lnTo>
                            <a:pt x="168" y="312"/>
                          </a:lnTo>
                          <a:lnTo>
                            <a:pt x="180" y="306"/>
                          </a:lnTo>
                          <a:lnTo>
                            <a:pt x="186" y="300"/>
                          </a:lnTo>
                          <a:lnTo>
                            <a:pt x="186" y="318"/>
                          </a:lnTo>
                          <a:lnTo>
                            <a:pt x="180" y="318"/>
                          </a:lnTo>
                          <a:lnTo>
                            <a:pt x="168" y="330"/>
                          </a:lnTo>
                          <a:lnTo>
                            <a:pt x="156" y="336"/>
                          </a:lnTo>
                          <a:lnTo>
                            <a:pt x="156" y="360"/>
                          </a:lnTo>
                          <a:lnTo>
                            <a:pt x="162" y="372"/>
                          </a:lnTo>
                          <a:lnTo>
                            <a:pt x="168" y="366"/>
                          </a:lnTo>
                          <a:lnTo>
                            <a:pt x="198" y="366"/>
                          </a:lnTo>
                          <a:lnTo>
                            <a:pt x="210" y="360"/>
                          </a:lnTo>
                          <a:lnTo>
                            <a:pt x="216" y="354"/>
                          </a:lnTo>
                          <a:lnTo>
                            <a:pt x="198" y="372"/>
                          </a:lnTo>
                          <a:lnTo>
                            <a:pt x="210" y="402"/>
                          </a:lnTo>
                          <a:lnTo>
                            <a:pt x="204" y="408"/>
                          </a:lnTo>
                          <a:lnTo>
                            <a:pt x="198" y="420"/>
                          </a:lnTo>
                          <a:lnTo>
                            <a:pt x="186" y="426"/>
                          </a:lnTo>
                          <a:lnTo>
                            <a:pt x="180" y="438"/>
                          </a:lnTo>
                          <a:lnTo>
                            <a:pt x="180" y="450"/>
                          </a:lnTo>
                          <a:lnTo>
                            <a:pt x="186" y="456"/>
                          </a:lnTo>
                          <a:lnTo>
                            <a:pt x="204" y="456"/>
                          </a:lnTo>
                          <a:lnTo>
                            <a:pt x="216" y="450"/>
                          </a:lnTo>
                          <a:lnTo>
                            <a:pt x="240" y="450"/>
                          </a:lnTo>
                          <a:lnTo>
                            <a:pt x="252" y="444"/>
                          </a:lnTo>
                          <a:lnTo>
                            <a:pt x="258" y="438"/>
                          </a:lnTo>
                          <a:lnTo>
                            <a:pt x="270" y="432"/>
                          </a:lnTo>
                          <a:lnTo>
                            <a:pt x="300" y="438"/>
                          </a:lnTo>
                          <a:lnTo>
                            <a:pt x="288" y="444"/>
                          </a:lnTo>
                          <a:lnTo>
                            <a:pt x="264" y="468"/>
                          </a:lnTo>
                          <a:lnTo>
                            <a:pt x="264" y="474"/>
                          </a:lnTo>
                          <a:lnTo>
                            <a:pt x="282" y="492"/>
                          </a:lnTo>
                          <a:lnTo>
                            <a:pt x="294" y="492"/>
                          </a:lnTo>
                          <a:lnTo>
                            <a:pt x="300" y="498"/>
                          </a:lnTo>
                          <a:lnTo>
                            <a:pt x="306" y="498"/>
                          </a:lnTo>
                          <a:lnTo>
                            <a:pt x="312" y="516"/>
                          </a:lnTo>
                          <a:lnTo>
                            <a:pt x="294" y="534"/>
                          </a:lnTo>
                          <a:lnTo>
                            <a:pt x="294" y="564"/>
                          </a:lnTo>
                          <a:lnTo>
                            <a:pt x="222" y="564"/>
                          </a:lnTo>
                          <a:lnTo>
                            <a:pt x="216" y="558"/>
                          </a:lnTo>
                          <a:lnTo>
                            <a:pt x="198" y="558"/>
                          </a:lnTo>
                          <a:lnTo>
                            <a:pt x="192" y="564"/>
                          </a:lnTo>
                          <a:lnTo>
                            <a:pt x="210" y="582"/>
                          </a:lnTo>
                          <a:lnTo>
                            <a:pt x="186" y="600"/>
                          </a:lnTo>
                          <a:lnTo>
                            <a:pt x="228" y="594"/>
                          </a:lnTo>
                          <a:lnTo>
                            <a:pt x="228" y="618"/>
                          </a:lnTo>
                          <a:lnTo>
                            <a:pt x="216" y="642"/>
                          </a:lnTo>
                          <a:lnTo>
                            <a:pt x="210" y="648"/>
                          </a:lnTo>
                          <a:lnTo>
                            <a:pt x="198" y="654"/>
                          </a:lnTo>
                          <a:lnTo>
                            <a:pt x="180" y="660"/>
                          </a:lnTo>
                          <a:lnTo>
                            <a:pt x="168" y="666"/>
                          </a:lnTo>
                          <a:lnTo>
                            <a:pt x="162" y="666"/>
                          </a:lnTo>
                          <a:lnTo>
                            <a:pt x="162" y="690"/>
                          </a:lnTo>
                          <a:lnTo>
                            <a:pt x="168" y="696"/>
                          </a:lnTo>
                          <a:lnTo>
                            <a:pt x="174" y="696"/>
                          </a:lnTo>
                          <a:lnTo>
                            <a:pt x="180" y="690"/>
                          </a:lnTo>
                          <a:lnTo>
                            <a:pt x="192" y="684"/>
                          </a:lnTo>
                          <a:lnTo>
                            <a:pt x="198" y="678"/>
                          </a:lnTo>
                          <a:lnTo>
                            <a:pt x="204" y="684"/>
                          </a:lnTo>
                          <a:lnTo>
                            <a:pt x="204" y="690"/>
                          </a:lnTo>
                          <a:lnTo>
                            <a:pt x="210" y="696"/>
                          </a:lnTo>
                          <a:lnTo>
                            <a:pt x="234" y="696"/>
                          </a:lnTo>
                          <a:lnTo>
                            <a:pt x="240" y="702"/>
                          </a:lnTo>
                          <a:lnTo>
                            <a:pt x="252" y="708"/>
                          </a:lnTo>
                          <a:lnTo>
                            <a:pt x="258" y="708"/>
                          </a:lnTo>
                          <a:lnTo>
                            <a:pt x="276" y="702"/>
                          </a:lnTo>
                          <a:lnTo>
                            <a:pt x="288" y="696"/>
                          </a:lnTo>
                          <a:lnTo>
                            <a:pt x="294" y="690"/>
                          </a:lnTo>
                          <a:lnTo>
                            <a:pt x="318" y="690"/>
                          </a:lnTo>
                          <a:lnTo>
                            <a:pt x="312" y="696"/>
                          </a:lnTo>
                          <a:lnTo>
                            <a:pt x="300" y="702"/>
                          </a:lnTo>
                          <a:lnTo>
                            <a:pt x="294" y="714"/>
                          </a:lnTo>
                          <a:lnTo>
                            <a:pt x="282" y="720"/>
                          </a:lnTo>
                          <a:lnTo>
                            <a:pt x="276" y="726"/>
                          </a:lnTo>
                          <a:lnTo>
                            <a:pt x="210" y="726"/>
                          </a:lnTo>
                          <a:lnTo>
                            <a:pt x="210" y="738"/>
                          </a:lnTo>
                          <a:lnTo>
                            <a:pt x="198" y="738"/>
                          </a:lnTo>
                          <a:lnTo>
                            <a:pt x="186" y="744"/>
                          </a:lnTo>
                          <a:lnTo>
                            <a:pt x="180" y="750"/>
                          </a:lnTo>
                          <a:lnTo>
                            <a:pt x="180" y="768"/>
                          </a:lnTo>
                          <a:lnTo>
                            <a:pt x="174" y="774"/>
                          </a:lnTo>
                          <a:lnTo>
                            <a:pt x="144" y="774"/>
                          </a:lnTo>
                          <a:lnTo>
                            <a:pt x="144" y="780"/>
                          </a:lnTo>
                          <a:lnTo>
                            <a:pt x="138" y="786"/>
                          </a:lnTo>
                          <a:lnTo>
                            <a:pt x="138" y="792"/>
                          </a:lnTo>
                          <a:lnTo>
                            <a:pt x="126" y="804"/>
                          </a:lnTo>
                          <a:lnTo>
                            <a:pt x="114" y="810"/>
                          </a:lnTo>
                          <a:lnTo>
                            <a:pt x="108" y="810"/>
                          </a:lnTo>
                          <a:lnTo>
                            <a:pt x="108" y="816"/>
                          </a:lnTo>
                          <a:lnTo>
                            <a:pt x="114" y="816"/>
                          </a:lnTo>
                          <a:lnTo>
                            <a:pt x="120" y="822"/>
                          </a:lnTo>
                          <a:lnTo>
                            <a:pt x="150" y="822"/>
                          </a:lnTo>
                          <a:lnTo>
                            <a:pt x="156" y="810"/>
                          </a:lnTo>
                          <a:lnTo>
                            <a:pt x="174" y="792"/>
                          </a:lnTo>
                          <a:lnTo>
                            <a:pt x="210" y="792"/>
                          </a:lnTo>
                          <a:lnTo>
                            <a:pt x="216" y="798"/>
                          </a:lnTo>
                          <a:lnTo>
                            <a:pt x="228" y="804"/>
                          </a:lnTo>
                          <a:lnTo>
                            <a:pt x="240" y="804"/>
                          </a:lnTo>
                          <a:lnTo>
                            <a:pt x="246" y="792"/>
                          </a:lnTo>
                          <a:lnTo>
                            <a:pt x="252" y="786"/>
                          </a:lnTo>
                          <a:lnTo>
                            <a:pt x="258" y="774"/>
                          </a:lnTo>
                          <a:lnTo>
                            <a:pt x="270" y="762"/>
                          </a:lnTo>
                          <a:lnTo>
                            <a:pt x="288" y="762"/>
                          </a:lnTo>
                          <a:lnTo>
                            <a:pt x="300" y="774"/>
                          </a:lnTo>
                          <a:lnTo>
                            <a:pt x="330" y="774"/>
                          </a:lnTo>
                          <a:lnTo>
                            <a:pt x="354" y="762"/>
                          </a:lnTo>
                          <a:lnTo>
                            <a:pt x="360" y="762"/>
                          </a:lnTo>
                          <a:lnTo>
                            <a:pt x="366" y="768"/>
                          </a:lnTo>
                          <a:lnTo>
                            <a:pt x="378" y="768"/>
                          </a:lnTo>
                          <a:lnTo>
                            <a:pt x="390" y="774"/>
                          </a:lnTo>
                          <a:lnTo>
                            <a:pt x="396" y="774"/>
                          </a:lnTo>
                          <a:lnTo>
                            <a:pt x="396" y="768"/>
                          </a:lnTo>
                          <a:lnTo>
                            <a:pt x="390" y="762"/>
                          </a:lnTo>
                          <a:lnTo>
                            <a:pt x="390" y="750"/>
                          </a:lnTo>
                          <a:lnTo>
                            <a:pt x="396" y="750"/>
                          </a:lnTo>
                          <a:lnTo>
                            <a:pt x="408" y="756"/>
                          </a:lnTo>
                          <a:lnTo>
                            <a:pt x="414" y="762"/>
                          </a:lnTo>
                          <a:lnTo>
                            <a:pt x="426" y="756"/>
                          </a:lnTo>
                          <a:lnTo>
                            <a:pt x="498" y="756"/>
                          </a:lnTo>
                          <a:lnTo>
                            <a:pt x="522" y="750"/>
                          </a:lnTo>
                          <a:lnTo>
                            <a:pt x="534" y="744"/>
                          </a:lnTo>
                          <a:lnTo>
                            <a:pt x="540" y="732"/>
                          </a:lnTo>
                          <a:lnTo>
                            <a:pt x="546" y="726"/>
                          </a:lnTo>
                          <a:lnTo>
                            <a:pt x="552" y="714"/>
                          </a:lnTo>
                          <a:lnTo>
                            <a:pt x="498" y="708"/>
                          </a:lnTo>
                          <a:lnTo>
                            <a:pt x="522" y="702"/>
                          </a:lnTo>
                          <a:lnTo>
                            <a:pt x="516" y="684"/>
                          </a:lnTo>
                          <a:lnTo>
                            <a:pt x="528" y="672"/>
                          </a:lnTo>
                          <a:lnTo>
                            <a:pt x="540" y="666"/>
                          </a:lnTo>
                          <a:lnTo>
                            <a:pt x="546" y="666"/>
                          </a:lnTo>
                          <a:lnTo>
                            <a:pt x="558" y="660"/>
                          </a:lnTo>
                          <a:lnTo>
                            <a:pt x="564" y="654"/>
                          </a:lnTo>
                          <a:lnTo>
                            <a:pt x="576" y="618"/>
                          </a:lnTo>
                          <a:lnTo>
                            <a:pt x="570" y="606"/>
                          </a:lnTo>
                          <a:lnTo>
                            <a:pt x="564" y="600"/>
                          </a:lnTo>
                          <a:lnTo>
                            <a:pt x="552" y="594"/>
                          </a:lnTo>
                          <a:lnTo>
                            <a:pt x="540" y="594"/>
                          </a:lnTo>
                          <a:lnTo>
                            <a:pt x="528" y="588"/>
                          </a:lnTo>
                          <a:lnTo>
                            <a:pt x="504" y="588"/>
                          </a:lnTo>
                          <a:close/>
                          <a:moveTo>
                            <a:pt x="222" y="486"/>
                          </a:moveTo>
                          <a:lnTo>
                            <a:pt x="216" y="480"/>
                          </a:lnTo>
                          <a:lnTo>
                            <a:pt x="204" y="480"/>
                          </a:lnTo>
                          <a:lnTo>
                            <a:pt x="204" y="486"/>
                          </a:lnTo>
                          <a:lnTo>
                            <a:pt x="198" y="498"/>
                          </a:lnTo>
                          <a:lnTo>
                            <a:pt x="192" y="504"/>
                          </a:lnTo>
                          <a:lnTo>
                            <a:pt x="210" y="504"/>
                          </a:lnTo>
                          <a:lnTo>
                            <a:pt x="222" y="492"/>
                          </a:lnTo>
                          <a:lnTo>
                            <a:pt x="222" y="486"/>
                          </a:lnTo>
                          <a:close/>
                          <a:moveTo>
                            <a:pt x="126" y="504"/>
                          </a:moveTo>
                          <a:lnTo>
                            <a:pt x="132" y="498"/>
                          </a:lnTo>
                          <a:lnTo>
                            <a:pt x="132" y="492"/>
                          </a:lnTo>
                          <a:lnTo>
                            <a:pt x="144" y="492"/>
                          </a:lnTo>
                          <a:lnTo>
                            <a:pt x="150" y="480"/>
                          </a:lnTo>
                          <a:lnTo>
                            <a:pt x="156" y="474"/>
                          </a:lnTo>
                          <a:lnTo>
                            <a:pt x="156" y="462"/>
                          </a:lnTo>
                          <a:lnTo>
                            <a:pt x="138" y="444"/>
                          </a:lnTo>
                          <a:lnTo>
                            <a:pt x="138" y="432"/>
                          </a:lnTo>
                          <a:lnTo>
                            <a:pt x="132" y="438"/>
                          </a:lnTo>
                          <a:lnTo>
                            <a:pt x="126" y="426"/>
                          </a:lnTo>
                          <a:lnTo>
                            <a:pt x="120" y="420"/>
                          </a:lnTo>
                          <a:lnTo>
                            <a:pt x="78" y="420"/>
                          </a:lnTo>
                          <a:lnTo>
                            <a:pt x="72" y="426"/>
                          </a:lnTo>
                          <a:lnTo>
                            <a:pt x="30" y="450"/>
                          </a:lnTo>
                          <a:lnTo>
                            <a:pt x="30" y="462"/>
                          </a:lnTo>
                          <a:lnTo>
                            <a:pt x="24" y="462"/>
                          </a:lnTo>
                          <a:lnTo>
                            <a:pt x="18" y="468"/>
                          </a:lnTo>
                          <a:lnTo>
                            <a:pt x="12" y="468"/>
                          </a:lnTo>
                          <a:lnTo>
                            <a:pt x="0" y="480"/>
                          </a:lnTo>
                          <a:lnTo>
                            <a:pt x="6" y="486"/>
                          </a:lnTo>
                          <a:lnTo>
                            <a:pt x="30" y="498"/>
                          </a:lnTo>
                          <a:lnTo>
                            <a:pt x="42" y="498"/>
                          </a:lnTo>
                          <a:lnTo>
                            <a:pt x="66" y="474"/>
                          </a:lnTo>
                          <a:lnTo>
                            <a:pt x="84" y="498"/>
                          </a:lnTo>
                          <a:lnTo>
                            <a:pt x="120" y="504"/>
                          </a:lnTo>
                          <a:lnTo>
                            <a:pt x="126" y="504"/>
                          </a:lnTo>
                          <a:close/>
                          <a:moveTo>
                            <a:pt x="78" y="228"/>
                          </a:moveTo>
                          <a:lnTo>
                            <a:pt x="72" y="228"/>
                          </a:lnTo>
                          <a:lnTo>
                            <a:pt x="66" y="234"/>
                          </a:lnTo>
                          <a:lnTo>
                            <a:pt x="66" y="240"/>
                          </a:lnTo>
                          <a:lnTo>
                            <a:pt x="84" y="240"/>
                          </a:lnTo>
                          <a:lnTo>
                            <a:pt x="84" y="228"/>
                          </a:lnTo>
                          <a:lnTo>
                            <a:pt x="78" y="228"/>
                          </a:lnTo>
                          <a:close/>
                          <a:moveTo>
                            <a:pt x="108" y="210"/>
                          </a:moveTo>
                          <a:lnTo>
                            <a:pt x="126" y="210"/>
                          </a:lnTo>
                          <a:lnTo>
                            <a:pt x="132" y="204"/>
                          </a:lnTo>
                          <a:lnTo>
                            <a:pt x="132" y="198"/>
                          </a:lnTo>
                          <a:lnTo>
                            <a:pt x="138" y="186"/>
                          </a:lnTo>
                          <a:lnTo>
                            <a:pt x="150" y="174"/>
                          </a:lnTo>
                          <a:lnTo>
                            <a:pt x="150" y="168"/>
                          </a:lnTo>
                          <a:lnTo>
                            <a:pt x="138" y="174"/>
                          </a:lnTo>
                          <a:lnTo>
                            <a:pt x="132" y="174"/>
                          </a:lnTo>
                          <a:lnTo>
                            <a:pt x="114" y="192"/>
                          </a:lnTo>
                          <a:lnTo>
                            <a:pt x="108" y="186"/>
                          </a:lnTo>
                          <a:lnTo>
                            <a:pt x="96" y="186"/>
                          </a:lnTo>
                          <a:lnTo>
                            <a:pt x="90" y="192"/>
                          </a:lnTo>
                          <a:lnTo>
                            <a:pt x="90" y="210"/>
                          </a:lnTo>
                          <a:lnTo>
                            <a:pt x="96" y="216"/>
                          </a:lnTo>
                          <a:lnTo>
                            <a:pt x="96" y="228"/>
                          </a:lnTo>
                          <a:lnTo>
                            <a:pt x="108" y="210"/>
                          </a:lnTo>
                          <a:close/>
                          <a:moveTo>
                            <a:pt x="72" y="252"/>
                          </a:moveTo>
                          <a:lnTo>
                            <a:pt x="60" y="282"/>
                          </a:lnTo>
                          <a:lnTo>
                            <a:pt x="78" y="258"/>
                          </a:lnTo>
                          <a:lnTo>
                            <a:pt x="72" y="252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21" name="Turkey" descr="© INSCALE GmbH, 05.05.2010&#10;http://www.presentationload.com/"/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4900619" y="2709864"/>
                      <a:ext cx="534989" cy="204788"/>
                    </a:xfrm>
                    <a:custGeom>
                      <a:avLst/>
                      <a:gdLst>
                        <a:gd name="T0" fmla="*/ 2147483647 w 1332"/>
                        <a:gd name="T1" fmla="*/ 2147483647 h 510"/>
                        <a:gd name="T2" fmla="*/ 2147483647 w 1332"/>
                        <a:gd name="T3" fmla="*/ 2147483647 h 510"/>
                        <a:gd name="T4" fmla="*/ 2147483647 w 1332"/>
                        <a:gd name="T5" fmla="*/ 2147483647 h 510"/>
                        <a:gd name="T6" fmla="*/ 2147483647 w 1332"/>
                        <a:gd name="T7" fmla="*/ 2147483647 h 510"/>
                        <a:gd name="T8" fmla="*/ 2147483647 w 1332"/>
                        <a:gd name="T9" fmla="*/ 2147483647 h 510"/>
                        <a:gd name="T10" fmla="*/ 2147483647 w 1332"/>
                        <a:gd name="T11" fmla="*/ 2147483647 h 510"/>
                        <a:gd name="T12" fmla="*/ 2147483647 w 1332"/>
                        <a:gd name="T13" fmla="*/ 2147483647 h 510"/>
                        <a:gd name="T14" fmla="*/ 2147483647 w 1332"/>
                        <a:gd name="T15" fmla="*/ 2147483647 h 510"/>
                        <a:gd name="T16" fmla="*/ 2147483647 w 1332"/>
                        <a:gd name="T17" fmla="*/ 2147483647 h 510"/>
                        <a:gd name="T18" fmla="*/ 2147483647 w 1332"/>
                        <a:gd name="T19" fmla="*/ 2147483647 h 510"/>
                        <a:gd name="T20" fmla="*/ 2147483647 w 1332"/>
                        <a:gd name="T21" fmla="*/ 2147483647 h 510"/>
                        <a:gd name="T22" fmla="*/ 2147483647 w 1332"/>
                        <a:gd name="T23" fmla="*/ 2147483647 h 510"/>
                        <a:gd name="T24" fmla="*/ 2147483647 w 1332"/>
                        <a:gd name="T25" fmla="*/ 2147483647 h 510"/>
                        <a:gd name="T26" fmla="*/ 2147483647 w 1332"/>
                        <a:gd name="T27" fmla="*/ 2147483647 h 510"/>
                        <a:gd name="T28" fmla="*/ 2147483647 w 1332"/>
                        <a:gd name="T29" fmla="*/ 2147483647 h 510"/>
                        <a:gd name="T30" fmla="*/ 2147483647 w 1332"/>
                        <a:gd name="T31" fmla="*/ 2147483647 h 510"/>
                        <a:gd name="T32" fmla="*/ 2147483647 w 1332"/>
                        <a:gd name="T33" fmla="*/ 2147483647 h 510"/>
                        <a:gd name="T34" fmla="*/ 2147483647 w 1332"/>
                        <a:gd name="T35" fmla="*/ 2147483647 h 510"/>
                        <a:gd name="T36" fmla="*/ 2147483647 w 1332"/>
                        <a:gd name="T37" fmla="*/ 2147483647 h 510"/>
                        <a:gd name="T38" fmla="*/ 2147483647 w 1332"/>
                        <a:gd name="T39" fmla="*/ 2147483647 h 510"/>
                        <a:gd name="T40" fmla="*/ 2147483647 w 1332"/>
                        <a:gd name="T41" fmla="*/ 2147483647 h 510"/>
                        <a:gd name="T42" fmla="*/ 2147483647 w 1332"/>
                        <a:gd name="T43" fmla="*/ 2147483647 h 510"/>
                        <a:gd name="T44" fmla="*/ 2147483647 w 1332"/>
                        <a:gd name="T45" fmla="*/ 2147483647 h 510"/>
                        <a:gd name="T46" fmla="*/ 2147483647 w 1332"/>
                        <a:gd name="T47" fmla="*/ 2147483647 h 510"/>
                        <a:gd name="T48" fmla="*/ 2147483647 w 1332"/>
                        <a:gd name="T49" fmla="*/ 2147483647 h 510"/>
                        <a:gd name="T50" fmla="*/ 2147483647 w 1332"/>
                        <a:gd name="T51" fmla="*/ 2147483647 h 510"/>
                        <a:gd name="T52" fmla="*/ 2147483647 w 1332"/>
                        <a:gd name="T53" fmla="*/ 2147483647 h 510"/>
                        <a:gd name="T54" fmla="*/ 2147483647 w 1332"/>
                        <a:gd name="T55" fmla="*/ 2147483647 h 510"/>
                        <a:gd name="T56" fmla="*/ 2147483647 w 1332"/>
                        <a:gd name="T57" fmla="*/ 2147483647 h 510"/>
                        <a:gd name="T58" fmla="*/ 2147483647 w 1332"/>
                        <a:gd name="T59" fmla="*/ 2147483647 h 510"/>
                        <a:gd name="T60" fmla="*/ 2147483647 w 1332"/>
                        <a:gd name="T61" fmla="*/ 2147483647 h 510"/>
                        <a:gd name="T62" fmla="*/ 2147483647 w 1332"/>
                        <a:gd name="T63" fmla="*/ 2147483647 h 510"/>
                        <a:gd name="T64" fmla="*/ 2147483647 w 1332"/>
                        <a:gd name="T65" fmla="*/ 2147483647 h 510"/>
                        <a:gd name="T66" fmla="*/ 2147483647 w 1332"/>
                        <a:gd name="T67" fmla="*/ 2147483647 h 510"/>
                        <a:gd name="T68" fmla="*/ 2147483647 w 1332"/>
                        <a:gd name="T69" fmla="*/ 2147483647 h 510"/>
                        <a:gd name="T70" fmla="*/ 2147483647 w 1332"/>
                        <a:gd name="T71" fmla="*/ 2147483647 h 510"/>
                        <a:gd name="T72" fmla="*/ 2147483647 w 1332"/>
                        <a:gd name="T73" fmla="*/ 2147483647 h 510"/>
                        <a:gd name="T74" fmla="*/ 2147483647 w 1332"/>
                        <a:gd name="T75" fmla="*/ 2147483647 h 510"/>
                        <a:gd name="T76" fmla="*/ 2147483647 w 1332"/>
                        <a:gd name="T77" fmla="*/ 2147483647 h 510"/>
                        <a:gd name="T78" fmla="*/ 2147483647 w 1332"/>
                        <a:gd name="T79" fmla="*/ 2147483647 h 510"/>
                        <a:gd name="T80" fmla="*/ 2147483647 w 1332"/>
                        <a:gd name="T81" fmla="*/ 2147483647 h 510"/>
                        <a:gd name="T82" fmla="*/ 2147483647 w 1332"/>
                        <a:gd name="T83" fmla="*/ 2147483647 h 510"/>
                        <a:gd name="T84" fmla="*/ 2147483647 w 1332"/>
                        <a:gd name="T85" fmla="*/ 2147483647 h 510"/>
                        <a:gd name="T86" fmla="*/ 2147483647 w 1332"/>
                        <a:gd name="T87" fmla="*/ 2147483647 h 510"/>
                        <a:gd name="T88" fmla="*/ 2147483647 w 1332"/>
                        <a:gd name="T89" fmla="*/ 2147483647 h 510"/>
                        <a:gd name="T90" fmla="*/ 2147483647 w 1332"/>
                        <a:gd name="T91" fmla="*/ 2147483647 h 510"/>
                        <a:gd name="T92" fmla="*/ 2147483647 w 1332"/>
                        <a:gd name="T93" fmla="*/ 2147483647 h 510"/>
                        <a:gd name="T94" fmla="*/ 2147483647 w 1332"/>
                        <a:gd name="T95" fmla="*/ 2147483647 h 510"/>
                        <a:gd name="T96" fmla="*/ 2147483647 w 1332"/>
                        <a:gd name="T97" fmla="*/ 2147483647 h 510"/>
                        <a:gd name="T98" fmla="*/ 2147483647 w 1332"/>
                        <a:gd name="T99" fmla="*/ 2147483647 h 510"/>
                        <a:gd name="T100" fmla="*/ 2147483647 w 1332"/>
                        <a:gd name="T101" fmla="*/ 2147483647 h 510"/>
                        <a:gd name="T102" fmla="*/ 2147483647 w 1332"/>
                        <a:gd name="T103" fmla="*/ 2147483647 h 510"/>
                        <a:gd name="T104" fmla="*/ 2147483647 w 1332"/>
                        <a:gd name="T105" fmla="*/ 2147483647 h 510"/>
                        <a:gd name="T106" fmla="*/ 2147483647 w 1332"/>
                        <a:gd name="T107" fmla="*/ 2147483647 h 510"/>
                        <a:gd name="T108" fmla="*/ 2147483647 w 1332"/>
                        <a:gd name="T109" fmla="*/ 2147483647 h 510"/>
                        <a:gd name="T110" fmla="*/ 2147483647 w 1332"/>
                        <a:gd name="T111" fmla="*/ 2147483647 h 510"/>
                        <a:gd name="T112" fmla="*/ 2147483647 w 1332"/>
                        <a:gd name="T113" fmla="*/ 2147483647 h 510"/>
                        <a:gd name="T114" fmla="*/ 2147483647 w 1332"/>
                        <a:gd name="T115" fmla="*/ 2147483647 h 510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w 1332"/>
                        <a:gd name="T175" fmla="*/ 0 h 510"/>
                        <a:gd name="T176" fmla="*/ 1332 w 1332"/>
                        <a:gd name="T177" fmla="*/ 510 h 510"/>
                      </a:gdLst>
                      <a:ahLst/>
                      <a:cxnLst>
                        <a:cxn ang="T116">
                          <a:pos x="T0" y="T1"/>
                        </a:cxn>
                        <a:cxn ang="T117">
                          <a:pos x="T2" y="T3"/>
                        </a:cxn>
                        <a:cxn ang="T118">
                          <a:pos x="T4" y="T5"/>
                        </a:cxn>
                        <a:cxn ang="T119">
                          <a:pos x="T6" y="T7"/>
                        </a:cxn>
                        <a:cxn ang="T120">
                          <a:pos x="T8" y="T9"/>
                        </a:cxn>
                        <a:cxn ang="T121">
                          <a:pos x="T10" y="T11"/>
                        </a:cxn>
                        <a:cxn ang="T122">
                          <a:pos x="T12" y="T13"/>
                        </a:cxn>
                        <a:cxn ang="T123">
                          <a:pos x="T14" y="T15"/>
                        </a:cxn>
                        <a:cxn ang="T124">
                          <a:pos x="T16" y="T17"/>
                        </a:cxn>
                        <a:cxn ang="T125">
                          <a:pos x="T18" y="T19"/>
                        </a:cxn>
                        <a:cxn ang="T126">
                          <a:pos x="T20" y="T21"/>
                        </a:cxn>
                        <a:cxn ang="T127">
                          <a:pos x="T22" y="T23"/>
                        </a:cxn>
                        <a:cxn ang="T128">
                          <a:pos x="T24" y="T25"/>
                        </a:cxn>
                        <a:cxn ang="T129">
                          <a:pos x="T26" y="T27"/>
                        </a:cxn>
                        <a:cxn ang="T130">
                          <a:pos x="T28" y="T29"/>
                        </a:cxn>
                        <a:cxn ang="T131">
                          <a:pos x="T30" y="T31"/>
                        </a:cxn>
                        <a:cxn ang="T132">
                          <a:pos x="T32" y="T33"/>
                        </a:cxn>
                        <a:cxn ang="T133">
                          <a:pos x="T34" y="T35"/>
                        </a:cxn>
                        <a:cxn ang="T134">
                          <a:pos x="T36" y="T37"/>
                        </a:cxn>
                        <a:cxn ang="T135">
                          <a:pos x="T38" y="T39"/>
                        </a:cxn>
                        <a:cxn ang="T136">
                          <a:pos x="T40" y="T41"/>
                        </a:cxn>
                        <a:cxn ang="T137">
                          <a:pos x="T42" y="T43"/>
                        </a:cxn>
                        <a:cxn ang="T138">
                          <a:pos x="T44" y="T45"/>
                        </a:cxn>
                        <a:cxn ang="T139">
                          <a:pos x="T46" y="T47"/>
                        </a:cxn>
                        <a:cxn ang="T140">
                          <a:pos x="T48" y="T49"/>
                        </a:cxn>
                        <a:cxn ang="T141">
                          <a:pos x="T50" y="T51"/>
                        </a:cxn>
                        <a:cxn ang="T142">
                          <a:pos x="T52" y="T53"/>
                        </a:cxn>
                        <a:cxn ang="T143">
                          <a:pos x="T54" y="T55"/>
                        </a:cxn>
                        <a:cxn ang="T144">
                          <a:pos x="T56" y="T57"/>
                        </a:cxn>
                        <a:cxn ang="T145">
                          <a:pos x="T58" y="T59"/>
                        </a:cxn>
                        <a:cxn ang="T146">
                          <a:pos x="T60" y="T61"/>
                        </a:cxn>
                        <a:cxn ang="T147">
                          <a:pos x="T62" y="T63"/>
                        </a:cxn>
                        <a:cxn ang="T148">
                          <a:pos x="T64" y="T65"/>
                        </a:cxn>
                        <a:cxn ang="T149">
                          <a:pos x="T66" y="T67"/>
                        </a:cxn>
                        <a:cxn ang="T150">
                          <a:pos x="T68" y="T69"/>
                        </a:cxn>
                        <a:cxn ang="T151">
                          <a:pos x="T70" y="T71"/>
                        </a:cxn>
                        <a:cxn ang="T152">
                          <a:pos x="T72" y="T73"/>
                        </a:cxn>
                        <a:cxn ang="T153">
                          <a:pos x="T74" y="T75"/>
                        </a:cxn>
                        <a:cxn ang="T154">
                          <a:pos x="T76" y="T77"/>
                        </a:cxn>
                        <a:cxn ang="T155">
                          <a:pos x="T78" y="T79"/>
                        </a:cxn>
                        <a:cxn ang="T156">
                          <a:pos x="T80" y="T81"/>
                        </a:cxn>
                        <a:cxn ang="T157">
                          <a:pos x="T82" y="T83"/>
                        </a:cxn>
                        <a:cxn ang="T158">
                          <a:pos x="T84" y="T85"/>
                        </a:cxn>
                        <a:cxn ang="T159">
                          <a:pos x="T86" y="T87"/>
                        </a:cxn>
                        <a:cxn ang="T160">
                          <a:pos x="T88" y="T89"/>
                        </a:cxn>
                        <a:cxn ang="T161">
                          <a:pos x="T90" y="T91"/>
                        </a:cxn>
                        <a:cxn ang="T162">
                          <a:pos x="T92" y="T93"/>
                        </a:cxn>
                        <a:cxn ang="T163">
                          <a:pos x="T94" y="T95"/>
                        </a:cxn>
                        <a:cxn ang="T164">
                          <a:pos x="T96" y="T97"/>
                        </a:cxn>
                        <a:cxn ang="T165">
                          <a:pos x="T98" y="T99"/>
                        </a:cxn>
                        <a:cxn ang="T166">
                          <a:pos x="T100" y="T101"/>
                        </a:cxn>
                        <a:cxn ang="T167">
                          <a:pos x="T102" y="T103"/>
                        </a:cxn>
                        <a:cxn ang="T168">
                          <a:pos x="T104" y="T105"/>
                        </a:cxn>
                        <a:cxn ang="T169">
                          <a:pos x="T106" y="T107"/>
                        </a:cxn>
                        <a:cxn ang="T170">
                          <a:pos x="T108" y="T109"/>
                        </a:cxn>
                        <a:cxn ang="T171">
                          <a:pos x="T110" y="T111"/>
                        </a:cxn>
                        <a:cxn ang="T172">
                          <a:pos x="T112" y="T113"/>
                        </a:cxn>
                        <a:cxn ang="T173">
                          <a:pos x="T114" y="T115"/>
                        </a:cxn>
                      </a:cxnLst>
                      <a:rect l="T174" t="T175" r="T176" b="T177"/>
                      <a:pathLst>
                        <a:path w="1332" h="510">
                          <a:moveTo>
                            <a:pt x="6" y="192"/>
                          </a:moveTo>
                          <a:lnTo>
                            <a:pt x="24" y="186"/>
                          </a:lnTo>
                          <a:lnTo>
                            <a:pt x="30" y="174"/>
                          </a:lnTo>
                          <a:lnTo>
                            <a:pt x="0" y="174"/>
                          </a:lnTo>
                          <a:lnTo>
                            <a:pt x="6" y="192"/>
                          </a:lnTo>
                          <a:close/>
                          <a:moveTo>
                            <a:pt x="42" y="162"/>
                          </a:moveTo>
                          <a:lnTo>
                            <a:pt x="42" y="168"/>
                          </a:lnTo>
                          <a:lnTo>
                            <a:pt x="48" y="174"/>
                          </a:lnTo>
                          <a:lnTo>
                            <a:pt x="60" y="174"/>
                          </a:lnTo>
                          <a:lnTo>
                            <a:pt x="60" y="162"/>
                          </a:lnTo>
                          <a:lnTo>
                            <a:pt x="54" y="156"/>
                          </a:lnTo>
                          <a:lnTo>
                            <a:pt x="54" y="150"/>
                          </a:lnTo>
                          <a:lnTo>
                            <a:pt x="48" y="150"/>
                          </a:lnTo>
                          <a:lnTo>
                            <a:pt x="48" y="156"/>
                          </a:lnTo>
                          <a:lnTo>
                            <a:pt x="42" y="162"/>
                          </a:lnTo>
                          <a:close/>
                          <a:moveTo>
                            <a:pt x="96" y="138"/>
                          </a:moveTo>
                          <a:lnTo>
                            <a:pt x="66" y="138"/>
                          </a:lnTo>
                          <a:lnTo>
                            <a:pt x="66" y="174"/>
                          </a:lnTo>
                          <a:lnTo>
                            <a:pt x="78" y="150"/>
                          </a:lnTo>
                          <a:lnTo>
                            <a:pt x="96" y="138"/>
                          </a:lnTo>
                          <a:close/>
                          <a:moveTo>
                            <a:pt x="1332" y="402"/>
                          </a:moveTo>
                          <a:lnTo>
                            <a:pt x="1332" y="390"/>
                          </a:lnTo>
                          <a:lnTo>
                            <a:pt x="1308" y="384"/>
                          </a:lnTo>
                          <a:lnTo>
                            <a:pt x="1308" y="354"/>
                          </a:lnTo>
                          <a:lnTo>
                            <a:pt x="1272" y="336"/>
                          </a:lnTo>
                          <a:lnTo>
                            <a:pt x="1278" y="330"/>
                          </a:lnTo>
                          <a:lnTo>
                            <a:pt x="1284" y="318"/>
                          </a:lnTo>
                          <a:lnTo>
                            <a:pt x="1284" y="312"/>
                          </a:lnTo>
                          <a:lnTo>
                            <a:pt x="1290" y="306"/>
                          </a:lnTo>
                          <a:lnTo>
                            <a:pt x="1284" y="306"/>
                          </a:lnTo>
                          <a:lnTo>
                            <a:pt x="1278" y="300"/>
                          </a:lnTo>
                          <a:lnTo>
                            <a:pt x="1278" y="288"/>
                          </a:lnTo>
                          <a:lnTo>
                            <a:pt x="1266" y="276"/>
                          </a:lnTo>
                          <a:lnTo>
                            <a:pt x="1266" y="246"/>
                          </a:lnTo>
                          <a:lnTo>
                            <a:pt x="1248" y="222"/>
                          </a:lnTo>
                          <a:lnTo>
                            <a:pt x="1272" y="222"/>
                          </a:lnTo>
                          <a:lnTo>
                            <a:pt x="1272" y="216"/>
                          </a:lnTo>
                          <a:lnTo>
                            <a:pt x="1278" y="210"/>
                          </a:lnTo>
                          <a:lnTo>
                            <a:pt x="1272" y="198"/>
                          </a:lnTo>
                          <a:lnTo>
                            <a:pt x="1272" y="186"/>
                          </a:lnTo>
                          <a:lnTo>
                            <a:pt x="1266" y="180"/>
                          </a:lnTo>
                          <a:lnTo>
                            <a:pt x="1266" y="174"/>
                          </a:lnTo>
                          <a:lnTo>
                            <a:pt x="1260" y="174"/>
                          </a:lnTo>
                          <a:lnTo>
                            <a:pt x="1248" y="180"/>
                          </a:lnTo>
                          <a:lnTo>
                            <a:pt x="1236" y="180"/>
                          </a:lnTo>
                          <a:lnTo>
                            <a:pt x="1224" y="174"/>
                          </a:lnTo>
                          <a:lnTo>
                            <a:pt x="1218" y="168"/>
                          </a:lnTo>
                          <a:lnTo>
                            <a:pt x="1212" y="156"/>
                          </a:lnTo>
                          <a:lnTo>
                            <a:pt x="1212" y="144"/>
                          </a:lnTo>
                          <a:lnTo>
                            <a:pt x="1200" y="108"/>
                          </a:lnTo>
                          <a:lnTo>
                            <a:pt x="1194" y="96"/>
                          </a:lnTo>
                          <a:lnTo>
                            <a:pt x="1194" y="84"/>
                          </a:lnTo>
                          <a:lnTo>
                            <a:pt x="1188" y="78"/>
                          </a:lnTo>
                          <a:lnTo>
                            <a:pt x="1164" y="78"/>
                          </a:lnTo>
                          <a:lnTo>
                            <a:pt x="1164" y="72"/>
                          </a:lnTo>
                          <a:lnTo>
                            <a:pt x="1158" y="60"/>
                          </a:lnTo>
                          <a:lnTo>
                            <a:pt x="1152" y="54"/>
                          </a:lnTo>
                          <a:lnTo>
                            <a:pt x="1140" y="48"/>
                          </a:lnTo>
                          <a:lnTo>
                            <a:pt x="1128" y="48"/>
                          </a:lnTo>
                          <a:lnTo>
                            <a:pt x="1116" y="54"/>
                          </a:lnTo>
                          <a:lnTo>
                            <a:pt x="1110" y="60"/>
                          </a:lnTo>
                          <a:lnTo>
                            <a:pt x="1074" y="54"/>
                          </a:lnTo>
                          <a:lnTo>
                            <a:pt x="1062" y="66"/>
                          </a:lnTo>
                          <a:lnTo>
                            <a:pt x="1026" y="90"/>
                          </a:lnTo>
                          <a:lnTo>
                            <a:pt x="1014" y="96"/>
                          </a:lnTo>
                          <a:lnTo>
                            <a:pt x="930" y="96"/>
                          </a:lnTo>
                          <a:lnTo>
                            <a:pt x="876" y="108"/>
                          </a:lnTo>
                          <a:lnTo>
                            <a:pt x="810" y="84"/>
                          </a:lnTo>
                          <a:lnTo>
                            <a:pt x="786" y="96"/>
                          </a:lnTo>
                          <a:lnTo>
                            <a:pt x="786" y="90"/>
                          </a:lnTo>
                          <a:lnTo>
                            <a:pt x="780" y="84"/>
                          </a:lnTo>
                          <a:lnTo>
                            <a:pt x="774" y="72"/>
                          </a:lnTo>
                          <a:lnTo>
                            <a:pt x="768" y="66"/>
                          </a:lnTo>
                          <a:lnTo>
                            <a:pt x="756" y="66"/>
                          </a:lnTo>
                          <a:lnTo>
                            <a:pt x="744" y="72"/>
                          </a:lnTo>
                          <a:lnTo>
                            <a:pt x="738" y="78"/>
                          </a:lnTo>
                          <a:lnTo>
                            <a:pt x="708" y="60"/>
                          </a:lnTo>
                          <a:lnTo>
                            <a:pt x="708" y="36"/>
                          </a:lnTo>
                          <a:lnTo>
                            <a:pt x="660" y="48"/>
                          </a:lnTo>
                          <a:lnTo>
                            <a:pt x="636" y="30"/>
                          </a:lnTo>
                          <a:lnTo>
                            <a:pt x="630" y="12"/>
                          </a:lnTo>
                          <a:lnTo>
                            <a:pt x="624" y="12"/>
                          </a:lnTo>
                          <a:lnTo>
                            <a:pt x="618" y="18"/>
                          </a:lnTo>
                          <a:lnTo>
                            <a:pt x="600" y="18"/>
                          </a:lnTo>
                          <a:lnTo>
                            <a:pt x="588" y="24"/>
                          </a:lnTo>
                          <a:lnTo>
                            <a:pt x="558" y="24"/>
                          </a:lnTo>
                          <a:lnTo>
                            <a:pt x="534" y="18"/>
                          </a:lnTo>
                          <a:lnTo>
                            <a:pt x="504" y="18"/>
                          </a:lnTo>
                          <a:lnTo>
                            <a:pt x="492" y="24"/>
                          </a:lnTo>
                          <a:lnTo>
                            <a:pt x="456" y="36"/>
                          </a:lnTo>
                          <a:lnTo>
                            <a:pt x="444" y="42"/>
                          </a:lnTo>
                          <a:lnTo>
                            <a:pt x="438" y="48"/>
                          </a:lnTo>
                          <a:lnTo>
                            <a:pt x="426" y="54"/>
                          </a:lnTo>
                          <a:lnTo>
                            <a:pt x="414" y="66"/>
                          </a:lnTo>
                          <a:lnTo>
                            <a:pt x="408" y="66"/>
                          </a:lnTo>
                          <a:lnTo>
                            <a:pt x="396" y="90"/>
                          </a:lnTo>
                          <a:lnTo>
                            <a:pt x="378" y="90"/>
                          </a:lnTo>
                          <a:lnTo>
                            <a:pt x="354" y="84"/>
                          </a:lnTo>
                          <a:lnTo>
                            <a:pt x="294" y="84"/>
                          </a:lnTo>
                          <a:lnTo>
                            <a:pt x="282" y="78"/>
                          </a:lnTo>
                          <a:lnTo>
                            <a:pt x="264" y="78"/>
                          </a:lnTo>
                          <a:lnTo>
                            <a:pt x="252" y="72"/>
                          </a:lnTo>
                          <a:lnTo>
                            <a:pt x="240" y="72"/>
                          </a:lnTo>
                          <a:lnTo>
                            <a:pt x="234" y="66"/>
                          </a:lnTo>
                          <a:lnTo>
                            <a:pt x="198" y="66"/>
                          </a:lnTo>
                          <a:lnTo>
                            <a:pt x="186" y="54"/>
                          </a:lnTo>
                          <a:lnTo>
                            <a:pt x="180" y="36"/>
                          </a:lnTo>
                          <a:lnTo>
                            <a:pt x="180" y="24"/>
                          </a:lnTo>
                          <a:lnTo>
                            <a:pt x="168" y="24"/>
                          </a:lnTo>
                          <a:lnTo>
                            <a:pt x="156" y="18"/>
                          </a:lnTo>
                          <a:lnTo>
                            <a:pt x="144" y="18"/>
                          </a:lnTo>
                          <a:lnTo>
                            <a:pt x="132" y="0"/>
                          </a:lnTo>
                          <a:lnTo>
                            <a:pt x="120" y="18"/>
                          </a:lnTo>
                          <a:lnTo>
                            <a:pt x="90" y="12"/>
                          </a:lnTo>
                          <a:lnTo>
                            <a:pt x="72" y="36"/>
                          </a:lnTo>
                          <a:lnTo>
                            <a:pt x="78" y="42"/>
                          </a:lnTo>
                          <a:lnTo>
                            <a:pt x="90" y="42"/>
                          </a:lnTo>
                          <a:lnTo>
                            <a:pt x="90" y="48"/>
                          </a:lnTo>
                          <a:lnTo>
                            <a:pt x="96" y="54"/>
                          </a:lnTo>
                          <a:lnTo>
                            <a:pt x="96" y="66"/>
                          </a:lnTo>
                          <a:lnTo>
                            <a:pt x="78" y="66"/>
                          </a:lnTo>
                          <a:lnTo>
                            <a:pt x="72" y="72"/>
                          </a:lnTo>
                          <a:lnTo>
                            <a:pt x="72" y="78"/>
                          </a:lnTo>
                          <a:lnTo>
                            <a:pt x="78" y="84"/>
                          </a:lnTo>
                          <a:lnTo>
                            <a:pt x="78" y="96"/>
                          </a:lnTo>
                          <a:lnTo>
                            <a:pt x="72" y="108"/>
                          </a:lnTo>
                          <a:lnTo>
                            <a:pt x="72" y="114"/>
                          </a:lnTo>
                          <a:lnTo>
                            <a:pt x="66" y="120"/>
                          </a:lnTo>
                          <a:lnTo>
                            <a:pt x="66" y="132"/>
                          </a:lnTo>
                          <a:lnTo>
                            <a:pt x="72" y="132"/>
                          </a:lnTo>
                          <a:lnTo>
                            <a:pt x="90" y="126"/>
                          </a:lnTo>
                          <a:lnTo>
                            <a:pt x="102" y="126"/>
                          </a:lnTo>
                          <a:lnTo>
                            <a:pt x="108" y="120"/>
                          </a:lnTo>
                          <a:lnTo>
                            <a:pt x="114" y="120"/>
                          </a:lnTo>
                          <a:lnTo>
                            <a:pt x="114" y="132"/>
                          </a:lnTo>
                          <a:lnTo>
                            <a:pt x="120" y="132"/>
                          </a:lnTo>
                          <a:lnTo>
                            <a:pt x="126" y="126"/>
                          </a:lnTo>
                          <a:lnTo>
                            <a:pt x="138" y="120"/>
                          </a:lnTo>
                          <a:lnTo>
                            <a:pt x="162" y="96"/>
                          </a:lnTo>
                          <a:lnTo>
                            <a:pt x="168" y="96"/>
                          </a:lnTo>
                          <a:lnTo>
                            <a:pt x="174" y="90"/>
                          </a:lnTo>
                          <a:lnTo>
                            <a:pt x="186" y="90"/>
                          </a:lnTo>
                          <a:lnTo>
                            <a:pt x="204" y="84"/>
                          </a:lnTo>
                          <a:lnTo>
                            <a:pt x="216" y="84"/>
                          </a:lnTo>
                          <a:lnTo>
                            <a:pt x="252" y="102"/>
                          </a:lnTo>
                          <a:lnTo>
                            <a:pt x="270" y="108"/>
                          </a:lnTo>
                          <a:lnTo>
                            <a:pt x="282" y="108"/>
                          </a:lnTo>
                          <a:lnTo>
                            <a:pt x="288" y="114"/>
                          </a:lnTo>
                          <a:lnTo>
                            <a:pt x="294" y="114"/>
                          </a:lnTo>
                          <a:lnTo>
                            <a:pt x="270" y="114"/>
                          </a:lnTo>
                          <a:lnTo>
                            <a:pt x="258" y="120"/>
                          </a:lnTo>
                          <a:lnTo>
                            <a:pt x="246" y="120"/>
                          </a:lnTo>
                          <a:lnTo>
                            <a:pt x="246" y="132"/>
                          </a:lnTo>
                          <a:lnTo>
                            <a:pt x="240" y="138"/>
                          </a:lnTo>
                          <a:lnTo>
                            <a:pt x="186" y="144"/>
                          </a:lnTo>
                          <a:lnTo>
                            <a:pt x="138" y="138"/>
                          </a:lnTo>
                          <a:lnTo>
                            <a:pt x="120" y="138"/>
                          </a:lnTo>
                          <a:lnTo>
                            <a:pt x="96" y="150"/>
                          </a:lnTo>
                          <a:lnTo>
                            <a:pt x="84" y="162"/>
                          </a:lnTo>
                          <a:lnTo>
                            <a:pt x="84" y="174"/>
                          </a:lnTo>
                          <a:lnTo>
                            <a:pt x="78" y="192"/>
                          </a:lnTo>
                          <a:lnTo>
                            <a:pt x="78" y="204"/>
                          </a:lnTo>
                          <a:lnTo>
                            <a:pt x="72" y="210"/>
                          </a:lnTo>
                          <a:lnTo>
                            <a:pt x="72" y="216"/>
                          </a:lnTo>
                          <a:lnTo>
                            <a:pt x="114" y="216"/>
                          </a:lnTo>
                          <a:lnTo>
                            <a:pt x="114" y="240"/>
                          </a:lnTo>
                          <a:lnTo>
                            <a:pt x="120" y="246"/>
                          </a:lnTo>
                          <a:lnTo>
                            <a:pt x="126" y="258"/>
                          </a:lnTo>
                          <a:lnTo>
                            <a:pt x="132" y="264"/>
                          </a:lnTo>
                          <a:lnTo>
                            <a:pt x="126" y="282"/>
                          </a:lnTo>
                          <a:lnTo>
                            <a:pt x="138" y="300"/>
                          </a:lnTo>
                          <a:lnTo>
                            <a:pt x="126" y="318"/>
                          </a:lnTo>
                          <a:lnTo>
                            <a:pt x="162" y="354"/>
                          </a:lnTo>
                          <a:lnTo>
                            <a:pt x="156" y="390"/>
                          </a:lnTo>
                          <a:lnTo>
                            <a:pt x="210" y="414"/>
                          </a:lnTo>
                          <a:lnTo>
                            <a:pt x="216" y="444"/>
                          </a:lnTo>
                          <a:lnTo>
                            <a:pt x="216" y="438"/>
                          </a:lnTo>
                          <a:lnTo>
                            <a:pt x="222" y="438"/>
                          </a:lnTo>
                          <a:lnTo>
                            <a:pt x="222" y="432"/>
                          </a:lnTo>
                          <a:lnTo>
                            <a:pt x="228" y="432"/>
                          </a:lnTo>
                          <a:lnTo>
                            <a:pt x="252" y="444"/>
                          </a:lnTo>
                          <a:lnTo>
                            <a:pt x="258" y="444"/>
                          </a:lnTo>
                          <a:lnTo>
                            <a:pt x="264" y="450"/>
                          </a:lnTo>
                          <a:lnTo>
                            <a:pt x="270" y="462"/>
                          </a:lnTo>
                          <a:lnTo>
                            <a:pt x="282" y="468"/>
                          </a:lnTo>
                          <a:lnTo>
                            <a:pt x="294" y="468"/>
                          </a:lnTo>
                          <a:lnTo>
                            <a:pt x="312" y="474"/>
                          </a:lnTo>
                          <a:lnTo>
                            <a:pt x="372" y="474"/>
                          </a:lnTo>
                          <a:lnTo>
                            <a:pt x="372" y="450"/>
                          </a:lnTo>
                          <a:lnTo>
                            <a:pt x="378" y="438"/>
                          </a:lnTo>
                          <a:lnTo>
                            <a:pt x="390" y="426"/>
                          </a:lnTo>
                          <a:lnTo>
                            <a:pt x="408" y="426"/>
                          </a:lnTo>
                          <a:lnTo>
                            <a:pt x="432" y="432"/>
                          </a:lnTo>
                          <a:lnTo>
                            <a:pt x="468" y="444"/>
                          </a:lnTo>
                          <a:lnTo>
                            <a:pt x="474" y="450"/>
                          </a:lnTo>
                          <a:lnTo>
                            <a:pt x="480" y="450"/>
                          </a:lnTo>
                          <a:lnTo>
                            <a:pt x="480" y="456"/>
                          </a:lnTo>
                          <a:lnTo>
                            <a:pt x="486" y="468"/>
                          </a:lnTo>
                          <a:lnTo>
                            <a:pt x="486" y="474"/>
                          </a:lnTo>
                          <a:lnTo>
                            <a:pt x="492" y="480"/>
                          </a:lnTo>
                          <a:lnTo>
                            <a:pt x="504" y="486"/>
                          </a:lnTo>
                          <a:lnTo>
                            <a:pt x="564" y="486"/>
                          </a:lnTo>
                          <a:lnTo>
                            <a:pt x="576" y="480"/>
                          </a:lnTo>
                          <a:lnTo>
                            <a:pt x="594" y="474"/>
                          </a:lnTo>
                          <a:lnTo>
                            <a:pt x="606" y="462"/>
                          </a:lnTo>
                          <a:lnTo>
                            <a:pt x="618" y="456"/>
                          </a:lnTo>
                          <a:lnTo>
                            <a:pt x="630" y="444"/>
                          </a:lnTo>
                          <a:lnTo>
                            <a:pt x="648" y="438"/>
                          </a:lnTo>
                          <a:lnTo>
                            <a:pt x="660" y="432"/>
                          </a:lnTo>
                          <a:lnTo>
                            <a:pt x="672" y="432"/>
                          </a:lnTo>
                          <a:lnTo>
                            <a:pt x="684" y="438"/>
                          </a:lnTo>
                          <a:lnTo>
                            <a:pt x="690" y="444"/>
                          </a:lnTo>
                          <a:lnTo>
                            <a:pt x="696" y="444"/>
                          </a:lnTo>
                          <a:lnTo>
                            <a:pt x="702" y="450"/>
                          </a:lnTo>
                          <a:lnTo>
                            <a:pt x="714" y="450"/>
                          </a:lnTo>
                          <a:lnTo>
                            <a:pt x="726" y="444"/>
                          </a:lnTo>
                          <a:lnTo>
                            <a:pt x="732" y="432"/>
                          </a:lnTo>
                          <a:lnTo>
                            <a:pt x="744" y="420"/>
                          </a:lnTo>
                          <a:lnTo>
                            <a:pt x="756" y="432"/>
                          </a:lnTo>
                          <a:lnTo>
                            <a:pt x="756" y="444"/>
                          </a:lnTo>
                          <a:lnTo>
                            <a:pt x="750" y="450"/>
                          </a:lnTo>
                          <a:lnTo>
                            <a:pt x="744" y="462"/>
                          </a:lnTo>
                          <a:lnTo>
                            <a:pt x="744" y="468"/>
                          </a:lnTo>
                          <a:lnTo>
                            <a:pt x="738" y="474"/>
                          </a:lnTo>
                          <a:lnTo>
                            <a:pt x="738" y="486"/>
                          </a:lnTo>
                          <a:lnTo>
                            <a:pt x="744" y="492"/>
                          </a:lnTo>
                          <a:lnTo>
                            <a:pt x="744" y="498"/>
                          </a:lnTo>
                          <a:lnTo>
                            <a:pt x="756" y="510"/>
                          </a:lnTo>
                          <a:lnTo>
                            <a:pt x="768" y="510"/>
                          </a:lnTo>
                          <a:lnTo>
                            <a:pt x="768" y="504"/>
                          </a:lnTo>
                          <a:lnTo>
                            <a:pt x="774" y="498"/>
                          </a:lnTo>
                          <a:lnTo>
                            <a:pt x="774" y="480"/>
                          </a:lnTo>
                          <a:lnTo>
                            <a:pt x="780" y="486"/>
                          </a:lnTo>
                          <a:lnTo>
                            <a:pt x="792" y="486"/>
                          </a:lnTo>
                          <a:lnTo>
                            <a:pt x="792" y="462"/>
                          </a:lnTo>
                          <a:lnTo>
                            <a:pt x="786" y="462"/>
                          </a:lnTo>
                          <a:lnTo>
                            <a:pt x="786" y="432"/>
                          </a:lnTo>
                          <a:lnTo>
                            <a:pt x="810" y="432"/>
                          </a:lnTo>
                          <a:lnTo>
                            <a:pt x="804" y="438"/>
                          </a:lnTo>
                          <a:lnTo>
                            <a:pt x="804" y="444"/>
                          </a:lnTo>
                          <a:lnTo>
                            <a:pt x="840" y="444"/>
                          </a:lnTo>
                          <a:lnTo>
                            <a:pt x="858" y="438"/>
                          </a:lnTo>
                          <a:lnTo>
                            <a:pt x="864" y="432"/>
                          </a:lnTo>
                          <a:lnTo>
                            <a:pt x="870" y="432"/>
                          </a:lnTo>
                          <a:lnTo>
                            <a:pt x="888" y="414"/>
                          </a:lnTo>
                          <a:lnTo>
                            <a:pt x="894" y="414"/>
                          </a:lnTo>
                          <a:lnTo>
                            <a:pt x="900" y="420"/>
                          </a:lnTo>
                          <a:lnTo>
                            <a:pt x="912" y="426"/>
                          </a:lnTo>
                          <a:lnTo>
                            <a:pt x="924" y="438"/>
                          </a:lnTo>
                          <a:lnTo>
                            <a:pt x="942" y="438"/>
                          </a:lnTo>
                          <a:lnTo>
                            <a:pt x="954" y="444"/>
                          </a:lnTo>
                          <a:lnTo>
                            <a:pt x="966" y="444"/>
                          </a:lnTo>
                          <a:lnTo>
                            <a:pt x="978" y="438"/>
                          </a:lnTo>
                          <a:lnTo>
                            <a:pt x="996" y="438"/>
                          </a:lnTo>
                          <a:lnTo>
                            <a:pt x="1002" y="432"/>
                          </a:lnTo>
                          <a:lnTo>
                            <a:pt x="1014" y="426"/>
                          </a:lnTo>
                          <a:lnTo>
                            <a:pt x="1026" y="414"/>
                          </a:lnTo>
                          <a:lnTo>
                            <a:pt x="1038" y="408"/>
                          </a:lnTo>
                          <a:lnTo>
                            <a:pt x="1086" y="408"/>
                          </a:lnTo>
                          <a:lnTo>
                            <a:pt x="1092" y="414"/>
                          </a:lnTo>
                          <a:lnTo>
                            <a:pt x="1110" y="414"/>
                          </a:lnTo>
                          <a:lnTo>
                            <a:pt x="1122" y="402"/>
                          </a:lnTo>
                          <a:lnTo>
                            <a:pt x="1146" y="402"/>
                          </a:lnTo>
                          <a:lnTo>
                            <a:pt x="1152" y="390"/>
                          </a:lnTo>
                          <a:lnTo>
                            <a:pt x="1152" y="384"/>
                          </a:lnTo>
                          <a:lnTo>
                            <a:pt x="1158" y="384"/>
                          </a:lnTo>
                          <a:lnTo>
                            <a:pt x="1158" y="408"/>
                          </a:lnTo>
                          <a:lnTo>
                            <a:pt x="1164" y="414"/>
                          </a:lnTo>
                          <a:lnTo>
                            <a:pt x="1170" y="414"/>
                          </a:lnTo>
                          <a:lnTo>
                            <a:pt x="1182" y="408"/>
                          </a:lnTo>
                          <a:lnTo>
                            <a:pt x="1188" y="402"/>
                          </a:lnTo>
                          <a:lnTo>
                            <a:pt x="1188" y="390"/>
                          </a:lnTo>
                          <a:lnTo>
                            <a:pt x="1230" y="390"/>
                          </a:lnTo>
                          <a:lnTo>
                            <a:pt x="1242" y="402"/>
                          </a:lnTo>
                          <a:lnTo>
                            <a:pt x="1254" y="402"/>
                          </a:lnTo>
                          <a:lnTo>
                            <a:pt x="1260" y="396"/>
                          </a:lnTo>
                          <a:lnTo>
                            <a:pt x="1260" y="390"/>
                          </a:lnTo>
                          <a:lnTo>
                            <a:pt x="1284" y="390"/>
                          </a:lnTo>
                          <a:lnTo>
                            <a:pt x="1290" y="396"/>
                          </a:lnTo>
                          <a:lnTo>
                            <a:pt x="1290" y="414"/>
                          </a:lnTo>
                          <a:lnTo>
                            <a:pt x="1332" y="402"/>
                          </a:lnTo>
                          <a:close/>
                          <a:moveTo>
                            <a:pt x="102" y="282"/>
                          </a:moveTo>
                          <a:lnTo>
                            <a:pt x="96" y="282"/>
                          </a:lnTo>
                          <a:lnTo>
                            <a:pt x="96" y="312"/>
                          </a:lnTo>
                          <a:lnTo>
                            <a:pt x="102" y="324"/>
                          </a:lnTo>
                          <a:lnTo>
                            <a:pt x="108" y="330"/>
                          </a:lnTo>
                          <a:lnTo>
                            <a:pt x="114" y="324"/>
                          </a:lnTo>
                          <a:lnTo>
                            <a:pt x="114" y="318"/>
                          </a:lnTo>
                          <a:lnTo>
                            <a:pt x="120" y="312"/>
                          </a:lnTo>
                          <a:lnTo>
                            <a:pt x="120" y="300"/>
                          </a:lnTo>
                          <a:lnTo>
                            <a:pt x="102" y="282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22" name="Switzerland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398968" y="2528889"/>
                      <a:ext cx="117475" cy="63500"/>
                    </a:xfrm>
                    <a:custGeom>
                      <a:avLst/>
                      <a:gdLst>
                        <a:gd name="T0" fmla="*/ 2147483647 w 288"/>
                        <a:gd name="T1" fmla="*/ 2147483647 h 162"/>
                        <a:gd name="T2" fmla="*/ 2147483647 w 288"/>
                        <a:gd name="T3" fmla="*/ 2147483647 h 162"/>
                        <a:gd name="T4" fmla="*/ 2147483647 w 288"/>
                        <a:gd name="T5" fmla="*/ 2147483647 h 162"/>
                        <a:gd name="T6" fmla="*/ 2147483647 w 288"/>
                        <a:gd name="T7" fmla="*/ 2147483647 h 162"/>
                        <a:gd name="T8" fmla="*/ 2147483647 w 288"/>
                        <a:gd name="T9" fmla="*/ 2147483647 h 162"/>
                        <a:gd name="T10" fmla="*/ 2147483647 w 288"/>
                        <a:gd name="T11" fmla="*/ 2147483647 h 162"/>
                        <a:gd name="T12" fmla="*/ 2147483647 w 288"/>
                        <a:gd name="T13" fmla="*/ 2147483647 h 162"/>
                        <a:gd name="T14" fmla="*/ 0 w 288"/>
                        <a:gd name="T15" fmla="*/ 2147483647 h 162"/>
                        <a:gd name="T16" fmla="*/ 2147483647 w 288"/>
                        <a:gd name="T17" fmla="*/ 2147483647 h 162"/>
                        <a:gd name="T18" fmla="*/ 2147483647 w 288"/>
                        <a:gd name="T19" fmla="*/ 2147483647 h 162"/>
                        <a:gd name="T20" fmla="*/ 2147483647 w 288"/>
                        <a:gd name="T21" fmla="*/ 2147483647 h 162"/>
                        <a:gd name="T22" fmla="*/ 2147483647 w 288"/>
                        <a:gd name="T23" fmla="*/ 2147483647 h 162"/>
                        <a:gd name="T24" fmla="*/ 2147483647 w 288"/>
                        <a:gd name="T25" fmla="*/ 2147483647 h 162"/>
                        <a:gd name="T26" fmla="*/ 2147483647 w 288"/>
                        <a:gd name="T27" fmla="*/ 2147483647 h 162"/>
                        <a:gd name="T28" fmla="*/ 2147483647 w 288"/>
                        <a:gd name="T29" fmla="*/ 2147483647 h 162"/>
                        <a:gd name="T30" fmla="*/ 2147483647 w 288"/>
                        <a:gd name="T31" fmla="*/ 2147483647 h 162"/>
                        <a:gd name="T32" fmla="*/ 2147483647 w 288"/>
                        <a:gd name="T33" fmla="*/ 2147483647 h 162"/>
                        <a:gd name="T34" fmla="*/ 2147483647 w 288"/>
                        <a:gd name="T35" fmla="*/ 2147483647 h 162"/>
                        <a:gd name="T36" fmla="*/ 2147483647 w 288"/>
                        <a:gd name="T37" fmla="*/ 2147483647 h 162"/>
                        <a:gd name="T38" fmla="*/ 2147483647 w 288"/>
                        <a:gd name="T39" fmla="*/ 2147483647 h 162"/>
                        <a:gd name="T40" fmla="*/ 2147483647 w 288"/>
                        <a:gd name="T41" fmla="*/ 2147483647 h 162"/>
                        <a:gd name="T42" fmla="*/ 2147483647 w 288"/>
                        <a:gd name="T43" fmla="*/ 2147483647 h 162"/>
                        <a:gd name="T44" fmla="*/ 2147483647 w 288"/>
                        <a:gd name="T45" fmla="*/ 2147483647 h 162"/>
                        <a:gd name="T46" fmla="*/ 2147483647 w 288"/>
                        <a:gd name="T47" fmla="*/ 2147483647 h 162"/>
                        <a:gd name="T48" fmla="*/ 2147483647 w 288"/>
                        <a:gd name="T49" fmla="*/ 2147483647 h 162"/>
                        <a:gd name="T50" fmla="*/ 2147483647 w 288"/>
                        <a:gd name="T51" fmla="*/ 2147483647 h 162"/>
                        <a:gd name="T52" fmla="*/ 2147483647 w 288"/>
                        <a:gd name="T53" fmla="*/ 2147483647 h 162"/>
                        <a:gd name="T54" fmla="*/ 2147483647 w 288"/>
                        <a:gd name="T55" fmla="*/ 2147483647 h 162"/>
                        <a:gd name="T56" fmla="*/ 2147483647 w 288"/>
                        <a:gd name="T57" fmla="*/ 2147483647 h 162"/>
                        <a:gd name="T58" fmla="*/ 2147483647 w 288"/>
                        <a:gd name="T59" fmla="*/ 2147483647 h 162"/>
                        <a:gd name="T60" fmla="*/ 2147483647 w 288"/>
                        <a:gd name="T61" fmla="*/ 2147483647 h 162"/>
                        <a:gd name="T62" fmla="*/ 2147483647 w 288"/>
                        <a:gd name="T63" fmla="*/ 2147483647 h 162"/>
                        <a:gd name="T64" fmla="*/ 2147483647 w 288"/>
                        <a:gd name="T65" fmla="*/ 2147483647 h 162"/>
                        <a:gd name="T66" fmla="*/ 2147483647 w 288"/>
                        <a:gd name="T67" fmla="*/ 0 h 162"/>
                        <a:gd name="T68" fmla="*/ 2147483647 w 288"/>
                        <a:gd name="T69" fmla="*/ 2147483647 h 162"/>
                        <a:gd name="T70" fmla="*/ 2147483647 w 288"/>
                        <a:gd name="T71" fmla="*/ 2147483647 h 162"/>
                        <a:gd name="T72" fmla="*/ 2147483647 w 288"/>
                        <a:gd name="T73" fmla="*/ 2147483647 h 162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88"/>
                        <a:gd name="T112" fmla="*/ 0 h 162"/>
                        <a:gd name="T113" fmla="*/ 288 w 288"/>
                        <a:gd name="T114" fmla="*/ 162 h 162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88" h="162">
                          <a:moveTo>
                            <a:pt x="132" y="24"/>
                          </a:moveTo>
                          <a:lnTo>
                            <a:pt x="96" y="24"/>
                          </a:lnTo>
                          <a:lnTo>
                            <a:pt x="90" y="42"/>
                          </a:lnTo>
                          <a:lnTo>
                            <a:pt x="72" y="30"/>
                          </a:lnTo>
                          <a:lnTo>
                            <a:pt x="66" y="42"/>
                          </a:lnTo>
                          <a:lnTo>
                            <a:pt x="60" y="48"/>
                          </a:lnTo>
                          <a:lnTo>
                            <a:pt x="54" y="60"/>
                          </a:lnTo>
                          <a:lnTo>
                            <a:pt x="48" y="66"/>
                          </a:lnTo>
                          <a:lnTo>
                            <a:pt x="30" y="66"/>
                          </a:lnTo>
                          <a:lnTo>
                            <a:pt x="30" y="78"/>
                          </a:lnTo>
                          <a:lnTo>
                            <a:pt x="18" y="90"/>
                          </a:lnTo>
                          <a:lnTo>
                            <a:pt x="12" y="102"/>
                          </a:lnTo>
                          <a:lnTo>
                            <a:pt x="0" y="108"/>
                          </a:lnTo>
                          <a:lnTo>
                            <a:pt x="6" y="120"/>
                          </a:lnTo>
                          <a:lnTo>
                            <a:pt x="0" y="126"/>
                          </a:lnTo>
                          <a:lnTo>
                            <a:pt x="0" y="132"/>
                          </a:lnTo>
                          <a:lnTo>
                            <a:pt x="6" y="132"/>
                          </a:lnTo>
                          <a:lnTo>
                            <a:pt x="30" y="108"/>
                          </a:lnTo>
                          <a:lnTo>
                            <a:pt x="48" y="108"/>
                          </a:lnTo>
                          <a:lnTo>
                            <a:pt x="54" y="114"/>
                          </a:lnTo>
                          <a:lnTo>
                            <a:pt x="48" y="138"/>
                          </a:lnTo>
                          <a:lnTo>
                            <a:pt x="60" y="150"/>
                          </a:lnTo>
                          <a:lnTo>
                            <a:pt x="60" y="156"/>
                          </a:lnTo>
                          <a:lnTo>
                            <a:pt x="72" y="156"/>
                          </a:lnTo>
                          <a:lnTo>
                            <a:pt x="84" y="144"/>
                          </a:lnTo>
                          <a:lnTo>
                            <a:pt x="96" y="144"/>
                          </a:lnTo>
                          <a:lnTo>
                            <a:pt x="108" y="156"/>
                          </a:lnTo>
                          <a:lnTo>
                            <a:pt x="114" y="156"/>
                          </a:lnTo>
                          <a:lnTo>
                            <a:pt x="132" y="138"/>
                          </a:lnTo>
                          <a:lnTo>
                            <a:pt x="132" y="120"/>
                          </a:lnTo>
                          <a:lnTo>
                            <a:pt x="138" y="114"/>
                          </a:lnTo>
                          <a:lnTo>
                            <a:pt x="150" y="114"/>
                          </a:lnTo>
                          <a:lnTo>
                            <a:pt x="156" y="120"/>
                          </a:lnTo>
                          <a:lnTo>
                            <a:pt x="156" y="126"/>
                          </a:lnTo>
                          <a:lnTo>
                            <a:pt x="162" y="132"/>
                          </a:lnTo>
                          <a:lnTo>
                            <a:pt x="162" y="138"/>
                          </a:lnTo>
                          <a:lnTo>
                            <a:pt x="168" y="138"/>
                          </a:lnTo>
                          <a:lnTo>
                            <a:pt x="192" y="162"/>
                          </a:lnTo>
                          <a:lnTo>
                            <a:pt x="192" y="144"/>
                          </a:lnTo>
                          <a:lnTo>
                            <a:pt x="204" y="132"/>
                          </a:lnTo>
                          <a:lnTo>
                            <a:pt x="210" y="108"/>
                          </a:lnTo>
                          <a:lnTo>
                            <a:pt x="222" y="126"/>
                          </a:lnTo>
                          <a:lnTo>
                            <a:pt x="240" y="120"/>
                          </a:lnTo>
                          <a:lnTo>
                            <a:pt x="258" y="132"/>
                          </a:lnTo>
                          <a:lnTo>
                            <a:pt x="264" y="120"/>
                          </a:lnTo>
                          <a:lnTo>
                            <a:pt x="252" y="108"/>
                          </a:lnTo>
                          <a:lnTo>
                            <a:pt x="252" y="102"/>
                          </a:lnTo>
                          <a:lnTo>
                            <a:pt x="276" y="102"/>
                          </a:lnTo>
                          <a:lnTo>
                            <a:pt x="282" y="84"/>
                          </a:lnTo>
                          <a:lnTo>
                            <a:pt x="288" y="84"/>
                          </a:lnTo>
                          <a:lnTo>
                            <a:pt x="288" y="78"/>
                          </a:lnTo>
                          <a:lnTo>
                            <a:pt x="276" y="66"/>
                          </a:lnTo>
                          <a:lnTo>
                            <a:pt x="270" y="66"/>
                          </a:lnTo>
                          <a:lnTo>
                            <a:pt x="252" y="84"/>
                          </a:lnTo>
                          <a:lnTo>
                            <a:pt x="246" y="84"/>
                          </a:lnTo>
                          <a:lnTo>
                            <a:pt x="246" y="66"/>
                          </a:lnTo>
                          <a:lnTo>
                            <a:pt x="210" y="66"/>
                          </a:lnTo>
                          <a:lnTo>
                            <a:pt x="210" y="60"/>
                          </a:lnTo>
                          <a:lnTo>
                            <a:pt x="216" y="48"/>
                          </a:lnTo>
                          <a:lnTo>
                            <a:pt x="222" y="42"/>
                          </a:lnTo>
                          <a:lnTo>
                            <a:pt x="228" y="42"/>
                          </a:lnTo>
                          <a:lnTo>
                            <a:pt x="228" y="30"/>
                          </a:lnTo>
                          <a:lnTo>
                            <a:pt x="216" y="30"/>
                          </a:lnTo>
                          <a:lnTo>
                            <a:pt x="210" y="18"/>
                          </a:lnTo>
                          <a:lnTo>
                            <a:pt x="192" y="12"/>
                          </a:lnTo>
                          <a:lnTo>
                            <a:pt x="180" y="12"/>
                          </a:lnTo>
                          <a:lnTo>
                            <a:pt x="174" y="6"/>
                          </a:lnTo>
                          <a:lnTo>
                            <a:pt x="162" y="0"/>
                          </a:lnTo>
                          <a:lnTo>
                            <a:pt x="156" y="0"/>
                          </a:lnTo>
                          <a:lnTo>
                            <a:pt x="150" y="6"/>
                          </a:lnTo>
                          <a:lnTo>
                            <a:pt x="150" y="18"/>
                          </a:lnTo>
                          <a:lnTo>
                            <a:pt x="156" y="24"/>
                          </a:lnTo>
                          <a:lnTo>
                            <a:pt x="150" y="18"/>
                          </a:lnTo>
                          <a:lnTo>
                            <a:pt x="132" y="24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23" name="Sweden" descr="© INSCALE GmbH, 05.05.2010&#10;http://www.presentationload.com/"/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4532318" y="1895476"/>
                      <a:ext cx="277813" cy="398463"/>
                    </a:xfrm>
                    <a:custGeom>
                      <a:avLst/>
                      <a:gdLst>
                        <a:gd name="T0" fmla="*/ 2147483647 w 690"/>
                        <a:gd name="T1" fmla="*/ 2147483647 h 990"/>
                        <a:gd name="T2" fmla="*/ 2147483647 w 690"/>
                        <a:gd name="T3" fmla="*/ 2147483647 h 990"/>
                        <a:gd name="T4" fmla="*/ 2147483647 w 690"/>
                        <a:gd name="T5" fmla="*/ 2147483647 h 990"/>
                        <a:gd name="T6" fmla="*/ 2147483647 w 690"/>
                        <a:gd name="T7" fmla="*/ 2147483647 h 990"/>
                        <a:gd name="T8" fmla="*/ 2147483647 w 690"/>
                        <a:gd name="T9" fmla="*/ 2147483647 h 990"/>
                        <a:gd name="T10" fmla="*/ 2147483647 w 690"/>
                        <a:gd name="T11" fmla="*/ 2147483647 h 990"/>
                        <a:gd name="T12" fmla="*/ 2147483647 w 690"/>
                        <a:gd name="T13" fmla="*/ 2147483647 h 990"/>
                        <a:gd name="T14" fmla="*/ 2147483647 w 690"/>
                        <a:gd name="T15" fmla="*/ 2147483647 h 990"/>
                        <a:gd name="T16" fmla="*/ 2147483647 w 690"/>
                        <a:gd name="T17" fmla="*/ 2147483647 h 990"/>
                        <a:gd name="T18" fmla="*/ 2147483647 w 690"/>
                        <a:gd name="T19" fmla="*/ 2147483647 h 990"/>
                        <a:gd name="T20" fmla="*/ 2147483647 w 690"/>
                        <a:gd name="T21" fmla="*/ 2147483647 h 990"/>
                        <a:gd name="T22" fmla="*/ 2147483647 w 690"/>
                        <a:gd name="T23" fmla="*/ 2147483647 h 990"/>
                        <a:gd name="T24" fmla="*/ 2147483647 w 690"/>
                        <a:gd name="T25" fmla="*/ 2147483647 h 990"/>
                        <a:gd name="T26" fmla="*/ 2147483647 w 690"/>
                        <a:gd name="T27" fmla="*/ 2147483647 h 990"/>
                        <a:gd name="T28" fmla="*/ 2147483647 w 690"/>
                        <a:gd name="T29" fmla="*/ 2147483647 h 990"/>
                        <a:gd name="T30" fmla="*/ 2147483647 w 690"/>
                        <a:gd name="T31" fmla="*/ 2147483647 h 990"/>
                        <a:gd name="T32" fmla="*/ 2147483647 w 690"/>
                        <a:gd name="T33" fmla="*/ 2147483647 h 990"/>
                        <a:gd name="T34" fmla="*/ 2147483647 w 690"/>
                        <a:gd name="T35" fmla="*/ 2147483647 h 990"/>
                        <a:gd name="T36" fmla="*/ 2147483647 w 690"/>
                        <a:gd name="T37" fmla="*/ 2147483647 h 990"/>
                        <a:gd name="T38" fmla="*/ 2147483647 w 690"/>
                        <a:gd name="T39" fmla="*/ 2147483647 h 990"/>
                        <a:gd name="T40" fmla="*/ 2147483647 w 690"/>
                        <a:gd name="T41" fmla="*/ 2147483647 h 990"/>
                        <a:gd name="T42" fmla="*/ 2147483647 w 690"/>
                        <a:gd name="T43" fmla="*/ 2147483647 h 990"/>
                        <a:gd name="T44" fmla="*/ 2147483647 w 690"/>
                        <a:gd name="T45" fmla="*/ 2147483647 h 990"/>
                        <a:gd name="T46" fmla="*/ 0 w 690"/>
                        <a:gd name="T47" fmla="*/ 2147483647 h 990"/>
                        <a:gd name="T48" fmla="*/ 2147483647 w 690"/>
                        <a:gd name="T49" fmla="*/ 2147483647 h 990"/>
                        <a:gd name="T50" fmla="*/ 2147483647 w 690"/>
                        <a:gd name="T51" fmla="*/ 2147483647 h 990"/>
                        <a:gd name="T52" fmla="*/ 2147483647 w 690"/>
                        <a:gd name="T53" fmla="*/ 2147483647 h 990"/>
                        <a:gd name="T54" fmla="*/ 2147483647 w 690"/>
                        <a:gd name="T55" fmla="*/ 2147483647 h 990"/>
                        <a:gd name="T56" fmla="*/ 2147483647 w 690"/>
                        <a:gd name="T57" fmla="*/ 2147483647 h 990"/>
                        <a:gd name="T58" fmla="*/ 2147483647 w 690"/>
                        <a:gd name="T59" fmla="*/ 2147483647 h 990"/>
                        <a:gd name="T60" fmla="*/ 2147483647 w 690"/>
                        <a:gd name="T61" fmla="*/ 2147483647 h 990"/>
                        <a:gd name="T62" fmla="*/ 2147483647 w 690"/>
                        <a:gd name="T63" fmla="*/ 2147483647 h 990"/>
                        <a:gd name="T64" fmla="*/ 2147483647 w 690"/>
                        <a:gd name="T65" fmla="*/ 2147483647 h 990"/>
                        <a:gd name="T66" fmla="*/ 2147483647 w 690"/>
                        <a:gd name="T67" fmla="*/ 2147483647 h 990"/>
                        <a:gd name="T68" fmla="*/ 2147483647 w 690"/>
                        <a:gd name="T69" fmla="*/ 2147483647 h 990"/>
                        <a:gd name="T70" fmla="*/ 2147483647 w 690"/>
                        <a:gd name="T71" fmla="*/ 2147483647 h 990"/>
                        <a:gd name="T72" fmla="*/ 2147483647 w 690"/>
                        <a:gd name="T73" fmla="*/ 2147483647 h 990"/>
                        <a:gd name="T74" fmla="*/ 2147483647 w 690"/>
                        <a:gd name="T75" fmla="*/ 2147483647 h 990"/>
                        <a:gd name="T76" fmla="*/ 2147483647 w 690"/>
                        <a:gd name="T77" fmla="*/ 2147483647 h 990"/>
                        <a:gd name="T78" fmla="*/ 2147483647 w 690"/>
                        <a:gd name="T79" fmla="*/ 2147483647 h 990"/>
                        <a:gd name="T80" fmla="*/ 2147483647 w 690"/>
                        <a:gd name="T81" fmla="*/ 2147483647 h 990"/>
                        <a:gd name="T82" fmla="*/ 2147483647 w 690"/>
                        <a:gd name="T83" fmla="*/ 2147483647 h 990"/>
                        <a:gd name="T84" fmla="*/ 2147483647 w 690"/>
                        <a:gd name="T85" fmla="*/ 2147483647 h 990"/>
                        <a:gd name="T86" fmla="*/ 2147483647 w 690"/>
                        <a:gd name="T87" fmla="*/ 2147483647 h 990"/>
                        <a:gd name="T88" fmla="*/ 2147483647 w 690"/>
                        <a:gd name="T89" fmla="*/ 2147483647 h 990"/>
                        <a:gd name="T90" fmla="*/ 2147483647 w 690"/>
                        <a:gd name="T91" fmla="*/ 2147483647 h 990"/>
                        <a:gd name="T92" fmla="*/ 2147483647 w 690"/>
                        <a:gd name="T93" fmla="*/ 2147483647 h 990"/>
                        <a:gd name="T94" fmla="*/ 2147483647 w 690"/>
                        <a:gd name="T95" fmla="*/ 2147483647 h 990"/>
                        <a:gd name="T96" fmla="*/ 2147483647 w 690"/>
                        <a:gd name="T97" fmla="*/ 2147483647 h 990"/>
                        <a:gd name="T98" fmla="*/ 2147483647 w 690"/>
                        <a:gd name="T99" fmla="*/ 2147483647 h 990"/>
                        <a:gd name="T100" fmla="*/ 2147483647 w 690"/>
                        <a:gd name="T101" fmla="*/ 2147483647 h 990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w 690"/>
                        <a:gd name="T154" fmla="*/ 0 h 990"/>
                        <a:gd name="T155" fmla="*/ 690 w 690"/>
                        <a:gd name="T156" fmla="*/ 990 h 990"/>
                      </a:gdLst>
                      <a:ahLst/>
                      <a:cxnLst>
                        <a:cxn ang="T102">
                          <a:pos x="T0" y="T1"/>
                        </a:cxn>
                        <a:cxn ang="T103">
                          <a:pos x="T2" y="T3"/>
                        </a:cxn>
                        <a:cxn ang="T104">
                          <a:pos x="T4" y="T5"/>
                        </a:cxn>
                        <a:cxn ang="T105">
                          <a:pos x="T6" y="T7"/>
                        </a:cxn>
                        <a:cxn ang="T106">
                          <a:pos x="T8" y="T9"/>
                        </a:cxn>
                        <a:cxn ang="T107">
                          <a:pos x="T10" y="T11"/>
                        </a:cxn>
                        <a:cxn ang="T108">
                          <a:pos x="T12" y="T13"/>
                        </a:cxn>
                        <a:cxn ang="T109">
                          <a:pos x="T14" y="T15"/>
                        </a:cxn>
                        <a:cxn ang="T110">
                          <a:pos x="T16" y="T17"/>
                        </a:cxn>
                        <a:cxn ang="T111">
                          <a:pos x="T18" y="T19"/>
                        </a:cxn>
                        <a:cxn ang="T112">
                          <a:pos x="T20" y="T21"/>
                        </a:cxn>
                        <a:cxn ang="T113">
                          <a:pos x="T22" y="T23"/>
                        </a:cxn>
                        <a:cxn ang="T114">
                          <a:pos x="T24" y="T25"/>
                        </a:cxn>
                        <a:cxn ang="T115">
                          <a:pos x="T26" y="T27"/>
                        </a:cxn>
                        <a:cxn ang="T116">
                          <a:pos x="T28" y="T29"/>
                        </a:cxn>
                        <a:cxn ang="T117">
                          <a:pos x="T30" y="T31"/>
                        </a:cxn>
                        <a:cxn ang="T118">
                          <a:pos x="T32" y="T33"/>
                        </a:cxn>
                        <a:cxn ang="T119">
                          <a:pos x="T34" y="T35"/>
                        </a:cxn>
                        <a:cxn ang="T120">
                          <a:pos x="T36" y="T37"/>
                        </a:cxn>
                        <a:cxn ang="T121">
                          <a:pos x="T38" y="T39"/>
                        </a:cxn>
                        <a:cxn ang="T122">
                          <a:pos x="T40" y="T41"/>
                        </a:cxn>
                        <a:cxn ang="T123">
                          <a:pos x="T42" y="T43"/>
                        </a:cxn>
                        <a:cxn ang="T124">
                          <a:pos x="T44" y="T45"/>
                        </a:cxn>
                        <a:cxn ang="T125">
                          <a:pos x="T46" y="T47"/>
                        </a:cxn>
                        <a:cxn ang="T126">
                          <a:pos x="T48" y="T49"/>
                        </a:cxn>
                        <a:cxn ang="T127">
                          <a:pos x="T50" y="T51"/>
                        </a:cxn>
                        <a:cxn ang="T128">
                          <a:pos x="T52" y="T53"/>
                        </a:cxn>
                        <a:cxn ang="T129">
                          <a:pos x="T54" y="T55"/>
                        </a:cxn>
                        <a:cxn ang="T130">
                          <a:pos x="T56" y="T57"/>
                        </a:cxn>
                        <a:cxn ang="T131">
                          <a:pos x="T58" y="T59"/>
                        </a:cxn>
                        <a:cxn ang="T132">
                          <a:pos x="T60" y="T61"/>
                        </a:cxn>
                        <a:cxn ang="T133">
                          <a:pos x="T62" y="T63"/>
                        </a:cxn>
                        <a:cxn ang="T134">
                          <a:pos x="T64" y="T65"/>
                        </a:cxn>
                        <a:cxn ang="T135">
                          <a:pos x="T66" y="T67"/>
                        </a:cxn>
                        <a:cxn ang="T136">
                          <a:pos x="T68" y="T69"/>
                        </a:cxn>
                        <a:cxn ang="T137">
                          <a:pos x="T70" y="T71"/>
                        </a:cxn>
                        <a:cxn ang="T138">
                          <a:pos x="T72" y="T73"/>
                        </a:cxn>
                        <a:cxn ang="T139">
                          <a:pos x="T74" y="T75"/>
                        </a:cxn>
                        <a:cxn ang="T140">
                          <a:pos x="T76" y="T77"/>
                        </a:cxn>
                        <a:cxn ang="T141">
                          <a:pos x="T78" y="T79"/>
                        </a:cxn>
                        <a:cxn ang="T142">
                          <a:pos x="T80" y="T81"/>
                        </a:cxn>
                        <a:cxn ang="T143">
                          <a:pos x="T82" y="T83"/>
                        </a:cxn>
                        <a:cxn ang="T144">
                          <a:pos x="T84" y="T85"/>
                        </a:cxn>
                        <a:cxn ang="T145">
                          <a:pos x="T86" y="T87"/>
                        </a:cxn>
                        <a:cxn ang="T146">
                          <a:pos x="T88" y="T89"/>
                        </a:cxn>
                        <a:cxn ang="T147">
                          <a:pos x="T90" y="T91"/>
                        </a:cxn>
                        <a:cxn ang="T148">
                          <a:pos x="T92" y="T93"/>
                        </a:cxn>
                        <a:cxn ang="T149">
                          <a:pos x="T94" y="T95"/>
                        </a:cxn>
                        <a:cxn ang="T150">
                          <a:pos x="T96" y="T97"/>
                        </a:cxn>
                        <a:cxn ang="T151">
                          <a:pos x="T98" y="T99"/>
                        </a:cxn>
                        <a:cxn ang="T152">
                          <a:pos x="T100" y="T101"/>
                        </a:cxn>
                      </a:cxnLst>
                      <a:rect l="T153" t="T154" r="T155" b="T156"/>
                      <a:pathLst>
                        <a:path w="690" h="990">
                          <a:moveTo>
                            <a:pt x="678" y="204"/>
                          </a:moveTo>
                          <a:lnTo>
                            <a:pt x="672" y="198"/>
                          </a:lnTo>
                          <a:lnTo>
                            <a:pt x="660" y="192"/>
                          </a:lnTo>
                          <a:lnTo>
                            <a:pt x="648" y="180"/>
                          </a:lnTo>
                          <a:lnTo>
                            <a:pt x="648" y="174"/>
                          </a:lnTo>
                          <a:lnTo>
                            <a:pt x="654" y="162"/>
                          </a:lnTo>
                          <a:lnTo>
                            <a:pt x="660" y="156"/>
                          </a:lnTo>
                          <a:lnTo>
                            <a:pt x="666" y="144"/>
                          </a:lnTo>
                          <a:lnTo>
                            <a:pt x="642" y="132"/>
                          </a:lnTo>
                          <a:lnTo>
                            <a:pt x="648" y="108"/>
                          </a:lnTo>
                          <a:lnTo>
                            <a:pt x="636" y="102"/>
                          </a:lnTo>
                          <a:lnTo>
                            <a:pt x="636" y="96"/>
                          </a:lnTo>
                          <a:lnTo>
                            <a:pt x="642" y="90"/>
                          </a:lnTo>
                          <a:lnTo>
                            <a:pt x="642" y="66"/>
                          </a:lnTo>
                          <a:lnTo>
                            <a:pt x="636" y="66"/>
                          </a:lnTo>
                          <a:lnTo>
                            <a:pt x="630" y="60"/>
                          </a:lnTo>
                          <a:lnTo>
                            <a:pt x="618" y="60"/>
                          </a:lnTo>
                          <a:lnTo>
                            <a:pt x="588" y="42"/>
                          </a:lnTo>
                          <a:lnTo>
                            <a:pt x="552" y="42"/>
                          </a:lnTo>
                          <a:lnTo>
                            <a:pt x="540" y="30"/>
                          </a:lnTo>
                          <a:lnTo>
                            <a:pt x="534" y="30"/>
                          </a:lnTo>
                          <a:lnTo>
                            <a:pt x="528" y="24"/>
                          </a:lnTo>
                          <a:lnTo>
                            <a:pt x="516" y="24"/>
                          </a:lnTo>
                          <a:lnTo>
                            <a:pt x="504" y="18"/>
                          </a:lnTo>
                          <a:lnTo>
                            <a:pt x="498" y="12"/>
                          </a:lnTo>
                          <a:lnTo>
                            <a:pt x="486" y="6"/>
                          </a:lnTo>
                          <a:lnTo>
                            <a:pt x="456" y="0"/>
                          </a:lnTo>
                          <a:lnTo>
                            <a:pt x="456" y="24"/>
                          </a:lnTo>
                          <a:lnTo>
                            <a:pt x="444" y="24"/>
                          </a:lnTo>
                          <a:lnTo>
                            <a:pt x="444" y="30"/>
                          </a:lnTo>
                          <a:lnTo>
                            <a:pt x="456" y="42"/>
                          </a:lnTo>
                          <a:lnTo>
                            <a:pt x="462" y="42"/>
                          </a:lnTo>
                          <a:lnTo>
                            <a:pt x="456" y="48"/>
                          </a:lnTo>
                          <a:lnTo>
                            <a:pt x="444" y="48"/>
                          </a:lnTo>
                          <a:lnTo>
                            <a:pt x="438" y="42"/>
                          </a:lnTo>
                          <a:lnTo>
                            <a:pt x="414" y="42"/>
                          </a:lnTo>
                          <a:lnTo>
                            <a:pt x="390" y="36"/>
                          </a:lnTo>
                          <a:lnTo>
                            <a:pt x="366" y="42"/>
                          </a:lnTo>
                          <a:lnTo>
                            <a:pt x="366" y="30"/>
                          </a:lnTo>
                          <a:lnTo>
                            <a:pt x="360" y="24"/>
                          </a:lnTo>
                          <a:lnTo>
                            <a:pt x="348" y="36"/>
                          </a:lnTo>
                          <a:lnTo>
                            <a:pt x="348" y="66"/>
                          </a:lnTo>
                          <a:lnTo>
                            <a:pt x="342" y="72"/>
                          </a:lnTo>
                          <a:lnTo>
                            <a:pt x="324" y="72"/>
                          </a:lnTo>
                          <a:lnTo>
                            <a:pt x="282" y="78"/>
                          </a:lnTo>
                          <a:lnTo>
                            <a:pt x="264" y="96"/>
                          </a:lnTo>
                          <a:lnTo>
                            <a:pt x="252" y="102"/>
                          </a:lnTo>
                          <a:lnTo>
                            <a:pt x="246" y="102"/>
                          </a:lnTo>
                          <a:lnTo>
                            <a:pt x="246" y="114"/>
                          </a:lnTo>
                          <a:lnTo>
                            <a:pt x="258" y="120"/>
                          </a:lnTo>
                          <a:lnTo>
                            <a:pt x="264" y="126"/>
                          </a:lnTo>
                          <a:lnTo>
                            <a:pt x="258" y="144"/>
                          </a:lnTo>
                          <a:lnTo>
                            <a:pt x="252" y="144"/>
                          </a:lnTo>
                          <a:lnTo>
                            <a:pt x="240" y="150"/>
                          </a:lnTo>
                          <a:lnTo>
                            <a:pt x="234" y="156"/>
                          </a:lnTo>
                          <a:lnTo>
                            <a:pt x="234" y="162"/>
                          </a:lnTo>
                          <a:lnTo>
                            <a:pt x="228" y="168"/>
                          </a:lnTo>
                          <a:lnTo>
                            <a:pt x="210" y="168"/>
                          </a:lnTo>
                          <a:lnTo>
                            <a:pt x="216" y="174"/>
                          </a:lnTo>
                          <a:lnTo>
                            <a:pt x="216" y="180"/>
                          </a:lnTo>
                          <a:lnTo>
                            <a:pt x="222" y="186"/>
                          </a:lnTo>
                          <a:lnTo>
                            <a:pt x="222" y="192"/>
                          </a:lnTo>
                          <a:lnTo>
                            <a:pt x="216" y="192"/>
                          </a:lnTo>
                          <a:lnTo>
                            <a:pt x="210" y="198"/>
                          </a:lnTo>
                          <a:lnTo>
                            <a:pt x="204" y="198"/>
                          </a:lnTo>
                          <a:lnTo>
                            <a:pt x="192" y="204"/>
                          </a:lnTo>
                          <a:lnTo>
                            <a:pt x="174" y="192"/>
                          </a:lnTo>
                          <a:lnTo>
                            <a:pt x="174" y="228"/>
                          </a:lnTo>
                          <a:lnTo>
                            <a:pt x="168" y="270"/>
                          </a:lnTo>
                          <a:lnTo>
                            <a:pt x="138" y="300"/>
                          </a:lnTo>
                          <a:lnTo>
                            <a:pt x="132" y="300"/>
                          </a:lnTo>
                          <a:lnTo>
                            <a:pt x="120" y="306"/>
                          </a:lnTo>
                          <a:lnTo>
                            <a:pt x="132" y="312"/>
                          </a:lnTo>
                          <a:lnTo>
                            <a:pt x="150" y="330"/>
                          </a:lnTo>
                          <a:lnTo>
                            <a:pt x="150" y="336"/>
                          </a:lnTo>
                          <a:lnTo>
                            <a:pt x="144" y="342"/>
                          </a:lnTo>
                          <a:lnTo>
                            <a:pt x="102" y="342"/>
                          </a:lnTo>
                          <a:lnTo>
                            <a:pt x="90" y="348"/>
                          </a:lnTo>
                          <a:lnTo>
                            <a:pt x="84" y="354"/>
                          </a:lnTo>
                          <a:lnTo>
                            <a:pt x="72" y="360"/>
                          </a:lnTo>
                          <a:lnTo>
                            <a:pt x="30" y="402"/>
                          </a:lnTo>
                          <a:lnTo>
                            <a:pt x="36" y="408"/>
                          </a:lnTo>
                          <a:lnTo>
                            <a:pt x="42" y="408"/>
                          </a:lnTo>
                          <a:lnTo>
                            <a:pt x="48" y="414"/>
                          </a:lnTo>
                          <a:lnTo>
                            <a:pt x="48" y="420"/>
                          </a:lnTo>
                          <a:lnTo>
                            <a:pt x="42" y="426"/>
                          </a:lnTo>
                          <a:lnTo>
                            <a:pt x="36" y="426"/>
                          </a:lnTo>
                          <a:lnTo>
                            <a:pt x="30" y="432"/>
                          </a:lnTo>
                          <a:lnTo>
                            <a:pt x="30" y="444"/>
                          </a:lnTo>
                          <a:lnTo>
                            <a:pt x="54" y="468"/>
                          </a:lnTo>
                          <a:lnTo>
                            <a:pt x="54" y="480"/>
                          </a:lnTo>
                          <a:lnTo>
                            <a:pt x="48" y="492"/>
                          </a:lnTo>
                          <a:lnTo>
                            <a:pt x="48" y="510"/>
                          </a:lnTo>
                          <a:lnTo>
                            <a:pt x="60" y="522"/>
                          </a:lnTo>
                          <a:lnTo>
                            <a:pt x="66" y="522"/>
                          </a:lnTo>
                          <a:lnTo>
                            <a:pt x="84" y="540"/>
                          </a:lnTo>
                          <a:lnTo>
                            <a:pt x="84" y="552"/>
                          </a:lnTo>
                          <a:lnTo>
                            <a:pt x="72" y="564"/>
                          </a:lnTo>
                          <a:lnTo>
                            <a:pt x="48" y="570"/>
                          </a:lnTo>
                          <a:lnTo>
                            <a:pt x="54" y="576"/>
                          </a:lnTo>
                          <a:lnTo>
                            <a:pt x="60" y="588"/>
                          </a:lnTo>
                          <a:lnTo>
                            <a:pt x="60" y="594"/>
                          </a:lnTo>
                          <a:lnTo>
                            <a:pt x="66" y="600"/>
                          </a:lnTo>
                          <a:lnTo>
                            <a:pt x="66" y="606"/>
                          </a:lnTo>
                          <a:lnTo>
                            <a:pt x="72" y="618"/>
                          </a:lnTo>
                          <a:lnTo>
                            <a:pt x="66" y="618"/>
                          </a:lnTo>
                          <a:lnTo>
                            <a:pt x="66" y="642"/>
                          </a:lnTo>
                          <a:lnTo>
                            <a:pt x="60" y="648"/>
                          </a:lnTo>
                          <a:lnTo>
                            <a:pt x="24" y="648"/>
                          </a:lnTo>
                          <a:lnTo>
                            <a:pt x="30" y="660"/>
                          </a:lnTo>
                          <a:lnTo>
                            <a:pt x="30" y="666"/>
                          </a:lnTo>
                          <a:lnTo>
                            <a:pt x="24" y="666"/>
                          </a:lnTo>
                          <a:lnTo>
                            <a:pt x="18" y="672"/>
                          </a:lnTo>
                          <a:lnTo>
                            <a:pt x="18" y="678"/>
                          </a:lnTo>
                          <a:lnTo>
                            <a:pt x="30" y="690"/>
                          </a:lnTo>
                          <a:lnTo>
                            <a:pt x="30" y="708"/>
                          </a:lnTo>
                          <a:lnTo>
                            <a:pt x="24" y="714"/>
                          </a:lnTo>
                          <a:lnTo>
                            <a:pt x="18" y="726"/>
                          </a:lnTo>
                          <a:lnTo>
                            <a:pt x="0" y="708"/>
                          </a:lnTo>
                          <a:lnTo>
                            <a:pt x="0" y="768"/>
                          </a:lnTo>
                          <a:lnTo>
                            <a:pt x="6" y="762"/>
                          </a:lnTo>
                          <a:lnTo>
                            <a:pt x="24" y="762"/>
                          </a:lnTo>
                          <a:lnTo>
                            <a:pt x="36" y="774"/>
                          </a:lnTo>
                          <a:lnTo>
                            <a:pt x="36" y="780"/>
                          </a:lnTo>
                          <a:lnTo>
                            <a:pt x="30" y="780"/>
                          </a:lnTo>
                          <a:lnTo>
                            <a:pt x="30" y="774"/>
                          </a:lnTo>
                          <a:lnTo>
                            <a:pt x="24" y="774"/>
                          </a:lnTo>
                          <a:lnTo>
                            <a:pt x="24" y="834"/>
                          </a:lnTo>
                          <a:lnTo>
                            <a:pt x="30" y="840"/>
                          </a:lnTo>
                          <a:lnTo>
                            <a:pt x="36" y="840"/>
                          </a:lnTo>
                          <a:lnTo>
                            <a:pt x="48" y="846"/>
                          </a:lnTo>
                          <a:lnTo>
                            <a:pt x="54" y="858"/>
                          </a:lnTo>
                          <a:lnTo>
                            <a:pt x="60" y="864"/>
                          </a:lnTo>
                          <a:lnTo>
                            <a:pt x="66" y="876"/>
                          </a:lnTo>
                          <a:lnTo>
                            <a:pt x="90" y="900"/>
                          </a:lnTo>
                          <a:lnTo>
                            <a:pt x="96" y="900"/>
                          </a:lnTo>
                          <a:lnTo>
                            <a:pt x="96" y="912"/>
                          </a:lnTo>
                          <a:lnTo>
                            <a:pt x="78" y="912"/>
                          </a:lnTo>
                          <a:lnTo>
                            <a:pt x="78" y="942"/>
                          </a:lnTo>
                          <a:lnTo>
                            <a:pt x="90" y="954"/>
                          </a:lnTo>
                          <a:lnTo>
                            <a:pt x="102" y="960"/>
                          </a:lnTo>
                          <a:lnTo>
                            <a:pt x="96" y="966"/>
                          </a:lnTo>
                          <a:lnTo>
                            <a:pt x="96" y="984"/>
                          </a:lnTo>
                          <a:lnTo>
                            <a:pt x="102" y="984"/>
                          </a:lnTo>
                          <a:lnTo>
                            <a:pt x="108" y="990"/>
                          </a:lnTo>
                          <a:lnTo>
                            <a:pt x="174" y="990"/>
                          </a:lnTo>
                          <a:lnTo>
                            <a:pt x="180" y="984"/>
                          </a:lnTo>
                          <a:lnTo>
                            <a:pt x="180" y="948"/>
                          </a:lnTo>
                          <a:lnTo>
                            <a:pt x="198" y="942"/>
                          </a:lnTo>
                          <a:lnTo>
                            <a:pt x="198" y="924"/>
                          </a:lnTo>
                          <a:lnTo>
                            <a:pt x="264" y="930"/>
                          </a:lnTo>
                          <a:lnTo>
                            <a:pt x="276" y="936"/>
                          </a:lnTo>
                          <a:lnTo>
                            <a:pt x="300" y="876"/>
                          </a:lnTo>
                          <a:lnTo>
                            <a:pt x="300" y="864"/>
                          </a:lnTo>
                          <a:lnTo>
                            <a:pt x="306" y="852"/>
                          </a:lnTo>
                          <a:lnTo>
                            <a:pt x="306" y="816"/>
                          </a:lnTo>
                          <a:lnTo>
                            <a:pt x="300" y="810"/>
                          </a:lnTo>
                          <a:lnTo>
                            <a:pt x="294" y="798"/>
                          </a:lnTo>
                          <a:lnTo>
                            <a:pt x="312" y="798"/>
                          </a:lnTo>
                          <a:lnTo>
                            <a:pt x="324" y="786"/>
                          </a:lnTo>
                          <a:lnTo>
                            <a:pt x="324" y="780"/>
                          </a:lnTo>
                          <a:lnTo>
                            <a:pt x="306" y="762"/>
                          </a:lnTo>
                          <a:lnTo>
                            <a:pt x="294" y="762"/>
                          </a:lnTo>
                          <a:lnTo>
                            <a:pt x="312" y="756"/>
                          </a:lnTo>
                          <a:lnTo>
                            <a:pt x="300" y="750"/>
                          </a:lnTo>
                          <a:lnTo>
                            <a:pt x="324" y="750"/>
                          </a:lnTo>
                          <a:lnTo>
                            <a:pt x="336" y="744"/>
                          </a:lnTo>
                          <a:lnTo>
                            <a:pt x="348" y="744"/>
                          </a:lnTo>
                          <a:lnTo>
                            <a:pt x="354" y="738"/>
                          </a:lnTo>
                          <a:lnTo>
                            <a:pt x="360" y="726"/>
                          </a:lnTo>
                          <a:lnTo>
                            <a:pt x="360" y="714"/>
                          </a:lnTo>
                          <a:lnTo>
                            <a:pt x="366" y="708"/>
                          </a:lnTo>
                          <a:lnTo>
                            <a:pt x="384" y="726"/>
                          </a:lnTo>
                          <a:lnTo>
                            <a:pt x="390" y="726"/>
                          </a:lnTo>
                          <a:lnTo>
                            <a:pt x="396" y="720"/>
                          </a:lnTo>
                          <a:lnTo>
                            <a:pt x="408" y="696"/>
                          </a:lnTo>
                          <a:lnTo>
                            <a:pt x="402" y="690"/>
                          </a:lnTo>
                          <a:lnTo>
                            <a:pt x="402" y="684"/>
                          </a:lnTo>
                          <a:lnTo>
                            <a:pt x="414" y="684"/>
                          </a:lnTo>
                          <a:lnTo>
                            <a:pt x="420" y="678"/>
                          </a:lnTo>
                          <a:lnTo>
                            <a:pt x="432" y="672"/>
                          </a:lnTo>
                          <a:lnTo>
                            <a:pt x="432" y="660"/>
                          </a:lnTo>
                          <a:lnTo>
                            <a:pt x="420" y="636"/>
                          </a:lnTo>
                          <a:lnTo>
                            <a:pt x="408" y="630"/>
                          </a:lnTo>
                          <a:lnTo>
                            <a:pt x="408" y="618"/>
                          </a:lnTo>
                          <a:lnTo>
                            <a:pt x="372" y="600"/>
                          </a:lnTo>
                          <a:lnTo>
                            <a:pt x="360" y="606"/>
                          </a:lnTo>
                          <a:lnTo>
                            <a:pt x="354" y="606"/>
                          </a:lnTo>
                          <a:lnTo>
                            <a:pt x="342" y="600"/>
                          </a:lnTo>
                          <a:lnTo>
                            <a:pt x="330" y="576"/>
                          </a:lnTo>
                          <a:lnTo>
                            <a:pt x="330" y="558"/>
                          </a:lnTo>
                          <a:lnTo>
                            <a:pt x="324" y="546"/>
                          </a:lnTo>
                          <a:lnTo>
                            <a:pt x="324" y="528"/>
                          </a:lnTo>
                          <a:lnTo>
                            <a:pt x="336" y="516"/>
                          </a:lnTo>
                          <a:lnTo>
                            <a:pt x="342" y="504"/>
                          </a:lnTo>
                          <a:lnTo>
                            <a:pt x="342" y="486"/>
                          </a:lnTo>
                          <a:lnTo>
                            <a:pt x="336" y="474"/>
                          </a:lnTo>
                          <a:lnTo>
                            <a:pt x="330" y="468"/>
                          </a:lnTo>
                          <a:lnTo>
                            <a:pt x="330" y="462"/>
                          </a:lnTo>
                          <a:lnTo>
                            <a:pt x="348" y="462"/>
                          </a:lnTo>
                          <a:lnTo>
                            <a:pt x="354" y="456"/>
                          </a:lnTo>
                          <a:lnTo>
                            <a:pt x="354" y="438"/>
                          </a:lnTo>
                          <a:lnTo>
                            <a:pt x="348" y="426"/>
                          </a:lnTo>
                          <a:lnTo>
                            <a:pt x="354" y="432"/>
                          </a:lnTo>
                          <a:lnTo>
                            <a:pt x="378" y="432"/>
                          </a:lnTo>
                          <a:lnTo>
                            <a:pt x="384" y="426"/>
                          </a:lnTo>
                          <a:lnTo>
                            <a:pt x="396" y="420"/>
                          </a:lnTo>
                          <a:lnTo>
                            <a:pt x="408" y="408"/>
                          </a:lnTo>
                          <a:lnTo>
                            <a:pt x="438" y="414"/>
                          </a:lnTo>
                          <a:lnTo>
                            <a:pt x="450" y="390"/>
                          </a:lnTo>
                          <a:lnTo>
                            <a:pt x="480" y="390"/>
                          </a:lnTo>
                          <a:lnTo>
                            <a:pt x="498" y="384"/>
                          </a:lnTo>
                          <a:lnTo>
                            <a:pt x="510" y="378"/>
                          </a:lnTo>
                          <a:lnTo>
                            <a:pt x="522" y="354"/>
                          </a:lnTo>
                          <a:lnTo>
                            <a:pt x="540" y="336"/>
                          </a:lnTo>
                          <a:lnTo>
                            <a:pt x="546" y="324"/>
                          </a:lnTo>
                          <a:lnTo>
                            <a:pt x="528" y="300"/>
                          </a:lnTo>
                          <a:lnTo>
                            <a:pt x="558" y="264"/>
                          </a:lnTo>
                          <a:lnTo>
                            <a:pt x="540" y="246"/>
                          </a:lnTo>
                          <a:lnTo>
                            <a:pt x="576" y="234"/>
                          </a:lnTo>
                          <a:lnTo>
                            <a:pt x="594" y="216"/>
                          </a:lnTo>
                          <a:lnTo>
                            <a:pt x="672" y="222"/>
                          </a:lnTo>
                          <a:lnTo>
                            <a:pt x="684" y="240"/>
                          </a:lnTo>
                          <a:lnTo>
                            <a:pt x="690" y="240"/>
                          </a:lnTo>
                          <a:lnTo>
                            <a:pt x="678" y="204"/>
                          </a:lnTo>
                          <a:close/>
                          <a:moveTo>
                            <a:pt x="390" y="828"/>
                          </a:moveTo>
                          <a:lnTo>
                            <a:pt x="390" y="840"/>
                          </a:lnTo>
                          <a:lnTo>
                            <a:pt x="396" y="852"/>
                          </a:lnTo>
                          <a:lnTo>
                            <a:pt x="396" y="864"/>
                          </a:lnTo>
                          <a:lnTo>
                            <a:pt x="402" y="870"/>
                          </a:lnTo>
                          <a:lnTo>
                            <a:pt x="402" y="876"/>
                          </a:lnTo>
                          <a:lnTo>
                            <a:pt x="414" y="852"/>
                          </a:lnTo>
                          <a:lnTo>
                            <a:pt x="426" y="852"/>
                          </a:lnTo>
                          <a:lnTo>
                            <a:pt x="432" y="846"/>
                          </a:lnTo>
                          <a:lnTo>
                            <a:pt x="438" y="834"/>
                          </a:lnTo>
                          <a:lnTo>
                            <a:pt x="438" y="822"/>
                          </a:lnTo>
                          <a:lnTo>
                            <a:pt x="432" y="816"/>
                          </a:lnTo>
                          <a:lnTo>
                            <a:pt x="450" y="798"/>
                          </a:lnTo>
                          <a:lnTo>
                            <a:pt x="444" y="798"/>
                          </a:lnTo>
                          <a:lnTo>
                            <a:pt x="438" y="804"/>
                          </a:lnTo>
                          <a:lnTo>
                            <a:pt x="420" y="804"/>
                          </a:lnTo>
                          <a:lnTo>
                            <a:pt x="408" y="810"/>
                          </a:lnTo>
                          <a:lnTo>
                            <a:pt x="390" y="828"/>
                          </a:lnTo>
                          <a:close/>
                          <a:moveTo>
                            <a:pt x="300" y="900"/>
                          </a:moveTo>
                          <a:lnTo>
                            <a:pt x="300" y="912"/>
                          </a:lnTo>
                          <a:lnTo>
                            <a:pt x="294" y="924"/>
                          </a:lnTo>
                          <a:lnTo>
                            <a:pt x="300" y="918"/>
                          </a:lnTo>
                          <a:lnTo>
                            <a:pt x="312" y="912"/>
                          </a:lnTo>
                          <a:lnTo>
                            <a:pt x="318" y="900"/>
                          </a:lnTo>
                          <a:lnTo>
                            <a:pt x="318" y="894"/>
                          </a:lnTo>
                          <a:lnTo>
                            <a:pt x="324" y="888"/>
                          </a:lnTo>
                          <a:lnTo>
                            <a:pt x="324" y="882"/>
                          </a:lnTo>
                          <a:lnTo>
                            <a:pt x="342" y="858"/>
                          </a:lnTo>
                          <a:lnTo>
                            <a:pt x="336" y="840"/>
                          </a:lnTo>
                          <a:lnTo>
                            <a:pt x="330" y="852"/>
                          </a:lnTo>
                          <a:lnTo>
                            <a:pt x="312" y="870"/>
                          </a:lnTo>
                          <a:lnTo>
                            <a:pt x="300" y="894"/>
                          </a:lnTo>
                          <a:lnTo>
                            <a:pt x="300" y="900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24" name="Spain" descr="© INSCALE GmbH, 05.05.2010&#10;http://www.presentationload.com/"/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3998917" y="2659064"/>
                      <a:ext cx="352426" cy="249238"/>
                    </a:xfrm>
                    <a:custGeom>
                      <a:avLst/>
                      <a:gdLst>
                        <a:gd name="T0" fmla="*/ 2147483647 w 876"/>
                        <a:gd name="T1" fmla="*/ 2147483647 h 618"/>
                        <a:gd name="T2" fmla="*/ 2147483647 w 876"/>
                        <a:gd name="T3" fmla="*/ 2147483647 h 618"/>
                        <a:gd name="T4" fmla="*/ 2147483647 w 876"/>
                        <a:gd name="T5" fmla="*/ 2147483647 h 618"/>
                        <a:gd name="T6" fmla="*/ 2147483647 w 876"/>
                        <a:gd name="T7" fmla="*/ 2147483647 h 618"/>
                        <a:gd name="T8" fmla="*/ 2147483647 w 876"/>
                        <a:gd name="T9" fmla="*/ 2147483647 h 618"/>
                        <a:gd name="T10" fmla="*/ 2147483647 w 876"/>
                        <a:gd name="T11" fmla="*/ 2147483647 h 618"/>
                        <a:gd name="T12" fmla="*/ 2147483647 w 876"/>
                        <a:gd name="T13" fmla="*/ 2147483647 h 618"/>
                        <a:gd name="T14" fmla="*/ 2147483647 w 876"/>
                        <a:gd name="T15" fmla="*/ 2147483647 h 618"/>
                        <a:gd name="T16" fmla="*/ 2147483647 w 876"/>
                        <a:gd name="T17" fmla="*/ 2147483647 h 618"/>
                        <a:gd name="T18" fmla="*/ 2147483647 w 876"/>
                        <a:gd name="T19" fmla="*/ 2147483647 h 618"/>
                        <a:gd name="T20" fmla="*/ 2147483647 w 876"/>
                        <a:gd name="T21" fmla="*/ 2147483647 h 618"/>
                        <a:gd name="T22" fmla="*/ 2147483647 w 876"/>
                        <a:gd name="T23" fmla="*/ 2147483647 h 618"/>
                        <a:gd name="T24" fmla="*/ 2147483647 w 876"/>
                        <a:gd name="T25" fmla="*/ 2147483647 h 618"/>
                        <a:gd name="T26" fmla="*/ 2147483647 w 876"/>
                        <a:gd name="T27" fmla="*/ 2147483647 h 618"/>
                        <a:gd name="T28" fmla="*/ 2147483647 w 876"/>
                        <a:gd name="T29" fmla="*/ 2147483647 h 618"/>
                        <a:gd name="T30" fmla="*/ 2147483647 w 876"/>
                        <a:gd name="T31" fmla="*/ 2147483647 h 618"/>
                        <a:gd name="T32" fmla="*/ 2147483647 w 876"/>
                        <a:gd name="T33" fmla="*/ 2147483647 h 618"/>
                        <a:gd name="T34" fmla="*/ 2147483647 w 876"/>
                        <a:gd name="T35" fmla="*/ 2147483647 h 618"/>
                        <a:gd name="T36" fmla="*/ 2147483647 w 876"/>
                        <a:gd name="T37" fmla="*/ 2147483647 h 618"/>
                        <a:gd name="T38" fmla="*/ 2147483647 w 876"/>
                        <a:gd name="T39" fmla="*/ 2147483647 h 618"/>
                        <a:gd name="T40" fmla="*/ 2147483647 w 876"/>
                        <a:gd name="T41" fmla="*/ 0 h 618"/>
                        <a:gd name="T42" fmla="*/ 2147483647 w 876"/>
                        <a:gd name="T43" fmla="*/ 2147483647 h 618"/>
                        <a:gd name="T44" fmla="*/ 0 w 876"/>
                        <a:gd name="T45" fmla="*/ 2147483647 h 618"/>
                        <a:gd name="T46" fmla="*/ 2147483647 w 876"/>
                        <a:gd name="T47" fmla="*/ 2147483647 h 618"/>
                        <a:gd name="T48" fmla="*/ 2147483647 w 876"/>
                        <a:gd name="T49" fmla="*/ 2147483647 h 618"/>
                        <a:gd name="T50" fmla="*/ 2147483647 w 876"/>
                        <a:gd name="T51" fmla="*/ 2147483647 h 618"/>
                        <a:gd name="T52" fmla="*/ 2147483647 w 876"/>
                        <a:gd name="T53" fmla="*/ 2147483647 h 618"/>
                        <a:gd name="T54" fmla="*/ 2147483647 w 876"/>
                        <a:gd name="T55" fmla="*/ 2147483647 h 618"/>
                        <a:gd name="T56" fmla="*/ 2147483647 w 876"/>
                        <a:gd name="T57" fmla="*/ 2147483647 h 618"/>
                        <a:gd name="T58" fmla="*/ 2147483647 w 876"/>
                        <a:gd name="T59" fmla="*/ 2147483647 h 618"/>
                        <a:gd name="T60" fmla="*/ 2147483647 w 876"/>
                        <a:gd name="T61" fmla="*/ 2147483647 h 618"/>
                        <a:gd name="T62" fmla="*/ 2147483647 w 876"/>
                        <a:gd name="T63" fmla="*/ 2147483647 h 618"/>
                        <a:gd name="T64" fmla="*/ 2147483647 w 876"/>
                        <a:gd name="T65" fmla="*/ 2147483647 h 618"/>
                        <a:gd name="T66" fmla="*/ 2147483647 w 876"/>
                        <a:gd name="T67" fmla="*/ 2147483647 h 618"/>
                        <a:gd name="T68" fmla="*/ 2147483647 w 876"/>
                        <a:gd name="T69" fmla="*/ 2147483647 h 618"/>
                        <a:gd name="T70" fmla="*/ 2147483647 w 876"/>
                        <a:gd name="T71" fmla="*/ 2147483647 h 618"/>
                        <a:gd name="T72" fmla="*/ 2147483647 w 876"/>
                        <a:gd name="T73" fmla="*/ 2147483647 h 618"/>
                        <a:gd name="T74" fmla="*/ 2147483647 w 876"/>
                        <a:gd name="T75" fmla="*/ 2147483647 h 618"/>
                        <a:gd name="T76" fmla="*/ 2147483647 w 876"/>
                        <a:gd name="T77" fmla="*/ 2147483647 h 618"/>
                        <a:gd name="T78" fmla="*/ 2147483647 w 876"/>
                        <a:gd name="T79" fmla="*/ 2147483647 h 618"/>
                        <a:gd name="T80" fmla="*/ 2147483647 w 876"/>
                        <a:gd name="T81" fmla="*/ 2147483647 h 618"/>
                        <a:gd name="T82" fmla="*/ 2147483647 w 876"/>
                        <a:gd name="T83" fmla="*/ 2147483647 h 618"/>
                        <a:gd name="T84" fmla="*/ 2147483647 w 876"/>
                        <a:gd name="T85" fmla="*/ 2147483647 h 618"/>
                        <a:gd name="T86" fmla="*/ 2147483647 w 876"/>
                        <a:gd name="T87" fmla="*/ 2147483647 h 618"/>
                        <a:gd name="T88" fmla="*/ 2147483647 w 876"/>
                        <a:gd name="T89" fmla="*/ 2147483647 h 618"/>
                        <a:gd name="T90" fmla="*/ 2147483647 w 876"/>
                        <a:gd name="T91" fmla="*/ 2147483647 h 618"/>
                        <a:gd name="T92" fmla="*/ 2147483647 w 876"/>
                        <a:gd name="T93" fmla="*/ 2147483647 h 618"/>
                        <a:gd name="T94" fmla="*/ 2147483647 w 876"/>
                        <a:gd name="T95" fmla="*/ 2147483647 h 618"/>
                        <a:gd name="T96" fmla="*/ 2147483647 w 876"/>
                        <a:gd name="T97" fmla="*/ 2147483647 h 618"/>
                        <a:gd name="T98" fmla="*/ 2147483647 w 876"/>
                        <a:gd name="T99" fmla="*/ 2147483647 h 618"/>
                        <a:gd name="T100" fmla="*/ 2147483647 w 876"/>
                        <a:gd name="T101" fmla="*/ 2147483647 h 618"/>
                        <a:gd name="T102" fmla="*/ 2147483647 w 876"/>
                        <a:gd name="T103" fmla="*/ 2147483647 h 618"/>
                        <a:gd name="T104" fmla="*/ 2147483647 w 876"/>
                        <a:gd name="T105" fmla="*/ 2147483647 h 618"/>
                        <a:gd name="T106" fmla="*/ 2147483647 w 876"/>
                        <a:gd name="T107" fmla="*/ 2147483647 h 618"/>
                        <a:gd name="T108" fmla="*/ 2147483647 w 876"/>
                        <a:gd name="T109" fmla="*/ 2147483647 h 618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w 876"/>
                        <a:gd name="T166" fmla="*/ 0 h 618"/>
                        <a:gd name="T167" fmla="*/ 876 w 876"/>
                        <a:gd name="T168" fmla="*/ 618 h 618"/>
                      </a:gdLst>
                      <a:ahLst/>
                      <a:cxnLst>
                        <a:cxn ang="T110">
                          <a:pos x="T0" y="T1"/>
                        </a:cxn>
                        <a:cxn ang="T111">
                          <a:pos x="T2" y="T3"/>
                        </a:cxn>
                        <a:cxn ang="T112">
                          <a:pos x="T4" y="T5"/>
                        </a:cxn>
                        <a:cxn ang="T113">
                          <a:pos x="T6" y="T7"/>
                        </a:cxn>
                        <a:cxn ang="T114">
                          <a:pos x="T8" y="T9"/>
                        </a:cxn>
                        <a:cxn ang="T115">
                          <a:pos x="T10" y="T11"/>
                        </a:cxn>
                        <a:cxn ang="T116">
                          <a:pos x="T12" y="T13"/>
                        </a:cxn>
                        <a:cxn ang="T117">
                          <a:pos x="T14" y="T15"/>
                        </a:cxn>
                        <a:cxn ang="T118">
                          <a:pos x="T16" y="T17"/>
                        </a:cxn>
                        <a:cxn ang="T119">
                          <a:pos x="T18" y="T19"/>
                        </a:cxn>
                        <a:cxn ang="T120">
                          <a:pos x="T20" y="T21"/>
                        </a:cxn>
                        <a:cxn ang="T121">
                          <a:pos x="T22" y="T23"/>
                        </a:cxn>
                        <a:cxn ang="T122">
                          <a:pos x="T24" y="T25"/>
                        </a:cxn>
                        <a:cxn ang="T123">
                          <a:pos x="T26" y="T27"/>
                        </a:cxn>
                        <a:cxn ang="T124">
                          <a:pos x="T28" y="T29"/>
                        </a:cxn>
                        <a:cxn ang="T125">
                          <a:pos x="T30" y="T31"/>
                        </a:cxn>
                        <a:cxn ang="T126">
                          <a:pos x="T32" y="T33"/>
                        </a:cxn>
                        <a:cxn ang="T127">
                          <a:pos x="T34" y="T35"/>
                        </a:cxn>
                        <a:cxn ang="T128">
                          <a:pos x="T36" y="T37"/>
                        </a:cxn>
                        <a:cxn ang="T129">
                          <a:pos x="T38" y="T39"/>
                        </a:cxn>
                        <a:cxn ang="T130">
                          <a:pos x="T40" y="T41"/>
                        </a:cxn>
                        <a:cxn ang="T131">
                          <a:pos x="T42" y="T43"/>
                        </a:cxn>
                        <a:cxn ang="T132">
                          <a:pos x="T44" y="T45"/>
                        </a:cxn>
                        <a:cxn ang="T133">
                          <a:pos x="T46" y="T47"/>
                        </a:cxn>
                        <a:cxn ang="T134">
                          <a:pos x="T48" y="T49"/>
                        </a:cxn>
                        <a:cxn ang="T135">
                          <a:pos x="T50" y="T51"/>
                        </a:cxn>
                        <a:cxn ang="T136">
                          <a:pos x="T52" y="T53"/>
                        </a:cxn>
                        <a:cxn ang="T137">
                          <a:pos x="T54" y="T55"/>
                        </a:cxn>
                        <a:cxn ang="T138">
                          <a:pos x="T56" y="T57"/>
                        </a:cxn>
                        <a:cxn ang="T139">
                          <a:pos x="T58" y="T59"/>
                        </a:cxn>
                        <a:cxn ang="T140">
                          <a:pos x="T60" y="T61"/>
                        </a:cxn>
                        <a:cxn ang="T141">
                          <a:pos x="T62" y="T63"/>
                        </a:cxn>
                        <a:cxn ang="T142">
                          <a:pos x="T64" y="T65"/>
                        </a:cxn>
                        <a:cxn ang="T143">
                          <a:pos x="T66" y="T67"/>
                        </a:cxn>
                        <a:cxn ang="T144">
                          <a:pos x="T68" y="T69"/>
                        </a:cxn>
                        <a:cxn ang="T145">
                          <a:pos x="T70" y="T71"/>
                        </a:cxn>
                        <a:cxn ang="T146">
                          <a:pos x="T72" y="T73"/>
                        </a:cxn>
                        <a:cxn ang="T147">
                          <a:pos x="T74" y="T75"/>
                        </a:cxn>
                        <a:cxn ang="T148">
                          <a:pos x="T76" y="T77"/>
                        </a:cxn>
                        <a:cxn ang="T149">
                          <a:pos x="T78" y="T79"/>
                        </a:cxn>
                        <a:cxn ang="T150">
                          <a:pos x="T80" y="T81"/>
                        </a:cxn>
                        <a:cxn ang="T151">
                          <a:pos x="T82" y="T83"/>
                        </a:cxn>
                        <a:cxn ang="T152">
                          <a:pos x="T84" y="T85"/>
                        </a:cxn>
                        <a:cxn ang="T153">
                          <a:pos x="T86" y="T87"/>
                        </a:cxn>
                        <a:cxn ang="T154">
                          <a:pos x="T88" y="T89"/>
                        </a:cxn>
                        <a:cxn ang="T155">
                          <a:pos x="T90" y="T91"/>
                        </a:cxn>
                        <a:cxn ang="T156">
                          <a:pos x="T92" y="T93"/>
                        </a:cxn>
                        <a:cxn ang="T157">
                          <a:pos x="T94" y="T95"/>
                        </a:cxn>
                        <a:cxn ang="T158">
                          <a:pos x="T96" y="T97"/>
                        </a:cxn>
                        <a:cxn ang="T159">
                          <a:pos x="T98" y="T99"/>
                        </a:cxn>
                        <a:cxn ang="T160">
                          <a:pos x="T100" y="T101"/>
                        </a:cxn>
                        <a:cxn ang="T161">
                          <a:pos x="T102" y="T103"/>
                        </a:cxn>
                        <a:cxn ang="T162">
                          <a:pos x="T104" y="T105"/>
                        </a:cxn>
                        <a:cxn ang="T163">
                          <a:pos x="T106" y="T107"/>
                        </a:cxn>
                        <a:cxn ang="T164">
                          <a:pos x="T108" y="T109"/>
                        </a:cxn>
                      </a:cxnLst>
                      <a:rect l="T165" t="T166" r="T167" b="T168"/>
                      <a:pathLst>
                        <a:path w="876" h="618">
                          <a:moveTo>
                            <a:pt x="804" y="318"/>
                          </a:moveTo>
                          <a:lnTo>
                            <a:pt x="798" y="312"/>
                          </a:lnTo>
                          <a:lnTo>
                            <a:pt x="798" y="306"/>
                          </a:lnTo>
                          <a:lnTo>
                            <a:pt x="786" y="306"/>
                          </a:lnTo>
                          <a:lnTo>
                            <a:pt x="762" y="318"/>
                          </a:lnTo>
                          <a:lnTo>
                            <a:pt x="750" y="330"/>
                          </a:lnTo>
                          <a:lnTo>
                            <a:pt x="750" y="336"/>
                          </a:lnTo>
                          <a:lnTo>
                            <a:pt x="756" y="342"/>
                          </a:lnTo>
                          <a:lnTo>
                            <a:pt x="768" y="342"/>
                          </a:lnTo>
                          <a:lnTo>
                            <a:pt x="774" y="348"/>
                          </a:lnTo>
                          <a:lnTo>
                            <a:pt x="774" y="354"/>
                          </a:lnTo>
                          <a:lnTo>
                            <a:pt x="804" y="354"/>
                          </a:lnTo>
                          <a:lnTo>
                            <a:pt x="816" y="342"/>
                          </a:lnTo>
                          <a:lnTo>
                            <a:pt x="816" y="324"/>
                          </a:lnTo>
                          <a:lnTo>
                            <a:pt x="810" y="318"/>
                          </a:lnTo>
                          <a:lnTo>
                            <a:pt x="804" y="318"/>
                          </a:lnTo>
                          <a:close/>
                          <a:moveTo>
                            <a:pt x="672" y="390"/>
                          </a:moveTo>
                          <a:lnTo>
                            <a:pt x="678" y="396"/>
                          </a:lnTo>
                          <a:lnTo>
                            <a:pt x="684" y="396"/>
                          </a:lnTo>
                          <a:lnTo>
                            <a:pt x="690" y="390"/>
                          </a:lnTo>
                          <a:lnTo>
                            <a:pt x="690" y="372"/>
                          </a:lnTo>
                          <a:lnTo>
                            <a:pt x="684" y="372"/>
                          </a:lnTo>
                          <a:lnTo>
                            <a:pt x="672" y="384"/>
                          </a:lnTo>
                          <a:lnTo>
                            <a:pt x="672" y="390"/>
                          </a:lnTo>
                          <a:close/>
                          <a:moveTo>
                            <a:pt x="840" y="300"/>
                          </a:moveTo>
                          <a:lnTo>
                            <a:pt x="840" y="306"/>
                          </a:lnTo>
                          <a:lnTo>
                            <a:pt x="852" y="318"/>
                          </a:lnTo>
                          <a:lnTo>
                            <a:pt x="870" y="318"/>
                          </a:lnTo>
                          <a:lnTo>
                            <a:pt x="876" y="312"/>
                          </a:lnTo>
                          <a:lnTo>
                            <a:pt x="864" y="300"/>
                          </a:lnTo>
                          <a:lnTo>
                            <a:pt x="852" y="300"/>
                          </a:lnTo>
                          <a:lnTo>
                            <a:pt x="846" y="294"/>
                          </a:lnTo>
                          <a:lnTo>
                            <a:pt x="840" y="300"/>
                          </a:lnTo>
                          <a:close/>
                          <a:moveTo>
                            <a:pt x="804" y="150"/>
                          </a:moveTo>
                          <a:lnTo>
                            <a:pt x="798" y="138"/>
                          </a:lnTo>
                          <a:lnTo>
                            <a:pt x="798" y="132"/>
                          </a:lnTo>
                          <a:lnTo>
                            <a:pt x="810" y="120"/>
                          </a:lnTo>
                          <a:lnTo>
                            <a:pt x="798" y="114"/>
                          </a:lnTo>
                          <a:lnTo>
                            <a:pt x="792" y="108"/>
                          </a:lnTo>
                          <a:lnTo>
                            <a:pt x="792" y="102"/>
                          </a:lnTo>
                          <a:lnTo>
                            <a:pt x="780" y="102"/>
                          </a:lnTo>
                          <a:lnTo>
                            <a:pt x="780" y="108"/>
                          </a:lnTo>
                          <a:lnTo>
                            <a:pt x="774" y="114"/>
                          </a:lnTo>
                          <a:lnTo>
                            <a:pt x="756" y="114"/>
                          </a:lnTo>
                          <a:lnTo>
                            <a:pt x="750" y="108"/>
                          </a:lnTo>
                          <a:lnTo>
                            <a:pt x="726" y="108"/>
                          </a:lnTo>
                          <a:lnTo>
                            <a:pt x="726" y="102"/>
                          </a:lnTo>
                          <a:lnTo>
                            <a:pt x="708" y="102"/>
                          </a:lnTo>
                          <a:lnTo>
                            <a:pt x="696" y="108"/>
                          </a:lnTo>
                          <a:lnTo>
                            <a:pt x="690" y="84"/>
                          </a:lnTo>
                          <a:lnTo>
                            <a:pt x="672" y="84"/>
                          </a:lnTo>
                          <a:lnTo>
                            <a:pt x="672" y="78"/>
                          </a:lnTo>
                          <a:lnTo>
                            <a:pt x="666" y="72"/>
                          </a:lnTo>
                          <a:lnTo>
                            <a:pt x="648" y="72"/>
                          </a:lnTo>
                          <a:lnTo>
                            <a:pt x="642" y="78"/>
                          </a:lnTo>
                          <a:lnTo>
                            <a:pt x="642" y="90"/>
                          </a:lnTo>
                          <a:lnTo>
                            <a:pt x="624" y="96"/>
                          </a:lnTo>
                          <a:lnTo>
                            <a:pt x="624" y="84"/>
                          </a:lnTo>
                          <a:lnTo>
                            <a:pt x="594" y="84"/>
                          </a:lnTo>
                          <a:lnTo>
                            <a:pt x="582" y="72"/>
                          </a:lnTo>
                          <a:lnTo>
                            <a:pt x="570" y="72"/>
                          </a:lnTo>
                          <a:lnTo>
                            <a:pt x="564" y="78"/>
                          </a:lnTo>
                          <a:lnTo>
                            <a:pt x="546" y="60"/>
                          </a:lnTo>
                          <a:lnTo>
                            <a:pt x="510" y="60"/>
                          </a:lnTo>
                          <a:lnTo>
                            <a:pt x="516" y="54"/>
                          </a:lnTo>
                          <a:lnTo>
                            <a:pt x="516" y="48"/>
                          </a:lnTo>
                          <a:lnTo>
                            <a:pt x="504" y="36"/>
                          </a:lnTo>
                          <a:lnTo>
                            <a:pt x="498" y="36"/>
                          </a:lnTo>
                          <a:lnTo>
                            <a:pt x="492" y="42"/>
                          </a:lnTo>
                          <a:lnTo>
                            <a:pt x="486" y="36"/>
                          </a:lnTo>
                          <a:lnTo>
                            <a:pt x="450" y="36"/>
                          </a:lnTo>
                          <a:lnTo>
                            <a:pt x="390" y="24"/>
                          </a:lnTo>
                          <a:lnTo>
                            <a:pt x="378" y="24"/>
                          </a:lnTo>
                          <a:lnTo>
                            <a:pt x="348" y="36"/>
                          </a:lnTo>
                          <a:lnTo>
                            <a:pt x="294" y="30"/>
                          </a:lnTo>
                          <a:lnTo>
                            <a:pt x="258" y="12"/>
                          </a:lnTo>
                          <a:lnTo>
                            <a:pt x="234" y="12"/>
                          </a:lnTo>
                          <a:lnTo>
                            <a:pt x="216" y="18"/>
                          </a:lnTo>
                          <a:lnTo>
                            <a:pt x="162" y="18"/>
                          </a:lnTo>
                          <a:lnTo>
                            <a:pt x="150" y="12"/>
                          </a:lnTo>
                          <a:lnTo>
                            <a:pt x="138" y="12"/>
                          </a:lnTo>
                          <a:lnTo>
                            <a:pt x="126" y="6"/>
                          </a:lnTo>
                          <a:lnTo>
                            <a:pt x="120" y="0"/>
                          </a:lnTo>
                          <a:lnTo>
                            <a:pt x="108" y="0"/>
                          </a:lnTo>
                          <a:lnTo>
                            <a:pt x="96" y="6"/>
                          </a:lnTo>
                          <a:lnTo>
                            <a:pt x="72" y="30"/>
                          </a:lnTo>
                          <a:lnTo>
                            <a:pt x="60" y="30"/>
                          </a:lnTo>
                          <a:lnTo>
                            <a:pt x="48" y="36"/>
                          </a:lnTo>
                          <a:lnTo>
                            <a:pt x="30" y="36"/>
                          </a:lnTo>
                          <a:lnTo>
                            <a:pt x="6" y="48"/>
                          </a:lnTo>
                          <a:lnTo>
                            <a:pt x="0" y="60"/>
                          </a:lnTo>
                          <a:lnTo>
                            <a:pt x="0" y="72"/>
                          </a:lnTo>
                          <a:lnTo>
                            <a:pt x="6" y="78"/>
                          </a:lnTo>
                          <a:lnTo>
                            <a:pt x="12" y="90"/>
                          </a:lnTo>
                          <a:lnTo>
                            <a:pt x="24" y="96"/>
                          </a:lnTo>
                          <a:lnTo>
                            <a:pt x="30" y="102"/>
                          </a:lnTo>
                          <a:lnTo>
                            <a:pt x="18" y="138"/>
                          </a:lnTo>
                          <a:lnTo>
                            <a:pt x="24" y="144"/>
                          </a:lnTo>
                          <a:lnTo>
                            <a:pt x="24" y="150"/>
                          </a:lnTo>
                          <a:lnTo>
                            <a:pt x="30" y="144"/>
                          </a:lnTo>
                          <a:lnTo>
                            <a:pt x="54" y="132"/>
                          </a:lnTo>
                          <a:lnTo>
                            <a:pt x="78" y="132"/>
                          </a:lnTo>
                          <a:lnTo>
                            <a:pt x="78" y="138"/>
                          </a:lnTo>
                          <a:lnTo>
                            <a:pt x="66" y="150"/>
                          </a:lnTo>
                          <a:lnTo>
                            <a:pt x="60" y="150"/>
                          </a:lnTo>
                          <a:lnTo>
                            <a:pt x="60" y="156"/>
                          </a:lnTo>
                          <a:lnTo>
                            <a:pt x="72" y="156"/>
                          </a:lnTo>
                          <a:lnTo>
                            <a:pt x="78" y="150"/>
                          </a:lnTo>
                          <a:lnTo>
                            <a:pt x="96" y="150"/>
                          </a:lnTo>
                          <a:lnTo>
                            <a:pt x="102" y="156"/>
                          </a:lnTo>
                          <a:lnTo>
                            <a:pt x="114" y="156"/>
                          </a:lnTo>
                          <a:lnTo>
                            <a:pt x="120" y="150"/>
                          </a:lnTo>
                          <a:lnTo>
                            <a:pt x="120" y="144"/>
                          </a:lnTo>
                          <a:lnTo>
                            <a:pt x="174" y="144"/>
                          </a:lnTo>
                          <a:lnTo>
                            <a:pt x="174" y="162"/>
                          </a:lnTo>
                          <a:lnTo>
                            <a:pt x="180" y="162"/>
                          </a:lnTo>
                          <a:lnTo>
                            <a:pt x="192" y="168"/>
                          </a:lnTo>
                          <a:lnTo>
                            <a:pt x="192" y="174"/>
                          </a:lnTo>
                          <a:lnTo>
                            <a:pt x="168" y="198"/>
                          </a:lnTo>
                          <a:lnTo>
                            <a:pt x="144" y="210"/>
                          </a:lnTo>
                          <a:lnTo>
                            <a:pt x="138" y="216"/>
                          </a:lnTo>
                          <a:lnTo>
                            <a:pt x="138" y="222"/>
                          </a:lnTo>
                          <a:lnTo>
                            <a:pt x="144" y="222"/>
                          </a:lnTo>
                          <a:lnTo>
                            <a:pt x="150" y="228"/>
                          </a:lnTo>
                          <a:lnTo>
                            <a:pt x="150" y="240"/>
                          </a:lnTo>
                          <a:lnTo>
                            <a:pt x="144" y="258"/>
                          </a:lnTo>
                          <a:lnTo>
                            <a:pt x="144" y="276"/>
                          </a:lnTo>
                          <a:lnTo>
                            <a:pt x="138" y="276"/>
                          </a:lnTo>
                          <a:lnTo>
                            <a:pt x="132" y="282"/>
                          </a:lnTo>
                          <a:lnTo>
                            <a:pt x="132" y="294"/>
                          </a:lnTo>
                          <a:lnTo>
                            <a:pt x="138" y="300"/>
                          </a:lnTo>
                          <a:lnTo>
                            <a:pt x="138" y="312"/>
                          </a:lnTo>
                          <a:lnTo>
                            <a:pt x="126" y="324"/>
                          </a:lnTo>
                          <a:lnTo>
                            <a:pt x="90" y="324"/>
                          </a:lnTo>
                          <a:lnTo>
                            <a:pt x="114" y="348"/>
                          </a:lnTo>
                          <a:lnTo>
                            <a:pt x="114" y="360"/>
                          </a:lnTo>
                          <a:lnTo>
                            <a:pt x="120" y="366"/>
                          </a:lnTo>
                          <a:lnTo>
                            <a:pt x="132" y="372"/>
                          </a:lnTo>
                          <a:lnTo>
                            <a:pt x="132" y="378"/>
                          </a:lnTo>
                          <a:lnTo>
                            <a:pt x="120" y="390"/>
                          </a:lnTo>
                          <a:lnTo>
                            <a:pt x="108" y="396"/>
                          </a:lnTo>
                          <a:lnTo>
                            <a:pt x="96" y="408"/>
                          </a:lnTo>
                          <a:lnTo>
                            <a:pt x="96" y="414"/>
                          </a:lnTo>
                          <a:lnTo>
                            <a:pt x="102" y="420"/>
                          </a:lnTo>
                          <a:lnTo>
                            <a:pt x="102" y="426"/>
                          </a:lnTo>
                          <a:lnTo>
                            <a:pt x="108" y="438"/>
                          </a:lnTo>
                          <a:lnTo>
                            <a:pt x="114" y="444"/>
                          </a:lnTo>
                          <a:lnTo>
                            <a:pt x="126" y="444"/>
                          </a:lnTo>
                          <a:lnTo>
                            <a:pt x="126" y="450"/>
                          </a:lnTo>
                          <a:lnTo>
                            <a:pt x="114" y="462"/>
                          </a:lnTo>
                          <a:lnTo>
                            <a:pt x="102" y="462"/>
                          </a:lnTo>
                          <a:lnTo>
                            <a:pt x="96" y="474"/>
                          </a:lnTo>
                          <a:lnTo>
                            <a:pt x="90" y="480"/>
                          </a:lnTo>
                          <a:lnTo>
                            <a:pt x="90" y="528"/>
                          </a:lnTo>
                          <a:lnTo>
                            <a:pt x="120" y="528"/>
                          </a:lnTo>
                          <a:lnTo>
                            <a:pt x="144" y="546"/>
                          </a:lnTo>
                          <a:lnTo>
                            <a:pt x="162" y="546"/>
                          </a:lnTo>
                          <a:lnTo>
                            <a:pt x="156" y="576"/>
                          </a:lnTo>
                          <a:lnTo>
                            <a:pt x="162" y="576"/>
                          </a:lnTo>
                          <a:lnTo>
                            <a:pt x="162" y="594"/>
                          </a:lnTo>
                          <a:lnTo>
                            <a:pt x="168" y="606"/>
                          </a:lnTo>
                          <a:lnTo>
                            <a:pt x="174" y="612"/>
                          </a:lnTo>
                          <a:lnTo>
                            <a:pt x="192" y="612"/>
                          </a:lnTo>
                          <a:lnTo>
                            <a:pt x="198" y="618"/>
                          </a:lnTo>
                          <a:lnTo>
                            <a:pt x="204" y="618"/>
                          </a:lnTo>
                          <a:lnTo>
                            <a:pt x="210" y="612"/>
                          </a:lnTo>
                          <a:lnTo>
                            <a:pt x="222" y="606"/>
                          </a:lnTo>
                          <a:lnTo>
                            <a:pt x="240" y="588"/>
                          </a:lnTo>
                          <a:lnTo>
                            <a:pt x="252" y="582"/>
                          </a:lnTo>
                          <a:lnTo>
                            <a:pt x="264" y="582"/>
                          </a:lnTo>
                          <a:lnTo>
                            <a:pt x="294" y="564"/>
                          </a:lnTo>
                          <a:lnTo>
                            <a:pt x="360" y="564"/>
                          </a:lnTo>
                          <a:lnTo>
                            <a:pt x="366" y="558"/>
                          </a:lnTo>
                          <a:lnTo>
                            <a:pt x="378" y="558"/>
                          </a:lnTo>
                          <a:lnTo>
                            <a:pt x="390" y="570"/>
                          </a:lnTo>
                          <a:lnTo>
                            <a:pt x="396" y="570"/>
                          </a:lnTo>
                          <a:lnTo>
                            <a:pt x="408" y="564"/>
                          </a:lnTo>
                          <a:lnTo>
                            <a:pt x="420" y="564"/>
                          </a:lnTo>
                          <a:lnTo>
                            <a:pt x="426" y="558"/>
                          </a:lnTo>
                          <a:lnTo>
                            <a:pt x="432" y="558"/>
                          </a:lnTo>
                          <a:lnTo>
                            <a:pt x="432" y="570"/>
                          </a:lnTo>
                          <a:lnTo>
                            <a:pt x="438" y="570"/>
                          </a:lnTo>
                          <a:lnTo>
                            <a:pt x="450" y="558"/>
                          </a:lnTo>
                          <a:lnTo>
                            <a:pt x="462" y="534"/>
                          </a:lnTo>
                          <a:lnTo>
                            <a:pt x="462" y="522"/>
                          </a:lnTo>
                          <a:lnTo>
                            <a:pt x="498" y="492"/>
                          </a:lnTo>
                          <a:lnTo>
                            <a:pt x="528" y="492"/>
                          </a:lnTo>
                          <a:lnTo>
                            <a:pt x="534" y="474"/>
                          </a:lnTo>
                          <a:lnTo>
                            <a:pt x="534" y="468"/>
                          </a:lnTo>
                          <a:lnTo>
                            <a:pt x="540" y="462"/>
                          </a:lnTo>
                          <a:lnTo>
                            <a:pt x="540" y="450"/>
                          </a:lnTo>
                          <a:lnTo>
                            <a:pt x="546" y="444"/>
                          </a:lnTo>
                          <a:lnTo>
                            <a:pt x="552" y="432"/>
                          </a:lnTo>
                          <a:lnTo>
                            <a:pt x="552" y="426"/>
                          </a:lnTo>
                          <a:lnTo>
                            <a:pt x="570" y="426"/>
                          </a:lnTo>
                          <a:lnTo>
                            <a:pt x="594" y="414"/>
                          </a:lnTo>
                          <a:lnTo>
                            <a:pt x="600" y="408"/>
                          </a:lnTo>
                          <a:lnTo>
                            <a:pt x="594" y="396"/>
                          </a:lnTo>
                          <a:lnTo>
                            <a:pt x="588" y="390"/>
                          </a:lnTo>
                          <a:lnTo>
                            <a:pt x="582" y="378"/>
                          </a:lnTo>
                          <a:lnTo>
                            <a:pt x="576" y="372"/>
                          </a:lnTo>
                          <a:lnTo>
                            <a:pt x="570" y="372"/>
                          </a:lnTo>
                          <a:lnTo>
                            <a:pt x="570" y="336"/>
                          </a:lnTo>
                          <a:lnTo>
                            <a:pt x="582" y="312"/>
                          </a:lnTo>
                          <a:lnTo>
                            <a:pt x="594" y="306"/>
                          </a:lnTo>
                          <a:lnTo>
                            <a:pt x="600" y="294"/>
                          </a:lnTo>
                          <a:lnTo>
                            <a:pt x="612" y="282"/>
                          </a:lnTo>
                          <a:lnTo>
                            <a:pt x="618" y="270"/>
                          </a:lnTo>
                          <a:lnTo>
                            <a:pt x="630" y="258"/>
                          </a:lnTo>
                          <a:lnTo>
                            <a:pt x="642" y="258"/>
                          </a:lnTo>
                          <a:lnTo>
                            <a:pt x="654" y="246"/>
                          </a:lnTo>
                          <a:lnTo>
                            <a:pt x="654" y="240"/>
                          </a:lnTo>
                          <a:lnTo>
                            <a:pt x="648" y="240"/>
                          </a:lnTo>
                          <a:lnTo>
                            <a:pt x="648" y="228"/>
                          </a:lnTo>
                          <a:lnTo>
                            <a:pt x="654" y="222"/>
                          </a:lnTo>
                          <a:lnTo>
                            <a:pt x="726" y="198"/>
                          </a:lnTo>
                          <a:lnTo>
                            <a:pt x="750" y="186"/>
                          </a:lnTo>
                          <a:lnTo>
                            <a:pt x="756" y="174"/>
                          </a:lnTo>
                          <a:lnTo>
                            <a:pt x="768" y="168"/>
                          </a:lnTo>
                          <a:lnTo>
                            <a:pt x="774" y="168"/>
                          </a:lnTo>
                          <a:lnTo>
                            <a:pt x="786" y="156"/>
                          </a:lnTo>
                          <a:lnTo>
                            <a:pt x="798" y="156"/>
                          </a:lnTo>
                          <a:lnTo>
                            <a:pt x="804" y="150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25" name="Slovakia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672018" y="2474914"/>
                      <a:ext cx="142875" cy="58738"/>
                    </a:xfrm>
                    <a:custGeom>
                      <a:avLst/>
                      <a:gdLst>
                        <a:gd name="T0" fmla="*/ 2147483647 w 354"/>
                        <a:gd name="T1" fmla="*/ 2147483647 h 144"/>
                        <a:gd name="T2" fmla="*/ 2147483647 w 354"/>
                        <a:gd name="T3" fmla="*/ 2147483647 h 144"/>
                        <a:gd name="T4" fmla="*/ 2147483647 w 354"/>
                        <a:gd name="T5" fmla="*/ 2147483647 h 144"/>
                        <a:gd name="T6" fmla="*/ 2147483647 w 354"/>
                        <a:gd name="T7" fmla="*/ 2147483647 h 144"/>
                        <a:gd name="T8" fmla="*/ 2147483647 w 354"/>
                        <a:gd name="T9" fmla="*/ 2147483647 h 144"/>
                        <a:gd name="T10" fmla="*/ 2147483647 w 354"/>
                        <a:gd name="T11" fmla="*/ 2147483647 h 144"/>
                        <a:gd name="T12" fmla="*/ 2147483647 w 354"/>
                        <a:gd name="T13" fmla="*/ 2147483647 h 144"/>
                        <a:gd name="T14" fmla="*/ 2147483647 w 354"/>
                        <a:gd name="T15" fmla="*/ 0 h 144"/>
                        <a:gd name="T16" fmla="*/ 2147483647 w 354"/>
                        <a:gd name="T17" fmla="*/ 2147483647 h 144"/>
                        <a:gd name="T18" fmla="*/ 2147483647 w 354"/>
                        <a:gd name="T19" fmla="*/ 0 h 144"/>
                        <a:gd name="T20" fmla="*/ 2147483647 w 354"/>
                        <a:gd name="T21" fmla="*/ 2147483647 h 144"/>
                        <a:gd name="T22" fmla="*/ 2147483647 w 354"/>
                        <a:gd name="T23" fmla="*/ 2147483647 h 144"/>
                        <a:gd name="T24" fmla="*/ 2147483647 w 354"/>
                        <a:gd name="T25" fmla="*/ 2147483647 h 144"/>
                        <a:gd name="T26" fmla="*/ 2147483647 w 354"/>
                        <a:gd name="T27" fmla="*/ 2147483647 h 144"/>
                        <a:gd name="T28" fmla="*/ 2147483647 w 354"/>
                        <a:gd name="T29" fmla="*/ 2147483647 h 144"/>
                        <a:gd name="T30" fmla="*/ 0 w 354"/>
                        <a:gd name="T31" fmla="*/ 2147483647 h 144"/>
                        <a:gd name="T32" fmla="*/ 2147483647 w 354"/>
                        <a:gd name="T33" fmla="*/ 2147483647 h 144"/>
                        <a:gd name="T34" fmla="*/ 2147483647 w 354"/>
                        <a:gd name="T35" fmla="*/ 2147483647 h 144"/>
                        <a:gd name="T36" fmla="*/ 2147483647 w 354"/>
                        <a:gd name="T37" fmla="*/ 2147483647 h 144"/>
                        <a:gd name="T38" fmla="*/ 2147483647 w 354"/>
                        <a:gd name="T39" fmla="*/ 2147483647 h 144"/>
                        <a:gd name="T40" fmla="*/ 2147483647 w 354"/>
                        <a:gd name="T41" fmla="*/ 2147483647 h 144"/>
                        <a:gd name="T42" fmla="*/ 2147483647 w 354"/>
                        <a:gd name="T43" fmla="*/ 2147483647 h 144"/>
                        <a:gd name="T44" fmla="*/ 2147483647 w 354"/>
                        <a:gd name="T45" fmla="*/ 2147483647 h 144"/>
                        <a:gd name="T46" fmla="*/ 2147483647 w 354"/>
                        <a:gd name="T47" fmla="*/ 2147483647 h 144"/>
                        <a:gd name="T48" fmla="*/ 2147483647 w 354"/>
                        <a:gd name="T49" fmla="*/ 2147483647 h 144"/>
                        <a:gd name="T50" fmla="*/ 2147483647 w 354"/>
                        <a:gd name="T51" fmla="*/ 2147483647 h 144"/>
                        <a:gd name="T52" fmla="*/ 2147483647 w 354"/>
                        <a:gd name="T53" fmla="*/ 2147483647 h 144"/>
                        <a:gd name="T54" fmla="*/ 2147483647 w 354"/>
                        <a:gd name="T55" fmla="*/ 2147483647 h 144"/>
                        <a:gd name="T56" fmla="*/ 2147483647 w 354"/>
                        <a:gd name="T57" fmla="*/ 2147483647 h 144"/>
                        <a:gd name="T58" fmla="*/ 2147483647 w 354"/>
                        <a:gd name="T59" fmla="*/ 2147483647 h 144"/>
                        <a:gd name="T60" fmla="*/ 2147483647 w 354"/>
                        <a:gd name="T61" fmla="*/ 2147483647 h 144"/>
                        <a:gd name="T62" fmla="*/ 2147483647 w 354"/>
                        <a:gd name="T63" fmla="*/ 2147483647 h 144"/>
                        <a:gd name="T64" fmla="*/ 2147483647 w 354"/>
                        <a:gd name="T65" fmla="*/ 2147483647 h 144"/>
                        <a:gd name="T66" fmla="*/ 2147483647 w 354"/>
                        <a:gd name="T67" fmla="*/ 2147483647 h 144"/>
                        <a:gd name="T68" fmla="*/ 2147483647 w 354"/>
                        <a:gd name="T69" fmla="*/ 2147483647 h 144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w 354"/>
                        <a:gd name="T106" fmla="*/ 0 h 144"/>
                        <a:gd name="T107" fmla="*/ 354 w 354"/>
                        <a:gd name="T108" fmla="*/ 144 h 144"/>
                      </a:gdLst>
                      <a:ahLst/>
                      <a:cxnLst>
                        <a:cxn ang="T70">
                          <a:pos x="T0" y="T1"/>
                        </a:cxn>
                        <a:cxn ang="T71">
                          <a:pos x="T2" y="T3"/>
                        </a:cxn>
                        <a:cxn ang="T72">
                          <a:pos x="T4" y="T5"/>
                        </a:cxn>
                        <a:cxn ang="T73">
                          <a:pos x="T6" y="T7"/>
                        </a:cxn>
                        <a:cxn ang="T74">
                          <a:pos x="T8" y="T9"/>
                        </a:cxn>
                        <a:cxn ang="T75">
                          <a:pos x="T10" y="T11"/>
                        </a:cxn>
                        <a:cxn ang="T76">
                          <a:pos x="T12" y="T13"/>
                        </a:cxn>
                        <a:cxn ang="T77">
                          <a:pos x="T14" y="T15"/>
                        </a:cxn>
                        <a:cxn ang="T78">
                          <a:pos x="T16" y="T17"/>
                        </a:cxn>
                        <a:cxn ang="T79">
                          <a:pos x="T18" y="T19"/>
                        </a:cxn>
                        <a:cxn ang="T80">
                          <a:pos x="T20" y="T21"/>
                        </a:cxn>
                        <a:cxn ang="T81">
                          <a:pos x="T22" y="T23"/>
                        </a:cxn>
                        <a:cxn ang="T82">
                          <a:pos x="T24" y="T25"/>
                        </a:cxn>
                        <a:cxn ang="T83">
                          <a:pos x="T26" y="T27"/>
                        </a:cxn>
                        <a:cxn ang="T84">
                          <a:pos x="T28" y="T29"/>
                        </a:cxn>
                        <a:cxn ang="T85">
                          <a:pos x="T30" y="T31"/>
                        </a:cxn>
                        <a:cxn ang="T86">
                          <a:pos x="T32" y="T33"/>
                        </a:cxn>
                        <a:cxn ang="T87">
                          <a:pos x="T34" y="T35"/>
                        </a:cxn>
                        <a:cxn ang="T88">
                          <a:pos x="T36" y="T37"/>
                        </a:cxn>
                        <a:cxn ang="T89">
                          <a:pos x="T38" y="T39"/>
                        </a:cxn>
                        <a:cxn ang="T90">
                          <a:pos x="T40" y="T41"/>
                        </a:cxn>
                        <a:cxn ang="T91">
                          <a:pos x="T42" y="T43"/>
                        </a:cxn>
                        <a:cxn ang="T92">
                          <a:pos x="T44" y="T45"/>
                        </a:cxn>
                        <a:cxn ang="T93">
                          <a:pos x="T46" y="T47"/>
                        </a:cxn>
                        <a:cxn ang="T94">
                          <a:pos x="T48" y="T49"/>
                        </a:cxn>
                        <a:cxn ang="T95">
                          <a:pos x="T50" y="T51"/>
                        </a:cxn>
                        <a:cxn ang="T96">
                          <a:pos x="T52" y="T53"/>
                        </a:cxn>
                        <a:cxn ang="T97">
                          <a:pos x="T54" y="T55"/>
                        </a:cxn>
                        <a:cxn ang="T98">
                          <a:pos x="T56" y="T57"/>
                        </a:cxn>
                        <a:cxn ang="T99">
                          <a:pos x="T58" y="T59"/>
                        </a:cxn>
                        <a:cxn ang="T100">
                          <a:pos x="T60" y="T61"/>
                        </a:cxn>
                        <a:cxn ang="T101">
                          <a:pos x="T62" y="T63"/>
                        </a:cxn>
                        <a:cxn ang="T102">
                          <a:pos x="T64" y="T65"/>
                        </a:cxn>
                        <a:cxn ang="T103">
                          <a:pos x="T66" y="T67"/>
                        </a:cxn>
                        <a:cxn ang="T104">
                          <a:pos x="T68" y="T69"/>
                        </a:cxn>
                      </a:cxnLst>
                      <a:rect l="T105" t="T106" r="T107" b="T108"/>
                      <a:pathLst>
                        <a:path w="354" h="144">
                          <a:moveTo>
                            <a:pt x="348" y="30"/>
                          </a:moveTo>
                          <a:lnTo>
                            <a:pt x="324" y="30"/>
                          </a:lnTo>
                          <a:lnTo>
                            <a:pt x="300" y="6"/>
                          </a:lnTo>
                          <a:lnTo>
                            <a:pt x="276" y="6"/>
                          </a:lnTo>
                          <a:lnTo>
                            <a:pt x="270" y="12"/>
                          </a:lnTo>
                          <a:lnTo>
                            <a:pt x="258" y="18"/>
                          </a:lnTo>
                          <a:lnTo>
                            <a:pt x="246" y="18"/>
                          </a:lnTo>
                          <a:lnTo>
                            <a:pt x="240" y="12"/>
                          </a:lnTo>
                          <a:lnTo>
                            <a:pt x="210" y="12"/>
                          </a:lnTo>
                          <a:lnTo>
                            <a:pt x="210" y="18"/>
                          </a:lnTo>
                          <a:lnTo>
                            <a:pt x="204" y="24"/>
                          </a:lnTo>
                          <a:lnTo>
                            <a:pt x="192" y="24"/>
                          </a:lnTo>
                          <a:lnTo>
                            <a:pt x="186" y="18"/>
                          </a:lnTo>
                          <a:lnTo>
                            <a:pt x="186" y="12"/>
                          </a:lnTo>
                          <a:lnTo>
                            <a:pt x="180" y="12"/>
                          </a:lnTo>
                          <a:lnTo>
                            <a:pt x="168" y="0"/>
                          </a:lnTo>
                          <a:lnTo>
                            <a:pt x="156" y="0"/>
                          </a:lnTo>
                          <a:lnTo>
                            <a:pt x="144" y="12"/>
                          </a:lnTo>
                          <a:lnTo>
                            <a:pt x="138" y="12"/>
                          </a:lnTo>
                          <a:lnTo>
                            <a:pt x="126" y="0"/>
                          </a:lnTo>
                          <a:lnTo>
                            <a:pt x="108" y="12"/>
                          </a:lnTo>
                          <a:lnTo>
                            <a:pt x="84" y="18"/>
                          </a:lnTo>
                          <a:lnTo>
                            <a:pt x="84" y="42"/>
                          </a:lnTo>
                          <a:lnTo>
                            <a:pt x="72" y="48"/>
                          </a:lnTo>
                          <a:lnTo>
                            <a:pt x="66" y="54"/>
                          </a:lnTo>
                          <a:lnTo>
                            <a:pt x="54" y="60"/>
                          </a:lnTo>
                          <a:lnTo>
                            <a:pt x="36" y="60"/>
                          </a:lnTo>
                          <a:lnTo>
                            <a:pt x="36" y="54"/>
                          </a:lnTo>
                          <a:lnTo>
                            <a:pt x="30" y="60"/>
                          </a:lnTo>
                          <a:lnTo>
                            <a:pt x="12" y="60"/>
                          </a:lnTo>
                          <a:lnTo>
                            <a:pt x="6" y="66"/>
                          </a:lnTo>
                          <a:lnTo>
                            <a:pt x="0" y="90"/>
                          </a:lnTo>
                          <a:lnTo>
                            <a:pt x="0" y="102"/>
                          </a:lnTo>
                          <a:lnTo>
                            <a:pt x="6" y="102"/>
                          </a:lnTo>
                          <a:lnTo>
                            <a:pt x="6" y="114"/>
                          </a:lnTo>
                          <a:lnTo>
                            <a:pt x="12" y="114"/>
                          </a:lnTo>
                          <a:lnTo>
                            <a:pt x="12" y="126"/>
                          </a:lnTo>
                          <a:lnTo>
                            <a:pt x="6" y="132"/>
                          </a:lnTo>
                          <a:lnTo>
                            <a:pt x="18" y="138"/>
                          </a:lnTo>
                          <a:lnTo>
                            <a:pt x="30" y="120"/>
                          </a:lnTo>
                          <a:lnTo>
                            <a:pt x="36" y="126"/>
                          </a:lnTo>
                          <a:lnTo>
                            <a:pt x="42" y="138"/>
                          </a:lnTo>
                          <a:lnTo>
                            <a:pt x="48" y="144"/>
                          </a:lnTo>
                          <a:lnTo>
                            <a:pt x="90" y="144"/>
                          </a:lnTo>
                          <a:lnTo>
                            <a:pt x="108" y="138"/>
                          </a:lnTo>
                          <a:lnTo>
                            <a:pt x="120" y="138"/>
                          </a:lnTo>
                          <a:lnTo>
                            <a:pt x="132" y="114"/>
                          </a:lnTo>
                          <a:lnTo>
                            <a:pt x="168" y="120"/>
                          </a:lnTo>
                          <a:lnTo>
                            <a:pt x="174" y="108"/>
                          </a:lnTo>
                          <a:lnTo>
                            <a:pt x="198" y="108"/>
                          </a:lnTo>
                          <a:lnTo>
                            <a:pt x="210" y="102"/>
                          </a:lnTo>
                          <a:lnTo>
                            <a:pt x="216" y="102"/>
                          </a:lnTo>
                          <a:lnTo>
                            <a:pt x="228" y="90"/>
                          </a:lnTo>
                          <a:lnTo>
                            <a:pt x="234" y="78"/>
                          </a:lnTo>
                          <a:lnTo>
                            <a:pt x="258" y="78"/>
                          </a:lnTo>
                          <a:lnTo>
                            <a:pt x="258" y="90"/>
                          </a:lnTo>
                          <a:lnTo>
                            <a:pt x="276" y="96"/>
                          </a:lnTo>
                          <a:lnTo>
                            <a:pt x="276" y="78"/>
                          </a:lnTo>
                          <a:lnTo>
                            <a:pt x="288" y="78"/>
                          </a:lnTo>
                          <a:lnTo>
                            <a:pt x="288" y="90"/>
                          </a:lnTo>
                          <a:lnTo>
                            <a:pt x="300" y="90"/>
                          </a:lnTo>
                          <a:lnTo>
                            <a:pt x="312" y="84"/>
                          </a:lnTo>
                          <a:lnTo>
                            <a:pt x="336" y="84"/>
                          </a:lnTo>
                          <a:lnTo>
                            <a:pt x="336" y="90"/>
                          </a:lnTo>
                          <a:lnTo>
                            <a:pt x="336" y="72"/>
                          </a:lnTo>
                          <a:lnTo>
                            <a:pt x="342" y="72"/>
                          </a:lnTo>
                          <a:lnTo>
                            <a:pt x="348" y="66"/>
                          </a:lnTo>
                          <a:lnTo>
                            <a:pt x="348" y="60"/>
                          </a:lnTo>
                          <a:lnTo>
                            <a:pt x="354" y="54"/>
                          </a:lnTo>
                          <a:lnTo>
                            <a:pt x="354" y="30"/>
                          </a:lnTo>
                          <a:lnTo>
                            <a:pt x="348" y="30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26" name="Romania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760919" y="2516189"/>
                      <a:ext cx="247650" cy="147638"/>
                    </a:xfrm>
                    <a:custGeom>
                      <a:avLst/>
                      <a:gdLst>
                        <a:gd name="T0" fmla="*/ 2147483647 w 612"/>
                        <a:gd name="T1" fmla="*/ 2147483647 h 366"/>
                        <a:gd name="T2" fmla="*/ 2147483647 w 612"/>
                        <a:gd name="T3" fmla="*/ 2147483647 h 366"/>
                        <a:gd name="T4" fmla="*/ 2147483647 w 612"/>
                        <a:gd name="T5" fmla="*/ 2147483647 h 366"/>
                        <a:gd name="T6" fmla="*/ 2147483647 w 612"/>
                        <a:gd name="T7" fmla="*/ 2147483647 h 366"/>
                        <a:gd name="T8" fmla="*/ 2147483647 w 612"/>
                        <a:gd name="T9" fmla="*/ 2147483647 h 366"/>
                        <a:gd name="T10" fmla="*/ 2147483647 w 612"/>
                        <a:gd name="T11" fmla="*/ 2147483647 h 366"/>
                        <a:gd name="T12" fmla="*/ 2147483647 w 612"/>
                        <a:gd name="T13" fmla="*/ 2147483647 h 366"/>
                        <a:gd name="T14" fmla="*/ 2147483647 w 612"/>
                        <a:gd name="T15" fmla="*/ 2147483647 h 366"/>
                        <a:gd name="T16" fmla="*/ 2147483647 w 612"/>
                        <a:gd name="T17" fmla="*/ 2147483647 h 366"/>
                        <a:gd name="T18" fmla="*/ 2147483647 w 612"/>
                        <a:gd name="T19" fmla="*/ 2147483647 h 366"/>
                        <a:gd name="T20" fmla="*/ 2147483647 w 612"/>
                        <a:gd name="T21" fmla="*/ 2147483647 h 366"/>
                        <a:gd name="T22" fmla="*/ 2147483647 w 612"/>
                        <a:gd name="T23" fmla="*/ 2147483647 h 366"/>
                        <a:gd name="T24" fmla="*/ 2147483647 w 612"/>
                        <a:gd name="T25" fmla="*/ 2147483647 h 366"/>
                        <a:gd name="T26" fmla="*/ 2147483647 w 612"/>
                        <a:gd name="T27" fmla="*/ 0 h 366"/>
                        <a:gd name="T28" fmla="*/ 2147483647 w 612"/>
                        <a:gd name="T29" fmla="*/ 2147483647 h 366"/>
                        <a:gd name="T30" fmla="*/ 2147483647 w 612"/>
                        <a:gd name="T31" fmla="*/ 2147483647 h 366"/>
                        <a:gd name="T32" fmla="*/ 2147483647 w 612"/>
                        <a:gd name="T33" fmla="*/ 2147483647 h 366"/>
                        <a:gd name="T34" fmla="*/ 2147483647 w 612"/>
                        <a:gd name="T35" fmla="*/ 2147483647 h 366"/>
                        <a:gd name="T36" fmla="*/ 2147483647 w 612"/>
                        <a:gd name="T37" fmla="*/ 2147483647 h 366"/>
                        <a:gd name="T38" fmla="*/ 2147483647 w 612"/>
                        <a:gd name="T39" fmla="*/ 2147483647 h 366"/>
                        <a:gd name="T40" fmla="*/ 2147483647 w 612"/>
                        <a:gd name="T41" fmla="*/ 2147483647 h 366"/>
                        <a:gd name="T42" fmla="*/ 2147483647 w 612"/>
                        <a:gd name="T43" fmla="*/ 2147483647 h 366"/>
                        <a:gd name="T44" fmla="*/ 2147483647 w 612"/>
                        <a:gd name="T45" fmla="*/ 2147483647 h 366"/>
                        <a:gd name="T46" fmla="*/ 2147483647 w 612"/>
                        <a:gd name="T47" fmla="*/ 2147483647 h 366"/>
                        <a:gd name="T48" fmla="*/ 0 w 612"/>
                        <a:gd name="T49" fmla="*/ 2147483647 h 366"/>
                        <a:gd name="T50" fmla="*/ 2147483647 w 612"/>
                        <a:gd name="T51" fmla="*/ 2147483647 h 366"/>
                        <a:gd name="T52" fmla="*/ 2147483647 w 612"/>
                        <a:gd name="T53" fmla="*/ 2147483647 h 366"/>
                        <a:gd name="T54" fmla="*/ 2147483647 w 612"/>
                        <a:gd name="T55" fmla="*/ 2147483647 h 366"/>
                        <a:gd name="T56" fmla="*/ 2147483647 w 612"/>
                        <a:gd name="T57" fmla="*/ 2147483647 h 366"/>
                        <a:gd name="T58" fmla="*/ 2147483647 w 612"/>
                        <a:gd name="T59" fmla="*/ 2147483647 h 366"/>
                        <a:gd name="T60" fmla="*/ 2147483647 w 612"/>
                        <a:gd name="T61" fmla="*/ 2147483647 h 366"/>
                        <a:gd name="T62" fmla="*/ 2147483647 w 612"/>
                        <a:gd name="T63" fmla="*/ 2147483647 h 366"/>
                        <a:gd name="T64" fmla="*/ 2147483647 w 612"/>
                        <a:gd name="T65" fmla="*/ 2147483647 h 366"/>
                        <a:gd name="T66" fmla="*/ 2147483647 w 612"/>
                        <a:gd name="T67" fmla="*/ 2147483647 h 366"/>
                        <a:gd name="T68" fmla="*/ 2147483647 w 612"/>
                        <a:gd name="T69" fmla="*/ 2147483647 h 366"/>
                        <a:gd name="T70" fmla="*/ 2147483647 w 612"/>
                        <a:gd name="T71" fmla="*/ 2147483647 h 366"/>
                        <a:gd name="T72" fmla="*/ 2147483647 w 612"/>
                        <a:gd name="T73" fmla="*/ 2147483647 h 366"/>
                        <a:gd name="T74" fmla="*/ 2147483647 w 612"/>
                        <a:gd name="T75" fmla="*/ 2147483647 h 366"/>
                        <a:gd name="T76" fmla="*/ 2147483647 w 612"/>
                        <a:gd name="T77" fmla="*/ 2147483647 h 366"/>
                        <a:gd name="T78" fmla="*/ 2147483647 w 612"/>
                        <a:gd name="T79" fmla="*/ 2147483647 h 366"/>
                        <a:gd name="T80" fmla="*/ 2147483647 w 612"/>
                        <a:gd name="T81" fmla="*/ 2147483647 h 366"/>
                        <a:gd name="T82" fmla="*/ 2147483647 w 612"/>
                        <a:gd name="T83" fmla="*/ 2147483647 h 366"/>
                        <a:gd name="T84" fmla="*/ 2147483647 w 612"/>
                        <a:gd name="T85" fmla="*/ 2147483647 h 36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w 612"/>
                        <a:gd name="T130" fmla="*/ 0 h 366"/>
                        <a:gd name="T131" fmla="*/ 612 w 612"/>
                        <a:gd name="T132" fmla="*/ 366 h 366"/>
                      </a:gdLst>
                      <a:ahLst/>
                      <a:cxnLst>
                        <a:cxn ang="T86">
                          <a:pos x="T0" y="T1"/>
                        </a:cxn>
                        <a:cxn ang="T87">
                          <a:pos x="T2" y="T3"/>
                        </a:cxn>
                        <a:cxn ang="T88">
                          <a:pos x="T4" y="T5"/>
                        </a:cxn>
                        <a:cxn ang="T89">
                          <a:pos x="T6" y="T7"/>
                        </a:cxn>
                        <a:cxn ang="T90">
                          <a:pos x="T8" y="T9"/>
                        </a:cxn>
                        <a:cxn ang="T91">
                          <a:pos x="T10" y="T11"/>
                        </a:cxn>
                        <a:cxn ang="T92">
                          <a:pos x="T12" y="T13"/>
                        </a:cxn>
                        <a:cxn ang="T93">
                          <a:pos x="T14" y="T15"/>
                        </a:cxn>
                        <a:cxn ang="T94">
                          <a:pos x="T16" y="T17"/>
                        </a:cxn>
                        <a:cxn ang="T95">
                          <a:pos x="T18" y="T19"/>
                        </a:cxn>
                        <a:cxn ang="T96">
                          <a:pos x="T20" y="T21"/>
                        </a:cxn>
                        <a:cxn ang="T97">
                          <a:pos x="T22" y="T23"/>
                        </a:cxn>
                        <a:cxn ang="T98">
                          <a:pos x="T24" y="T25"/>
                        </a:cxn>
                        <a:cxn ang="T99">
                          <a:pos x="T26" y="T27"/>
                        </a:cxn>
                        <a:cxn ang="T100">
                          <a:pos x="T28" y="T29"/>
                        </a:cxn>
                        <a:cxn ang="T101">
                          <a:pos x="T30" y="T31"/>
                        </a:cxn>
                        <a:cxn ang="T102">
                          <a:pos x="T32" y="T33"/>
                        </a:cxn>
                        <a:cxn ang="T103">
                          <a:pos x="T34" y="T35"/>
                        </a:cxn>
                        <a:cxn ang="T104">
                          <a:pos x="T36" y="T37"/>
                        </a:cxn>
                        <a:cxn ang="T105">
                          <a:pos x="T38" y="T39"/>
                        </a:cxn>
                        <a:cxn ang="T106">
                          <a:pos x="T40" y="T41"/>
                        </a:cxn>
                        <a:cxn ang="T107">
                          <a:pos x="T42" y="T43"/>
                        </a:cxn>
                        <a:cxn ang="T108">
                          <a:pos x="T44" y="T45"/>
                        </a:cxn>
                        <a:cxn ang="T109">
                          <a:pos x="T46" y="T47"/>
                        </a:cxn>
                        <a:cxn ang="T110">
                          <a:pos x="T48" y="T49"/>
                        </a:cxn>
                        <a:cxn ang="T111">
                          <a:pos x="T50" y="T51"/>
                        </a:cxn>
                        <a:cxn ang="T112">
                          <a:pos x="T52" y="T53"/>
                        </a:cxn>
                        <a:cxn ang="T113">
                          <a:pos x="T54" y="T55"/>
                        </a:cxn>
                        <a:cxn ang="T114">
                          <a:pos x="T56" y="T57"/>
                        </a:cxn>
                        <a:cxn ang="T115">
                          <a:pos x="T58" y="T59"/>
                        </a:cxn>
                        <a:cxn ang="T116">
                          <a:pos x="T60" y="T61"/>
                        </a:cxn>
                        <a:cxn ang="T117">
                          <a:pos x="T62" y="T63"/>
                        </a:cxn>
                        <a:cxn ang="T118">
                          <a:pos x="T64" y="T65"/>
                        </a:cxn>
                        <a:cxn ang="T119">
                          <a:pos x="T66" y="T67"/>
                        </a:cxn>
                        <a:cxn ang="T120">
                          <a:pos x="T68" y="T69"/>
                        </a:cxn>
                        <a:cxn ang="T121">
                          <a:pos x="T70" y="T71"/>
                        </a:cxn>
                        <a:cxn ang="T122">
                          <a:pos x="T72" y="T73"/>
                        </a:cxn>
                        <a:cxn ang="T123">
                          <a:pos x="T74" y="T75"/>
                        </a:cxn>
                        <a:cxn ang="T124">
                          <a:pos x="T76" y="T77"/>
                        </a:cxn>
                        <a:cxn ang="T125">
                          <a:pos x="T78" y="T79"/>
                        </a:cxn>
                        <a:cxn ang="T126">
                          <a:pos x="T80" y="T81"/>
                        </a:cxn>
                        <a:cxn ang="T127">
                          <a:pos x="T82" y="T83"/>
                        </a:cxn>
                        <a:cxn ang="T128">
                          <a:pos x="T84" y="T85"/>
                        </a:cxn>
                      </a:cxnLst>
                      <a:rect l="T129" t="T130" r="T131" b="T132"/>
                      <a:pathLst>
                        <a:path w="612" h="366">
                          <a:moveTo>
                            <a:pt x="516" y="354"/>
                          </a:moveTo>
                          <a:lnTo>
                            <a:pt x="522" y="360"/>
                          </a:lnTo>
                          <a:lnTo>
                            <a:pt x="540" y="360"/>
                          </a:lnTo>
                          <a:lnTo>
                            <a:pt x="540" y="318"/>
                          </a:lnTo>
                          <a:lnTo>
                            <a:pt x="546" y="312"/>
                          </a:lnTo>
                          <a:lnTo>
                            <a:pt x="558" y="294"/>
                          </a:lnTo>
                          <a:lnTo>
                            <a:pt x="564" y="282"/>
                          </a:lnTo>
                          <a:lnTo>
                            <a:pt x="570" y="276"/>
                          </a:lnTo>
                          <a:lnTo>
                            <a:pt x="606" y="276"/>
                          </a:lnTo>
                          <a:lnTo>
                            <a:pt x="612" y="270"/>
                          </a:lnTo>
                          <a:lnTo>
                            <a:pt x="612" y="258"/>
                          </a:lnTo>
                          <a:lnTo>
                            <a:pt x="600" y="222"/>
                          </a:lnTo>
                          <a:lnTo>
                            <a:pt x="600" y="216"/>
                          </a:lnTo>
                          <a:lnTo>
                            <a:pt x="594" y="216"/>
                          </a:lnTo>
                          <a:lnTo>
                            <a:pt x="588" y="222"/>
                          </a:lnTo>
                          <a:lnTo>
                            <a:pt x="570" y="222"/>
                          </a:lnTo>
                          <a:lnTo>
                            <a:pt x="564" y="228"/>
                          </a:lnTo>
                          <a:lnTo>
                            <a:pt x="558" y="228"/>
                          </a:lnTo>
                          <a:lnTo>
                            <a:pt x="552" y="234"/>
                          </a:lnTo>
                          <a:lnTo>
                            <a:pt x="522" y="234"/>
                          </a:lnTo>
                          <a:lnTo>
                            <a:pt x="510" y="222"/>
                          </a:lnTo>
                          <a:lnTo>
                            <a:pt x="510" y="198"/>
                          </a:lnTo>
                          <a:lnTo>
                            <a:pt x="504" y="192"/>
                          </a:lnTo>
                          <a:lnTo>
                            <a:pt x="498" y="180"/>
                          </a:lnTo>
                          <a:lnTo>
                            <a:pt x="498" y="168"/>
                          </a:lnTo>
                          <a:lnTo>
                            <a:pt x="504" y="162"/>
                          </a:lnTo>
                          <a:lnTo>
                            <a:pt x="504" y="150"/>
                          </a:lnTo>
                          <a:lnTo>
                            <a:pt x="510" y="144"/>
                          </a:lnTo>
                          <a:lnTo>
                            <a:pt x="504" y="144"/>
                          </a:lnTo>
                          <a:lnTo>
                            <a:pt x="504" y="102"/>
                          </a:lnTo>
                          <a:lnTo>
                            <a:pt x="498" y="96"/>
                          </a:lnTo>
                          <a:lnTo>
                            <a:pt x="480" y="96"/>
                          </a:lnTo>
                          <a:lnTo>
                            <a:pt x="474" y="78"/>
                          </a:lnTo>
                          <a:lnTo>
                            <a:pt x="462" y="78"/>
                          </a:lnTo>
                          <a:lnTo>
                            <a:pt x="456" y="54"/>
                          </a:lnTo>
                          <a:lnTo>
                            <a:pt x="432" y="42"/>
                          </a:lnTo>
                          <a:lnTo>
                            <a:pt x="432" y="30"/>
                          </a:lnTo>
                          <a:lnTo>
                            <a:pt x="426" y="24"/>
                          </a:lnTo>
                          <a:lnTo>
                            <a:pt x="420" y="12"/>
                          </a:lnTo>
                          <a:lnTo>
                            <a:pt x="414" y="6"/>
                          </a:lnTo>
                          <a:lnTo>
                            <a:pt x="396" y="0"/>
                          </a:lnTo>
                          <a:lnTo>
                            <a:pt x="384" y="0"/>
                          </a:lnTo>
                          <a:lnTo>
                            <a:pt x="378" y="6"/>
                          </a:lnTo>
                          <a:lnTo>
                            <a:pt x="378" y="12"/>
                          </a:lnTo>
                          <a:lnTo>
                            <a:pt x="366" y="24"/>
                          </a:lnTo>
                          <a:lnTo>
                            <a:pt x="348" y="24"/>
                          </a:lnTo>
                          <a:lnTo>
                            <a:pt x="342" y="18"/>
                          </a:lnTo>
                          <a:lnTo>
                            <a:pt x="336" y="30"/>
                          </a:lnTo>
                          <a:lnTo>
                            <a:pt x="312" y="24"/>
                          </a:lnTo>
                          <a:lnTo>
                            <a:pt x="312" y="30"/>
                          </a:lnTo>
                          <a:lnTo>
                            <a:pt x="300" y="42"/>
                          </a:lnTo>
                          <a:lnTo>
                            <a:pt x="288" y="42"/>
                          </a:lnTo>
                          <a:lnTo>
                            <a:pt x="264" y="18"/>
                          </a:lnTo>
                          <a:lnTo>
                            <a:pt x="258" y="18"/>
                          </a:lnTo>
                          <a:lnTo>
                            <a:pt x="246" y="24"/>
                          </a:lnTo>
                          <a:lnTo>
                            <a:pt x="240" y="24"/>
                          </a:lnTo>
                          <a:lnTo>
                            <a:pt x="228" y="30"/>
                          </a:lnTo>
                          <a:lnTo>
                            <a:pt x="222" y="24"/>
                          </a:lnTo>
                          <a:lnTo>
                            <a:pt x="198" y="24"/>
                          </a:lnTo>
                          <a:lnTo>
                            <a:pt x="192" y="18"/>
                          </a:lnTo>
                          <a:lnTo>
                            <a:pt x="168" y="18"/>
                          </a:lnTo>
                          <a:lnTo>
                            <a:pt x="150" y="36"/>
                          </a:lnTo>
                          <a:lnTo>
                            <a:pt x="120" y="36"/>
                          </a:lnTo>
                          <a:lnTo>
                            <a:pt x="108" y="48"/>
                          </a:lnTo>
                          <a:lnTo>
                            <a:pt x="108" y="90"/>
                          </a:lnTo>
                          <a:lnTo>
                            <a:pt x="90" y="108"/>
                          </a:lnTo>
                          <a:lnTo>
                            <a:pt x="78" y="114"/>
                          </a:lnTo>
                          <a:lnTo>
                            <a:pt x="72" y="120"/>
                          </a:lnTo>
                          <a:lnTo>
                            <a:pt x="72" y="138"/>
                          </a:lnTo>
                          <a:lnTo>
                            <a:pt x="66" y="144"/>
                          </a:lnTo>
                          <a:lnTo>
                            <a:pt x="54" y="150"/>
                          </a:lnTo>
                          <a:lnTo>
                            <a:pt x="48" y="156"/>
                          </a:lnTo>
                          <a:lnTo>
                            <a:pt x="30" y="150"/>
                          </a:lnTo>
                          <a:lnTo>
                            <a:pt x="30" y="168"/>
                          </a:lnTo>
                          <a:lnTo>
                            <a:pt x="0" y="174"/>
                          </a:lnTo>
                          <a:lnTo>
                            <a:pt x="6" y="174"/>
                          </a:lnTo>
                          <a:lnTo>
                            <a:pt x="30" y="192"/>
                          </a:lnTo>
                          <a:lnTo>
                            <a:pt x="36" y="192"/>
                          </a:lnTo>
                          <a:lnTo>
                            <a:pt x="48" y="228"/>
                          </a:lnTo>
                          <a:lnTo>
                            <a:pt x="54" y="234"/>
                          </a:lnTo>
                          <a:lnTo>
                            <a:pt x="60" y="234"/>
                          </a:lnTo>
                          <a:lnTo>
                            <a:pt x="66" y="228"/>
                          </a:lnTo>
                          <a:lnTo>
                            <a:pt x="72" y="228"/>
                          </a:lnTo>
                          <a:lnTo>
                            <a:pt x="84" y="234"/>
                          </a:lnTo>
                          <a:lnTo>
                            <a:pt x="84" y="252"/>
                          </a:lnTo>
                          <a:lnTo>
                            <a:pt x="78" y="258"/>
                          </a:lnTo>
                          <a:lnTo>
                            <a:pt x="90" y="276"/>
                          </a:lnTo>
                          <a:lnTo>
                            <a:pt x="114" y="282"/>
                          </a:lnTo>
                          <a:lnTo>
                            <a:pt x="120" y="288"/>
                          </a:lnTo>
                          <a:lnTo>
                            <a:pt x="144" y="282"/>
                          </a:lnTo>
                          <a:lnTo>
                            <a:pt x="168" y="288"/>
                          </a:lnTo>
                          <a:lnTo>
                            <a:pt x="162" y="294"/>
                          </a:lnTo>
                          <a:lnTo>
                            <a:pt x="156" y="306"/>
                          </a:lnTo>
                          <a:lnTo>
                            <a:pt x="162" y="312"/>
                          </a:lnTo>
                          <a:lnTo>
                            <a:pt x="162" y="324"/>
                          </a:lnTo>
                          <a:lnTo>
                            <a:pt x="186" y="324"/>
                          </a:lnTo>
                          <a:lnTo>
                            <a:pt x="192" y="330"/>
                          </a:lnTo>
                          <a:lnTo>
                            <a:pt x="186" y="336"/>
                          </a:lnTo>
                          <a:lnTo>
                            <a:pt x="186" y="342"/>
                          </a:lnTo>
                          <a:lnTo>
                            <a:pt x="180" y="348"/>
                          </a:lnTo>
                          <a:lnTo>
                            <a:pt x="186" y="354"/>
                          </a:lnTo>
                          <a:lnTo>
                            <a:pt x="204" y="354"/>
                          </a:lnTo>
                          <a:lnTo>
                            <a:pt x="216" y="342"/>
                          </a:lnTo>
                          <a:lnTo>
                            <a:pt x="240" y="354"/>
                          </a:lnTo>
                          <a:lnTo>
                            <a:pt x="252" y="354"/>
                          </a:lnTo>
                          <a:lnTo>
                            <a:pt x="258" y="360"/>
                          </a:lnTo>
                          <a:lnTo>
                            <a:pt x="282" y="360"/>
                          </a:lnTo>
                          <a:lnTo>
                            <a:pt x="288" y="354"/>
                          </a:lnTo>
                          <a:lnTo>
                            <a:pt x="288" y="348"/>
                          </a:lnTo>
                          <a:lnTo>
                            <a:pt x="306" y="354"/>
                          </a:lnTo>
                          <a:lnTo>
                            <a:pt x="330" y="354"/>
                          </a:lnTo>
                          <a:lnTo>
                            <a:pt x="336" y="360"/>
                          </a:lnTo>
                          <a:lnTo>
                            <a:pt x="348" y="366"/>
                          </a:lnTo>
                          <a:lnTo>
                            <a:pt x="366" y="366"/>
                          </a:lnTo>
                          <a:lnTo>
                            <a:pt x="372" y="360"/>
                          </a:lnTo>
                          <a:lnTo>
                            <a:pt x="372" y="348"/>
                          </a:lnTo>
                          <a:lnTo>
                            <a:pt x="378" y="342"/>
                          </a:lnTo>
                          <a:lnTo>
                            <a:pt x="384" y="342"/>
                          </a:lnTo>
                          <a:lnTo>
                            <a:pt x="396" y="336"/>
                          </a:lnTo>
                          <a:lnTo>
                            <a:pt x="402" y="336"/>
                          </a:lnTo>
                          <a:lnTo>
                            <a:pt x="402" y="330"/>
                          </a:lnTo>
                          <a:lnTo>
                            <a:pt x="432" y="336"/>
                          </a:lnTo>
                          <a:lnTo>
                            <a:pt x="432" y="324"/>
                          </a:lnTo>
                          <a:lnTo>
                            <a:pt x="438" y="324"/>
                          </a:lnTo>
                          <a:lnTo>
                            <a:pt x="450" y="330"/>
                          </a:lnTo>
                          <a:lnTo>
                            <a:pt x="462" y="330"/>
                          </a:lnTo>
                          <a:lnTo>
                            <a:pt x="474" y="336"/>
                          </a:lnTo>
                          <a:lnTo>
                            <a:pt x="498" y="336"/>
                          </a:lnTo>
                          <a:lnTo>
                            <a:pt x="516" y="354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27" name="Portugal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3984630" y="2713039"/>
                      <a:ext cx="90488" cy="165100"/>
                    </a:xfrm>
                    <a:custGeom>
                      <a:avLst/>
                      <a:gdLst>
                        <a:gd name="T0" fmla="*/ 2147483647 w 228"/>
                        <a:gd name="T1" fmla="*/ 2147483647 h 414"/>
                        <a:gd name="T2" fmla="*/ 2147483647 w 228"/>
                        <a:gd name="T3" fmla="*/ 2147483647 h 414"/>
                        <a:gd name="T4" fmla="*/ 2147483647 w 228"/>
                        <a:gd name="T5" fmla="*/ 2147483647 h 414"/>
                        <a:gd name="T6" fmla="*/ 2147483647 w 228"/>
                        <a:gd name="T7" fmla="*/ 2147483647 h 414"/>
                        <a:gd name="T8" fmla="*/ 2147483647 w 228"/>
                        <a:gd name="T9" fmla="*/ 2147483647 h 414"/>
                        <a:gd name="T10" fmla="*/ 2147483647 w 228"/>
                        <a:gd name="T11" fmla="*/ 2147483647 h 414"/>
                        <a:gd name="T12" fmla="*/ 2147483647 w 228"/>
                        <a:gd name="T13" fmla="*/ 0 h 414"/>
                        <a:gd name="T14" fmla="*/ 2147483647 w 228"/>
                        <a:gd name="T15" fmla="*/ 2147483647 h 414"/>
                        <a:gd name="T16" fmla="*/ 2147483647 w 228"/>
                        <a:gd name="T17" fmla="*/ 2147483647 h 414"/>
                        <a:gd name="T18" fmla="*/ 2147483647 w 228"/>
                        <a:gd name="T19" fmla="*/ 2147483647 h 414"/>
                        <a:gd name="T20" fmla="*/ 2147483647 w 228"/>
                        <a:gd name="T21" fmla="*/ 2147483647 h 414"/>
                        <a:gd name="T22" fmla="*/ 2147483647 w 228"/>
                        <a:gd name="T23" fmla="*/ 2147483647 h 414"/>
                        <a:gd name="T24" fmla="*/ 2147483647 w 228"/>
                        <a:gd name="T25" fmla="*/ 2147483647 h 414"/>
                        <a:gd name="T26" fmla="*/ 0 w 228"/>
                        <a:gd name="T27" fmla="*/ 2147483647 h 414"/>
                        <a:gd name="T28" fmla="*/ 2147483647 w 228"/>
                        <a:gd name="T29" fmla="*/ 2147483647 h 414"/>
                        <a:gd name="T30" fmla="*/ 2147483647 w 228"/>
                        <a:gd name="T31" fmla="*/ 2147483647 h 414"/>
                        <a:gd name="T32" fmla="*/ 2147483647 w 228"/>
                        <a:gd name="T33" fmla="*/ 2147483647 h 414"/>
                        <a:gd name="T34" fmla="*/ 2147483647 w 228"/>
                        <a:gd name="T35" fmla="*/ 2147483647 h 414"/>
                        <a:gd name="T36" fmla="*/ 2147483647 w 228"/>
                        <a:gd name="T37" fmla="*/ 2147483647 h 414"/>
                        <a:gd name="T38" fmla="*/ 2147483647 w 228"/>
                        <a:gd name="T39" fmla="*/ 2147483647 h 414"/>
                        <a:gd name="T40" fmla="*/ 2147483647 w 228"/>
                        <a:gd name="T41" fmla="*/ 2147483647 h 414"/>
                        <a:gd name="T42" fmla="*/ 2147483647 w 228"/>
                        <a:gd name="T43" fmla="*/ 2147483647 h 414"/>
                        <a:gd name="T44" fmla="*/ 2147483647 w 228"/>
                        <a:gd name="T45" fmla="*/ 2147483647 h 414"/>
                        <a:gd name="T46" fmla="*/ 2147483647 w 228"/>
                        <a:gd name="T47" fmla="*/ 2147483647 h 414"/>
                        <a:gd name="T48" fmla="*/ 2147483647 w 228"/>
                        <a:gd name="T49" fmla="*/ 2147483647 h 414"/>
                        <a:gd name="T50" fmla="*/ 2147483647 w 228"/>
                        <a:gd name="T51" fmla="*/ 2147483647 h 414"/>
                        <a:gd name="T52" fmla="*/ 2147483647 w 228"/>
                        <a:gd name="T53" fmla="*/ 2147483647 h 414"/>
                        <a:gd name="T54" fmla="*/ 2147483647 w 228"/>
                        <a:gd name="T55" fmla="*/ 2147483647 h 414"/>
                        <a:gd name="T56" fmla="*/ 2147483647 w 228"/>
                        <a:gd name="T57" fmla="*/ 2147483647 h 414"/>
                        <a:gd name="T58" fmla="*/ 2147483647 w 228"/>
                        <a:gd name="T59" fmla="*/ 2147483647 h 414"/>
                        <a:gd name="T60" fmla="*/ 2147483647 w 228"/>
                        <a:gd name="T61" fmla="*/ 2147483647 h 414"/>
                        <a:gd name="T62" fmla="*/ 2147483647 w 228"/>
                        <a:gd name="T63" fmla="*/ 2147483647 h 414"/>
                        <a:gd name="T64" fmla="*/ 2147483647 w 228"/>
                        <a:gd name="T65" fmla="*/ 2147483647 h 414"/>
                        <a:gd name="T66" fmla="*/ 2147483647 w 228"/>
                        <a:gd name="T67" fmla="*/ 2147483647 h 414"/>
                        <a:gd name="T68" fmla="*/ 2147483647 w 228"/>
                        <a:gd name="T69" fmla="*/ 2147483647 h 414"/>
                        <a:gd name="T70" fmla="*/ 2147483647 w 228"/>
                        <a:gd name="T71" fmla="*/ 2147483647 h 414"/>
                        <a:gd name="T72" fmla="*/ 2147483647 w 228"/>
                        <a:gd name="T73" fmla="*/ 2147483647 h 414"/>
                        <a:gd name="T74" fmla="*/ 2147483647 w 228"/>
                        <a:gd name="T75" fmla="*/ 2147483647 h 414"/>
                        <a:gd name="T76" fmla="*/ 2147483647 w 228"/>
                        <a:gd name="T77" fmla="*/ 2147483647 h 414"/>
                        <a:gd name="T78" fmla="*/ 2147483647 w 228"/>
                        <a:gd name="T79" fmla="*/ 2147483647 h 414"/>
                        <a:gd name="T80" fmla="*/ 2147483647 w 228"/>
                        <a:gd name="T81" fmla="*/ 2147483647 h 414"/>
                        <a:gd name="T82" fmla="*/ 2147483647 w 228"/>
                        <a:gd name="T83" fmla="*/ 2147483647 h 414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w 228"/>
                        <a:gd name="T127" fmla="*/ 0 h 414"/>
                        <a:gd name="T128" fmla="*/ 228 w 228"/>
                        <a:gd name="T129" fmla="*/ 414 h 414"/>
                      </a:gdLst>
                      <a:ahLst/>
                      <a:cxnLst>
                        <a:cxn ang="T84">
                          <a:pos x="T0" y="T1"/>
                        </a:cxn>
                        <a:cxn ang="T85">
                          <a:pos x="T2" y="T3"/>
                        </a:cxn>
                        <a:cxn ang="T86">
                          <a:pos x="T4" y="T5"/>
                        </a:cxn>
                        <a:cxn ang="T87">
                          <a:pos x="T6" y="T7"/>
                        </a:cxn>
                        <a:cxn ang="T88">
                          <a:pos x="T8" y="T9"/>
                        </a:cxn>
                        <a:cxn ang="T89">
                          <a:pos x="T10" y="T11"/>
                        </a:cxn>
                        <a:cxn ang="T90">
                          <a:pos x="T12" y="T13"/>
                        </a:cxn>
                        <a:cxn ang="T91">
                          <a:pos x="T14" y="T15"/>
                        </a:cxn>
                        <a:cxn ang="T92">
                          <a:pos x="T16" y="T17"/>
                        </a:cxn>
                        <a:cxn ang="T93">
                          <a:pos x="T18" y="T19"/>
                        </a:cxn>
                        <a:cxn ang="T94">
                          <a:pos x="T20" y="T21"/>
                        </a:cxn>
                        <a:cxn ang="T95">
                          <a:pos x="T22" y="T23"/>
                        </a:cxn>
                        <a:cxn ang="T96">
                          <a:pos x="T24" y="T25"/>
                        </a:cxn>
                        <a:cxn ang="T97">
                          <a:pos x="T26" y="T27"/>
                        </a:cxn>
                        <a:cxn ang="T98">
                          <a:pos x="T28" y="T29"/>
                        </a:cxn>
                        <a:cxn ang="T99">
                          <a:pos x="T30" y="T31"/>
                        </a:cxn>
                        <a:cxn ang="T100">
                          <a:pos x="T32" y="T33"/>
                        </a:cxn>
                        <a:cxn ang="T101">
                          <a:pos x="T34" y="T35"/>
                        </a:cxn>
                        <a:cxn ang="T102">
                          <a:pos x="T36" y="T37"/>
                        </a:cxn>
                        <a:cxn ang="T103">
                          <a:pos x="T38" y="T39"/>
                        </a:cxn>
                        <a:cxn ang="T104">
                          <a:pos x="T40" y="T41"/>
                        </a:cxn>
                        <a:cxn ang="T105">
                          <a:pos x="T42" y="T43"/>
                        </a:cxn>
                        <a:cxn ang="T106">
                          <a:pos x="T44" y="T45"/>
                        </a:cxn>
                        <a:cxn ang="T107">
                          <a:pos x="T46" y="T47"/>
                        </a:cxn>
                        <a:cxn ang="T108">
                          <a:pos x="T48" y="T49"/>
                        </a:cxn>
                        <a:cxn ang="T109">
                          <a:pos x="T50" y="T51"/>
                        </a:cxn>
                        <a:cxn ang="T110">
                          <a:pos x="T52" y="T53"/>
                        </a:cxn>
                        <a:cxn ang="T111">
                          <a:pos x="T54" y="T55"/>
                        </a:cxn>
                        <a:cxn ang="T112">
                          <a:pos x="T56" y="T57"/>
                        </a:cxn>
                        <a:cxn ang="T113">
                          <a:pos x="T58" y="T59"/>
                        </a:cxn>
                        <a:cxn ang="T114">
                          <a:pos x="T60" y="T61"/>
                        </a:cxn>
                        <a:cxn ang="T115">
                          <a:pos x="T62" y="T63"/>
                        </a:cxn>
                        <a:cxn ang="T116">
                          <a:pos x="T64" y="T65"/>
                        </a:cxn>
                        <a:cxn ang="T117">
                          <a:pos x="T66" y="T67"/>
                        </a:cxn>
                        <a:cxn ang="T118">
                          <a:pos x="T68" y="T69"/>
                        </a:cxn>
                        <a:cxn ang="T119">
                          <a:pos x="T70" y="T71"/>
                        </a:cxn>
                        <a:cxn ang="T120">
                          <a:pos x="T72" y="T73"/>
                        </a:cxn>
                        <a:cxn ang="T121">
                          <a:pos x="T74" y="T75"/>
                        </a:cxn>
                        <a:cxn ang="T122">
                          <a:pos x="T76" y="T77"/>
                        </a:cxn>
                        <a:cxn ang="T123">
                          <a:pos x="T78" y="T79"/>
                        </a:cxn>
                        <a:cxn ang="T124">
                          <a:pos x="T80" y="T81"/>
                        </a:cxn>
                        <a:cxn ang="T125">
                          <a:pos x="T82" y="T83"/>
                        </a:cxn>
                      </a:cxnLst>
                      <a:rect l="T126" t="T127" r="T128" b="T129"/>
                      <a:pathLst>
                        <a:path w="228" h="414">
                          <a:moveTo>
                            <a:pt x="210" y="30"/>
                          </a:moveTo>
                          <a:lnTo>
                            <a:pt x="210" y="12"/>
                          </a:lnTo>
                          <a:lnTo>
                            <a:pt x="156" y="12"/>
                          </a:lnTo>
                          <a:lnTo>
                            <a:pt x="156" y="18"/>
                          </a:lnTo>
                          <a:lnTo>
                            <a:pt x="150" y="24"/>
                          </a:lnTo>
                          <a:lnTo>
                            <a:pt x="138" y="24"/>
                          </a:lnTo>
                          <a:lnTo>
                            <a:pt x="132" y="18"/>
                          </a:lnTo>
                          <a:lnTo>
                            <a:pt x="114" y="18"/>
                          </a:lnTo>
                          <a:lnTo>
                            <a:pt x="108" y="24"/>
                          </a:lnTo>
                          <a:lnTo>
                            <a:pt x="96" y="24"/>
                          </a:lnTo>
                          <a:lnTo>
                            <a:pt x="96" y="18"/>
                          </a:lnTo>
                          <a:lnTo>
                            <a:pt x="102" y="18"/>
                          </a:lnTo>
                          <a:lnTo>
                            <a:pt x="114" y="6"/>
                          </a:lnTo>
                          <a:lnTo>
                            <a:pt x="114" y="0"/>
                          </a:lnTo>
                          <a:lnTo>
                            <a:pt x="90" y="0"/>
                          </a:lnTo>
                          <a:lnTo>
                            <a:pt x="66" y="12"/>
                          </a:lnTo>
                          <a:lnTo>
                            <a:pt x="60" y="18"/>
                          </a:lnTo>
                          <a:lnTo>
                            <a:pt x="60" y="36"/>
                          </a:lnTo>
                          <a:lnTo>
                            <a:pt x="66" y="60"/>
                          </a:lnTo>
                          <a:lnTo>
                            <a:pt x="66" y="78"/>
                          </a:lnTo>
                          <a:lnTo>
                            <a:pt x="60" y="108"/>
                          </a:lnTo>
                          <a:lnTo>
                            <a:pt x="48" y="138"/>
                          </a:lnTo>
                          <a:lnTo>
                            <a:pt x="30" y="174"/>
                          </a:lnTo>
                          <a:lnTo>
                            <a:pt x="12" y="222"/>
                          </a:lnTo>
                          <a:lnTo>
                            <a:pt x="6" y="234"/>
                          </a:lnTo>
                          <a:lnTo>
                            <a:pt x="6" y="240"/>
                          </a:lnTo>
                          <a:lnTo>
                            <a:pt x="0" y="252"/>
                          </a:lnTo>
                          <a:lnTo>
                            <a:pt x="0" y="264"/>
                          </a:lnTo>
                          <a:lnTo>
                            <a:pt x="18" y="282"/>
                          </a:lnTo>
                          <a:lnTo>
                            <a:pt x="30" y="288"/>
                          </a:lnTo>
                          <a:lnTo>
                            <a:pt x="42" y="342"/>
                          </a:lnTo>
                          <a:lnTo>
                            <a:pt x="42" y="348"/>
                          </a:lnTo>
                          <a:lnTo>
                            <a:pt x="36" y="354"/>
                          </a:lnTo>
                          <a:lnTo>
                            <a:pt x="36" y="366"/>
                          </a:lnTo>
                          <a:lnTo>
                            <a:pt x="30" y="384"/>
                          </a:lnTo>
                          <a:lnTo>
                            <a:pt x="24" y="396"/>
                          </a:lnTo>
                          <a:lnTo>
                            <a:pt x="24" y="408"/>
                          </a:lnTo>
                          <a:lnTo>
                            <a:pt x="48" y="408"/>
                          </a:lnTo>
                          <a:lnTo>
                            <a:pt x="60" y="402"/>
                          </a:lnTo>
                          <a:lnTo>
                            <a:pt x="72" y="402"/>
                          </a:lnTo>
                          <a:lnTo>
                            <a:pt x="84" y="414"/>
                          </a:lnTo>
                          <a:lnTo>
                            <a:pt x="96" y="414"/>
                          </a:lnTo>
                          <a:lnTo>
                            <a:pt x="108" y="408"/>
                          </a:lnTo>
                          <a:lnTo>
                            <a:pt x="114" y="402"/>
                          </a:lnTo>
                          <a:lnTo>
                            <a:pt x="120" y="402"/>
                          </a:lnTo>
                          <a:lnTo>
                            <a:pt x="126" y="396"/>
                          </a:lnTo>
                          <a:lnTo>
                            <a:pt x="126" y="348"/>
                          </a:lnTo>
                          <a:lnTo>
                            <a:pt x="132" y="342"/>
                          </a:lnTo>
                          <a:lnTo>
                            <a:pt x="138" y="330"/>
                          </a:lnTo>
                          <a:lnTo>
                            <a:pt x="150" y="330"/>
                          </a:lnTo>
                          <a:lnTo>
                            <a:pt x="162" y="318"/>
                          </a:lnTo>
                          <a:lnTo>
                            <a:pt x="162" y="312"/>
                          </a:lnTo>
                          <a:lnTo>
                            <a:pt x="150" y="312"/>
                          </a:lnTo>
                          <a:lnTo>
                            <a:pt x="144" y="306"/>
                          </a:lnTo>
                          <a:lnTo>
                            <a:pt x="138" y="294"/>
                          </a:lnTo>
                          <a:lnTo>
                            <a:pt x="138" y="288"/>
                          </a:lnTo>
                          <a:lnTo>
                            <a:pt x="132" y="282"/>
                          </a:lnTo>
                          <a:lnTo>
                            <a:pt x="132" y="276"/>
                          </a:lnTo>
                          <a:lnTo>
                            <a:pt x="144" y="264"/>
                          </a:lnTo>
                          <a:lnTo>
                            <a:pt x="156" y="258"/>
                          </a:lnTo>
                          <a:lnTo>
                            <a:pt x="168" y="246"/>
                          </a:lnTo>
                          <a:lnTo>
                            <a:pt x="168" y="240"/>
                          </a:lnTo>
                          <a:lnTo>
                            <a:pt x="156" y="234"/>
                          </a:lnTo>
                          <a:lnTo>
                            <a:pt x="150" y="228"/>
                          </a:lnTo>
                          <a:lnTo>
                            <a:pt x="150" y="216"/>
                          </a:lnTo>
                          <a:lnTo>
                            <a:pt x="126" y="192"/>
                          </a:lnTo>
                          <a:lnTo>
                            <a:pt x="162" y="192"/>
                          </a:lnTo>
                          <a:lnTo>
                            <a:pt x="174" y="180"/>
                          </a:lnTo>
                          <a:lnTo>
                            <a:pt x="174" y="168"/>
                          </a:lnTo>
                          <a:lnTo>
                            <a:pt x="168" y="162"/>
                          </a:lnTo>
                          <a:lnTo>
                            <a:pt x="168" y="150"/>
                          </a:lnTo>
                          <a:lnTo>
                            <a:pt x="174" y="144"/>
                          </a:lnTo>
                          <a:lnTo>
                            <a:pt x="180" y="144"/>
                          </a:lnTo>
                          <a:lnTo>
                            <a:pt x="180" y="126"/>
                          </a:lnTo>
                          <a:lnTo>
                            <a:pt x="186" y="108"/>
                          </a:lnTo>
                          <a:lnTo>
                            <a:pt x="186" y="96"/>
                          </a:lnTo>
                          <a:lnTo>
                            <a:pt x="180" y="90"/>
                          </a:lnTo>
                          <a:lnTo>
                            <a:pt x="174" y="90"/>
                          </a:lnTo>
                          <a:lnTo>
                            <a:pt x="174" y="84"/>
                          </a:lnTo>
                          <a:lnTo>
                            <a:pt x="180" y="78"/>
                          </a:lnTo>
                          <a:lnTo>
                            <a:pt x="204" y="66"/>
                          </a:lnTo>
                          <a:lnTo>
                            <a:pt x="228" y="42"/>
                          </a:lnTo>
                          <a:lnTo>
                            <a:pt x="228" y="36"/>
                          </a:lnTo>
                          <a:lnTo>
                            <a:pt x="216" y="30"/>
                          </a:lnTo>
                          <a:lnTo>
                            <a:pt x="210" y="30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28" name="Netherlands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327530" y="2354264"/>
                      <a:ext cx="107950" cy="84138"/>
                    </a:xfrm>
                    <a:custGeom>
                      <a:avLst/>
                      <a:gdLst>
                        <a:gd name="T0" fmla="*/ 0 w 270"/>
                        <a:gd name="T1" fmla="*/ 2147483647 h 210"/>
                        <a:gd name="T2" fmla="*/ 2147483647 w 270"/>
                        <a:gd name="T3" fmla="*/ 2147483647 h 210"/>
                        <a:gd name="T4" fmla="*/ 2147483647 w 270"/>
                        <a:gd name="T5" fmla="*/ 2147483647 h 210"/>
                        <a:gd name="T6" fmla="*/ 2147483647 w 270"/>
                        <a:gd name="T7" fmla="*/ 2147483647 h 210"/>
                        <a:gd name="T8" fmla="*/ 2147483647 w 270"/>
                        <a:gd name="T9" fmla="*/ 2147483647 h 210"/>
                        <a:gd name="T10" fmla="*/ 2147483647 w 270"/>
                        <a:gd name="T11" fmla="*/ 2147483647 h 210"/>
                        <a:gd name="T12" fmla="*/ 2147483647 w 270"/>
                        <a:gd name="T13" fmla="*/ 2147483647 h 210"/>
                        <a:gd name="T14" fmla="*/ 2147483647 w 270"/>
                        <a:gd name="T15" fmla="*/ 2147483647 h 210"/>
                        <a:gd name="T16" fmla="*/ 2147483647 w 270"/>
                        <a:gd name="T17" fmla="*/ 2147483647 h 210"/>
                        <a:gd name="T18" fmla="*/ 2147483647 w 270"/>
                        <a:gd name="T19" fmla="*/ 2147483647 h 210"/>
                        <a:gd name="T20" fmla="*/ 2147483647 w 270"/>
                        <a:gd name="T21" fmla="*/ 2147483647 h 210"/>
                        <a:gd name="T22" fmla="*/ 2147483647 w 270"/>
                        <a:gd name="T23" fmla="*/ 2147483647 h 210"/>
                        <a:gd name="T24" fmla="*/ 2147483647 w 270"/>
                        <a:gd name="T25" fmla="*/ 2147483647 h 210"/>
                        <a:gd name="T26" fmla="*/ 2147483647 w 270"/>
                        <a:gd name="T27" fmla="*/ 2147483647 h 210"/>
                        <a:gd name="T28" fmla="*/ 2147483647 w 270"/>
                        <a:gd name="T29" fmla="*/ 2147483647 h 210"/>
                        <a:gd name="T30" fmla="*/ 2147483647 w 270"/>
                        <a:gd name="T31" fmla="*/ 2147483647 h 210"/>
                        <a:gd name="T32" fmla="*/ 2147483647 w 270"/>
                        <a:gd name="T33" fmla="*/ 2147483647 h 210"/>
                        <a:gd name="T34" fmla="*/ 2147483647 w 270"/>
                        <a:gd name="T35" fmla="*/ 2147483647 h 210"/>
                        <a:gd name="T36" fmla="*/ 2147483647 w 270"/>
                        <a:gd name="T37" fmla="*/ 2147483647 h 210"/>
                        <a:gd name="T38" fmla="*/ 2147483647 w 270"/>
                        <a:gd name="T39" fmla="*/ 2147483647 h 210"/>
                        <a:gd name="T40" fmla="*/ 2147483647 w 270"/>
                        <a:gd name="T41" fmla="*/ 2147483647 h 210"/>
                        <a:gd name="T42" fmla="*/ 2147483647 w 270"/>
                        <a:gd name="T43" fmla="*/ 2147483647 h 210"/>
                        <a:gd name="T44" fmla="*/ 2147483647 w 270"/>
                        <a:gd name="T45" fmla="*/ 2147483647 h 210"/>
                        <a:gd name="T46" fmla="*/ 2147483647 w 270"/>
                        <a:gd name="T47" fmla="*/ 2147483647 h 210"/>
                        <a:gd name="T48" fmla="*/ 2147483647 w 270"/>
                        <a:gd name="T49" fmla="*/ 2147483647 h 210"/>
                        <a:gd name="T50" fmla="*/ 2147483647 w 270"/>
                        <a:gd name="T51" fmla="*/ 2147483647 h 210"/>
                        <a:gd name="T52" fmla="*/ 2147483647 w 270"/>
                        <a:gd name="T53" fmla="*/ 2147483647 h 210"/>
                        <a:gd name="T54" fmla="*/ 2147483647 w 270"/>
                        <a:gd name="T55" fmla="*/ 2147483647 h 210"/>
                        <a:gd name="T56" fmla="*/ 2147483647 w 270"/>
                        <a:gd name="T57" fmla="*/ 2147483647 h 210"/>
                        <a:gd name="T58" fmla="*/ 2147483647 w 270"/>
                        <a:gd name="T59" fmla="*/ 0 h 210"/>
                        <a:gd name="T60" fmla="*/ 2147483647 w 270"/>
                        <a:gd name="T61" fmla="*/ 2147483647 h 210"/>
                        <a:gd name="T62" fmla="*/ 2147483647 w 270"/>
                        <a:gd name="T63" fmla="*/ 2147483647 h 210"/>
                        <a:gd name="T64" fmla="*/ 2147483647 w 270"/>
                        <a:gd name="T65" fmla="*/ 2147483647 h 210"/>
                        <a:gd name="T66" fmla="*/ 2147483647 w 270"/>
                        <a:gd name="T67" fmla="*/ 2147483647 h 210"/>
                        <a:gd name="T68" fmla="*/ 2147483647 w 270"/>
                        <a:gd name="T69" fmla="*/ 2147483647 h 210"/>
                        <a:gd name="T70" fmla="*/ 2147483647 w 270"/>
                        <a:gd name="T71" fmla="*/ 2147483647 h 210"/>
                        <a:gd name="T72" fmla="*/ 2147483647 w 270"/>
                        <a:gd name="T73" fmla="*/ 2147483647 h 210"/>
                        <a:gd name="T74" fmla="*/ 2147483647 w 270"/>
                        <a:gd name="T75" fmla="*/ 2147483647 h 210"/>
                        <a:gd name="T76" fmla="*/ 2147483647 w 270"/>
                        <a:gd name="T77" fmla="*/ 2147483647 h 210"/>
                        <a:gd name="T78" fmla="*/ 2147483647 w 270"/>
                        <a:gd name="T79" fmla="*/ 2147483647 h 210"/>
                        <a:gd name="T80" fmla="*/ 2147483647 w 270"/>
                        <a:gd name="T81" fmla="*/ 2147483647 h 210"/>
                        <a:gd name="T82" fmla="*/ 2147483647 w 270"/>
                        <a:gd name="T83" fmla="*/ 2147483647 h 210"/>
                        <a:gd name="T84" fmla="*/ 2147483647 w 270"/>
                        <a:gd name="T85" fmla="*/ 2147483647 h 210"/>
                        <a:gd name="T86" fmla="*/ 2147483647 w 270"/>
                        <a:gd name="T87" fmla="*/ 2147483647 h 210"/>
                        <a:gd name="T88" fmla="*/ 2147483647 w 270"/>
                        <a:gd name="T89" fmla="*/ 2147483647 h 210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w 270"/>
                        <a:gd name="T136" fmla="*/ 0 h 210"/>
                        <a:gd name="T137" fmla="*/ 270 w 270"/>
                        <a:gd name="T138" fmla="*/ 210 h 210"/>
                      </a:gdLst>
                      <a:ahLst/>
                      <a:cxnLst>
                        <a:cxn ang="T90">
                          <a:pos x="T0" y="T1"/>
                        </a:cxn>
                        <a:cxn ang="T91">
                          <a:pos x="T2" y="T3"/>
                        </a:cxn>
                        <a:cxn ang="T92">
                          <a:pos x="T4" y="T5"/>
                        </a:cxn>
                        <a:cxn ang="T93">
                          <a:pos x="T6" y="T7"/>
                        </a:cxn>
                        <a:cxn ang="T94">
                          <a:pos x="T8" y="T9"/>
                        </a:cxn>
                        <a:cxn ang="T95">
                          <a:pos x="T10" y="T11"/>
                        </a:cxn>
                        <a:cxn ang="T96">
                          <a:pos x="T12" y="T13"/>
                        </a:cxn>
                        <a:cxn ang="T97">
                          <a:pos x="T14" y="T15"/>
                        </a:cxn>
                        <a:cxn ang="T98">
                          <a:pos x="T16" y="T17"/>
                        </a:cxn>
                        <a:cxn ang="T99">
                          <a:pos x="T18" y="T19"/>
                        </a:cxn>
                        <a:cxn ang="T100">
                          <a:pos x="T20" y="T21"/>
                        </a:cxn>
                        <a:cxn ang="T101">
                          <a:pos x="T22" y="T23"/>
                        </a:cxn>
                        <a:cxn ang="T102">
                          <a:pos x="T24" y="T25"/>
                        </a:cxn>
                        <a:cxn ang="T103">
                          <a:pos x="T26" y="T27"/>
                        </a:cxn>
                        <a:cxn ang="T104">
                          <a:pos x="T28" y="T29"/>
                        </a:cxn>
                        <a:cxn ang="T105">
                          <a:pos x="T30" y="T31"/>
                        </a:cxn>
                        <a:cxn ang="T106">
                          <a:pos x="T32" y="T33"/>
                        </a:cxn>
                        <a:cxn ang="T107">
                          <a:pos x="T34" y="T35"/>
                        </a:cxn>
                        <a:cxn ang="T108">
                          <a:pos x="T36" y="T37"/>
                        </a:cxn>
                        <a:cxn ang="T109">
                          <a:pos x="T38" y="T39"/>
                        </a:cxn>
                        <a:cxn ang="T110">
                          <a:pos x="T40" y="T41"/>
                        </a:cxn>
                        <a:cxn ang="T111">
                          <a:pos x="T42" y="T43"/>
                        </a:cxn>
                        <a:cxn ang="T112">
                          <a:pos x="T44" y="T45"/>
                        </a:cxn>
                        <a:cxn ang="T113">
                          <a:pos x="T46" y="T47"/>
                        </a:cxn>
                        <a:cxn ang="T114">
                          <a:pos x="T48" y="T49"/>
                        </a:cxn>
                        <a:cxn ang="T115">
                          <a:pos x="T50" y="T51"/>
                        </a:cxn>
                        <a:cxn ang="T116">
                          <a:pos x="T52" y="T53"/>
                        </a:cxn>
                        <a:cxn ang="T117">
                          <a:pos x="T54" y="T55"/>
                        </a:cxn>
                        <a:cxn ang="T118">
                          <a:pos x="T56" y="T57"/>
                        </a:cxn>
                        <a:cxn ang="T119">
                          <a:pos x="T58" y="T59"/>
                        </a:cxn>
                        <a:cxn ang="T120">
                          <a:pos x="T60" y="T61"/>
                        </a:cxn>
                        <a:cxn ang="T121">
                          <a:pos x="T62" y="T63"/>
                        </a:cxn>
                        <a:cxn ang="T122">
                          <a:pos x="T64" y="T65"/>
                        </a:cxn>
                        <a:cxn ang="T123">
                          <a:pos x="T66" y="T67"/>
                        </a:cxn>
                        <a:cxn ang="T124">
                          <a:pos x="T68" y="T69"/>
                        </a:cxn>
                        <a:cxn ang="T125">
                          <a:pos x="T70" y="T71"/>
                        </a:cxn>
                        <a:cxn ang="T126">
                          <a:pos x="T72" y="T73"/>
                        </a:cxn>
                        <a:cxn ang="T127">
                          <a:pos x="T74" y="T75"/>
                        </a:cxn>
                        <a:cxn ang="T128">
                          <a:pos x="T76" y="T77"/>
                        </a:cxn>
                        <a:cxn ang="T129">
                          <a:pos x="T78" y="T79"/>
                        </a:cxn>
                        <a:cxn ang="T130">
                          <a:pos x="T80" y="T81"/>
                        </a:cxn>
                        <a:cxn ang="T131">
                          <a:pos x="T82" y="T83"/>
                        </a:cxn>
                        <a:cxn ang="T132">
                          <a:pos x="T84" y="T85"/>
                        </a:cxn>
                        <a:cxn ang="T133">
                          <a:pos x="T86" y="T87"/>
                        </a:cxn>
                        <a:cxn ang="T134">
                          <a:pos x="T88" y="T89"/>
                        </a:cxn>
                      </a:cxnLst>
                      <a:rect l="T135" t="T136" r="T137" b="T138"/>
                      <a:pathLst>
                        <a:path w="270" h="210">
                          <a:moveTo>
                            <a:pt x="18" y="156"/>
                          </a:moveTo>
                          <a:lnTo>
                            <a:pt x="0" y="174"/>
                          </a:lnTo>
                          <a:lnTo>
                            <a:pt x="12" y="162"/>
                          </a:lnTo>
                          <a:lnTo>
                            <a:pt x="24" y="162"/>
                          </a:lnTo>
                          <a:lnTo>
                            <a:pt x="30" y="168"/>
                          </a:lnTo>
                          <a:lnTo>
                            <a:pt x="54" y="168"/>
                          </a:lnTo>
                          <a:lnTo>
                            <a:pt x="60" y="174"/>
                          </a:lnTo>
                          <a:lnTo>
                            <a:pt x="66" y="162"/>
                          </a:lnTo>
                          <a:lnTo>
                            <a:pt x="84" y="168"/>
                          </a:lnTo>
                          <a:lnTo>
                            <a:pt x="84" y="156"/>
                          </a:lnTo>
                          <a:lnTo>
                            <a:pt x="96" y="162"/>
                          </a:lnTo>
                          <a:lnTo>
                            <a:pt x="96" y="156"/>
                          </a:lnTo>
                          <a:lnTo>
                            <a:pt x="132" y="156"/>
                          </a:lnTo>
                          <a:lnTo>
                            <a:pt x="132" y="168"/>
                          </a:lnTo>
                          <a:lnTo>
                            <a:pt x="138" y="174"/>
                          </a:lnTo>
                          <a:lnTo>
                            <a:pt x="150" y="174"/>
                          </a:lnTo>
                          <a:lnTo>
                            <a:pt x="162" y="168"/>
                          </a:lnTo>
                          <a:lnTo>
                            <a:pt x="168" y="168"/>
                          </a:lnTo>
                          <a:lnTo>
                            <a:pt x="174" y="174"/>
                          </a:lnTo>
                          <a:lnTo>
                            <a:pt x="174" y="192"/>
                          </a:lnTo>
                          <a:lnTo>
                            <a:pt x="168" y="198"/>
                          </a:lnTo>
                          <a:lnTo>
                            <a:pt x="168" y="210"/>
                          </a:lnTo>
                          <a:lnTo>
                            <a:pt x="180" y="210"/>
                          </a:lnTo>
                          <a:lnTo>
                            <a:pt x="180" y="198"/>
                          </a:lnTo>
                          <a:lnTo>
                            <a:pt x="186" y="192"/>
                          </a:lnTo>
                          <a:lnTo>
                            <a:pt x="186" y="180"/>
                          </a:lnTo>
                          <a:lnTo>
                            <a:pt x="180" y="174"/>
                          </a:lnTo>
                          <a:lnTo>
                            <a:pt x="186" y="168"/>
                          </a:lnTo>
                          <a:lnTo>
                            <a:pt x="198" y="162"/>
                          </a:lnTo>
                          <a:lnTo>
                            <a:pt x="198" y="156"/>
                          </a:lnTo>
                          <a:lnTo>
                            <a:pt x="192" y="150"/>
                          </a:lnTo>
                          <a:lnTo>
                            <a:pt x="192" y="144"/>
                          </a:lnTo>
                          <a:lnTo>
                            <a:pt x="186" y="120"/>
                          </a:lnTo>
                          <a:lnTo>
                            <a:pt x="192" y="120"/>
                          </a:lnTo>
                          <a:lnTo>
                            <a:pt x="198" y="126"/>
                          </a:lnTo>
                          <a:lnTo>
                            <a:pt x="222" y="126"/>
                          </a:lnTo>
                          <a:lnTo>
                            <a:pt x="222" y="120"/>
                          </a:lnTo>
                          <a:lnTo>
                            <a:pt x="228" y="114"/>
                          </a:lnTo>
                          <a:lnTo>
                            <a:pt x="234" y="114"/>
                          </a:lnTo>
                          <a:lnTo>
                            <a:pt x="240" y="102"/>
                          </a:lnTo>
                          <a:lnTo>
                            <a:pt x="246" y="96"/>
                          </a:lnTo>
                          <a:lnTo>
                            <a:pt x="252" y="96"/>
                          </a:lnTo>
                          <a:lnTo>
                            <a:pt x="252" y="90"/>
                          </a:lnTo>
                          <a:lnTo>
                            <a:pt x="240" y="78"/>
                          </a:lnTo>
                          <a:lnTo>
                            <a:pt x="234" y="78"/>
                          </a:lnTo>
                          <a:lnTo>
                            <a:pt x="228" y="72"/>
                          </a:lnTo>
                          <a:lnTo>
                            <a:pt x="228" y="66"/>
                          </a:lnTo>
                          <a:lnTo>
                            <a:pt x="234" y="66"/>
                          </a:lnTo>
                          <a:lnTo>
                            <a:pt x="246" y="60"/>
                          </a:lnTo>
                          <a:lnTo>
                            <a:pt x="258" y="60"/>
                          </a:lnTo>
                          <a:lnTo>
                            <a:pt x="252" y="54"/>
                          </a:lnTo>
                          <a:lnTo>
                            <a:pt x="252" y="36"/>
                          </a:lnTo>
                          <a:lnTo>
                            <a:pt x="258" y="36"/>
                          </a:lnTo>
                          <a:lnTo>
                            <a:pt x="270" y="30"/>
                          </a:lnTo>
                          <a:lnTo>
                            <a:pt x="264" y="18"/>
                          </a:lnTo>
                          <a:lnTo>
                            <a:pt x="270" y="12"/>
                          </a:lnTo>
                          <a:lnTo>
                            <a:pt x="264" y="12"/>
                          </a:lnTo>
                          <a:lnTo>
                            <a:pt x="252" y="6"/>
                          </a:lnTo>
                          <a:lnTo>
                            <a:pt x="246" y="6"/>
                          </a:lnTo>
                          <a:lnTo>
                            <a:pt x="234" y="0"/>
                          </a:lnTo>
                          <a:lnTo>
                            <a:pt x="180" y="0"/>
                          </a:lnTo>
                          <a:lnTo>
                            <a:pt x="168" y="12"/>
                          </a:lnTo>
                          <a:lnTo>
                            <a:pt x="156" y="18"/>
                          </a:lnTo>
                          <a:lnTo>
                            <a:pt x="156" y="30"/>
                          </a:lnTo>
                          <a:lnTo>
                            <a:pt x="162" y="36"/>
                          </a:lnTo>
                          <a:lnTo>
                            <a:pt x="162" y="54"/>
                          </a:lnTo>
                          <a:lnTo>
                            <a:pt x="168" y="60"/>
                          </a:lnTo>
                          <a:lnTo>
                            <a:pt x="174" y="60"/>
                          </a:lnTo>
                          <a:lnTo>
                            <a:pt x="180" y="66"/>
                          </a:lnTo>
                          <a:lnTo>
                            <a:pt x="180" y="78"/>
                          </a:lnTo>
                          <a:lnTo>
                            <a:pt x="168" y="84"/>
                          </a:lnTo>
                          <a:lnTo>
                            <a:pt x="162" y="90"/>
                          </a:lnTo>
                          <a:lnTo>
                            <a:pt x="144" y="90"/>
                          </a:lnTo>
                          <a:lnTo>
                            <a:pt x="138" y="84"/>
                          </a:lnTo>
                          <a:lnTo>
                            <a:pt x="138" y="66"/>
                          </a:lnTo>
                          <a:lnTo>
                            <a:pt x="150" y="54"/>
                          </a:lnTo>
                          <a:lnTo>
                            <a:pt x="150" y="36"/>
                          </a:lnTo>
                          <a:lnTo>
                            <a:pt x="144" y="30"/>
                          </a:lnTo>
                          <a:lnTo>
                            <a:pt x="144" y="24"/>
                          </a:lnTo>
                          <a:lnTo>
                            <a:pt x="132" y="36"/>
                          </a:lnTo>
                          <a:lnTo>
                            <a:pt x="120" y="42"/>
                          </a:lnTo>
                          <a:lnTo>
                            <a:pt x="114" y="48"/>
                          </a:lnTo>
                          <a:lnTo>
                            <a:pt x="102" y="54"/>
                          </a:lnTo>
                          <a:lnTo>
                            <a:pt x="96" y="66"/>
                          </a:lnTo>
                          <a:lnTo>
                            <a:pt x="96" y="84"/>
                          </a:lnTo>
                          <a:lnTo>
                            <a:pt x="90" y="90"/>
                          </a:lnTo>
                          <a:lnTo>
                            <a:pt x="90" y="102"/>
                          </a:lnTo>
                          <a:lnTo>
                            <a:pt x="60" y="132"/>
                          </a:lnTo>
                          <a:lnTo>
                            <a:pt x="72" y="144"/>
                          </a:lnTo>
                          <a:lnTo>
                            <a:pt x="42" y="144"/>
                          </a:lnTo>
                          <a:lnTo>
                            <a:pt x="18" y="156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29" name="Montenegro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719644" y="2663827"/>
                      <a:ext cx="44450" cy="55563"/>
                    </a:xfrm>
                    <a:custGeom>
                      <a:avLst/>
                      <a:gdLst>
                        <a:gd name="T0" fmla="*/ 2147483647 w 114"/>
                        <a:gd name="T1" fmla="*/ 2147483647 h 138"/>
                        <a:gd name="T2" fmla="*/ 2147483647 w 114"/>
                        <a:gd name="T3" fmla="*/ 2147483647 h 138"/>
                        <a:gd name="T4" fmla="*/ 2147483647 w 114"/>
                        <a:gd name="T5" fmla="*/ 2147483647 h 138"/>
                        <a:gd name="T6" fmla="*/ 2147483647 w 114"/>
                        <a:gd name="T7" fmla="*/ 2147483647 h 138"/>
                        <a:gd name="T8" fmla="*/ 2147483647 w 114"/>
                        <a:gd name="T9" fmla="*/ 2147483647 h 138"/>
                        <a:gd name="T10" fmla="*/ 2147483647 w 114"/>
                        <a:gd name="T11" fmla="*/ 2147483647 h 138"/>
                        <a:gd name="T12" fmla="*/ 2147483647 w 114"/>
                        <a:gd name="T13" fmla="*/ 0 h 138"/>
                        <a:gd name="T14" fmla="*/ 2147483647 w 114"/>
                        <a:gd name="T15" fmla="*/ 0 h 138"/>
                        <a:gd name="T16" fmla="*/ 2147483647 w 114"/>
                        <a:gd name="T17" fmla="*/ 2147483647 h 138"/>
                        <a:gd name="T18" fmla="*/ 2147483647 w 114"/>
                        <a:gd name="T19" fmla="*/ 2147483647 h 138"/>
                        <a:gd name="T20" fmla="*/ 2147483647 w 114"/>
                        <a:gd name="T21" fmla="*/ 2147483647 h 138"/>
                        <a:gd name="T22" fmla="*/ 2147483647 w 114"/>
                        <a:gd name="T23" fmla="*/ 2147483647 h 138"/>
                        <a:gd name="T24" fmla="*/ 2147483647 w 114"/>
                        <a:gd name="T25" fmla="*/ 2147483647 h 138"/>
                        <a:gd name="T26" fmla="*/ 2147483647 w 114"/>
                        <a:gd name="T27" fmla="*/ 2147483647 h 138"/>
                        <a:gd name="T28" fmla="*/ 0 w 114"/>
                        <a:gd name="T29" fmla="*/ 2147483647 h 138"/>
                        <a:gd name="T30" fmla="*/ 0 w 114"/>
                        <a:gd name="T31" fmla="*/ 2147483647 h 138"/>
                        <a:gd name="T32" fmla="*/ 2147483647 w 114"/>
                        <a:gd name="T33" fmla="*/ 2147483647 h 138"/>
                        <a:gd name="T34" fmla="*/ 2147483647 w 114"/>
                        <a:gd name="T35" fmla="*/ 2147483647 h 138"/>
                        <a:gd name="T36" fmla="*/ 2147483647 w 114"/>
                        <a:gd name="T37" fmla="*/ 2147483647 h 138"/>
                        <a:gd name="T38" fmla="*/ 2147483647 w 114"/>
                        <a:gd name="T39" fmla="*/ 2147483647 h 138"/>
                        <a:gd name="T40" fmla="*/ 2147483647 w 114"/>
                        <a:gd name="T41" fmla="*/ 2147483647 h 138"/>
                        <a:gd name="T42" fmla="*/ 2147483647 w 114"/>
                        <a:gd name="T43" fmla="*/ 2147483647 h 138"/>
                        <a:gd name="T44" fmla="*/ 2147483647 w 114"/>
                        <a:gd name="T45" fmla="*/ 2147483647 h 138"/>
                        <a:gd name="T46" fmla="*/ 2147483647 w 114"/>
                        <a:gd name="T47" fmla="*/ 2147483647 h 138"/>
                        <a:gd name="T48" fmla="*/ 2147483647 w 114"/>
                        <a:gd name="T49" fmla="*/ 2147483647 h 138"/>
                        <a:gd name="T50" fmla="*/ 2147483647 w 114"/>
                        <a:gd name="T51" fmla="*/ 2147483647 h 138"/>
                        <a:gd name="T52" fmla="*/ 2147483647 w 114"/>
                        <a:gd name="T53" fmla="*/ 2147483647 h 138"/>
                        <a:gd name="T54" fmla="*/ 2147483647 w 114"/>
                        <a:gd name="T55" fmla="*/ 2147483647 h 138"/>
                        <a:gd name="T56" fmla="*/ 2147483647 w 114"/>
                        <a:gd name="T57" fmla="*/ 2147483647 h 138"/>
                        <a:gd name="T58" fmla="*/ 2147483647 w 114"/>
                        <a:gd name="T59" fmla="*/ 2147483647 h 138"/>
                        <a:gd name="T60" fmla="*/ 2147483647 w 114"/>
                        <a:gd name="T61" fmla="*/ 2147483647 h 138"/>
                        <a:gd name="T62" fmla="*/ 2147483647 w 114"/>
                        <a:gd name="T63" fmla="*/ 2147483647 h 138"/>
                        <a:gd name="T64" fmla="*/ 2147483647 w 114"/>
                        <a:gd name="T65" fmla="*/ 2147483647 h 138"/>
                        <a:gd name="T66" fmla="*/ 2147483647 w 114"/>
                        <a:gd name="T67" fmla="*/ 2147483647 h 138"/>
                        <a:gd name="T68" fmla="*/ 2147483647 w 114"/>
                        <a:gd name="T69" fmla="*/ 2147483647 h 138"/>
                        <a:gd name="T70" fmla="*/ 2147483647 w 114"/>
                        <a:gd name="T71" fmla="*/ 2147483647 h 138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w 114"/>
                        <a:gd name="T109" fmla="*/ 0 h 138"/>
                        <a:gd name="T110" fmla="*/ 114 w 114"/>
                        <a:gd name="T111" fmla="*/ 138 h 138"/>
                      </a:gdLst>
                      <a:ahLst/>
                      <a:cxnLst>
                        <a:cxn ang="T72">
                          <a:pos x="T0" y="T1"/>
                        </a:cxn>
                        <a:cxn ang="T73">
                          <a:pos x="T2" y="T3"/>
                        </a:cxn>
                        <a:cxn ang="T74">
                          <a:pos x="T4" y="T5"/>
                        </a:cxn>
                        <a:cxn ang="T75">
                          <a:pos x="T6" y="T7"/>
                        </a:cxn>
                        <a:cxn ang="T76">
                          <a:pos x="T8" y="T9"/>
                        </a:cxn>
                        <a:cxn ang="T77">
                          <a:pos x="T10" y="T11"/>
                        </a:cxn>
                        <a:cxn ang="T78">
                          <a:pos x="T12" y="T13"/>
                        </a:cxn>
                        <a:cxn ang="T79">
                          <a:pos x="T14" y="T15"/>
                        </a:cxn>
                        <a:cxn ang="T80">
                          <a:pos x="T16" y="T17"/>
                        </a:cxn>
                        <a:cxn ang="T81">
                          <a:pos x="T18" y="T19"/>
                        </a:cxn>
                        <a:cxn ang="T82">
                          <a:pos x="T20" y="T21"/>
                        </a:cxn>
                        <a:cxn ang="T83">
                          <a:pos x="T22" y="T23"/>
                        </a:cxn>
                        <a:cxn ang="T84">
                          <a:pos x="T24" y="T25"/>
                        </a:cxn>
                        <a:cxn ang="T85">
                          <a:pos x="T26" y="T27"/>
                        </a:cxn>
                        <a:cxn ang="T86">
                          <a:pos x="T28" y="T29"/>
                        </a:cxn>
                        <a:cxn ang="T87">
                          <a:pos x="T30" y="T31"/>
                        </a:cxn>
                        <a:cxn ang="T88">
                          <a:pos x="T32" y="T33"/>
                        </a:cxn>
                        <a:cxn ang="T89">
                          <a:pos x="T34" y="T35"/>
                        </a:cxn>
                        <a:cxn ang="T90">
                          <a:pos x="T36" y="T37"/>
                        </a:cxn>
                        <a:cxn ang="T91">
                          <a:pos x="T38" y="T39"/>
                        </a:cxn>
                        <a:cxn ang="T92">
                          <a:pos x="T40" y="T41"/>
                        </a:cxn>
                        <a:cxn ang="T93">
                          <a:pos x="T42" y="T43"/>
                        </a:cxn>
                        <a:cxn ang="T94">
                          <a:pos x="T44" y="T45"/>
                        </a:cxn>
                        <a:cxn ang="T95">
                          <a:pos x="T46" y="T47"/>
                        </a:cxn>
                        <a:cxn ang="T96">
                          <a:pos x="T48" y="T49"/>
                        </a:cxn>
                        <a:cxn ang="T97">
                          <a:pos x="T50" y="T51"/>
                        </a:cxn>
                        <a:cxn ang="T98">
                          <a:pos x="T52" y="T53"/>
                        </a:cxn>
                        <a:cxn ang="T99">
                          <a:pos x="T54" y="T55"/>
                        </a:cxn>
                        <a:cxn ang="T100">
                          <a:pos x="T56" y="T57"/>
                        </a:cxn>
                        <a:cxn ang="T101">
                          <a:pos x="T58" y="T59"/>
                        </a:cxn>
                        <a:cxn ang="T102">
                          <a:pos x="T60" y="T61"/>
                        </a:cxn>
                        <a:cxn ang="T103">
                          <a:pos x="T62" y="T63"/>
                        </a:cxn>
                        <a:cxn ang="T104">
                          <a:pos x="T64" y="T65"/>
                        </a:cxn>
                        <a:cxn ang="T105">
                          <a:pos x="T66" y="T67"/>
                        </a:cxn>
                        <a:cxn ang="T106">
                          <a:pos x="T68" y="T69"/>
                        </a:cxn>
                        <a:cxn ang="T107">
                          <a:pos x="T70" y="T71"/>
                        </a:cxn>
                      </a:cxnLst>
                      <a:rect l="T108" t="T109" r="T110" b="T111"/>
                      <a:pathLst>
                        <a:path w="114" h="138">
                          <a:moveTo>
                            <a:pt x="114" y="42"/>
                          </a:moveTo>
                          <a:lnTo>
                            <a:pt x="108" y="48"/>
                          </a:lnTo>
                          <a:lnTo>
                            <a:pt x="96" y="30"/>
                          </a:lnTo>
                          <a:lnTo>
                            <a:pt x="84" y="18"/>
                          </a:lnTo>
                          <a:lnTo>
                            <a:pt x="66" y="6"/>
                          </a:lnTo>
                          <a:lnTo>
                            <a:pt x="60" y="6"/>
                          </a:lnTo>
                          <a:lnTo>
                            <a:pt x="48" y="0"/>
                          </a:lnTo>
                          <a:lnTo>
                            <a:pt x="42" y="0"/>
                          </a:lnTo>
                          <a:lnTo>
                            <a:pt x="42" y="24"/>
                          </a:lnTo>
                          <a:lnTo>
                            <a:pt x="24" y="24"/>
                          </a:lnTo>
                          <a:lnTo>
                            <a:pt x="18" y="30"/>
                          </a:lnTo>
                          <a:lnTo>
                            <a:pt x="18" y="36"/>
                          </a:lnTo>
                          <a:lnTo>
                            <a:pt x="12" y="48"/>
                          </a:lnTo>
                          <a:lnTo>
                            <a:pt x="6" y="48"/>
                          </a:lnTo>
                          <a:lnTo>
                            <a:pt x="0" y="54"/>
                          </a:lnTo>
                          <a:lnTo>
                            <a:pt x="0" y="60"/>
                          </a:lnTo>
                          <a:lnTo>
                            <a:pt x="6" y="66"/>
                          </a:lnTo>
                          <a:lnTo>
                            <a:pt x="12" y="66"/>
                          </a:lnTo>
                          <a:lnTo>
                            <a:pt x="24" y="72"/>
                          </a:lnTo>
                          <a:lnTo>
                            <a:pt x="6" y="102"/>
                          </a:lnTo>
                          <a:lnTo>
                            <a:pt x="18" y="102"/>
                          </a:lnTo>
                          <a:lnTo>
                            <a:pt x="24" y="96"/>
                          </a:lnTo>
                          <a:lnTo>
                            <a:pt x="36" y="96"/>
                          </a:lnTo>
                          <a:lnTo>
                            <a:pt x="36" y="114"/>
                          </a:lnTo>
                          <a:lnTo>
                            <a:pt x="60" y="138"/>
                          </a:lnTo>
                          <a:lnTo>
                            <a:pt x="72" y="126"/>
                          </a:lnTo>
                          <a:lnTo>
                            <a:pt x="66" y="108"/>
                          </a:lnTo>
                          <a:lnTo>
                            <a:pt x="60" y="114"/>
                          </a:lnTo>
                          <a:lnTo>
                            <a:pt x="42" y="102"/>
                          </a:lnTo>
                          <a:lnTo>
                            <a:pt x="66" y="102"/>
                          </a:lnTo>
                          <a:lnTo>
                            <a:pt x="78" y="96"/>
                          </a:lnTo>
                          <a:lnTo>
                            <a:pt x="78" y="78"/>
                          </a:lnTo>
                          <a:lnTo>
                            <a:pt x="108" y="90"/>
                          </a:lnTo>
                          <a:lnTo>
                            <a:pt x="114" y="84"/>
                          </a:lnTo>
                          <a:lnTo>
                            <a:pt x="114" y="90"/>
                          </a:lnTo>
                          <a:lnTo>
                            <a:pt x="114" y="42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30" name="Moldova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922844" y="2509839"/>
                      <a:ext cx="85725" cy="95250"/>
                    </a:xfrm>
                    <a:custGeom>
                      <a:avLst/>
                      <a:gdLst>
                        <a:gd name="T0" fmla="*/ 2147483647 w 216"/>
                        <a:gd name="T1" fmla="*/ 2147483647 h 240"/>
                        <a:gd name="T2" fmla="*/ 2147483647 w 216"/>
                        <a:gd name="T3" fmla="*/ 2147483647 h 240"/>
                        <a:gd name="T4" fmla="*/ 2147483647 w 216"/>
                        <a:gd name="T5" fmla="*/ 2147483647 h 240"/>
                        <a:gd name="T6" fmla="*/ 2147483647 w 216"/>
                        <a:gd name="T7" fmla="*/ 2147483647 h 240"/>
                        <a:gd name="T8" fmla="*/ 2147483647 w 216"/>
                        <a:gd name="T9" fmla="*/ 2147483647 h 240"/>
                        <a:gd name="T10" fmla="*/ 2147483647 w 216"/>
                        <a:gd name="T11" fmla="*/ 2147483647 h 240"/>
                        <a:gd name="T12" fmla="*/ 2147483647 w 216"/>
                        <a:gd name="T13" fmla="*/ 2147483647 h 240"/>
                        <a:gd name="T14" fmla="*/ 2147483647 w 216"/>
                        <a:gd name="T15" fmla="*/ 2147483647 h 240"/>
                        <a:gd name="T16" fmla="*/ 2147483647 w 216"/>
                        <a:gd name="T17" fmla="*/ 2147483647 h 240"/>
                        <a:gd name="T18" fmla="*/ 2147483647 w 216"/>
                        <a:gd name="T19" fmla="*/ 2147483647 h 240"/>
                        <a:gd name="T20" fmla="*/ 2147483647 w 216"/>
                        <a:gd name="T21" fmla="*/ 2147483647 h 240"/>
                        <a:gd name="T22" fmla="*/ 2147483647 w 216"/>
                        <a:gd name="T23" fmla="*/ 2147483647 h 240"/>
                        <a:gd name="T24" fmla="*/ 2147483647 w 216"/>
                        <a:gd name="T25" fmla="*/ 2147483647 h 240"/>
                        <a:gd name="T26" fmla="*/ 2147483647 w 216"/>
                        <a:gd name="T27" fmla="*/ 2147483647 h 240"/>
                        <a:gd name="T28" fmla="*/ 2147483647 w 216"/>
                        <a:gd name="T29" fmla="*/ 2147483647 h 240"/>
                        <a:gd name="T30" fmla="*/ 2147483647 w 216"/>
                        <a:gd name="T31" fmla="*/ 2147483647 h 240"/>
                        <a:gd name="T32" fmla="*/ 2147483647 w 216"/>
                        <a:gd name="T33" fmla="*/ 2147483647 h 240"/>
                        <a:gd name="T34" fmla="*/ 2147483647 w 216"/>
                        <a:gd name="T35" fmla="*/ 2147483647 h 240"/>
                        <a:gd name="T36" fmla="*/ 2147483647 w 216"/>
                        <a:gd name="T37" fmla="*/ 2147483647 h 240"/>
                        <a:gd name="T38" fmla="*/ 2147483647 w 216"/>
                        <a:gd name="T39" fmla="*/ 2147483647 h 240"/>
                        <a:gd name="T40" fmla="*/ 2147483647 w 216"/>
                        <a:gd name="T41" fmla="*/ 2147483647 h 240"/>
                        <a:gd name="T42" fmla="*/ 2147483647 w 216"/>
                        <a:gd name="T43" fmla="*/ 2147483647 h 240"/>
                        <a:gd name="T44" fmla="*/ 2147483647 w 216"/>
                        <a:gd name="T45" fmla="*/ 2147483647 h 240"/>
                        <a:gd name="T46" fmla="*/ 2147483647 w 216"/>
                        <a:gd name="T47" fmla="*/ 2147483647 h 240"/>
                        <a:gd name="T48" fmla="*/ 2147483647 w 216"/>
                        <a:gd name="T49" fmla="*/ 2147483647 h 240"/>
                        <a:gd name="T50" fmla="*/ 2147483647 w 216"/>
                        <a:gd name="T51" fmla="*/ 2147483647 h 240"/>
                        <a:gd name="T52" fmla="*/ 2147483647 w 216"/>
                        <a:gd name="T53" fmla="*/ 2147483647 h 240"/>
                        <a:gd name="T54" fmla="*/ 2147483647 w 216"/>
                        <a:gd name="T55" fmla="*/ 2147483647 h 240"/>
                        <a:gd name="T56" fmla="*/ 2147483647 w 216"/>
                        <a:gd name="T57" fmla="*/ 2147483647 h 240"/>
                        <a:gd name="T58" fmla="*/ 2147483647 w 216"/>
                        <a:gd name="T59" fmla="*/ 2147483647 h 240"/>
                        <a:gd name="T60" fmla="*/ 2147483647 w 216"/>
                        <a:gd name="T61" fmla="*/ 0 h 240"/>
                        <a:gd name="T62" fmla="*/ 2147483647 w 216"/>
                        <a:gd name="T63" fmla="*/ 2147483647 h 240"/>
                        <a:gd name="T64" fmla="*/ 2147483647 w 216"/>
                        <a:gd name="T65" fmla="*/ 2147483647 h 240"/>
                        <a:gd name="T66" fmla="*/ 2147483647 w 216"/>
                        <a:gd name="T67" fmla="*/ 2147483647 h 240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w 216"/>
                        <a:gd name="T103" fmla="*/ 0 h 240"/>
                        <a:gd name="T104" fmla="*/ 216 w 216"/>
                        <a:gd name="T105" fmla="*/ 240 h 240"/>
                      </a:gdLst>
                      <a:ahLst/>
                      <a:cxnLst>
                        <a:cxn ang="T68">
                          <a:pos x="T0" y="T1"/>
                        </a:cxn>
                        <a:cxn ang="T69">
                          <a:pos x="T2" y="T3"/>
                        </a:cxn>
                        <a:cxn ang="T70">
                          <a:pos x="T4" y="T5"/>
                        </a:cxn>
                        <a:cxn ang="T71">
                          <a:pos x="T6" y="T7"/>
                        </a:cxn>
                        <a:cxn ang="T72">
                          <a:pos x="T8" y="T9"/>
                        </a:cxn>
                        <a:cxn ang="T73">
                          <a:pos x="T10" y="T11"/>
                        </a:cxn>
                        <a:cxn ang="T74">
                          <a:pos x="T12" y="T13"/>
                        </a:cxn>
                        <a:cxn ang="T75">
                          <a:pos x="T14" y="T15"/>
                        </a:cxn>
                        <a:cxn ang="T76">
                          <a:pos x="T16" y="T17"/>
                        </a:cxn>
                        <a:cxn ang="T77">
                          <a:pos x="T18" y="T19"/>
                        </a:cxn>
                        <a:cxn ang="T78">
                          <a:pos x="T20" y="T21"/>
                        </a:cxn>
                        <a:cxn ang="T79">
                          <a:pos x="T22" y="T23"/>
                        </a:cxn>
                        <a:cxn ang="T80">
                          <a:pos x="T24" y="T25"/>
                        </a:cxn>
                        <a:cxn ang="T81">
                          <a:pos x="T26" y="T27"/>
                        </a:cxn>
                        <a:cxn ang="T82">
                          <a:pos x="T28" y="T29"/>
                        </a:cxn>
                        <a:cxn ang="T83">
                          <a:pos x="T30" y="T31"/>
                        </a:cxn>
                        <a:cxn ang="T84">
                          <a:pos x="T32" y="T33"/>
                        </a:cxn>
                        <a:cxn ang="T85">
                          <a:pos x="T34" y="T35"/>
                        </a:cxn>
                        <a:cxn ang="T86">
                          <a:pos x="T36" y="T37"/>
                        </a:cxn>
                        <a:cxn ang="T87">
                          <a:pos x="T38" y="T39"/>
                        </a:cxn>
                        <a:cxn ang="T88">
                          <a:pos x="T40" y="T41"/>
                        </a:cxn>
                        <a:cxn ang="T89">
                          <a:pos x="T42" y="T43"/>
                        </a:cxn>
                        <a:cxn ang="T90">
                          <a:pos x="T44" y="T45"/>
                        </a:cxn>
                        <a:cxn ang="T91">
                          <a:pos x="T46" y="T47"/>
                        </a:cxn>
                        <a:cxn ang="T92">
                          <a:pos x="T48" y="T49"/>
                        </a:cxn>
                        <a:cxn ang="T93">
                          <a:pos x="T50" y="T51"/>
                        </a:cxn>
                        <a:cxn ang="T94">
                          <a:pos x="T52" y="T53"/>
                        </a:cxn>
                        <a:cxn ang="T95">
                          <a:pos x="T54" y="T55"/>
                        </a:cxn>
                        <a:cxn ang="T96">
                          <a:pos x="T56" y="T57"/>
                        </a:cxn>
                        <a:cxn ang="T97">
                          <a:pos x="T58" y="T59"/>
                        </a:cxn>
                        <a:cxn ang="T98">
                          <a:pos x="T60" y="T61"/>
                        </a:cxn>
                        <a:cxn ang="T99">
                          <a:pos x="T62" y="T63"/>
                        </a:cxn>
                        <a:cxn ang="T100">
                          <a:pos x="T64" y="T65"/>
                        </a:cxn>
                        <a:cxn ang="T101">
                          <a:pos x="T66" y="T67"/>
                        </a:cxn>
                      </a:cxnLst>
                      <a:rect l="T102" t="T103" r="T104" b="T105"/>
                      <a:pathLst>
                        <a:path w="216" h="240">
                          <a:moveTo>
                            <a:pt x="0" y="18"/>
                          </a:moveTo>
                          <a:lnTo>
                            <a:pt x="18" y="24"/>
                          </a:lnTo>
                          <a:lnTo>
                            <a:pt x="24" y="30"/>
                          </a:lnTo>
                          <a:lnTo>
                            <a:pt x="30" y="42"/>
                          </a:lnTo>
                          <a:lnTo>
                            <a:pt x="36" y="48"/>
                          </a:lnTo>
                          <a:lnTo>
                            <a:pt x="36" y="60"/>
                          </a:lnTo>
                          <a:lnTo>
                            <a:pt x="60" y="72"/>
                          </a:lnTo>
                          <a:lnTo>
                            <a:pt x="66" y="96"/>
                          </a:lnTo>
                          <a:lnTo>
                            <a:pt x="78" y="96"/>
                          </a:lnTo>
                          <a:lnTo>
                            <a:pt x="84" y="114"/>
                          </a:lnTo>
                          <a:lnTo>
                            <a:pt x="102" y="114"/>
                          </a:lnTo>
                          <a:lnTo>
                            <a:pt x="108" y="120"/>
                          </a:lnTo>
                          <a:lnTo>
                            <a:pt x="108" y="162"/>
                          </a:lnTo>
                          <a:lnTo>
                            <a:pt x="114" y="162"/>
                          </a:lnTo>
                          <a:lnTo>
                            <a:pt x="108" y="168"/>
                          </a:lnTo>
                          <a:lnTo>
                            <a:pt x="108" y="180"/>
                          </a:lnTo>
                          <a:lnTo>
                            <a:pt x="102" y="186"/>
                          </a:lnTo>
                          <a:lnTo>
                            <a:pt x="102" y="198"/>
                          </a:lnTo>
                          <a:lnTo>
                            <a:pt x="108" y="210"/>
                          </a:lnTo>
                          <a:lnTo>
                            <a:pt x="114" y="216"/>
                          </a:lnTo>
                          <a:lnTo>
                            <a:pt x="114" y="240"/>
                          </a:lnTo>
                          <a:lnTo>
                            <a:pt x="138" y="234"/>
                          </a:lnTo>
                          <a:lnTo>
                            <a:pt x="138" y="222"/>
                          </a:lnTo>
                          <a:lnTo>
                            <a:pt x="132" y="216"/>
                          </a:lnTo>
                          <a:lnTo>
                            <a:pt x="132" y="204"/>
                          </a:lnTo>
                          <a:lnTo>
                            <a:pt x="138" y="204"/>
                          </a:lnTo>
                          <a:lnTo>
                            <a:pt x="150" y="198"/>
                          </a:lnTo>
                          <a:lnTo>
                            <a:pt x="156" y="192"/>
                          </a:lnTo>
                          <a:lnTo>
                            <a:pt x="174" y="180"/>
                          </a:lnTo>
                          <a:lnTo>
                            <a:pt x="168" y="174"/>
                          </a:lnTo>
                          <a:lnTo>
                            <a:pt x="156" y="168"/>
                          </a:lnTo>
                          <a:lnTo>
                            <a:pt x="150" y="168"/>
                          </a:lnTo>
                          <a:lnTo>
                            <a:pt x="150" y="162"/>
                          </a:lnTo>
                          <a:lnTo>
                            <a:pt x="156" y="156"/>
                          </a:lnTo>
                          <a:lnTo>
                            <a:pt x="174" y="156"/>
                          </a:lnTo>
                          <a:lnTo>
                            <a:pt x="180" y="162"/>
                          </a:lnTo>
                          <a:lnTo>
                            <a:pt x="198" y="162"/>
                          </a:lnTo>
                          <a:lnTo>
                            <a:pt x="210" y="156"/>
                          </a:lnTo>
                          <a:lnTo>
                            <a:pt x="216" y="156"/>
                          </a:lnTo>
                          <a:lnTo>
                            <a:pt x="216" y="126"/>
                          </a:lnTo>
                          <a:lnTo>
                            <a:pt x="210" y="120"/>
                          </a:lnTo>
                          <a:lnTo>
                            <a:pt x="198" y="120"/>
                          </a:lnTo>
                          <a:lnTo>
                            <a:pt x="192" y="114"/>
                          </a:lnTo>
                          <a:lnTo>
                            <a:pt x="180" y="114"/>
                          </a:lnTo>
                          <a:lnTo>
                            <a:pt x="180" y="96"/>
                          </a:lnTo>
                          <a:lnTo>
                            <a:pt x="186" y="90"/>
                          </a:lnTo>
                          <a:lnTo>
                            <a:pt x="180" y="84"/>
                          </a:lnTo>
                          <a:lnTo>
                            <a:pt x="174" y="84"/>
                          </a:lnTo>
                          <a:lnTo>
                            <a:pt x="162" y="90"/>
                          </a:lnTo>
                          <a:lnTo>
                            <a:pt x="162" y="66"/>
                          </a:lnTo>
                          <a:lnTo>
                            <a:pt x="168" y="60"/>
                          </a:lnTo>
                          <a:lnTo>
                            <a:pt x="162" y="48"/>
                          </a:lnTo>
                          <a:lnTo>
                            <a:pt x="156" y="42"/>
                          </a:lnTo>
                          <a:lnTo>
                            <a:pt x="144" y="36"/>
                          </a:lnTo>
                          <a:lnTo>
                            <a:pt x="126" y="36"/>
                          </a:lnTo>
                          <a:lnTo>
                            <a:pt x="126" y="24"/>
                          </a:lnTo>
                          <a:lnTo>
                            <a:pt x="120" y="18"/>
                          </a:lnTo>
                          <a:lnTo>
                            <a:pt x="78" y="18"/>
                          </a:lnTo>
                          <a:lnTo>
                            <a:pt x="78" y="12"/>
                          </a:lnTo>
                          <a:lnTo>
                            <a:pt x="72" y="12"/>
                          </a:lnTo>
                          <a:lnTo>
                            <a:pt x="60" y="0"/>
                          </a:lnTo>
                          <a:lnTo>
                            <a:pt x="54" y="0"/>
                          </a:lnTo>
                          <a:lnTo>
                            <a:pt x="42" y="6"/>
                          </a:lnTo>
                          <a:lnTo>
                            <a:pt x="36" y="6"/>
                          </a:lnTo>
                          <a:lnTo>
                            <a:pt x="36" y="12"/>
                          </a:lnTo>
                          <a:lnTo>
                            <a:pt x="24" y="12"/>
                          </a:lnTo>
                          <a:lnTo>
                            <a:pt x="12" y="6"/>
                          </a:lnTo>
                          <a:lnTo>
                            <a:pt x="6" y="6"/>
                          </a:lnTo>
                          <a:lnTo>
                            <a:pt x="0" y="18"/>
                          </a:lnTo>
                          <a:close/>
                        </a:path>
                      </a:pathLst>
                    </a:custGeom>
                    <a:solidFill>
                      <a:schemeClr val="bg1">
                        <a:lumMod val="7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31" name="Malta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611693" y="2903540"/>
                      <a:ext cx="12700" cy="11113"/>
                    </a:xfrm>
                    <a:custGeom>
                      <a:avLst/>
                      <a:gdLst>
                        <a:gd name="T0" fmla="*/ 2147483647 w 30"/>
                        <a:gd name="T1" fmla="*/ 2147483647 h 30"/>
                        <a:gd name="T2" fmla="*/ 2147483647 w 30"/>
                        <a:gd name="T3" fmla="*/ 2147483647 h 30"/>
                        <a:gd name="T4" fmla="*/ 2147483647 w 30"/>
                        <a:gd name="T5" fmla="*/ 2147483647 h 30"/>
                        <a:gd name="T6" fmla="*/ 2147483647 w 30"/>
                        <a:gd name="T7" fmla="*/ 0 h 30"/>
                        <a:gd name="T8" fmla="*/ 2147483647 w 30"/>
                        <a:gd name="T9" fmla="*/ 0 h 30"/>
                        <a:gd name="T10" fmla="*/ 0 w 30"/>
                        <a:gd name="T11" fmla="*/ 2147483647 h 30"/>
                        <a:gd name="T12" fmla="*/ 0 w 30"/>
                        <a:gd name="T13" fmla="*/ 2147483647 h 30"/>
                        <a:gd name="T14" fmla="*/ 2147483647 w 30"/>
                        <a:gd name="T15" fmla="*/ 2147483647 h 30"/>
                        <a:gd name="T16" fmla="*/ 2147483647 w 30"/>
                        <a:gd name="T17" fmla="*/ 2147483647 h 30"/>
                        <a:gd name="T18" fmla="*/ 2147483647 w 30"/>
                        <a:gd name="T19" fmla="*/ 2147483647 h 30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30"/>
                        <a:gd name="T31" fmla="*/ 0 h 30"/>
                        <a:gd name="T32" fmla="*/ 30 w 30"/>
                        <a:gd name="T33" fmla="*/ 30 h 30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30" h="30">
                          <a:moveTo>
                            <a:pt x="24" y="30"/>
                          </a:moveTo>
                          <a:lnTo>
                            <a:pt x="30" y="24"/>
                          </a:lnTo>
                          <a:lnTo>
                            <a:pt x="30" y="12"/>
                          </a:lnTo>
                          <a:lnTo>
                            <a:pt x="18" y="0"/>
                          </a:lnTo>
                          <a:lnTo>
                            <a:pt x="6" y="0"/>
                          </a:lnTo>
                          <a:lnTo>
                            <a:pt x="0" y="6"/>
                          </a:lnTo>
                          <a:lnTo>
                            <a:pt x="0" y="18"/>
                          </a:lnTo>
                          <a:lnTo>
                            <a:pt x="6" y="24"/>
                          </a:lnTo>
                          <a:lnTo>
                            <a:pt x="18" y="30"/>
                          </a:lnTo>
                          <a:lnTo>
                            <a:pt x="24" y="30"/>
                          </a:ln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32" name="Luxembourg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392618" y="2457452"/>
                      <a:ext cx="20638" cy="17463"/>
                    </a:xfrm>
                    <a:custGeom>
                      <a:avLst/>
                      <a:gdLst>
                        <a:gd name="T0" fmla="*/ 2147483647 w 54"/>
                        <a:gd name="T1" fmla="*/ 2147483647 h 42"/>
                        <a:gd name="T2" fmla="*/ 2147483647 w 54"/>
                        <a:gd name="T3" fmla="*/ 2147483647 h 42"/>
                        <a:gd name="T4" fmla="*/ 2147483647 w 54"/>
                        <a:gd name="T5" fmla="*/ 2147483647 h 42"/>
                        <a:gd name="T6" fmla="*/ 2147483647 w 54"/>
                        <a:gd name="T7" fmla="*/ 2147483647 h 42"/>
                        <a:gd name="T8" fmla="*/ 2147483647 w 54"/>
                        <a:gd name="T9" fmla="*/ 2147483647 h 42"/>
                        <a:gd name="T10" fmla="*/ 2147483647 w 54"/>
                        <a:gd name="T11" fmla="*/ 2147483647 h 42"/>
                        <a:gd name="T12" fmla="*/ 2147483647 w 54"/>
                        <a:gd name="T13" fmla="*/ 2147483647 h 42"/>
                        <a:gd name="T14" fmla="*/ 2147483647 w 54"/>
                        <a:gd name="T15" fmla="*/ 2147483647 h 42"/>
                        <a:gd name="T16" fmla="*/ 2147483647 w 54"/>
                        <a:gd name="T17" fmla="*/ 0 h 42"/>
                        <a:gd name="T18" fmla="*/ 2147483647 w 54"/>
                        <a:gd name="T19" fmla="*/ 0 h 42"/>
                        <a:gd name="T20" fmla="*/ 2147483647 w 54"/>
                        <a:gd name="T21" fmla="*/ 2147483647 h 42"/>
                        <a:gd name="T22" fmla="*/ 2147483647 w 54"/>
                        <a:gd name="T23" fmla="*/ 2147483647 h 42"/>
                        <a:gd name="T24" fmla="*/ 0 w 54"/>
                        <a:gd name="T25" fmla="*/ 2147483647 h 42"/>
                        <a:gd name="T26" fmla="*/ 0 w 54"/>
                        <a:gd name="T27" fmla="*/ 2147483647 h 42"/>
                        <a:gd name="T28" fmla="*/ 2147483647 w 54"/>
                        <a:gd name="T29" fmla="*/ 2147483647 h 42"/>
                        <a:gd name="T30" fmla="*/ 2147483647 w 54"/>
                        <a:gd name="T31" fmla="*/ 2147483647 h 42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w 54"/>
                        <a:gd name="T49" fmla="*/ 0 h 42"/>
                        <a:gd name="T50" fmla="*/ 54 w 54"/>
                        <a:gd name="T51" fmla="*/ 42 h 42"/>
                      </a:gdLst>
                      <a:ahLst/>
                      <a:cxnLst>
                        <a:cxn ang="T32">
                          <a:pos x="T0" y="T1"/>
                        </a:cxn>
                        <a:cxn ang="T33">
                          <a:pos x="T2" y="T3"/>
                        </a:cxn>
                        <a:cxn ang="T34">
                          <a:pos x="T4" y="T5"/>
                        </a:cxn>
                        <a:cxn ang="T35">
                          <a:pos x="T6" y="T7"/>
                        </a:cxn>
                        <a:cxn ang="T36">
                          <a:pos x="T8" y="T9"/>
                        </a:cxn>
                        <a:cxn ang="T37">
                          <a:pos x="T10" y="T11"/>
                        </a:cxn>
                        <a:cxn ang="T38">
                          <a:pos x="T12" y="T13"/>
                        </a:cxn>
                        <a:cxn ang="T39">
                          <a:pos x="T14" y="T15"/>
                        </a:cxn>
                        <a:cxn ang="T40">
                          <a:pos x="T16" y="T17"/>
                        </a:cxn>
                        <a:cxn ang="T41">
                          <a:pos x="T18" y="T19"/>
                        </a:cxn>
                        <a:cxn ang="T42">
                          <a:pos x="T20" y="T21"/>
                        </a:cxn>
                        <a:cxn ang="T43">
                          <a:pos x="T22" y="T23"/>
                        </a:cxn>
                        <a:cxn ang="T44">
                          <a:pos x="T24" y="T25"/>
                        </a:cxn>
                        <a:cxn ang="T45">
                          <a:pos x="T26" y="T27"/>
                        </a:cxn>
                        <a:cxn ang="T46">
                          <a:pos x="T28" y="T29"/>
                        </a:cxn>
                        <a:cxn ang="T47">
                          <a:pos x="T30" y="T31"/>
                        </a:cxn>
                      </a:cxnLst>
                      <a:rect l="T48" t="T49" r="T50" b="T51"/>
                      <a:pathLst>
                        <a:path w="54" h="42">
                          <a:moveTo>
                            <a:pt x="18" y="42"/>
                          </a:moveTo>
                          <a:lnTo>
                            <a:pt x="30" y="36"/>
                          </a:lnTo>
                          <a:lnTo>
                            <a:pt x="48" y="42"/>
                          </a:lnTo>
                          <a:lnTo>
                            <a:pt x="54" y="36"/>
                          </a:lnTo>
                          <a:lnTo>
                            <a:pt x="54" y="24"/>
                          </a:lnTo>
                          <a:lnTo>
                            <a:pt x="42" y="18"/>
                          </a:lnTo>
                          <a:lnTo>
                            <a:pt x="36" y="18"/>
                          </a:lnTo>
                          <a:lnTo>
                            <a:pt x="30" y="12"/>
                          </a:lnTo>
                          <a:lnTo>
                            <a:pt x="30" y="0"/>
                          </a:lnTo>
                          <a:lnTo>
                            <a:pt x="24" y="0"/>
                          </a:lnTo>
                          <a:lnTo>
                            <a:pt x="18" y="6"/>
                          </a:lnTo>
                          <a:lnTo>
                            <a:pt x="6" y="12"/>
                          </a:lnTo>
                          <a:lnTo>
                            <a:pt x="0" y="12"/>
                          </a:lnTo>
                          <a:lnTo>
                            <a:pt x="0" y="18"/>
                          </a:lnTo>
                          <a:lnTo>
                            <a:pt x="12" y="30"/>
                          </a:lnTo>
                          <a:lnTo>
                            <a:pt x="18" y="42"/>
                          </a:ln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33" name="Lithuania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764094" y="2260602"/>
                      <a:ext cx="138113" cy="79375"/>
                    </a:xfrm>
                    <a:custGeom>
                      <a:avLst/>
                      <a:gdLst>
                        <a:gd name="T0" fmla="*/ 2147483647 w 342"/>
                        <a:gd name="T1" fmla="*/ 2147483647 h 198"/>
                        <a:gd name="T2" fmla="*/ 2147483647 w 342"/>
                        <a:gd name="T3" fmla="*/ 2147483647 h 198"/>
                        <a:gd name="T4" fmla="*/ 2147483647 w 342"/>
                        <a:gd name="T5" fmla="*/ 2147483647 h 198"/>
                        <a:gd name="T6" fmla="*/ 2147483647 w 342"/>
                        <a:gd name="T7" fmla="*/ 2147483647 h 198"/>
                        <a:gd name="T8" fmla="*/ 2147483647 w 342"/>
                        <a:gd name="T9" fmla="*/ 2147483647 h 198"/>
                        <a:gd name="T10" fmla="*/ 2147483647 w 342"/>
                        <a:gd name="T11" fmla="*/ 2147483647 h 198"/>
                        <a:gd name="T12" fmla="*/ 2147483647 w 342"/>
                        <a:gd name="T13" fmla="*/ 2147483647 h 198"/>
                        <a:gd name="T14" fmla="*/ 2147483647 w 342"/>
                        <a:gd name="T15" fmla="*/ 2147483647 h 198"/>
                        <a:gd name="T16" fmla="*/ 2147483647 w 342"/>
                        <a:gd name="T17" fmla="*/ 2147483647 h 198"/>
                        <a:gd name="T18" fmla="*/ 2147483647 w 342"/>
                        <a:gd name="T19" fmla="*/ 2147483647 h 198"/>
                        <a:gd name="T20" fmla="*/ 2147483647 w 342"/>
                        <a:gd name="T21" fmla="*/ 2147483647 h 198"/>
                        <a:gd name="T22" fmla="*/ 2147483647 w 342"/>
                        <a:gd name="T23" fmla="*/ 2147483647 h 198"/>
                        <a:gd name="T24" fmla="*/ 2147483647 w 342"/>
                        <a:gd name="T25" fmla="*/ 0 h 198"/>
                        <a:gd name="T26" fmla="*/ 2147483647 w 342"/>
                        <a:gd name="T27" fmla="*/ 2147483647 h 198"/>
                        <a:gd name="T28" fmla="*/ 0 w 342"/>
                        <a:gd name="T29" fmla="*/ 2147483647 h 198"/>
                        <a:gd name="T30" fmla="*/ 2147483647 w 342"/>
                        <a:gd name="T31" fmla="*/ 2147483647 h 198"/>
                        <a:gd name="T32" fmla="*/ 2147483647 w 342"/>
                        <a:gd name="T33" fmla="*/ 2147483647 h 198"/>
                        <a:gd name="T34" fmla="*/ 2147483647 w 342"/>
                        <a:gd name="T35" fmla="*/ 2147483647 h 198"/>
                        <a:gd name="T36" fmla="*/ 2147483647 w 342"/>
                        <a:gd name="T37" fmla="*/ 2147483647 h 198"/>
                        <a:gd name="T38" fmla="*/ 2147483647 w 342"/>
                        <a:gd name="T39" fmla="*/ 2147483647 h 198"/>
                        <a:gd name="T40" fmla="*/ 2147483647 w 342"/>
                        <a:gd name="T41" fmla="*/ 2147483647 h 198"/>
                        <a:gd name="T42" fmla="*/ 2147483647 w 342"/>
                        <a:gd name="T43" fmla="*/ 2147483647 h 198"/>
                        <a:gd name="T44" fmla="*/ 2147483647 w 342"/>
                        <a:gd name="T45" fmla="*/ 2147483647 h 198"/>
                        <a:gd name="T46" fmla="*/ 2147483647 w 342"/>
                        <a:gd name="T47" fmla="*/ 2147483647 h 198"/>
                        <a:gd name="T48" fmla="*/ 2147483647 w 342"/>
                        <a:gd name="T49" fmla="*/ 2147483647 h 198"/>
                        <a:gd name="T50" fmla="*/ 2147483647 w 342"/>
                        <a:gd name="T51" fmla="*/ 2147483647 h 198"/>
                        <a:gd name="T52" fmla="*/ 2147483647 w 342"/>
                        <a:gd name="T53" fmla="*/ 2147483647 h 198"/>
                        <a:gd name="T54" fmla="*/ 2147483647 w 342"/>
                        <a:gd name="T55" fmla="*/ 2147483647 h 198"/>
                        <a:gd name="T56" fmla="*/ 2147483647 w 342"/>
                        <a:gd name="T57" fmla="*/ 2147483647 h 198"/>
                        <a:gd name="T58" fmla="*/ 2147483647 w 342"/>
                        <a:gd name="T59" fmla="*/ 2147483647 h 198"/>
                        <a:gd name="T60" fmla="*/ 2147483647 w 342"/>
                        <a:gd name="T61" fmla="*/ 2147483647 h 198"/>
                        <a:gd name="T62" fmla="*/ 2147483647 w 342"/>
                        <a:gd name="T63" fmla="*/ 2147483647 h 198"/>
                        <a:gd name="T64" fmla="*/ 2147483647 w 342"/>
                        <a:gd name="T65" fmla="*/ 2147483647 h 198"/>
                        <a:gd name="T66" fmla="*/ 2147483647 w 342"/>
                        <a:gd name="T67" fmla="*/ 2147483647 h 198"/>
                        <a:gd name="T68" fmla="*/ 2147483647 w 342"/>
                        <a:gd name="T69" fmla="*/ 2147483647 h 198"/>
                        <a:gd name="T70" fmla="*/ 2147483647 w 342"/>
                        <a:gd name="T71" fmla="*/ 2147483647 h 198"/>
                        <a:gd name="T72" fmla="*/ 2147483647 w 342"/>
                        <a:gd name="T73" fmla="*/ 2147483647 h 198"/>
                        <a:gd name="T74" fmla="*/ 2147483647 w 342"/>
                        <a:gd name="T75" fmla="*/ 2147483647 h 198"/>
                        <a:gd name="T76" fmla="*/ 2147483647 w 342"/>
                        <a:gd name="T77" fmla="*/ 2147483647 h 198"/>
                        <a:gd name="T78" fmla="*/ 2147483647 w 342"/>
                        <a:gd name="T79" fmla="*/ 2147483647 h 198"/>
                        <a:gd name="T80" fmla="*/ 2147483647 w 342"/>
                        <a:gd name="T81" fmla="*/ 2147483647 h 198"/>
                        <a:gd name="T82" fmla="*/ 2147483647 w 342"/>
                        <a:gd name="T83" fmla="*/ 2147483647 h 198"/>
                        <a:gd name="T84" fmla="*/ 2147483647 w 342"/>
                        <a:gd name="T85" fmla="*/ 2147483647 h 198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w 342"/>
                        <a:gd name="T130" fmla="*/ 0 h 198"/>
                        <a:gd name="T131" fmla="*/ 342 w 342"/>
                        <a:gd name="T132" fmla="*/ 198 h 198"/>
                      </a:gdLst>
                      <a:ahLst/>
                      <a:cxnLst>
                        <a:cxn ang="T86">
                          <a:pos x="T0" y="T1"/>
                        </a:cxn>
                        <a:cxn ang="T87">
                          <a:pos x="T2" y="T3"/>
                        </a:cxn>
                        <a:cxn ang="T88">
                          <a:pos x="T4" y="T5"/>
                        </a:cxn>
                        <a:cxn ang="T89">
                          <a:pos x="T6" y="T7"/>
                        </a:cxn>
                        <a:cxn ang="T90">
                          <a:pos x="T8" y="T9"/>
                        </a:cxn>
                        <a:cxn ang="T91">
                          <a:pos x="T10" y="T11"/>
                        </a:cxn>
                        <a:cxn ang="T92">
                          <a:pos x="T12" y="T13"/>
                        </a:cxn>
                        <a:cxn ang="T93">
                          <a:pos x="T14" y="T15"/>
                        </a:cxn>
                        <a:cxn ang="T94">
                          <a:pos x="T16" y="T17"/>
                        </a:cxn>
                        <a:cxn ang="T95">
                          <a:pos x="T18" y="T19"/>
                        </a:cxn>
                        <a:cxn ang="T96">
                          <a:pos x="T20" y="T21"/>
                        </a:cxn>
                        <a:cxn ang="T97">
                          <a:pos x="T22" y="T23"/>
                        </a:cxn>
                        <a:cxn ang="T98">
                          <a:pos x="T24" y="T25"/>
                        </a:cxn>
                        <a:cxn ang="T99">
                          <a:pos x="T26" y="T27"/>
                        </a:cxn>
                        <a:cxn ang="T100">
                          <a:pos x="T28" y="T29"/>
                        </a:cxn>
                        <a:cxn ang="T101">
                          <a:pos x="T30" y="T31"/>
                        </a:cxn>
                        <a:cxn ang="T102">
                          <a:pos x="T32" y="T33"/>
                        </a:cxn>
                        <a:cxn ang="T103">
                          <a:pos x="T34" y="T35"/>
                        </a:cxn>
                        <a:cxn ang="T104">
                          <a:pos x="T36" y="T37"/>
                        </a:cxn>
                        <a:cxn ang="T105">
                          <a:pos x="T38" y="T39"/>
                        </a:cxn>
                        <a:cxn ang="T106">
                          <a:pos x="T40" y="T41"/>
                        </a:cxn>
                        <a:cxn ang="T107">
                          <a:pos x="T42" y="T43"/>
                        </a:cxn>
                        <a:cxn ang="T108">
                          <a:pos x="T44" y="T45"/>
                        </a:cxn>
                        <a:cxn ang="T109">
                          <a:pos x="T46" y="T47"/>
                        </a:cxn>
                        <a:cxn ang="T110">
                          <a:pos x="T48" y="T49"/>
                        </a:cxn>
                        <a:cxn ang="T111">
                          <a:pos x="T50" y="T51"/>
                        </a:cxn>
                        <a:cxn ang="T112">
                          <a:pos x="T52" y="T53"/>
                        </a:cxn>
                        <a:cxn ang="T113">
                          <a:pos x="T54" y="T55"/>
                        </a:cxn>
                        <a:cxn ang="T114">
                          <a:pos x="T56" y="T57"/>
                        </a:cxn>
                        <a:cxn ang="T115">
                          <a:pos x="T58" y="T59"/>
                        </a:cxn>
                        <a:cxn ang="T116">
                          <a:pos x="T60" y="T61"/>
                        </a:cxn>
                        <a:cxn ang="T117">
                          <a:pos x="T62" y="T63"/>
                        </a:cxn>
                        <a:cxn ang="T118">
                          <a:pos x="T64" y="T65"/>
                        </a:cxn>
                        <a:cxn ang="T119">
                          <a:pos x="T66" y="T67"/>
                        </a:cxn>
                        <a:cxn ang="T120">
                          <a:pos x="T68" y="T69"/>
                        </a:cxn>
                        <a:cxn ang="T121">
                          <a:pos x="T70" y="T71"/>
                        </a:cxn>
                        <a:cxn ang="T122">
                          <a:pos x="T72" y="T73"/>
                        </a:cxn>
                        <a:cxn ang="T123">
                          <a:pos x="T74" y="T75"/>
                        </a:cxn>
                        <a:cxn ang="T124">
                          <a:pos x="T76" y="T77"/>
                        </a:cxn>
                        <a:cxn ang="T125">
                          <a:pos x="T78" y="T79"/>
                        </a:cxn>
                        <a:cxn ang="T126">
                          <a:pos x="T80" y="T81"/>
                        </a:cxn>
                        <a:cxn ang="T127">
                          <a:pos x="T82" y="T83"/>
                        </a:cxn>
                        <a:cxn ang="T128">
                          <a:pos x="T84" y="T85"/>
                        </a:cxn>
                      </a:cxnLst>
                      <a:rect l="T129" t="T130" r="T131" b="T132"/>
                      <a:pathLst>
                        <a:path w="342" h="198">
                          <a:moveTo>
                            <a:pt x="330" y="60"/>
                          </a:moveTo>
                          <a:lnTo>
                            <a:pt x="312" y="54"/>
                          </a:lnTo>
                          <a:lnTo>
                            <a:pt x="294" y="42"/>
                          </a:lnTo>
                          <a:lnTo>
                            <a:pt x="282" y="30"/>
                          </a:lnTo>
                          <a:lnTo>
                            <a:pt x="276" y="30"/>
                          </a:lnTo>
                          <a:lnTo>
                            <a:pt x="264" y="24"/>
                          </a:lnTo>
                          <a:lnTo>
                            <a:pt x="234" y="24"/>
                          </a:lnTo>
                          <a:lnTo>
                            <a:pt x="228" y="12"/>
                          </a:lnTo>
                          <a:lnTo>
                            <a:pt x="222" y="6"/>
                          </a:lnTo>
                          <a:lnTo>
                            <a:pt x="210" y="6"/>
                          </a:lnTo>
                          <a:lnTo>
                            <a:pt x="198" y="18"/>
                          </a:lnTo>
                          <a:lnTo>
                            <a:pt x="180" y="18"/>
                          </a:lnTo>
                          <a:lnTo>
                            <a:pt x="174" y="12"/>
                          </a:lnTo>
                          <a:lnTo>
                            <a:pt x="162" y="12"/>
                          </a:lnTo>
                          <a:lnTo>
                            <a:pt x="156" y="18"/>
                          </a:lnTo>
                          <a:lnTo>
                            <a:pt x="150" y="18"/>
                          </a:lnTo>
                          <a:lnTo>
                            <a:pt x="144" y="12"/>
                          </a:lnTo>
                          <a:lnTo>
                            <a:pt x="138" y="12"/>
                          </a:lnTo>
                          <a:lnTo>
                            <a:pt x="126" y="6"/>
                          </a:lnTo>
                          <a:lnTo>
                            <a:pt x="120" y="6"/>
                          </a:lnTo>
                          <a:lnTo>
                            <a:pt x="114" y="12"/>
                          </a:lnTo>
                          <a:lnTo>
                            <a:pt x="108" y="12"/>
                          </a:lnTo>
                          <a:lnTo>
                            <a:pt x="102" y="6"/>
                          </a:lnTo>
                          <a:lnTo>
                            <a:pt x="96" y="6"/>
                          </a:lnTo>
                          <a:lnTo>
                            <a:pt x="90" y="0"/>
                          </a:lnTo>
                          <a:lnTo>
                            <a:pt x="72" y="0"/>
                          </a:lnTo>
                          <a:lnTo>
                            <a:pt x="60" y="12"/>
                          </a:lnTo>
                          <a:lnTo>
                            <a:pt x="18" y="12"/>
                          </a:lnTo>
                          <a:lnTo>
                            <a:pt x="6" y="18"/>
                          </a:lnTo>
                          <a:lnTo>
                            <a:pt x="0" y="18"/>
                          </a:lnTo>
                          <a:lnTo>
                            <a:pt x="0" y="60"/>
                          </a:lnTo>
                          <a:lnTo>
                            <a:pt x="12" y="84"/>
                          </a:lnTo>
                          <a:lnTo>
                            <a:pt x="18" y="90"/>
                          </a:lnTo>
                          <a:lnTo>
                            <a:pt x="18" y="96"/>
                          </a:lnTo>
                          <a:lnTo>
                            <a:pt x="30" y="96"/>
                          </a:lnTo>
                          <a:lnTo>
                            <a:pt x="30" y="102"/>
                          </a:lnTo>
                          <a:lnTo>
                            <a:pt x="42" y="102"/>
                          </a:lnTo>
                          <a:lnTo>
                            <a:pt x="48" y="108"/>
                          </a:lnTo>
                          <a:lnTo>
                            <a:pt x="72" y="108"/>
                          </a:lnTo>
                          <a:lnTo>
                            <a:pt x="84" y="102"/>
                          </a:lnTo>
                          <a:lnTo>
                            <a:pt x="102" y="102"/>
                          </a:lnTo>
                          <a:lnTo>
                            <a:pt x="108" y="114"/>
                          </a:lnTo>
                          <a:lnTo>
                            <a:pt x="108" y="132"/>
                          </a:lnTo>
                          <a:lnTo>
                            <a:pt x="96" y="144"/>
                          </a:lnTo>
                          <a:lnTo>
                            <a:pt x="102" y="162"/>
                          </a:lnTo>
                          <a:lnTo>
                            <a:pt x="120" y="162"/>
                          </a:lnTo>
                          <a:lnTo>
                            <a:pt x="138" y="168"/>
                          </a:lnTo>
                          <a:lnTo>
                            <a:pt x="144" y="168"/>
                          </a:lnTo>
                          <a:lnTo>
                            <a:pt x="156" y="174"/>
                          </a:lnTo>
                          <a:lnTo>
                            <a:pt x="156" y="198"/>
                          </a:lnTo>
                          <a:lnTo>
                            <a:pt x="162" y="198"/>
                          </a:lnTo>
                          <a:lnTo>
                            <a:pt x="168" y="192"/>
                          </a:lnTo>
                          <a:lnTo>
                            <a:pt x="180" y="192"/>
                          </a:lnTo>
                          <a:lnTo>
                            <a:pt x="192" y="186"/>
                          </a:lnTo>
                          <a:lnTo>
                            <a:pt x="198" y="186"/>
                          </a:lnTo>
                          <a:lnTo>
                            <a:pt x="204" y="192"/>
                          </a:lnTo>
                          <a:lnTo>
                            <a:pt x="204" y="198"/>
                          </a:lnTo>
                          <a:lnTo>
                            <a:pt x="234" y="198"/>
                          </a:lnTo>
                          <a:lnTo>
                            <a:pt x="234" y="180"/>
                          </a:lnTo>
                          <a:lnTo>
                            <a:pt x="246" y="192"/>
                          </a:lnTo>
                          <a:lnTo>
                            <a:pt x="252" y="180"/>
                          </a:lnTo>
                          <a:lnTo>
                            <a:pt x="258" y="174"/>
                          </a:lnTo>
                          <a:lnTo>
                            <a:pt x="270" y="168"/>
                          </a:lnTo>
                          <a:lnTo>
                            <a:pt x="288" y="168"/>
                          </a:lnTo>
                          <a:lnTo>
                            <a:pt x="288" y="174"/>
                          </a:lnTo>
                          <a:lnTo>
                            <a:pt x="282" y="180"/>
                          </a:lnTo>
                          <a:lnTo>
                            <a:pt x="294" y="180"/>
                          </a:lnTo>
                          <a:lnTo>
                            <a:pt x="294" y="174"/>
                          </a:lnTo>
                          <a:lnTo>
                            <a:pt x="288" y="168"/>
                          </a:lnTo>
                          <a:lnTo>
                            <a:pt x="288" y="156"/>
                          </a:lnTo>
                          <a:lnTo>
                            <a:pt x="282" y="150"/>
                          </a:lnTo>
                          <a:lnTo>
                            <a:pt x="282" y="144"/>
                          </a:lnTo>
                          <a:lnTo>
                            <a:pt x="294" y="144"/>
                          </a:lnTo>
                          <a:lnTo>
                            <a:pt x="294" y="138"/>
                          </a:lnTo>
                          <a:lnTo>
                            <a:pt x="288" y="126"/>
                          </a:lnTo>
                          <a:lnTo>
                            <a:pt x="288" y="120"/>
                          </a:lnTo>
                          <a:lnTo>
                            <a:pt x="294" y="114"/>
                          </a:lnTo>
                          <a:lnTo>
                            <a:pt x="312" y="114"/>
                          </a:lnTo>
                          <a:lnTo>
                            <a:pt x="306" y="96"/>
                          </a:lnTo>
                          <a:lnTo>
                            <a:pt x="312" y="96"/>
                          </a:lnTo>
                          <a:lnTo>
                            <a:pt x="318" y="102"/>
                          </a:lnTo>
                          <a:lnTo>
                            <a:pt x="336" y="102"/>
                          </a:lnTo>
                          <a:lnTo>
                            <a:pt x="342" y="96"/>
                          </a:lnTo>
                          <a:lnTo>
                            <a:pt x="324" y="78"/>
                          </a:lnTo>
                          <a:lnTo>
                            <a:pt x="324" y="72"/>
                          </a:lnTo>
                          <a:lnTo>
                            <a:pt x="330" y="66"/>
                          </a:lnTo>
                          <a:lnTo>
                            <a:pt x="330" y="60"/>
                          </a:lnTo>
                          <a:close/>
                        </a:path>
                      </a:pathLst>
                    </a:custGeom>
                    <a:solidFill>
                      <a:schemeClr val="bg1">
                        <a:lumMod val="7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34" name="Liechtenstein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484693" y="2546352"/>
                      <a:ext cx="6350" cy="9525"/>
                    </a:xfrm>
                    <a:custGeom>
                      <a:avLst/>
                      <a:gdLst>
                        <a:gd name="T0" fmla="*/ 2147483647 w 18"/>
                        <a:gd name="T1" fmla="*/ 0 h 24"/>
                        <a:gd name="T2" fmla="*/ 2147483647 w 18"/>
                        <a:gd name="T3" fmla="*/ 2147483647 h 24"/>
                        <a:gd name="T4" fmla="*/ 0 w 18"/>
                        <a:gd name="T5" fmla="*/ 2147483647 h 24"/>
                        <a:gd name="T6" fmla="*/ 0 w 18"/>
                        <a:gd name="T7" fmla="*/ 2147483647 h 24"/>
                        <a:gd name="T8" fmla="*/ 2147483647 w 18"/>
                        <a:gd name="T9" fmla="*/ 2147483647 h 24"/>
                        <a:gd name="T10" fmla="*/ 2147483647 w 18"/>
                        <a:gd name="T11" fmla="*/ 0 h 24"/>
                        <a:gd name="T12" fmla="*/ 2147483647 w 18"/>
                        <a:gd name="T13" fmla="*/ 0 h 24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w 18"/>
                        <a:gd name="T22" fmla="*/ 0 h 24"/>
                        <a:gd name="T23" fmla="*/ 18 w 18"/>
                        <a:gd name="T24" fmla="*/ 24 h 24"/>
                      </a:gdLst>
                      <a:ahLst/>
                      <a:cxnLst>
                        <a:cxn ang="T14">
                          <a:pos x="T0" y="T1"/>
                        </a:cxn>
                        <a:cxn ang="T15">
                          <a:pos x="T2" y="T3"/>
                        </a:cxn>
                        <a:cxn ang="T16">
                          <a:pos x="T4" y="T5"/>
                        </a:cxn>
                        <a:cxn ang="T17">
                          <a:pos x="T6" y="T7"/>
                        </a:cxn>
                        <a:cxn ang="T18">
                          <a:pos x="T8" y="T9"/>
                        </a:cxn>
                        <a:cxn ang="T19">
                          <a:pos x="T10" y="T11"/>
                        </a:cxn>
                        <a:cxn ang="T20">
                          <a:pos x="T12" y="T13"/>
                        </a:cxn>
                      </a:cxnLst>
                      <a:rect l="T21" t="T22" r="T23" b="T24"/>
                      <a:pathLst>
                        <a:path w="18" h="24">
                          <a:moveTo>
                            <a:pt x="12" y="0"/>
                          </a:moveTo>
                          <a:lnTo>
                            <a:pt x="6" y="6"/>
                          </a:lnTo>
                          <a:lnTo>
                            <a:pt x="0" y="18"/>
                          </a:lnTo>
                          <a:lnTo>
                            <a:pt x="0" y="24"/>
                          </a:lnTo>
                          <a:lnTo>
                            <a:pt x="18" y="24"/>
                          </a:lnTo>
                          <a:lnTo>
                            <a:pt x="18" y="0"/>
                          </a:ln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35" name="Latvia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760919" y="2211389"/>
                      <a:ext cx="171450" cy="73025"/>
                    </a:xfrm>
                    <a:custGeom>
                      <a:avLst/>
                      <a:gdLst>
                        <a:gd name="T0" fmla="*/ 2147483647 w 426"/>
                        <a:gd name="T1" fmla="*/ 2147483647 h 180"/>
                        <a:gd name="T2" fmla="*/ 2147483647 w 426"/>
                        <a:gd name="T3" fmla="*/ 2147483647 h 180"/>
                        <a:gd name="T4" fmla="*/ 2147483647 w 426"/>
                        <a:gd name="T5" fmla="*/ 2147483647 h 180"/>
                        <a:gd name="T6" fmla="*/ 2147483647 w 426"/>
                        <a:gd name="T7" fmla="*/ 2147483647 h 180"/>
                        <a:gd name="T8" fmla="*/ 2147483647 w 426"/>
                        <a:gd name="T9" fmla="*/ 2147483647 h 180"/>
                        <a:gd name="T10" fmla="*/ 2147483647 w 426"/>
                        <a:gd name="T11" fmla="*/ 2147483647 h 180"/>
                        <a:gd name="T12" fmla="*/ 2147483647 w 426"/>
                        <a:gd name="T13" fmla="*/ 2147483647 h 180"/>
                        <a:gd name="T14" fmla="*/ 2147483647 w 426"/>
                        <a:gd name="T15" fmla="*/ 2147483647 h 180"/>
                        <a:gd name="T16" fmla="*/ 2147483647 w 426"/>
                        <a:gd name="T17" fmla="*/ 2147483647 h 180"/>
                        <a:gd name="T18" fmla="*/ 2147483647 w 426"/>
                        <a:gd name="T19" fmla="*/ 2147483647 h 180"/>
                        <a:gd name="T20" fmla="*/ 2147483647 w 426"/>
                        <a:gd name="T21" fmla="*/ 2147483647 h 180"/>
                        <a:gd name="T22" fmla="*/ 2147483647 w 426"/>
                        <a:gd name="T23" fmla="*/ 2147483647 h 180"/>
                        <a:gd name="T24" fmla="*/ 2147483647 w 426"/>
                        <a:gd name="T25" fmla="*/ 2147483647 h 180"/>
                        <a:gd name="T26" fmla="*/ 2147483647 w 426"/>
                        <a:gd name="T27" fmla="*/ 2147483647 h 180"/>
                        <a:gd name="T28" fmla="*/ 2147483647 w 426"/>
                        <a:gd name="T29" fmla="*/ 2147483647 h 180"/>
                        <a:gd name="T30" fmla="*/ 2147483647 w 426"/>
                        <a:gd name="T31" fmla="*/ 2147483647 h 180"/>
                        <a:gd name="T32" fmla="*/ 2147483647 w 426"/>
                        <a:gd name="T33" fmla="*/ 2147483647 h 180"/>
                        <a:gd name="T34" fmla="*/ 2147483647 w 426"/>
                        <a:gd name="T35" fmla="*/ 2147483647 h 180"/>
                        <a:gd name="T36" fmla="*/ 2147483647 w 426"/>
                        <a:gd name="T37" fmla="*/ 2147483647 h 180"/>
                        <a:gd name="T38" fmla="*/ 2147483647 w 426"/>
                        <a:gd name="T39" fmla="*/ 2147483647 h 180"/>
                        <a:gd name="T40" fmla="*/ 2147483647 w 426"/>
                        <a:gd name="T41" fmla="*/ 2147483647 h 180"/>
                        <a:gd name="T42" fmla="*/ 2147483647 w 426"/>
                        <a:gd name="T43" fmla="*/ 2147483647 h 180"/>
                        <a:gd name="T44" fmla="*/ 2147483647 w 426"/>
                        <a:gd name="T45" fmla="*/ 2147483647 h 180"/>
                        <a:gd name="T46" fmla="*/ 2147483647 w 426"/>
                        <a:gd name="T47" fmla="*/ 2147483647 h 180"/>
                        <a:gd name="T48" fmla="*/ 2147483647 w 426"/>
                        <a:gd name="T49" fmla="*/ 2147483647 h 180"/>
                        <a:gd name="T50" fmla="*/ 2147483647 w 426"/>
                        <a:gd name="T51" fmla="*/ 2147483647 h 180"/>
                        <a:gd name="T52" fmla="*/ 2147483647 w 426"/>
                        <a:gd name="T53" fmla="*/ 2147483647 h 180"/>
                        <a:gd name="T54" fmla="*/ 2147483647 w 426"/>
                        <a:gd name="T55" fmla="*/ 2147483647 h 180"/>
                        <a:gd name="T56" fmla="*/ 2147483647 w 426"/>
                        <a:gd name="T57" fmla="*/ 2147483647 h 180"/>
                        <a:gd name="T58" fmla="*/ 2147483647 w 426"/>
                        <a:gd name="T59" fmla="*/ 2147483647 h 180"/>
                        <a:gd name="T60" fmla="*/ 2147483647 w 426"/>
                        <a:gd name="T61" fmla="*/ 0 h 180"/>
                        <a:gd name="T62" fmla="*/ 2147483647 w 426"/>
                        <a:gd name="T63" fmla="*/ 2147483647 h 180"/>
                        <a:gd name="T64" fmla="*/ 2147483647 w 426"/>
                        <a:gd name="T65" fmla="*/ 2147483647 h 180"/>
                        <a:gd name="T66" fmla="*/ 2147483647 w 426"/>
                        <a:gd name="T67" fmla="*/ 2147483647 h 180"/>
                        <a:gd name="T68" fmla="*/ 2147483647 w 426"/>
                        <a:gd name="T69" fmla="*/ 2147483647 h 180"/>
                        <a:gd name="T70" fmla="*/ 2147483647 w 426"/>
                        <a:gd name="T71" fmla="*/ 2147483647 h 180"/>
                        <a:gd name="T72" fmla="*/ 2147483647 w 426"/>
                        <a:gd name="T73" fmla="*/ 2147483647 h 180"/>
                        <a:gd name="T74" fmla="*/ 2147483647 w 426"/>
                        <a:gd name="T75" fmla="*/ 2147483647 h 180"/>
                        <a:gd name="T76" fmla="*/ 2147483647 w 426"/>
                        <a:gd name="T77" fmla="*/ 2147483647 h 180"/>
                        <a:gd name="T78" fmla="*/ 2147483647 w 426"/>
                        <a:gd name="T79" fmla="*/ 2147483647 h 180"/>
                        <a:gd name="T80" fmla="*/ 2147483647 w 426"/>
                        <a:gd name="T81" fmla="*/ 2147483647 h 180"/>
                        <a:gd name="T82" fmla="*/ 2147483647 w 426"/>
                        <a:gd name="T83" fmla="*/ 2147483647 h 180"/>
                        <a:gd name="T84" fmla="*/ 0 w 426"/>
                        <a:gd name="T85" fmla="*/ 2147483647 h 180"/>
                        <a:gd name="T86" fmla="*/ 2147483647 w 426"/>
                        <a:gd name="T87" fmla="*/ 2147483647 h 180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w 426"/>
                        <a:gd name="T133" fmla="*/ 0 h 180"/>
                        <a:gd name="T134" fmla="*/ 426 w 426"/>
                        <a:gd name="T135" fmla="*/ 180 h 180"/>
                      </a:gdLst>
                      <a:ahLst/>
                      <a:cxnLst>
                        <a:cxn ang="T88">
                          <a:pos x="T0" y="T1"/>
                        </a:cxn>
                        <a:cxn ang="T89">
                          <a:pos x="T2" y="T3"/>
                        </a:cxn>
                        <a:cxn ang="T90">
                          <a:pos x="T4" y="T5"/>
                        </a:cxn>
                        <a:cxn ang="T91">
                          <a:pos x="T6" y="T7"/>
                        </a:cxn>
                        <a:cxn ang="T92">
                          <a:pos x="T8" y="T9"/>
                        </a:cxn>
                        <a:cxn ang="T93">
                          <a:pos x="T10" y="T11"/>
                        </a:cxn>
                        <a:cxn ang="T94">
                          <a:pos x="T12" y="T13"/>
                        </a:cxn>
                        <a:cxn ang="T95">
                          <a:pos x="T14" y="T15"/>
                        </a:cxn>
                        <a:cxn ang="T96">
                          <a:pos x="T16" y="T17"/>
                        </a:cxn>
                        <a:cxn ang="T97">
                          <a:pos x="T18" y="T19"/>
                        </a:cxn>
                        <a:cxn ang="T98">
                          <a:pos x="T20" y="T21"/>
                        </a:cxn>
                        <a:cxn ang="T99">
                          <a:pos x="T22" y="T23"/>
                        </a:cxn>
                        <a:cxn ang="T100">
                          <a:pos x="T24" y="T25"/>
                        </a:cxn>
                        <a:cxn ang="T101">
                          <a:pos x="T26" y="T27"/>
                        </a:cxn>
                        <a:cxn ang="T102">
                          <a:pos x="T28" y="T29"/>
                        </a:cxn>
                        <a:cxn ang="T103">
                          <a:pos x="T30" y="T31"/>
                        </a:cxn>
                        <a:cxn ang="T104">
                          <a:pos x="T32" y="T33"/>
                        </a:cxn>
                        <a:cxn ang="T105">
                          <a:pos x="T34" y="T35"/>
                        </a:cxn>
                        <a:cxn ang="T106">
                          <a:pos x="T36" y="T37"/>
                        </a:cxn>
                        <a:cxn ang="T107">
                          <a:pos x="T38" y="T39"/>
                        </a:cxn>
                        <a:cxn ang="T108">
                          <a:pos x="T40" y="T41"/>
                        </a:cxn>
                        <a:cxn ang="T109">
                          <a:pos x="T42" y="T43"/>
                        </a:cxn>
                        <a:cxn ang="T110">
                          <a:pos x="T44" y="T45"/>
                        </a:cxn>
                        <a:cxn ang="T111">
                          <a:pos x="T46" y="T47"/>
                        </a:cxn>
                        <a:cxn ang="T112">
                          <a:pos x="T48" y="T49"/>
                        </a:cxn>
                        <a:cxn ang="T113">
                          <a:pos x="T50" y="T51"/>
                        </a:cxn>
                        <a:cxn ang="T114">
                          <a:pos x="T52" y="T53"/>
                        </a:cxn>
                        <a:cxn ang="T115">
                          <a:pos x="T54" y="T55"/>
                        </a:cxn>
                        <a:cxn ang="T116">
                          <a:pos x="T56" y="T57"/>
                        </a:cxn>
                        <a:cxn ang="T117">
                          <a:pos x="T58" y="T59"/>
                        </a:cxn>
                        <a:cxn ang="T118">
                          <a:pos x="T60" y="T61"/>
                        </a:cxn>
                        <a:cxn ang="T119">
                          <a:pos x="T62" y="T63"/>
                        </a:cxn>
                        <a:cxn ang="T120">
                          <a:pos x="T64" y="T65"/>
                        </a:cxn>
                        <a:cxn ang="T121">
                          <a:pos x="T66" y="T67"/>
                        </a:cxn>
                        <a:cxn ang="T122">
                          <a:pos x="T68" y="T69"/>
                        </a:cxn>
                        <a:cxn ang="T123">
                          <a:pos x="T70" y="T71"/>
                        </a:cxn>
                        <a:cxn ang="T124">
                          <a:pos x="T72" y="T73"/>
                        </a:cxn>
                        <a:cxn ang="T125">
                          <a:pos x="T74" y="T75"/>
                        </a:cxn>
                        <a:cxn ang="T126">
                          <a:pos x="T76" y="T77"/>
                        </a:cxn>
                        <a:cxn ang="T127">
                          <a:pos x="T78" y="T79"/>
                        </a:cxn>
                        <a:cxn ang="T128">
                          <a:pos x="T80" y="T81"/>
                        </a:cxn>
                        <a:cxn ang="T129">
                          <a:pos x="T82" y="T83"/>
                        </a:cxn>
                        <a:cxn ang="T130">
                          <a:pos x="T84" y="T85"/>
                        </a:cxn>
                        <a:cxn ang="T131">
                          <a:pos x="T86" y="T87"/>
                        </a:cxn>
                      </a:cxnLst>
                      <a:rect l="T132" t="T133" r="T134" b="T135"/>
                      <a:pathLst>
                        <a:path w="426" h="180">
                          <a:moveTo>
                            <a:pt x="6" y="144"/>
                          </a:moveTo>
                          <a:lnTo>
                            <a:pt x="6" y="138"/>
                          </a:lnTo>
                          <a:lnTo>
                            <a:pt x="12" y="138"/>
                          </a:lnTo>
                          <a:lnTo>
                            <a:pt x="24" y="132"/>
                          </a:lnTo>
                          <a:lnTo>
                            <a:pt x="66" y="132"/>
                          </a:lnTo>
                          <a:lnTo>
                            <a:pt x="78" y="120"/>
                          </a:lnTo>
                          <a:lnTo>
                            <a:pt x="96" y="120"/>
                          </a:lnTo>
                          <a:lnTo>
                            <a:pt x="102" y="126"/>
                          </a:lnTo>
                          <a:lnTo>
                            <a:pt x="108" y="126"/>
                          </a:lnTo>
                          <a:lnTo>
                            <a:pt x="114" y="132"/>
                          </a:lnTo>
                          <a:lnTo>
                            <a:pt x="120" y="132"/>
                          </a:lnTo>
                          <a:lnTo>
                            <a:pt x="126" y="126"/>
                          </a:lnTo>
                          <a:lnTo>
                            <a:pt x="132" y="126"/>
                          </a:lnTo>
                          <a:lnTo>
                            <a:pt x="144" y="132"/>
                          </a:lnTo>
                          <a:lnTo>
                            <a:pt x="150" y="132"/>
                          </a:lnTo>
                          <a:lnTo>
                            <a:pt x="156" y="138"/>
                          </a:lnTo>
                          <a:lnTo>
                            <a:pt x="162" y="138"/>
                          </a:lnTo>
                          <a:lnTo>
                            <a:pt x="168" y="132"/>
                          </a:lnTo>
                          <a:lnTo>
                            <a:pt x="180" y="132"/>
                          </a:lnTo>
                          <a:lnTo>
                            <a:pt x="186" y="138"/>
                          </a:lnTo>
                          <a:lnTo>
                            <a:pt x="204" y="138"/>
                          </a:lnTo>
                          <a:lnTo>
                            <a:pt x="216" y="126"/>
                          </a:lnTo>
                          <a:lnTo>
                            <a:pt x="228" y="126"/>
                          </a:lnTo>
                          <a:lnTo>
                            <a:pt x="234" y="132"/>
                          </a:lnTo>
                          <a:lnTo>
                            <a:pt x="240" y="144"/>
                          </a:lnTo>
                          <a:lnTo>
                            <a:pt x="270" y="144"/>
                          </a:lnTo>
                          <a:lnTo>
                            <a:pt x="282" y="150"/>
                          </a:lnTo>
                          <a:lnTo>
                            <a:pt x="288" y="150"/>
                          </a:lnTo>
                          <a:lnTo>
                            <a:pt x="300" y="162"/>
                          </a:lnTo>
                          <a:lnTo>
                            <a:pt x="318" y="174"/>
                          </a:lnTo>
                          <a:lnTo>
                            <a:pt x="336" y="180"/>
                          </a:lnTo>
                          <a:lnTo>
                            <a:pt x="360" y="168"/>
                          </a:lnTo>
                          <a:lnTo>
                            <a:pt x="378" y="168"/>
                          </a:lnTo>
                          <a:lnTo>
                            <a:pt x="384" y="174"/>
                          </a:lnTo>
                          <a:lnTo>
                            <a:pt x="390" y="168"/>
                          </a:lnTo>
                          <a:lnTo>
                            <a:pt x="396" y="168"/>
                          </a:lnTo>
                          <a:lnTo>
                            <a:pt x="402" y="162"/>
                          </a:lnTo>
                          <a:lnTo>
                            <a:pt x="408" y="150"/>
                          </a:lnTo>
                          <a:lnTo>
                            <a:pt x="414" y="144"/>
                          </a:lnTo>
                          <a:lnTo>
                            <a:pt x="420" y="150"/>
                          </a:lnTo>
                          <a:lnTo>
                            <a:pt x="426" y="150"/>
                          </a:lnTo>
                          <a:lnTo>
                            <a:pt x="426" y="126"/>
                          </a:lnTo>
                          <a:lnTo>
                            <a:pt x="414" y="114"/>
                          </a:lnTo>
                          <a:lnTo>
                            <a:pt x="408" y="102"/>
                          </a:lnTo>
                          <a:lnTo>
                            <a:pt x="402" y="96"/>
                          </a:lnTo>
                          <a:lnTo>
                            <a:pt x="378" y="90"/>
                          </a:lnTo>
                          <a:lnTo>
                            <a:pt x="384" y="72"/>
                          </a:lnTo>
                          <a:lnTo>
                            <a:pt x="402" y="72"/>
                          </a:lnTo>
                          <a:lnTo>
                            <a:pt x="402" y="66"/>
                          </a:lnTo>
                          <a:lnTo>
                            <a:pt x="396" y="60"/>
                          </a:lnTo>
                          <a:lnTo>
                            <a:pt x="384" y="54"/>
                          </a:lnTo>
                          <a:lnTo>
                            <a:pt x="372" y="42"/>
                          </a:lnTo>
                          <a:lnTo>
                            <a:pt x="354" y="42"/>
                          </a:lnTo>
                          <a:lnTo>
                            <a:pt x="348" y="36"/>
                          </a:lnTo>
                          <a:lnTo>
                            <a:pt x="330" y="36"/>
                          </a:lnTo>
                          <a:lnTo>
                            <a:pt x="324" y="42"/>
                          </a:lnTo>
                          <a:lnTo>
                            <a:pt x="306" y="42"/>
                          </a:lnTo>
                          <a:lnTo>
                            <a:pt x="288" y="24"/>
                          </a:lnTo>
                          <a:lnTo>
                            <a:pt x="276" y="18"/>
                          </a:lnTo>
                          <a:lnTo>
                            <a:pt x="270" y="12"/>
                          </a:lnTo>
                          <a:lnTo>
                            <a:pt x="246" y="0"/>
                          </a:lnTo>
                          <a:lnTo>
                            <a:pt x="216" y="0"/>
                          </a:lnTo>
                          <a:lnTo>
                            <a:pt x="186" y="12"/>
                          </a:lnTo>
                          <a:lnTo>
                            <a:pt x="174" y="12"/>
                          </a:lnTo>
                          <a:lnTo>
                            <a:pt x="180" y="24"/>
                          </a:lnTo>
                          <a:lnTo>
                            <a:pt x="180" y="30"/>
                          </a:lnTo>
                          <a:lnTo>
                            <a:pt x="186" y="42"/>
                          </a:lnTo>
                          <a:lnTo>
                            <a:pt x="186" y="60"/>
                          </a:lnTo>
                          <a:lnTo>
                            <a:pt x="192" y="66"/>
                          </a:lnTo>
                          <a:lnTo>
                            <a:pt x="186" y="78"/>
                          </a:lnTo>
                          <a:lnTo>
                            <a:pt x="156" y="78"/>
                          </a:lnTo>
                          <a:lnTo>
                            <a:pt x="138" y="72"/>
                          </a:lnTo>
                          <a:lnTo>
                            <a:pt x="126" y="72"/>
                          </a:lnTo>
                          <a:lnTo>
                            <a:pt x="114" y="54"/>
                          </a:lnTo>
                          <a:lnTo>
                            <a:pt x="84" y="24"/>
                          </a:lnTo>
                          <a:lnTo>
                            <a:pt x="72" y="24"/>
                          </a:lnTo>
                          <a:lnTo>
                            <a:pt x="60" y="30"/>
                          </a:lnTo>
                          <a:lnTo>
                            <a:pt x="48" y="30"/>
                          </a:lnTo>
                          <a:lnTo>
                            <a:pt x="36" y="36"/>
                          </a:lnTo>
                          <a:lnTo>
                            <a:pt x="30" y="42"/>
                          </a:lnTo>
                          <a:lnTo>
                            <a:pt x="24" y="54"/>
                          </a:lnTo>
                          <a:lnTo>
                            <a:pt x="24" y="66"/>
                          </a:lnTo>
                          <a:lnTo>
                            <a:pt x="18" y="78"/>
                          </a:lnTo>
                          <a:lnTo>
                            <a:pt x="6" y="84"/>
                          </a:lnTo>
                          <a:lnTo>
                            <a:pt x="0" y="96"/>
                          </a:lnTo>
                          <a:lnTo>
                            <a:pt x="0" y="120"/>
                          </a:lnTo>
                          <a:lnTo>
                            <a:pt x="6" y="132"/>
                          </a:lnTo>
                          <a:lnTo>
                            <a:pt x="6" y="150"/>
                          </a:lnTo>
                          <a:lnTo>
                            <a:pt x="6" y="144"/>
                          </a:lnTo>
                          <a:close/>
                        </a:path>
                      </a:pathLst>
                    </a:custGeom>
                    <a:solidFill>
                      <a:schemeClr val="bg1">
                        <a:lumMod val="7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36" name="Italy" descr="© INSCALE GmbH, 05.05.2010&#10;http://www.presentationload.com/"/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4411668" y="2552702"/>
                      <a:ext cx="314326" cy="333375"/>
                    </a:xfrm>
                    <a:custGeom>
                      <a:avLst/>
                      <a:gdLst>
                        <a:gd name="T0" fmla="*/ 2147483647 w 780"/>
                        <a:gd name="T1" fmla="*/ 2147483647 h 828"/>
                        <a:gd name="T2" fmla="*/ 2147483647 w 780"/>
                        <a:gd name="T3" fmla="*/ 2147483647 h 828"/>
                        <a:gd name="T4" fmla="*/ 2147483647 w 780"/>
                        <a:gd name="T5" fmla="*/ 2147483647 h 828"/>
                        <a:gd name="T6" fmla="*/ 2147483647 w 780"/>
                        <a:gd name="T7" fmla="*/ 2147483647 h 828"/>
                        <a:gd name="T8" fmla="*/ 2147483647 w 780"/>
                        <a:gd name="T9" fmla="*/ 2147483647 h 828"/>
                        <a:gd name="T10" fmla="*/ 2147483647 w 780"/>
                        <a:gd name="T11" fmla="*/ 2147483647 h 828"/>
                        <a:gd name="T12" fmla="*/ 2147483647 w 780"/>
                        <a:gd name="T13" fmla="*/ 2147483647 h 828"/>
                        <a:gd name="T14" fmla="*/ 2147483647 w 780"/>
                        <a:gd name="T15" fmla="*/ 2147483647 h 828"/>
                        <a:gd name="T16" fmla="*/ 2147483647 w 780"/>
                        <a:gd name="T17" fmla="*/ 2147483647 h 828"/>
                        <a:gd name="T18" fmla="*/ 2147483647 w 780"/>
                        <a:gd name="T19" fmla="*/ 2147483647 h 828"/>
                        <a:gd name="T20" fmla="*/ 2147483647 w 780"/>
                        <a:gd name="T21" fmla="*/ 2147483647 h 828"/>
                        <a:gd name="T22" fmla="*/ 2147483647 w 780"/>
                        <a:gd name="T23" fmla="*/ 2147483647 h 828"/>
                        <a:gd name="T24" fmla="*/ 2147483647 w 780"/>
                        <a:gd name="T25" fmla="*/ 2147483647 h 828"/>
                        <a:gd name="T26" fmla="*/ 2147483647 w 780"/>
                        <a:gd name="T27" fmla="*/ 2147483647 h 828"/>
                        <a:gd name="T28" fmla="*/ 2147483647 w 780"/>
                        <a:gd name="T29" fmla="*/ 2147483647 h 828"/>
                        <a:gd name="T30" fmla="*/ 2147483647 w 780"/>
                        <a:gd name="T31" fmla="*/ 2147483647 h 828"/>
                        <a:gd name="T32" fmla="*/ 2147483647 w 780"/>
                        <a:gd name="T33" fmla="*/ 2147483647 h 828"/>
                        <a:gd name="T34" fmla="*/ 2147483647 w 780"/>
                        <a:gd name="T35" fmla="*/ 2147483647 h 828"/>
                        <a:gd name="T36" fmla="*/ 2147483647 w 780"/>
                        <a:gd name="T37" fmla="*/ 2147483647 h 828"/>
                        <a:gd name="T38" fmla="*/ 2147483647 w 780"/>
                        <a:gd name="T39" fmla="*/ 2147483647 h 828"/>
                        <a:gd name="T40" fmla="*/ 2147483647 w 780"/>
                        <a:gd name="T41" fmla="*/ 2147483647 h 828"/>
                        <a:gd name="T42" fmla="*/ 2147483647 w 780"/>
                        <a:gd name="T43" fmla="*/ 2147483647 h 828"/>
                        <a:gd name="T44" fmla="*/ 2147483647 w 780"/>
                        <a:gd name="T45" fmla="*/ 2147483647 h 828"/>
                        <a:gd name="T46" fmla="*/ 2147483647 w 780"/>
                        <a:gd name="T47" fmla="*/ 2147483647 h 828"/>
                        <a:gd name="T48" fmla="*/ 2147483647 w 780"/>
                        <a:gd name="T49" fmla="*/ 2147483647 h 828"/>
                        <a:gd name="T50" fmla="*/ 2147483647 w 780"/>
                        <a:gd name="T51" fmla="*/ 2147483647 h 828"/>
                        <a:gd name="T52" fmla="*/ 2147483647 w 780"/>
                        <a:gd name="T53" fmla="*/ 2147483647 h 828"/>
                        <a:gd name="T54" fmla="*/ 2147483647 w 780"/>
                        <a:gd name="T55" fmla="*/ 2147483647 h 828"/>
                        <a:gd name="T56" fmla="*/ 2147483647 w 780"/>
                        <a:gd name="T57" fmla="*/ 2147483647 h 828"/>
                        <a:gd name="T58" fmla="*/ 2147483647 w 780"/>
                        <a:gd name="T59" fmla="*/ 2147483647 h 828"/>
                        <a:gd name="T60" fmla="*/ 2147483647 w 780"/>
                        <a:gd name="T61" fmla="*/ 2147483647 h 828"/>
                        <a:gd name="T62" fmla="*/ 2147483647 w 780"/>
                        <a:gd name="T63" fmla="*/ 2147483647 h 828"/>
                        <a:gd name="T64" fmla="*/ 2147483647 w 780"/>
                        <a:gd name="T65" fmla="*/ 2147483647 h 828"/>
                        <a:gd name="T66" fmla="*/ 2147483647 w 780"/>
                        <a:gd name="T67" fmla="*/ 2147483647 h 828"/>
                        <a:gd name="T68" fmla="*/ 2147483647 w 780"/>
                        <a:gd name="T69" fmla="*/ 2147483647 h 828"/>
                        <a:gd name="T70" fmla="*/ 2147483647 w 780"/>
                        <a:gd name="T71" fmla="*/ 2147483647 h 828"/>
                        <a:gd name="T72" fmla="*/ 2147483647 w 780"/>
                        <a:gd name="T73" fmla="*/ 2147483647 h 828"/>
                        <a:gd name="T74" fmla="*/ 2147483647 w 780"/>
                        <a:gd name="T75" fmla="*/ 2147483647 h 828"/>
                        <a:gd name="T76" fmla="*/ 2147483647 w 780"/>
                        <a:gd name="T77" fmla="*/ 2147483647 h 828"/>
                        <a:gd name="T78" fmla="*/ 2147483647 w 780"/>
                        <a:gd name="T79" fmla="*/ 2147483647 h 828"/>
                        <a:gd name="T80" fmla="*/ 2147483647 w 780"/>
                        <a:gd name="T81" fmla="*/ 2147483647 h 828"/>
                        <a:gd name="T82" fmla="*/ 2147483647 w 780"/>
                        <a:gd name="T83" fmla="*/ 2147483647 h 828"/>
                        <a:gd name="T84" fmla="*/ 2147483647 w 780"/>
                        <a:gd name="T85" fmla="*/ 2147483647 h 828"/>
                        <a:gd name="T86" fmla="*/ 2147483647 w 780"/>
                        <a:gd name="T87" fmla="*/ 2147483647 h 828"/>
                        <a:gd name="T88" fmla="*/ 2147483647 w 780"/>
                        <a:gd name="T89" fmla="*/ 2147483647 h 828"/>
                        <a:gd name="T90" fmla="*/ 2147483647 w 780"/>
                        <a:gd name="T91" fmla="*/ 2147483647 h 828"/>
                        <a:gd name="T92" fmla="*/ 2147483647 w 780"/>
                        <a:gd name="T93" fmla="*/ 2147483647 h 828"/>
                        <a:gd name="T94" fmla="*/ 2147483647 w 780"/>
                        <a:gd name="T95" fmla="*/ 2147483647 h 828"/>
                        <a:gd name="T96" fmla="*/ 2147483647 w 780"/>
                        <a:gd name="T97" fmla="*/ 2147483647 h 828"/>
                        <a:gd name="T98" fmla="*/ 2147483647 w 780"/>
                        <a:gd name="T99" fmla="*/ 2147483647 h 828"/>
                        <a:gd name="T100" fmla="*/ 2147483647 w 780"/>
                        <a:gd name="T101" fmla="*/ 2147483647 h 828"/>
                        <a:gd name="T102" fmla="*/ 2147483647 w 780"/>
                        <a:gd name="T103" fmla="*/ 2147483647 h 828"/>
                        <a:gd name="T104" fmla="*/ 2147483647 w 780"/>
                        <a:gd name="T105" fmla="*/ 2147483647 h 828"/>
                        <a:gd name="T106" fmla="*/ 2147483647 w 780"/>
                        <a:gd name="T107" fmla="*/ 2147483647 h 828"/>
                        <a:gd name="T108" fmla="*/ 2147483647 w 780"/>
                        <a:gd name="T109" fmla="*/ 2147483647 h 828"/>
                        <a:gd name="T110" fmla="*/ 2147483647 w 780"/>
                        <a:gd name="T111" fmla="*/ 2147483647 h 828"/>
                        <a:gd name="T112" fmla="*/ 2147483647 w 780"/>
                        <a:gd name="T113" fmla="*/ 2147483647 h 828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w 780"/>
                        <a:gd name="T172" fmla="*/ 0 h 828"/>
                        <a:gd name="T173" fmla="*/ 780 w 780"/>
                        <a:gd name="T174" fmla="*/ 828 h 828"/>
                      </a:gdLst>
                      <a:ahLst/>
                      <a:cxnLst>
                        <a:cxn ang="T114">
                          <a:pos x="T0" y="T1"/>
                        </a:cxn>
                        <a:cxn ang="T115">
                          <a:pos x="T2" y="T3"/>
                        </a:cxn>
                        <a:cxn ang="T116">
                          <a:pos x="T4" y="T5"/>
                        </a:cxn>
                        <a:cxn ang="T117">
                          <a:pos x="T6" y="T7"/>
                        </a:cxn>
                        <a:cxn ang="T118">
                          <a:pos x="T8" y="T9"/>
                        </a:cxn>
                        <a:cxn ang="T119">
                          <a:pos x="T10" y="T11"/>
                        </a:cxn>
                        <a:cxn ang="T120">
                          <a:pos x="T12" y="T13"/>
                        </a:cxn>
                        <a:cxn ang="T121">
                          <a:pos x="T14" y="T15"/>
                        </a:cxn>
                        <a:cxn ang="T122">
                          <a:pos x="T16" y="T17"/>
                        </a:cxn>
                        <a:cxn ang="T123">
                          <a:pos x="T18" y="T19"/>
                        </a:cxn>
                        <a:cxn ang="T124">
                          <a:pos x="T20" y="T21"/>
                        </a:cxn>
                        <a:cxn ang="T125">
                          <a:pos x="T22" y="T23"/>
                        </a:cxn>
                        <a:cxn ang="T126">
                          <a:pos x="T24" y="T25"/>
                        </a:cxn>
                        <a:cxn ang="T127">
                          <a:pos x="T26" y="T27"/>
                        </a:cxn>
                        <a:cxn ang="T128">
                          <a:pos x="T28" y="T29"/>
                        </a:cxn>
                        <a:cxn ang="T129">
                          <a:pos x="T30" y="T31"/>
                        </a:cxn>
                        <a:cxn ang="T130">
                          <a:pos x="T32" y="T33"/>
                        </a:cxn>
                        <a:cxn ang="T131">
                          <a:pos x="T34" y="T35"/>
                        </a:cxn>
                        <a:cxn ang="T132">
                          <a:pos x="T36" y="T37"/>
                        </a:cxn>
                        <a:cxn ang="T133">
                          <a:pos x="T38" y="T39"/>
                        </a:cxn>
                        <a:cxn ang="T134">
                          <a:pos x="T40" y="T41"/>
                        </a:cxn>
                        <a:cxn ang="T135">
                          <a:pos x="T42" y="T43"/>
                        </a:cxn>
                        <a:cxn ang="T136">
                          <a:pos x="T44" y="T45"/>
                        </a:cxn>
                        <a:cxn ang="T137">
                          <a:pos x="T46" y="T47"/>
                        </a:cxn>
                        <a:cxn ang="T138">
                          <a:pos x="T48" y="T49"/>
                        </a:cxn>
                        <a:cxn ang="T139">
                          <a:pos x="T50" y="T51"/>
                        </a:cxn>
                        <a:cxn ang="T140">
                          <a:pos x="T52" y="T53"/>
                        </a:cxn>
                        <a:cxn ang="T141">
                          <a:pos x="T54" y="T55"/>
                        </a:cxn>
                        <a:cxn ang="T142">
                          <a:pos x="T56" y="T57"/>
                        </a:cxn>
                        <a:cxn ang="T143">
                          <a:pos x="T58" y="T59"/>
                        </a:cxn>
                        <a:cxn ang="T144">
                          <a:pos x="T60" y="T61"/>
                        </a:cxn>
                        <a:cxn ang="T145">
                          <a:pos x="T62" y="T63"/>
                        </a:cxn>
                        <a:cxn ang="T146">
                          <a:pos x="T64" y="T65"/>
                        </a:cxn>
                        <a:cxn ang="T147">
                          <a:pos x="T66" y="T67"/>
                        </a:cxn>
                        <a:cxn ang="T148">
                          <a:pos x="T68" y="T69"/>
                        </a:cxn>
                        <a:cxn ang="T149">
                          <a:pos x="T70" y="T71"/>
                        </a:cxn>
                        <a:cxn ang="T150">
                          <a:pos x="T72" y="T73"/>
                        </a:cxn>
                        <a:cxn ang="T151">
                          <a:pos x="T74" y="T75"/>
                        </a:cxn>
                        <a:cxn ang="T152">
                          <a:pos x="T76" y="T77"/>
                        </a:cxn>
                        <a:cxn ang="T153">
                          <a:pos x="T78" y="T79"/>
                        </a:cxn>
                        <a:cxn ang="T154">
                          <a:pos x="T80" y="T81"/>
                        </a:cxn>
                        <a:cxn ang="T155">
                          <a:pos x="T82" y="T83"/>
                        </a:cxn>
                        <a:cxn ang="T156">
                          <a:pos x="T84" y="T85"/>
                        </a:cxn>
                        <a:cxn ang="T157">
                          <a:pos x="T86" y="T87"/>
                        </a:cxn>
                        <a:cxn ang="T158">
                          <a:pos x="T88" y="T89"/>
                        </a:cxn>
                        <a:cxn ang="T159">
                          <a:pos x="T90" y="T91"/>
                        </a:cxn>
                        <a:cxn ang="T160">
                          <a:pos x="T92" y="T93"/>
                        </a:cxn>
                        <a:cxn ang="T161">
                          <a:pos x="T94" y="T95"/>
                        </a:cxn>
                        <a:cxn ang="T162">
                          <a:pos x="T96" y="T97"/>
                        </a:cxn>
                        <a:cxn ang="T163">
                          <a:pos x="T98" y="T99"/>
                        </a:cxn>
                        <a:cxn ang="T164">
                          <a:pos x="T100" y="T101"/>
                        </a:cxn>
                        <a:cxn ang="T165">
                          <a:pos x="T102" y="T103"/>
                        </a:cxn>
                        <a:cxn ang="T166">
                          <a:pos x="T104" y="T105"/>
                        </a:cxn>
                        <a:cxn ang="T167">
                          <a:pos x="T106" y="T107"/>
                        </a:cxn>
                        <a:cxn ang="T168">
                          <a:pos x="T108" y="T109"/>
                        </a:cxn>
                        <a:cxn ang="T169">
                          <a:pos x="T110" y="T111"/>
                        </a:cxn>
                        <a:cxn ang="T170">
                          <a:pos x="T112" y="T113"/>
                        </a:cxn>
                      </a:cxnLst>
                      <a:rect l="T171" t="T172" r="T173" b="T174"/>
                      <a:pathLst>
                        <a:path w="780" h="828">
                          <a:moveTo>
                            <a:pt x="570" y="720"/>
                          </a:moveTo>
                          <a:lnTo>
                            <a:pt x="558" y="714"/>
                          </a:lnTo>
                          <a:lnTo>
                            <a:pt x="552" y="708"/>
                          </a:lnTo>
                          <a:lnTo>
                            <a:pt x="540" y="708"/>
                          </a:lnTo>
                          <a:lnTo>
                            <a:pt x="534" y="714"/>
                          </a:lnTo>
                          <a:lnTo>
                            <a:pt x="522" y="720"/>
                          </a:lnTo>
                          <a:lnTo>
                            <a:pt x="516" y="726"/>
                          </a:lnTo>
                          <a:lnTo>
                            <a:pt x="468" y="726"/>
                          </a:lnTo>
                          <a:lnTo>
                            <a:pt x="456" y="720"/>
                          </a:lnTo>
                          <a:lnTo>
                            <a:pt x="444" y="708"/>
                          </a:lnTo>
                          <a:lnTo>
                            <a:pt x="438" y="708"/>
                          </a:lnTo>
                          <a:lnTo>
                            <a:pt x="420" y="726"/>
                          </a:lnTo>
                          <a:lnTo>
                            <a:pt x="402" y="714"/>
                          </a:lnTo>
                          <a:lnTo>
                            <a:pt x="396" y="714"/>
                          </a:lnTo>
                          <a:lnTo>
                            <a:pt x="384" y="726"/>
                          </a:lnTo>
                          <a:lnTo>
                            <a:pt x="384" y="738"/>
                          </a:lnTo>
                          <a:lnTo>
                            <a:pt x="396" y="750"/>
                          </a:lnTo>
                          <a:lnTo>
                            <a:pt x="420" y="762"/>
                          </a:lnTo>
                          <a:lnTo>
                            <a:pt x="426" y="762"/>
                          </a:lnTo>
                          <a:lnTo>
                            <a:pt x="444" y="780"/>
                          </a:lnTo>
                          <a:lnTo>
                            <a:pt x="444" y="786"/>
                          </a:lnTo>
                          <a:lnTo>
                            <a:pt x="456" y="786"/>
                          </a:lnTo>
                          <a:lnTo>
                            <a:pt x="468" y="798"/>
                          </a:lnTo>
                          <a:lnTo>
                            <a:pt x="480" y="804"/>
                          </a:lnTo>
                          <a:lnTo>
                            <a:pt x="498" y="798"/>
                          </a:lnTo>
                          <a:lnTo>
                            <a:pt x="504" y="804"/>
                          </a:lnTo>
                          <a:lnTo>
                            <a:pt x="516" y="810"/>
                          </a:lnTo>
                          <a:lnTo>
                            <a:pt x="522" y="822"/>
                          </a:lnTo>
                          <a:lnTo>
                            <a:pt x="534" y="828"/>
                          </a:lnTo>
                          <a:lnTo>
                            <a:pt x="558" y="828"/>
                          </a:lnTo>
                          <a:lnTo>
                            <a:pt x="570" y="816"/>
                          </a:lnTo>
                          <a:lnTo>
                            <a:pt x="570" y="792"/>
                          </a:lnTo>
                          <a:lnTo>
                            <a:pt x="564" y="780"/>
                          </a:lnTo>
                          <a:lnTo>
                            <a:pt x="564" y="768"/>
                          </a:lnTo>
                          <a:lnTo>
                            <a:pt x="570" y="750"/>
                          </a:lnTo>
                          <a:lnTo>
                            <a:pt x="576" y="738"/>
                          </a:lnTo>
                          <a:lnTo>
                            <a:pt x="582" y="732"/>
                          </a:lnTo>
                          <a:lnTo>
                            <a:pt x="582" y="714"/>
                          </a:lnTo>
                          <a:lnTo>
                            <a:pt x="576" y="702"/>
                          </a:lnTo>
                          <a:lnTo>
                            <a:pt x="570" y="720"/>
                          </a:lnTo>
                          <a:close/>
                          <a:moveTo>
                            <a:pt x="180" y="468"/>
                          </a:moveTo>
                          <a:lnTo>
                            <a:pt x="156" y="480"/>
                          </a:lnTo>
                          <a:lnTo>
                            <a:pt x="150" y="486"/>
                          </a:lnTo>
                          <a:lnTo>
                            <a:pt x="138" y="492"/>
                          </a:lnTo>
                          <a:lnTo>
                            <a:pt x="132" y="498"/>
                          </a:lnTo>
                          <a:lnTo>
                            <a:pt x="126" y="498"/>
                          </a:lnTo>
                          <a:lnTo>
                            <a:pt x="114" y="492"/>
                          </a:lnTo>
                          <a:lnTo>
                            <a:pt x="102" y="480"/>
                          </a:lnTo>
                          <a:lnTo>
                            <a:pt x="96" y="498"/>
                          </a:lnTo>
                          <a:lnTo>
                            <a:pt x="102" y="504"/>
                          </a:lnTo>
                          <a:lnTo>
                            <a:pt x="114" y="510"/>
                          </a:lnTo>
                          <a:lnTo>
                            <a:pt x="120" y="522"/>
                          </a:lnTo>
                          <a:lnTo>
                            <a:pt x="120" y="540"/>
                          </a:lnTo>
                          <a:lnTo>
                            <a:pt x="114" y="558"/>
                          </a:lnTo>
                          <a:lnTo>
                            <a:pt x="114" y="570"/>
                          </a:lnTo>
                          <a:lnTo>
                            <a:pt x="126" y="582"/>
                          </a:lnTo>
                          <a:lnTo>
                            <a:pt x="114" y="588"/>
                          </a:lnTo>
                          <a:lnTo>
                            <a:pt x="120" y="636"/>
                          </a:lnTo>
                          <a:lnTo>
                            <a:pt x="108" y="636"/>
                          </a:lnTo>
                          <a:lnTo>
                            <a:pt x="126" y="654"/>
                          </a:lnTo>
                          <a:lnTo>
                            <a:pt x="138" y="654"/>
                          </a:lnTo>
                          <a:lnTo>
                            <a:pt x="144" y="642"/>
                          </a:lnTo>
                          <a:lnTo>
                            <a:pt x="156" y="630"/>
                          </a:lnTo>
                          <a:lnTo>
                            <a:pt x="156" y="618"/>
                          </a:lnTo>
                          <a:lnTo>
                            <a:pt x="168" y="630"/>
                          </a:lnTo>
                          <a:lnTo>
                            <a:pt x="180" y="636"/>
                          </a:lnTo>
                          <a:lnTo>
                            <a:pt x="186" y="636"/>
                          </a:lnTo>
                          <a:lnTo>
                            <a:pt x="192" y="630"/>
                          </a:lnTo>
                          <a:lnTo>
                            <a:pt x="198" y="618"/>
                          </a:lnTo>
                          <a:lnTo>
                            <a:pt x="198" y="594"/>
                          </a:lnTo>
                          <a:lnTo>
                            <a:pt x="204" y="582"/>
                          </a:lnTo>
                          <a:lnTo>
                            <a:pt x="204" y="558"/>
                          </a:lnTo>
                          <a:lnTo>
                            <a:pt x="198" y="552"/>
                          </a:lnTo>
                          <a:lnTo>
                            <a:pt x="192" y="552"/>
                          </a:lnTo>
                          <a:lnTo>
                            <a:pt x="192" y="546"/>
                          </a:lnTo>
                          <a:lnTo>
                            <a:pt x="198" y="540"/>
                          </a:lnTo>
                          <a:lnTo>
                            <a:pt x="204" y="540"/>
                          </a:lnTo>
                          <a:lnTo>
                            <a:pt x="210" y="534"/>
                          </a:lnTo>
                          <a:lnTo>
                            <a:pt x="210" y="522"/>
                          </a:lnTo>
                          <a:lnTo>
                            <a:pt x="204" y="510"/>
                          </a:lnTo>
                          <a:lnTo>
                            <a:pt x="204" y="492"/>
                          </a:lnTo>
                          <a:lnTo>
                            <a:pt x="198" y="480"/>
                          </a:lnTo>
                          <a:lnTo>
                            <a:pt x="186" y="474"/>
                          </a:lnTo>
                          <a:lnTo>
                            <a:pt x="180" y="468"/>
                          </a:lnTo>
                          <a:close/>
                          <a:moveTo>
                            <a:pt x="774" y="546"/>
                          </a:moveTo>
                          <a:lnTo>
                            <a:pt x="768" y="534"/>
                          </a:lnTo>
                          <a:lnTo>
                            <a:pt x="756" y="528"/>
                          </a:lnTo>
                          <a:lnTo>
                            <a:pt x="738" y="510"/>
                          </a:lnTo>
                          <a:lnTo>
                            <a:pt x="678" y="480"/>
                          </a:lnTo>
                          <a:lnTo>
                            <a:pt x="672" y="480"/>
                          </a:lnTo>
                          <a:lnTo>
                            <a:pt x="660" y="474"/>
                          </a:lnTo>
                          <a:lnTo>
                            <a:pt x="648" y="474"/>
                          </a:lnTo>
                          <a:lnTo>
                            <a:pt x="630" y="468"/>
                          </a:lnTo>
                          <a:lnTo>
                            <a:pt x="606" y="456"/>
                          </a:lnTo>
                          <a:lnTo>
                            <a:pt x="606" y="450"/>
                          </a:lnTo>
                          <a:lnTo>
                            <a:pt x="612" y="438"/>
                          </a:lnTo>
                          <a:lnTo>
                            <a:pt x="624" y="426"/>
                          </a:lnTo>
                          <a:lnTo>
                            <a:pt x="624" y="420"/>
                          </a:lnTo>
                          <a:lnTo>
                            <a:pt x="618" y="414"/>
                          </a:lnTo>
                          <a:lnTo>
                            <a:pt x="612" y="414"/>
                          </a:lnTo>
                          <a:lnTo>
                            <a:pt x="594" y="408"/>
                          </a:lnTo>
                          <a:lnTo>
                            <a:pt x="552" y="408"/>
                          </a:lnTo>
                          <a:lnTo>
                            <a:pt x="540" y="402"/>
                          </a:lnTo>
                          <a:lnTo>
                            <a:pt x="534" y="396"/>
                          </a:lnTo>
                          <a:lnTo>
                            <a:pt x="516" y="384"/>
                          </a:lnTo>
                          <a:lnTo>
                            <a:pt x="492" y="360"/>
                          </a:lnTo>
                          <a:lnTo>
                            <a:pt x="480" y="342"/>
                          </a:lnTo>
                          <a:lnTo>
                            <a:pt x="474" y="336"/>
                          </a:lnTo>
                          <a:lnTo>
                            <a:pt x="468" y="324"/>
                          </a:lnTo>
                          <a:lnTo>
                            <a:pt x="468" y="312"/>
                          </a:lnTo>
                          <a:lnTo>
                            <a:pt x="450" y="276"/>
                          </a:lnTo>
                          <a:lnTo>
                            <a:pt x="438" y="270"/>
                          </a:lnTo>
                          <a:lnTo>
                            <a:pt x="432" y="264"/>
                          </a:lnTo>
                          <a:lnTo>
                            <a:pt x="420" y="258"/>
                          </a:lnTo>
                          <a:lnTo>
                            <a:pt x="414" y="252"/>
                          </a:lnTo>
                          <a:lnTo>
                            <a:pt x="378" y="222"/>
                          </a:lnTo>
                          <a:lnTo>
                            <a:pt x="372" y="210"/>
                          </a:lnTo>
                          <a:lnTo>
                            <a:pt x="360" y="198"/>
                          </a:lnTo>
                          <a:lnTo>
                            <a:pt x="360" y="186"/>
                          </a:lnTo>
                          <a:lnTo>
                            <a:pt x="366" y="180"/>
                          </a:lnTo>
                          <a:lnTo>
                            <a:pt x="384" y="180"/>
                          </a:lnTo>
                          <a:lnTo>
                            <a:pt x="384" y="174"/>
                          </a:lnTo>
                          <a:lnTo>
                            <a:pt x="372" y="162"/>
                          </a:lnTo>
                          <a:lnTo>
                            <a:pt x="366" y="150"/>
                          </a:lnTo>
                          <a:lnTo>
                            <a:pt x="366" y="138"/>
                          </a:lnTo>
                          <a:lnTo>
                            <a:pt x="402" y="120"/>
                          </a:lnTo>
                          <a:lnTo>
                            <a:pt x="408" y="114"/>
                          </a:lnTo>
                          <a:lnTo>
                            <a:pt x="414" y="114"/>
                          </a:lnTo>
                          <a:lnTo>
                            <a:pt x="438" y="108"/>
                          </a:lnTo>
                          <a:lnTo>
                            <a:pt x="444" y="72"/>
                          </a:lnTo>
                          <a:lnTo>
                            <a:pt x="432" y="66"/>
                          </a:lnTo>
                          <a:lnTo>
                            <a:pt x="438" y="60"/>
                          </a:lnTo>
                          <a:lnTo>
                            <a:pt x="438" y="42"/>
                          </a:lnTo>
                          <a:lnTo>
                            <a:pt x="384" y="42"/>
                          </a:lnTo>
                          <a:lnTo>
                            <a:pt x="378" y="24"/>
                          </a:lnTo>
                          <a:lnTo>
                            <a:pt x="366" y="24"/>
                          </a:lnTo>
                          <a:lnTo>
                            <a:pt x="366" y="6"/>
                          </a:lnTo>
                          <a:lnTo>
                            <a:pt x="360" y="0"/>
                          </a:lnTo>
                          <a:lnTo>
                            <a:pt x="342" y="0"/>
                          </a:lnTo>
                          <a:lnTo>
                            <a:pt x="336" y="6"/>
                          </a:lnTo>
                          <a:lnTo>
                            <a:pt x="336" y="12"/>
                          </a:lnTo>
                          <a:lnTo>
                            <a:pt x="294" y="12"/>
                          </a:lnTo>
                          <a:lnTo>
                            <a:pt x="282" y="30"/>
                          </a:lnTo>
                          <a:lnTo>
                            <a:pt x="270" y="24"/>
                          </a:lnTo>
                          <a:lnTo>
                            <a:pt x="252" y="24"/>
                          </a:lnTo>
                          <a:lnTo>
                            <a:pt x="246" y="42"/>
                          </a:lnTo>
                          <a:lnTo>
                            <a:pt x="222" y="42"/>
                          </a:lnTo>
                          <a:lnTo>
                            <a:pt x="222" y="48"/>
                          </a:lnTo>
                          <a:lnTo>
                            <a:pt x="234" y="60"/>
                          </a:lnTo>
                          <a:lnTo>
                            <a:pt x="228" y="72"/>
                          </a:lnTo>
                          <a:lnTo>
                            <a:pt x="210" y="60"/>
                          </a:lnTo>
                          <a:lnTo>
                            <a:pt x="192" y="66"/>
                          </a:lnTo>
                          <a:lnTo>
                            <a:pt x="180" y="48"/>
                          </a:lnTo>
                          <a:lnTo>
                            <a:pt x="174" y="72"/>
                          </a:lnTo>
                          <a:lnTo>
                            <a:pt x="162" y="84"/>
                          </a:lnTo>
                          <a:lnTo>
                            <a:pt x="162" y="102"/>
                          </a:lnTo>
                          <a:lnTo>
                            <a:pt x="138" y="78"/>
                          </a:lnTo>
                          <a:lnTo>
                            <a:pt x="132" y="78"/>
                          </a:lnTo>
                          <a:lnTo>
                            <a:pt x="132" y="72"/>
                          </a:lnTo>
                          <a:lnTo>
                            <a:pt x="126" y="66"/>
                          </a:lnTo>
                          <a:lnTo>
                            <a:pt x="126" y="60"/>
                          </a:lnTo>
                          <a:lnTo>
                            <a:pt x="120" y="54"/>
                          </a:lnTo>
                          <a:lnTo>
                            <a:pt x="108" y="54"/>
                          </a:lnTo>
                          <a:lnTo>
                            <a:pt x="102" y="60"/>
                          </a:lnTo>
                          <a:lnTo>
                            <a:pt x="102" y="78"/>
                          </a:lnTo>
                          <a:lnTo>
                            <a:pt x="84" y="96"/>
                          </a:lnTo>
                          <a:lnTo>
                            <a:pt x="78" y="96"/>
                          </a:lnTo>
                          <a:lnTo>
                            <a:pt x="66" y="84"/>
                          </a:lnTo>
                          <a:lnTo>
                            <a:pt x="54" y="84"/>
                          </a:lnTo>
                          <a:lnTo>
                            <a:pt x="42" y="96"/>
                          </a:lnTo>
                          <a:lnTo>
                            <a:pt x="30" y="96"/>
                          </a:lnTo>
                          <a:lnTo>
                            <a:pt x="30" y="102"/>
                          </a:lnTo>
                          <a:lnTo>
                            <a:pt x="24" y="102"/>
                          </a:lnTo>
                          <a:lnTo>
                            <a:pt x="18" y="108"/>
                          </a:lnTo>
                          <a:lnTo>
                            <a:pt x="42" y="132"/>
                          </a:lnTo>
                          <a:lnTo>
                            <a:pt x="42" y="138"/>
                          </a:lnTo>
                          <a:lnTo>
                            <a:pt x="24" y="156"/>
                          </a:lnTo>
                          <a:lnTo>
                            <a:pt x="0" y="156"/>
                          </a:lnTo>
                          <a:lnTo>
                            <a:pt x="12" y="174"/>
                          </a:lnTo>
                          <a:lnTo>
                            <a:pt x="24" y="174"/>
                          </a:lnTo>
                          <a:lnTo>
                            <a:pt x="30" y="180"/>
                          </a:lnTo>
                          <a:lnTo>
                            <a:pt x="30" y="192"/>
                          </a:lnTo>
                          <a:lnTo>
                            <a:pt x="24" y="198"/>
                          </a:lnTo>
                          <a:lnTo>
                            <a:pt x="24" y="204"/>
                          </a:lnTo>
                          <a:lnTo>
                            <a:pt x="18" y="210"/>
                          </a:lnTo>
                          <a:lnTo>
                            <a:pt x="18" y="216"/>
                          </a:lnTo>
                          <a:lnTo>
                            <a:pt x="24" y="222"/>
                          </a:lnTo>
                          <a:lnTo>
                            <a:pt x="36" y="228"/>
                          </a:lnTo>
                          <a:lnTo>
                            <a:pt x="42" y="228"/>
                          </a:lnTo>
                          <a:lnTo>
                            <a:pt x="42" y="234"/>
                          </a:lnTo>
                          <a:lnTo>
                            <a:pt x="66" y="234"/>
                          </a:lnTo>
                          <a:lnTo>
                            <a:pt x="72" y="240"/>
                          </a:lnTo>
                          <a:lnTo>
                            <a:pt x="72" y="246"/>
                          </a:lnTo>
                          <a:lnTo>
                            <a:pt x="54" y="264"/>
                          </a:lnTo>
                          <a:lnTo>
                            <a:pt x="54" y="270"/>
                          </a:lnTo>
                          <a:lnTo>
                            <a:pt x="66" y="270"/>
                          </a:lnTo>
                          <a:lnTo>
                            <a:pt x="90" y="258"/>
                          </a:lnTo>
                          <a:lnTo>
                            <a:pt x="120" y="228"/>
                          </a:lnTo>
                          <a:lnTo>
                            <a:pt x="144" y="216"/>
                          </a:lnTo>
                          <a:lnTo>
                            <a:pt x="156" y="216"/>
                          </a:lnTo>
                          <a:lnTo>
                            <a:pt x="168" y="222"/>
                          </a:lnTo>
                          <a:lnTo>
                            <a:pt x="204" y="234"/>
                          </a:lnTo>
                          <a:lnTo>
                            <a:pt x="216" y="240"/>
                          </a:lnTo>
                          <a:lnTo>
                            <a:pt x="228" y="252"/>
                          </a:lnTo>
                          <a:lnTo>
                            <a:pt x="234" y="264"/>
                          </a:lnTo>
                          <a:lnTo>
                            <a:pt x="234" y="276"/>
                          </a:lnTo>
                          <a:lnTo>
                            <a:pt x="240" y="282"/>
                          </a:lnTo>
                          <a:lnTo>
                            <a:pt x="240" y="288"/>
                          </a:lnTo>
                          <a:lnTo>
                            <a:pt x="252" y="300"/>
                          </a:lnTo>
                          <a:lnTo>
                            <a:pt x="252" y="306"/>
                          </a:lnTo>
                          <a:lnTo>
                            <a:pt x="246" y="318"/>
                          </a:lnTo>
                          <a:lnTo>
                            <a:pt x="246" y="324"/>
                          </a:lnTo>
                          <a:lnTo>
                            <a:pt x="258" y="336"/>
                          </a:lnTo>
                          <a:lnTo>
                            <a:pt x="282" y="348"/>
                          </a:lnTo>
                          <a:lnTo>
                            <a:pt x="288" y="354"/>
                          </a:lnTo>
                          <a:lnTo>
                            <a:pt x="294" y="354"/>
                          </a:lnTo>
                          <a:lnTo>
                            <a:pt x="300" y="372"/>
                          </a:lnTo>
                          <a:lnTo>
                            <a:pt x="330" y="372"/>
                          </a:lnTo>
                          <a:lnTo>
                            <a:pt x="348" y="390"/>
                          </a:lnTo>
                          <a:lnTo>
                            <a:pt x="354" y="402"/>
                          </a:lnTo>
                          <a:lnTo>
                            <a:pt x="366" y="414"/>
                          </a:lnTo>
                          <a:lnTo>
                            <a:pt x="378" y="420"/>
                          </a:lnTo>
                          <a:lnTo>
                            <a:pt x="384" y="432"/>
                          </a:lnTo>
                          <a:lnTo>
                            <a:pt x="420" y="468"/>
                          </a:lnTo>
                          <a:lnTo>
                            <a:pt x="456" y="468"/>
                          </a:lnTo>
                          <a:lnTo>
                            <a:pt x="462" y="474"/>
                          </a:lnTo>
                          <a:lnTo>
                            <a:pt x="468" y="486"/>
                          </a:lnTo>
                          <a:lnTo>
                            <a:pt x="492" y="498"/>
                          </a:lnTo>
                          <a:lnTo>
                            <a:pt x="510" y="504"/>
                          </a:lnTo>
                          <a:lnTo>
                            <a:pt x="528" y="504"/>
                          </a:lnTo>
                          <a:lnTo>
                            <a:pt x="540" y="510"/>
                          </a:lnTo>
                          <a:lnTo>
                            <a:pt x="546" y="510"/>
                          </a:lnTo>
                          <a:lnTo>
                            <a:pt x="552" y="522"/>
                          </a:lnTo>
                          <a:lnTo>
                            <a:pt x="552" y="534"/>
                          </a:lnTo>
                          <a:lnTo>
                            <a:pt x="564" y="558"/>
                          </a:lnTo>
                          <a:lnTo>
                            <a:pt x="570" y="564"/>
                          </a:lnTo>
                          <a:lnTo>
                            <a:pt x="582" y="564"/>
                          </a:lnTo>
                          <a:lnTo>
                            <a:pt x="594" y="558"/>
                          </a:lnTo>
                          <a:lnTo>
                            <a:pt x="600" y="558"/>
                          </a:lnTo>
                          <a:lnTo>
                            <a:pt x="600" y="570"/>
                          </a:lnTo>
                          <a:lnTo>
                            <a:pt x="606" y="582"/>
                          </a:lnTo>
                          <a:lnTo>
                            <a:pt x="606" y="606"/>
                          </a:lnTo>
                          <a:lnTo>
                            <a:pt x="612" y="618"/>
                          </a:lnTo>
                          <a:lnTo>
                            <a:pt x="630" y="636"/>
                          </a:lnTo>
                          <a:lnTo>
                            <a:pt x="630" y="666"/>
                          </a:lnTo>
                          <a:lnTo>
                            <a:pt x="612" y="666"/>
                          </a:lnTo>
                          <a:lnTo>
                            <a:pt x="612" y="690"/>
                          </a:lnTo>
                          <a:lnTo>
                            <a:pt x="606" y="696"/>
                          </a:lnTo>
                          <a:lnTo>
                            <a:pt x="600" y="708"/>
                          </a:lnTo>
                          <a:lnTo>
                            <a:pt x="594" y="714"/>
                          </a:lnTo>
                          <a:lnTo>
                            <a:pt x="594" y="732"/>
                          </a:lnTo>
                          <a:lnTo>
                            <a:pt x="606" y="732"/>
                          </a:lnTo>
                          <a:lnTo>
                            <a:pt x="618" y="726"/>
                          </a:lnTo>
                          <a:lnTo>
                            <a:pt x="624" y="726"/>
                          </a:lnTo>
                          <a:lnTo>
                            <a:pt x="636" y="702"/>
                          </a:lnTo>
                          <a:lnTo>
                            <a:pt x="654" y="696"/>
                          </a:lnTo>
                          <a:lnTo>
                            <a:pt x="654" y="666"/>
                          </a:lnTo>
                          <a:lnTo>
                            <a:pt x="666" y="654"/>
                          </a:lnTo>
                          <a:lnTo>
                            <a:pt x="678" y="654"/>
                          </a:lnTo>
                          <a:lnTo>
                            <a:pt x="684" y="648"/>
                          </a:lnTo>
                          <a:lnTo>
                            <a:pt x="696" y="648"/>
                          </a:lnTo>
                          <a:lnTo>
                            <a:pt x="696" y="636"/>
                          </a:lnTo>
                          <a:lnTo>
                            <a:pt x="690" y="630"/>
                          </a:lnTo>
                          <a:lnTo>
                            <a:pt x="690" y="618"/>
                          </a:lnTo>
                          <a:lnTo>
                            <a:pt x="678" y="606"/>
                          </a:lnTo>
                          <a:lnTo>
                            <a:pt x="666" y="606"/>
                          </a:lnTo>
                          <a:lnTo>
                            <a:pt x="648" y="588"/>
                          </a:lnTo>
                          <a:lnTo>
                            <a:pt x="654" y="582"/>
                          </a:lnTo>
                          <a:lnTo>
                            <a:pt x="660" y="570"/>
                          </a:lnTo>
                          <a:lnTo>
                            <a:pt x="666" y="552"/>
                          </a:lnTo>
                          <a:lnTo>
                            <a:pt x="672" y="540"/>
                          </a:lnTo>
                          <a:lnTo>
                            <a:pt x="684" y="528"/>
                          </a:lnTo>
                          <a:lnTo>
                            <a:pt x="690" y="534"/>
                          </a:lnTo>
                          <a:lnTo>
                            <a:pt x="702" y="534"/>
                          </a:lnTo>
                          <a:lnTo>
                            <a:pt x="708" y="540"/>
                          </a:lnTo>
                          <a:lnTo>
                            <a:pt x="738" y="540"/>
                          </a:lnTo>
                          <a:lnTo>
                            <a:pt x="738" y="552"/>
                          </a:lnTo>
                          <a:lnTo>
                            <a:pt x="744" y="558"/>
                          </a:lnTo>
                          <a:lnTo>
                            <a:pt x="744" y="564"/>
                          </a:lnTo>
                          <a:lnTo>
                            <a:pt x="750" y="576"/>
                          </a:lnTo>
                          <a:lnTo>
                            <a:pt x="762" y="576"/>
                          </a:lnTo>
                          <a:lnTo>
                            <a:pt x="774" y="570"/>
                          </a:lnTo>
                          <a:lnTo>
                            <a:pt x="780" y="564"/>
                          </a:lnTo>
                          <a:lnTo>
                            <a:pt x="780" y="558"/>
                          </a:lnTo>
                          <a:lnTo>
                            <a:pt x="774" y="546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37" name="Ireland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002092" y="2297114"/>
                      <a:ext cx="112713" cy="119063"/>
                    </a:xfrm>
                    <a:custGeom>
                      <a:avLst/>
                      <a:gdLst>
                        <a:gd name="T0" fmla="*/ 2147483647 w 282"/>
                        <a:gd name="T1" fmla="*/ 2147483647 h 300"/>
                        <a:gd name="T2" fmla="*/ 2147483647 w 282"/>
                        <a:gd name="T3" fmla="*/ 2147483647 h 300"/>
                        <a:gd name="T4" fmla="*/ 2147483647 w 282"/>
                        <a:gd name="T5" fmla="*/ 2147483647 h 300"/>
                        <a:gd name="T6" fmla="*/ 2147483647 w 282"/>
                        <a:gd name="T7" fmla="*/ 2147483647 h 300"/>
                        <a:gd name="T8" fmla="*/ 2147483647 w 282"/>
                        <a:gd name="T9" fmla="*/ 2147483647 h 300"/>
                        <a:gd name="T10" fmla="*/ 2147483647 w 282"/>
                        <a:gd name="T11" fmla="*/ 2147483647 h 300"/>
                        <a:gd name="T12" fmla="*/ 2147483647 w 282"/>
                        <a:gd name="T13" fmla="*/ 2147483647 h 300"/>
                        <a:gd name="T14" fmla="*/ 2147483647 w 282"/>
                        <a:gd name="T15" fmla="*/ 2147483647 h 300"/>
                        <a:gd name="T16" fmla="*/ 2147483647 w 282"/>
                        <a:gd name="T17" fmla="*/ 2147483647 h 300"/>
                        <a:gd name="T18" fmla="*/ 2147483647 w 282"/>
                        <a:gd name="T19" fmla="*/ 2147483647 h 300"/>
                        <a:gd name="T20" fmla="*/ 2147483647 w 282"/>
                        <a:gd name="T21" fmla="*/ 2147483647 h 300"/>
                        <a:gd name="T22" fmla="*/ 2147483647 w 282"/>
                        <a:gd name="T23" fmla="*/ 2147483647 h 300"/>
                        <a:gd name="T24" fmla="*/ 2147483647 w 282"/>
                        <a:gd name="T25" fmla="*/ 0 h 300"/>
                        <a:gd name="T26" fmla="*/ 2147483647 w 282"/>
                        <a:gd name="T27" fmla="*/ 2147483647 h 300"/>
                        <a:gd name="T28" fmla="*/ 2147483647 w 282"/>
                        <a:gd name="T29" fmla="*/ 2147483647 h 300"/>
                        <a:gd name="T30" fmla="*/ 2147483647 w 282"/>
                        <a:gd name="T31" fmla="*/ 2147483647 h 300"/>
                        <a:gd name="T32" fmla="*/ 2147483647 w 282"/>
                        <a:gd name="T33" fmla="*/ 2147483647 h 300"/>
                        <a:gd name="T34" fmla="*/ 2147483647 w 282"/>
                        <a:gd name="T35" fmla="*/ 2147483647 h 300"/>
                        <a:gd name="T36" fmla="*/ 2147483647 w 282"/>
                        <a:gd name="T37" fmla="*/ 2147483647 h 300"/>
                        <a:gd name="T38" fmla="*/ 2147483647 w 282"/>
                        <a:gd name="T39" fmla="*/ 2147483647 h 300"/>
                        <a:gd name="T40" fmla="*/ 2147483647 w 282"/>
                        <a:gd name="T41" fmla="*/ 2147483647 h 300"/>
                        <a:gd name="T42" fmla="*/ 2147483647 w 282"/>
                        <a:gd name="T43" fmla="*/ 2147483647 h 300"/>
                        <a:gd name="T44" fmla="*/ 2147483647 w 282"/>
                        <a:gd name="T45" fmla="*/ 2147483647 h 300"/>
                        <a:gd name="T46" fmla="*/ 2147483647 w 282"/>
                        <a:gd name="T47" fmla="*/ 2147483647 h 300"/>
                        <a:gd name="T48" fmla="*/ 2147483647 w 282"/>
                        <a:gd name="T49" fmla="*/ 2147483647 h 300"/>
                        <a:gd name="T50" fmla="*/ 2147483647 w 282"/>
                        <a:gd name="T51" fmla="*/ 2147483647 h 300"/>
                        <a:gd name="T52" fmla="*/ 2147483647 w 282"/>
                        <a:gd name="T53" fmla="*/ 2147483647 h 300"/>
                        <a:gd name="T54" fmla="*/ 2147483647 w 282"/>
                        <a:gd name="T55" fmla="*/ 2147483647 h 300"/>
                        <a:gd name="T56" fmla="*/ 2147483647 w 282"/>
                        <a:gd name="T57" fmla="*/ 2147483647 h 300"/>
                        <a:gd name="T58" fmla="*/ 2147483647 w 282"/>
                        <a:gd name="T59" fmla="*/ 2147483647 h 300"/>
                        <a:gd name="T60" fmla="*/ 2147483647 w 282"/>
                        <a:gd name="T61" fmla="*/ 2147483647 h 300"/>
                        <a:gd name="T62" fmla="*/ 2147483647 w 282"/>
                        <a:gd name="T63" fmla="*/ 2147483647 h 300"/>
                        <a:gd name="T64" fmla="*/ 2147483647 w 282"/>
                        <a:gd name="T65" fmla="*/ 2147483647 h 300"/>
                        <a:gd name="T66" fmla="*/ 2147483647 w 282"/>
                        <a:gd name="T67" fmla="*/ 2147483647 h 300"/>
                        <a:gd name="T68" fmla="*/ 2147483647 w 282"/>
                        <a:gd name="T69" fmla="*/ 2147483647 h 300"/>
                        <a:gd name="T70" fmla="*/ 2147483647 w 282"/>
                        <a:gd name="T71" fmla="*/ 2147483647 h 300"/>
                        <a:gd name="T72" fmla="*/ 2147483647 w 282"/>
                        <a:gd name="T73" fmla="*/ 2147483647 h 300"/>
                        <a:gd name="T74" fmla="*/ 2147483647 w 282"/>
                        <a:gd name="T75" fmla="*/ 2147483647 h 300"/>
                        <a:gd name="T76" fmla="*/ 2147483647 w 282"/>
                        <a:gd name="T77" fmla="*/ 2147483647 h 300"/>
                        <a:gd name="T78" fmla="*/ 2147483647 w 282"/>
                        <a:gd name="T79" fmla="*/ 2147483647 h 300"/>
                        <a:gd name="T80" fmla="*/ 0 w 282"/>
                        <a:gd name="T81" fmla="*/ 2147483647 h 300"/>
                        <a:gd name="T82" fmla="*/ 2147483647 w 282"/>
                        <a:gd name="T83" fmla="*/ 2147483647 h 300"/>
                        <a:gd name="T84" fmla="*/ 2147483647 w 282"/>
                        <a:gd name="T85" fmla="*/ 2147483647 h 300"/>
                        <a:gd name="T86" fmla="*/ 2147483647 w 282"/>
                        <a:gd name="T87" fmla="*/ 2147483647 h 300"/>
                        <a:gd name="T88" fmla="*/ 2147483647 w 282"/>
                        <a:gd name="T89" fmla="*/ 2147483647 h 300"/>
                        <a:gd name="T90" fmla="*/ 2147483647 w 282"/>
                        <a:gd name="T91" fmla="*/ 2147483647 h 300"/>
                        <a:gd name="T92" fmla="*/ 2147483647 w 282"/>
                        <a:gd name="T93" fmla="*/ 2147483647 h 300"/>
                        <a:gd name="T94" fmla="*/ 2147483647 w 282"/>
                        <a:gd name="T95" fmla="*/ 2147483647 h 300"/>
                        <a:gd name="T96" fmla="*/ 2147483647 w 282"/>
                        <a:gd name="T97" fmla="*/ 2147483647 h 300"/>
                        <a:gd name="T98" fmla="*/ 2147483647 w 282"/>
                        <a:gd name="T99" fmla="*/ 2147483647 h 300"/>
                        <a:gd name="T100" fmla="*/ 2147483647 w 282"/>
                        <a:gd name="T101" fmla="*/ 2147483647 h 300"/>
                        <a:gd name="T102" fmla="*/ 2147483647 w 282"/>
                        <a:gd name="T103" fmla="*/ 2147483647 h 300"/>
                        <a:gd name="T104" fmla="*/ 2147483647 w 282"/>
                        <a:gd name="T105" fmla="*/ 2147483647 h 300"/>
                        <a:gd name="T106" fmla="*/ 2147483647 w 282"/>
                        <a:gd name="T107" fmla="*/ 2147483647 h 300"/>
                        <a:gd name="T108" fmla="*/ 2147483647 w 282"/>
                        <a:gd name="T109" fmla="*/ 2147483647 h 300"/>
                        <a:gd name="T110" fmla="*/ 2147483647 w 282"/>
                        <a:gd name="T111" fmla="*/ 2147483647 h 300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w 282"/>
                        <a:gd name="T169" fmla="*/ 0 h 300"/>
                        <a:gd name="T170" fmla="*/ 282 w 282"/>
                        <a:gd name="T171" fmla="*/ 300 h 300"/>
                      </a:gdLst>
                      <a:ahLst/>
                      <a:cxnLst>
                        <a:cxn ang="T112">
                          <a:pos x="T0" y="T1"/>
                        </a:cxn>
                        <a:cxn ang="T113">
                          <a:pos x="T2" y="T3"/>
                        </a:cxn>
                        <a:cxn ang="T114">
                          <a:pos x="T4" y="T5"/>
                        </a:cxn>
                        <a:cxn ang="T115">
                          <a:pos x="T6" y="T7"/>
                        </a:cxn>
                        <a:cxn ang="T116">
                          <a:pos x="T8" y="T9"/>
                        </a:cxn>
                        <a:cxn ang="T117">
                          <a:pos x="T10" y="T11"/>
                        </a:cxn>
                        <a:cxn ang="T118">
                          <a:pos x="T12" y="T13"/>
                        </a:cxn>
                        <a:cxn ang="T119">
                          <a:pos x="T14" y="T15"/>
                        </a:cxn>
                        <a:cxn ang="T120">
                          <a:pos x="T16" y="T17"/>
                        </a:cxn>
                        <a:cxn ang="T121">
                          <a:pos x="T18" y="T19"/>
                        </a:cxn>
                        <a:cxn ang="T122">
                          <a:pos x="T20" y="T21"/>
                        </a:cxn>
                        <a:cxn ang="T123">
                          <a:pos x="T22" y="T23"/>
                        </a:cxn>
                        <a:cxn ang="T124">
                          <a:pos x="T24" y="T25"/>
                        </a:cxn>
                        <a:cxn ang="T125">
                          <a:pos x="T26" y="T27"/>
                        </a:cxn>
                        <a:cxn ang="T126">
                          <a:pos x="T28" y="T29"/>
                        </a:cxn>
                        <a:cxn ang="T127">
                          <a:pos x="T30" y="T31"/>
                        </a:cxn>
                        <a:cxn ang="T128">
                          <a:pos x="T32" y="T33"/>
                        </a:cxn>
                        <a:cxn ang="T129">
                          <a:pos x="T34" y="T35"/>
                        </a:cxn>
                        <a:cxn ang="T130">
                          <a:pos x="T36" y="T37"/>
                        </a:cxn>
                        <a:cxn ang="T131">
                          <a:pos x="T38" y="T39"/>
                        </a:cxn>
                        <a:cxn ang="T132">
                          <a:pos x="T40" y="T41"/>
                        </a:cxn>
                        <a:cxn ang="T133">
                          <a:pos x="T42" y="T43"/>
                        </a:cxn>
                        <a:cxn ang="T134">
                          <a:pos x="T44" y="T45"/>
                        </a:cxn>
                        <a:cxn ang="T135">
                          <a:pos x="T46" y="T47"/>
                        </a:cxn>
                        <a:cxn ang="T136">
                          <a:pos x="T48" y="T49"/>
                        </a:cxn>
                        <a:cxn ang="T137">
                          <a:pos x="T50" y="T51"/>
                        </a:cxn>
                        <a:cxn ang="T138">
                          <a:pos x="T52" y="T53"/>
                        </a:cxn>
                        <a:cxn ang="T139">
                          <a:pos x="T54" y="T55"/>
                        </a:cxn>
                        <a:cxn ang="T140">
                          <a:pos x="T56" y="T57"/>
                        </a:cxn>
                        <a:cxn ang="T141">
                          <a:pos x="T58" y="T59"/>
                        </a:cxn>
                        <a:cxn ang="T142">
                          <a:pos x="T60" y="T61"/>
                        </a:cxn>
                        <a:cxn ang="T143">
                          <a:pos x="T62" y="T63"/>
                        </a:cxn>
                        <a:cxn ang="T144">
                          <a:pos x="T64" y="T65"/>
                        </a:cxn>
                        <a:cxn ang="T145">
                          <a:pos x="T66" y="T67"/>
                        </a:cxn>
                        <a:cxn ang="T146">
                          <a:pos x="T68" y="T69"/>
                        </a:cxn>
                        <a:cxn ang="T147">
                          <a:pos x="T70" y="T71"/>
                        </a:cxn>
                        <a:cxn ang="T148">
                          <a:pos x="T72" y="T73"/>
                        </a:cxn>
                        <a:cxn ang="T149">
                          <a:pos x="T74" y="T75"/>
                        </a:cxn>
                        <a:cxn ang="T150">
                          <a:pos x="T76" y="T77"/>
                        </a:cxn>
                        <a:cxn ang="T151">
                          <a:pos x="T78" y="T79"/>
                        </a:cxn>
                        <a:cxn ang="T152">
                          <a:pos x="T80" y="T81"/>
                        </a:cxn>
                        <a:cxn ang="T153">
                          <a:pos x="T82" y="T83"/>
                        </a:cxn>
                        <a:cxn ang="T154">
                          <a:pos x="T84" y="T85"/>
                        </a:cxn>
                        <a:cxn ang="T155">
                          <a:pos x="T86" y="T87"/>
                        </a:cxn>
                        <a:cxn ang="T156">
                          <a:pos x="T88" y="T89"/>
                        </a:cxn>
                        <a:cxn ang="T157">
                          <a:pos x="T90" y="T91"/>
                        </a:cxn>
                        <a:cxn ang="T158">
                          <a:pos x="T92" y="T93"/>
                        </a:cxn>
                        <a:cxn ang="T159">
                          <a:pos x="T94" y="T95"/>
                        </a:cxn>
                        <a:cxn ang="T160">
                          <a:pos x="T96" y="T97"/>
                        </a:cxn>
                        <a:cxn ang="T161">
                          <a:pos x="T98" y="T99"/>
                        </a:cxn>
                        <a:cxn ang="T162">
                          <a:pos x="T100" y="T101"/>
                        </a:cxn>
                        <a:cxn ang="T163">
                          <a:pos x="T102" y="T103"/>
                        </a:cxn>
                        <a:cxn ang="T164">
                          <a:pos x="T104" y="T105"/>
                        </a:cxn>
                        <a:cxn ang="T165">
                          <a:pos x="T106" y="T107"/>
                        </a:cxn>
                        <a:cxn ang="T166">
                          <a:pos x="T108" y="T109"/>
                        </a:cxn>
                        <a:cxn ang="T167">
                          <a:pos x="T110" y="T111"/>
                        </a:cxn>
                      </a:cxnLst>
                      <a:rect l="T168" t="T169" r="T170" b="T171"/>
                      <a:pathLst>
                        <a:path w="282" h="300">
                          <a:moveTo>
                            <a:pt x="276" y="156"/>
                          </a:moveTo>
                          <a:lnTo>
                            <a:pt x="276" y="144"/>
                          </a:lnTo>
                          <a:lnTo>
                            <a:pt x="270" y="132"/>
                          </a:lnTo>
                          <a:lnTo>
                            <a:pt x="264" y="126"/>
                          </a:lnTo>
                          <a:lnTo>
                            <a:pt x="264" y="114"/>
                          </a:lnTo>
                          <a:lnTo>
                            <a:pt x="258" y="108"/>
                          </a:lnTo>
                          <a:lnTo>
                            <a:pt x="258" y="102"/>
                          </a:lnTo>
                          <a:lnTo>
                            <a:pt x="276" y="102"/>
                          </a:lnTo>
                          <a:lnTo>
                            <a:pt x="282" y="96"/>
                          </a:lnTo>
                          <a:lnTo>
                            <a:pt x="246" y="90"/>
                          </a:lnTo>
                          <a:lnTo>
                            <a:pt x="228" y="66"/>
                          </a:lnTo>
                          <a:lnTo>
                            <a:pt x="204" y="90"/>
                          </a:lnTo>
                          <a:lnTo>
                            <a:pt x="192" y="90"/>
                          </a:lnTo>
                          <a:lnTo>
                            <a:pt x="168" y="78"/>
                          </a:lnTo>
                          <a:lnTo>
                            <a:pt x="162" y="72"/>
                          </a:lnTo>
                          <a:lnTo>
                            <a:pt x="174" y="60"/>
                          </a:lnTo>
                          <a:lnTo>
                            <a:pt x="180" y="60"/>
                          </a:lnTo>
                          <a:lnTo>
                            <a:pt x="186" y="54"/>
                          </a:lnTo>
                          <a:lnTo>
                            <a:pt x="192" y="54"/>
                          </a:lnTo>
                          <a:lnTo>
                            <a:pt x="192" y="42"/>
                          </a:lnTo>
                          <a:lnTo>
                            <a:pt x="234" y="18"/>
                          </a:lnTo>
                          <a:lnTo>
                            <a:pt x="240" y="12"/>
                          </a:lnTo>
                          <a:lnTo>
                            <a:pt x="240" y="6"/>
                          </a:lnTo>
                          <a:lnTo>
                            <a:pt x="234" y="6"/>
                          </a:lnTo>
                          <a:lnTo>
                            <a:pt x="228" y="0"/>
                          </a:lnTo>
                          <a:lnTo>
                            <a:pt x="222" y="0"/>
                          </a:lnTo>
                          <a:lnTo>
                            <a:pt x="210" y="6"/>
                          </a:lnTo>
                          <a:lnTo>
                            <a:pt x="204" y="18"/>
                          </a:lnTo>
                          <a:lnTo>
                            <a:pt x="198" y="6"/>
                          </a:lnTo>
                          <a:lnTo>
                            <a:pt x="174" y="6"/>
                          </a:lnTo>
                          <a:lnTo>
                            <a:pt x="162" y="12"/>
                          </a:lnTo>
                          <a:lnTo>
                            <a:pt x="156" y="12"/>
                          </a:lnTo>
                          <a:lnTo>
                            <a:pt x="150" y="18"/>
                          </a:lnTo>
                          <a:lnTo>
                            <a:pt x="150" y="30"/>
                          </a:lnTo>
                          <a:lnTo>
                            <a:pt x="144" y="36"/>
                          </a:lnTo>
                          <a:lnTo>
                            <a:pt x="144" y="42"/>
                          </a:lnTo>
                          <a:lnTo>
                            <a:pt x="126" y="42"/>
                          </a:lnTo>
                          <a:lnTo>
                            <a:pt x="120" y="48"/>
                          </a:lnTo>
                          <a:lnTo>
                            <a:pt x="120" y="54"/>
                          </a:lnTo>
                          <a:lnTo>
                            <a:pt x="138" y="54"/>
                          </a:lnTo>
                          <a:lnTo>
                            <a:pt x="144" y="60"/>
                          </a:lnTo>
                          <a:lnTo>
                            <a:pt x="150" y="60"/>
                          </a:lnTo>
                          <a:lnTo>
                            <a:pt x="150" y="66"/>
                          </a:lnTo>
                          <a:lnTo>
                            <a:pt x="144" y="72"/>
                          </a:lnTo>
                          <a:lnTo>
                            <a:pt x="132" y="72"/>
                          </a:lnTo>
                          <a:lnTo>
                            <a:pt x="132" y="78"/>
                          </a:lnTo>
                          <a:lnTo>
                            <a:pt x="126" y="84"/>
                          </a:lnTo>
                          <a:lnTo>
                            <a:pt x="102" y="84"/>
                          </a:lnTo>
                          <a:lnTo>
                            <a:pt x="102" y="90"/>
                          </a:lnTo>
                          <a:lnTo>
                            <a:pt x="90" y="78"/>
                          </a:lnTo>
                          <a:lnTo>
                            <a:pt x="42" y="78"/>
                          </a:lnTo>
                          <a:lnTo>
                            <a:pt x="42" y="102"/>
                          </a:lnTo>
                          <a:lnTo>
                            <a:pt x="54" y="102"/>
                          </a:lnTo>
                          <a:lnTo>
                            <a:pt x="54" y="108"/>
                          </a:lnTo>
                          <a:lnTo>
                            <a:pt x="60" y="114"/>
                          </a:lnTo>
                          <a:lnTo>
                            <a:pt x="42" y="126"/>
                          </a:lnTo>
                          <a:lnTo>
                            <a:pt x="36" y="126"/>
                          </a:lnTo>
                          <a:lnTo>
                            <a:pt x="30" y="132"/>
                          </a:lnTo>
                          <a:lnTo>
                            <a:pt x="30" y="138"/>
                          </a:lnTo>
                          <a:lnTo>
                            <a:pt x="42" y="150"/>
                          </a:lnTo>
                          <a:lnTo>
                            <a:pt x="54" y="156"/>
                          </a:lnTo>
                          <a:lnTo>
                            <a:pt x="60" y="162"/>
                          </a:lnTo>
                          <a:lnTo>
                            <a:pt x="72" y="162"/>
                          </a:lnTo>
                          <a:lnTo>
                            <a:pt x="78" y="156"/>
                          </a:lnTo>
                          <a:lnTo>
                            <a:pt x="96" y="156"/>
                          </a:lnTo>
                          <a:lnTo>
                            <a:pt x="96" y="168"/>
                          </a:lnTo>
                          <a:lnTo>
                            <a:pt x="90" y="174"/>
                          </a:lnTo>
                          <a:lnTo>
                            <a:pt x="72" y="174"/>
                          </a:lnTo>
                          <a:lnTo>
                            <a:pt x="72" y="192"/>
                          </a:lnTo>
                          <a:lnTo>
                            <a:pt x="54" y="192"/>
                          </a:lnTo>
                          <a:lnTo>
                            <a:pt x="48" y="198"/>
                          </a:lnTo>
                          <a:lnTo>
                            <a:pt x="48" y="210"/>
                          </a:lnTo>
                          <a:lnTo>
                            <a:pt x="42" y="222"/>
                          </a:lnTo>
                          <a:lnTo>
                            <a:pt x="42" y="234"/>
                          </a:lnTo>
                          <a:lnTo>
                            <a:pt x="18" y="234"/>
                          </a:lnTo>
                          <a:lnTo>
                            <a:pt x="12" y="240"/>
                          </a:lnTo>
                          <a:lnTo>
                            <a:pt x="6" y="240"/>
                          </a:lnTo>
                          <a:lnTo>
                            <a:pt x="6" y="246"/>
                          </a:lnTo>
                          <a:lnTo>
                            <a:pt x="12" y="246"/>
                          </a:lnTo>
                          <a:lnTo>
                            <a:pt x="18" y="252"/>
                          </a:lnTo>
                          <a:lnTo>
                            <a:pt x="6" y="252"/>
                          </a:lnTo>
                          <a:lnTo>
                            <a:pt x="0" y="258"/>
                          </a:lnTo>
                          <a:lnTo>
                            <a:pt x="0" y="270"/>
                          </a:lnTo>
                          <a:lnTo>
                            <a:pt x="42" y="270"/>
                          </a:lnTo>
                          <a:lnTo>
                            <a:pt x="24" y="288"/>
                          </a:lnTo>
                          <a:lnTo>
                            <a:pt x="30" y="282"/>
                          </a:lnTo>
                          <a:lnTo>
                            <a:pt x="48" y="282"/>
                          </a:lnTo>
                          <a:lnTo>
                            <a:pt x="48" y="288"/>
                          </a:lnTo>
                          <a:lnTo>
                            <a:pt x="42" y="288"/>
                          </a:lnTo>
                          <a:lnTo>
                            <a:pt x="36" y="294"/>
                          </a:lnTo>
                          <a:lnTo>
                            <a:pt x="30" y="294"/>
                          </a:lnTo>
                          <a:lnTo>
                            <a:pt x="36" y="300"/>
                          </a:lnTo>
                          <a:lnTo>
                            <a:pt x="60" y="300"/>
                          </a:lnTo>
                          <a:lnTo>
                            <a:pt x="96" y="288"/>
                          </a:lnTo>
                          <a:lnTo>
                            <a:pt x="108" y="282"/>
                          </a:lnTo>
                          <a:lnTo>
                            <a:pt x="120" y="270"/>
                          </a:lnTo>
                          <a:lnTo>
                            <a:pt x="120" y="264"/>
                          </a:lnTo>
                          <a:lnTo>
                            <a:pt x="132" y="270"/>
                          </a:lnTo>
                          <a:lnTo>
                            <a:pt x="138" y="270"/>
                          </a:lnTo>
                          <a:lnTo>
                            <a:pt x="150" y="264"/>
                          </a:lnTo>
                          <a:lnTo>
                            <a:pt x="162" y="252"/>
                          </a:lnTo>
                          <a:lnTo>
                            <a:pt x="180" y="246"/>
                          </a:lnTo>
                          <a:lnTo>
                            <a:pt x="204" y="246"/>
                          </a:lnTo>
                          <a:lnTo>
                            <a:pt x="210" y="240"/>
                          </a:lnTo>
                          <a:lnTo>
                            <a:pt x="252" y="240"/>
                          </a:lnTo>
                          <a:lnTo>
                            <a:pt x="246" y="222"/>
                          </a:lnTo>
                          <a:lnTo>
                            <a:pt x="264" y="222"/>
                          </a:lnTo>
                          <a:lnTo>
                            <a:pt x="264" y="198"/>
                          </a:lnTo>
                          <a:lnTo>
                            <a:pt x="270" y="192"/>
                          </a:lnTo>
                          <a:lnTo>
                            <a:pt x="270" y="180"/>
                          </a:lnTo>
                          <a:lnTo>
                            <a:pt x="276" y="168"/>
                          </a:lnTo>
                          <a:lnTo>
                            <a:pt x="276" y="156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38" name="Iceland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3759204" y="1965326"/>
                      <a:ext cx="230188" cy="88900"/>
                    </a:xfrm>
                    <a:custGeom>
                      <a:avLst/>
                      <a:gdLst>
                        <a:gd name="T0" fmla="*/ 2147483647 w 570"/>
                        <a:gd name="T1" fmla="*/ 2147483647 h 222"/>
                        <a:gd name="T2" fmla="*/ 2147483647 w 570"/>
                        <a:gd name="T3" fmla="*/ 2147483647 h 222"/>
                        <a:gd name="T4" fmla="*/ 2147483647 w 570"/>
                        <a:gd name="T5" fmla="*/ 2147483647 h 222"/>
                        <a:gd name="T6" fmla="*/ 2147483647 w 570"/>
                        <a:gd name="T7" fmla="*/ 2147483647 h 222"/>
                        <a:gd name="T8" fmla="*/ 2147483647 w 570"/>
                        <a:gd name="T9" fmla="*/ 2147483647 h 222"/>
                        <a:gd name="T10" fmla="*/ 2147483647 w 570"/>
                        <a:gd name="T11" fmla="*/ 2147483647 h 222"/>
                        <a:gd name="T12" fmla="*/ 2147483647 w 570"/>
                        <a:gd name="T13" fmla="*/ 2147483647 h 222"/>
                        <a:gd name="T14" fmla="*/ 2147483647 w 570"/>
                        <a:gd name="T15" fmla="*/ 2147483647 h 222"/>
                        <a:gd name="T16" fmla="*/ 2147483647 w 570"/>
                        <a:gd name="T17" fmla="*/ 2147483647 h 222"/>
                        <a:gd name="T18" fmla="*/ 2147483647 w 570"/>
                        <a:gd name="T19" fmla="*/ 2147483647 h 222"/>
                        <a:gd name="T20" fmla="*/ 2147483647 w 570"/>
                        <a:gd name="T21" fmla="*/ 2147483647 h 222"/>
                        <a:gd name="T22" fmla="*/ 2147483647 w 570"/>
                        <a:gd name="T23" fmla="*/ 2147483647 h 222"/>
                        <a:gd name="T24" fmla="*/ 2147483647 w 570"/>
                        <a:gd name="T25" fmla="*/ 2147483647 h 222"/>
                        <a:gd name="T26" fmla="*/ 2147483647 w 570"/>
                        <a:gd name="T27" fmla="*/ 2147483647 h 222"/>
                        <a:gd name="T28" fmla="*/ 2147483647 w 570"/>
                        <a:gd name="T29" fmla="*/ 2147483647 h 222"/>
                        <a:gd name="T30" fmla="*/ 2147483647 w 570"/>
                        <a:gd name="T31" fmla="*/ 2147483647 h 222"/>
                        <a:gd name="T32" fmla="*/ 2147483647 w 570"/>
                        <a:gd name="T33" fmla="*/ 2147483647 h 222"/>
                        <a:gd name="T34" fmla="*/ 2147483647 w 570"/>
                        <a:gd name="T35" fmla="*/ 2147483647 h 222"/>
                        <a:gd name="T36" fmla="*/ 2147483647 w 570"/>
                        <a:gd name="T37" fmla="*/ 2147483647 h 222"/>
                        <a:gd name="T38" fmla="*/ 2147483647 w 570"/>
                        <a:gd name="T39" fmla="*/ 2147483647 h 222"/>
                        <a:gd name="T40" fmla="*/ 2147483647 w 570"/>
                        <a:gd name="T41" fmla="*/ 2147483647 h 222"/>
                        <a:gd name="T42" fmla="*/ 2147483647 w 570"/>
                        <a:gd name="T43" fmla="*/ 2147483647 h 222"/>
                        <a:gd name="T44" fmla="*/ 2147483647 w 570"/>
                        <a:gd name="T45" fmla="*/ 2147483647 h 222"/>
                        <a:gd name="T46" fmla="*/ 2147483647 w 570"/>
                        <a:gd name="T47" fmla="*/ 2147483647 h 222"/>
                        <a:gd name="T48" fmla="*/ 2147483647 w 570"/>
                        <a:gd name="T49" fmla="*/ 2147483647 h 222"/>
                        <a:gd name="T50" fmla="*/ 2147483647 w 570"/>
                        <a:gd name="T51" fmla="*/ 2147483647 h 222"/>
                        <a:gd name="T52" fmla="*/ 2147483647 w 570"/>
                        <a:gd name="T53" fmla="*/ 2147483647 h 222"/>
                        <a:gd name="T54" fmla="*/ 2147483647 w 570"/>
                        <a:gd name="T55" fmla="*/ 2147483647 h 222"/>
                        <a:gd name="T56" fmla="*/ 2147483647 w 570"/>
                        <a:gd name="T57" fmla="*/ 2147483647 h 222"/>
                        <a:gd name="T58" fmla="*/ 2147483647 w 570"/>
                        <a:gd name="T59" fmla="*/ 2147483647 h 222"/>
                        <a:gd name="T60" fmla="*/ 2147483647 w 570"/>
                        <a:gd name="T61" fmla="*/ 2147483647 h 222"/>
                        <a:gd name="T62" fmla="*/ 2147483647 w 570"/>
                        <a:gd name="T63" fmla="*/ 2147483647 h 222"/>
                        <a:gd name="T64" fmla="*/ 2147483647 w 570"/>
                        <a:gd name="T65" fmla="*/ 2147483647 h 222"/>
                        <a:gd name="T66" fmla="*/ 0 w 570"/>
                        <a:gd name="T67" fmla="*/ 2147483647 h 222"/>
                        <a:gd name="T68" fmla="*/ 2147483647 w 570"/>
                        <a:gd name="T69" fmla="*/ 2147483647 h 222"/>
                        <a:gd name="T70" fmla="*/ 2147483647 w 570"/>
                        <a:gd name="T71" fmla="*/ 2147483647 h 222"/>
                        <a:gd name="T72" fmla="*/ 2147483647 w 570"/>
                        <a:gd name="T73" fmla="*/ 2147483647 h 222"/>
                        <a:gd name="T74" fmla="*/ 2147483647 w 570"/>
                        <a:gd name="T75" fmla="*/ 2147483647 h 222"/>
                        <a:gd name="T76" fmla="*/ 2147483647 w 570"/>
                        <a:gd name="T77" fmla="*/ 2147483647 h 222"/>
                        <a:gd name="T78" fmla="*/ 2147483647 w 570"/>
                        <a:gd name="T79" fmla="*/ 2147483647 h 222"/>
                        <a:gd name="T80" fmla="*/ 2147483647 w 570"/>
                        <a:gd name="T81" fmla="*/ 2147483647 h 222"/>
                        <a:gd name="T82" fmla="*/ 2147483647 w 570"/>
                        <a:gd name="T83" fmla="*/ 2147483647 h 222"/>
                        <a:gd name="T84" fmla="*/ 2147483647 w 570"/>
                        <a:gd name="T85" fmla="*/ 2147483647 h 222"/>
                        <a:gd name="T86" fmla="*/ 2147483647 w 570"/>
                        <a:gd name="T87" fmla="*/ 2147483647 h 222"/>
                        <a:gd name="T88" fmla="*/ 2147483647 w 570"/>
                        <a:gd name="T89" fmla="*/ 2147483647 h 222"/>
                        <a:gd name="T90" fmla="*/ 2147483647 w 570"/>
                        <a:gd name="T91" fmla="*/ 2147483647 h 222"/>
                        <a:gd name="T92" fmla="*/ 2147483647 w 570"/>
                        <a:gd name="T93" fmla="*/ 2147483647 h 222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w 570"/>
                        <a:gd name="T142" fmla="*/ 0 h 222"/>
                        <a:gd name="T143" fmla="*/ 570 w 570"/>
                        <a:gd name="T144" fmla="*/ 222 h 222"/>
                      </a:gdLst>
                      <a:ahLst/>
                      <a:cxnLst>
                        <a:cxn ang="T94">
                          <a:pos x="T0" y="T1"/>
                        </a:cxn>
                        <a:cxn ang="T95">
                          <a:pos x="T2" y="T3"/>
                        </a:cxn>
                        <a:cxn ang="T96">
                          <a:pos x="T4" y="T5"/>
                        </a:cxn>
                        <a:cxn ang="T97">
                          <a:pos x="T6" y="T7"/>
                        </a:cxn>
                        <a:cxn ang="T98">
                          <a:pos x="T8" y="T9"/>
                        </a:cxn>
                        <a:cxn ang="T99">
                          <a:pos x="T10" y="T11"/>
                        </a:cxn>
                        <a:cxn ang="T100">
                          <a:pos x="T12" y="T13"/>
                        </a:cxn>
                        <a:cxn ang="T101">
                          <a:pos x="T14" y="T15"/>
                        </a:cxn>
                        <a:cxn ang="T102">
                          <a:pos x="T16" y="T17"/>
                        </a:cxn>
                        <a:cxn ang="T103">
                          <a:pos x="T18" y="T19"/>
                        </a:cxn>
                        <a:cxn ang="T104">
                          <a:pos x="T20" y="T21"/>
                        </a:cxn>
                        <a:cxn ang="T105">
                          <a:pos x="T22" y="T23"/>
                        </a:cxn>
                        <a:cxn ang="T106">
                          <a:pos x="T24" y="T25"/>
                        </a:cxn>
                        <a:cxn ang="T107">
                          <a:pos x="T26" y="T27"/>
                        </a:cxn>
                        <a:cxn ang="T108">
                          <a:pos x="T28" y="T29"/>
                        </a:cxn>
                        <a:cxn ang="T109">
                          <a:pos x="T30" y="T31"/>
                        </a:cxn>
                        <a:cxn ang="T110">
                          <a:pos x="T32" y="T33"/>
                        </a:cxn>
                        <a:cxn ang="T111">
                          <a:pos x="T34" y="T35"/>
                        </a:cxn>
                        <a:cxn ang="T112">
                          <a:pos x="T36" y="T37"/>
                        </a:cxn>
                        <a:cxn ang="T113">
                          <a:pos x="T38" y="T39"/>
                        </a:cxn>
                        <a:cxn ang="T114">
                          <a:pos x="T40" y="T41"/>
                        </a:cxn>
                        <a:cxn ang="T115">
                          <a:pos x="T42" y="T43"/>
                        </a:cxn>
                        <a:cxn ang="T116">
                          <a:pos x="T44" y="T45"/>
                        </a:cxn>
                        <a:cxn ang="T117">
                          <a:pos x="T46" y="T47"/>
                        </a:cxn>
                        <a:cxn ang="T118">
                          <a:pos x="T48" y="T49"/>
                        </a:cxn>
                        <a:cxn ang="T119">
                          <a:pos x="T50" y="T51"/>
                        </a:cxn>
                        <a:cxn ang="T120">
                          <a:pos x="T52" y="T53"/>
                        </a:cxn>
                        <a:cxn ang="T121">
                          <a:pos x="T54" y="T55"/>
                        </a:cxn>
                        <a:cxn ang="T122">
                          <a:pos x="T56" y="T57"/>
                        </a:cxn>
                        <a:cxn ang="T123">
                          <a:pos x="T58" y="T59"/>
                        </a:cxn>
                        <a:cxn ang="T124">
                          <a:pos x="T60" y="T61"/>
                        </a:cxn>
                        <a:cxn ang="T125">
                          <a:pos x="T62" y="T63"/>
                        </a:cxn>
                        <a:cxn ang="T126">
                          <a:pos x="T64" y="T65"/>
                        </a:cxn>
                        <a:cxn ang="T127">
                          <a:pos x="T66" y="T67"/>
                        </a:cxn>
                        <a:cxn ang="T128">
                          <a:pos x="T68" y="T69"/>
                        </a:cxn>
                        <a:cxn ang="T129">
                          <a:pos x="T70" y="T71"/>
                        </a:cxn>
                        <a:cxn ang="T130">
                          <a:pos x="T72" y="T73"/>
                        </a:cxn>
                        <a:cxn ang="T131">
                          <a:pos x="T74" y="T75"/>
                        </a:cxn>
                        <a:cxn ang="T132">
                          <a:pos x="T76" y="T77"/>
                        </a:cxn>
                        <a:cxn ang="T133">
                          <a:pos x="T78" y="T79"/>
                        </a:cxn>
                        <a:cxn ang="T134">
                          <a:pos x="T80" y="T81"/>
                        </a:cxn>
                        <a:cxn ang="T135">
                          <a:pos x="T82" y="T83"/>
                        </a:cxn>
                        <a:cxn ang="T136">
                          <a:pos x="T84" y="T85"/>
                        </a:cxn>
                        <a:cxn ang="T137">
                          <a:pos x="T86" y="T87"/>
                        </a:cxn>
                        <a:cxn ang="T138">
                          <a:pos x="T88" y="T89"/>
                        </a:cxn>
                        <a:cxn ang="T139">
                          <a:pos x="T90" y="T91"/>
                        </a:cxn>
                        <a:cxn ang="T140">
                          <a:pos x="T92" y="T93"/>
                        </a:cxn>
                      </a:cxnLst>
                      <a:rect l="T141" t="T142" r="T143" b="T144"/>
                      <a:pathLst>
                        <a:path w="570" h="222">
                          <a:moveTo>
                            <a:pt x="252" y="222"/>
                          </a:moveTo>
                          <a:lnTo>
                            <a:pt x="270" y="216"/>
                          </a:lnTo>
                          <a:lnTo>
                            <a:pt x="306" y="216"/>
                          </a:lnTo>
                          <a:lnTo>
                            <a:pt x="312" y="204"/>
                          </a:lnTo>
                          <a:lnTo>
                            <a:pt x="312" y="192"/>
                          </a:lnTo>
                          <a:lnTo>
                            <a:pt x="324" y="198"/>
                          </a:lnTo>
                          <a:lnTo>
                            <a:pt x="330" y="198"/>
                          </a:lnTo>
                          <a:lnTo>
                            <a:pt x="342" y="204"/>
                          </a:lnTo>
                          <a:lnTo>
                            <a:pt x="348" y="204"/>
                          </a:lnTo>
                          <a:lnTo>
                            <a:pt x="360" y="192"/>
                          </a:lnTo>
                          <a:lnTo>
                            <a:pt x="360" y="186"/>
                          </a:lnTo>
                          <a:lnTo>
                            <a:pt x="372" y="186"/>
                          </a:lnTo>
                          <a:lnTo>
                            <a:pt x="378" y="192"/>
                          </a:lnTo>
                          <a:lnTo>
                            <a:pt x="390" y="192"/>
                          </a:lnTo>
                          <a:lnTo>
                            <a:pt x="414" y="180"/>
                          </a:lnTo>
                          <a:lnTo>
                            <a:pt x="432" y="168"/>
                          </a:lnTo>
                          <a:lnTo>
                            <a:pt x="456" y="156"/>
                          </a:lnTo>
                          <a:lnTo>
                            <a:pt x="474" y="156"/>
                          </a:lnTo>
                          <a:lnTo>
                            <a:pt x="480" y="162"/>
                          </a:lnTo>
                          <a:lnTo>
                            <a:pt x="492" y="162"/>
                          </a:lnTo>
                          <a:lnTo>
                            <a:pt x="504" y="156"/>
                          </a:lnTo>
                          <a:lnTo>
                            <a:pt x="510" y="144"/>
                          </a:lnTo>
                          <a:lnTo>
                            <a:pt x="510" y="138"/>
                          </a:lnTo>
                          <a:lnTo>
                            <a:pt x="516" y="126"/>
                          </a:lnTo>
                          <a:lnTo>
                            <a:pt x="528" y="126"/>
                          </a:lnTo>
                          <a:lnTo>
                            <a:pt x="552" y="114"/>
                          </a:lnTo>
                          <a:lnTo>
                            <a:pt x="564" y="102"/>
                          </a:lnTo>
                          <a:lnTo>
                            <a:pt x="570" y="102"/>
                          </a:lnTo>
                          <a:lnTo>
                            <a:pt x="552" y="102"/>
                          </a:lnTo>
                          <a:lnTo>
                            <a:pt x="570" y="84"/>
                          </a:lnTo>
                          <a:lnTo>
                            <a:pt x="570" y="78"/>
                          </a:lnTo>
                          <a:lnTo>
                            <a:pt x="564" y="72"/>
                          </a:lnTo>
                          <a:lnTo>
                            <a:pt x="552" y="66"/>
                          </a:lnTo>
                          <a:lnTo>
                            <a:pt x="540" y="66"/>
                          </a:lnTo>
                          <a:lnTo>
                            <a:pt x="534" y="72"/>
                          </a:lnTo>
                          <a:lnTo>
                            <a:pt x="528" y="72"/>
                          </a:lnTo>
                          <a:lnTo>
                            <a:pt x="534" y="60"/>
                          </a:lnTo>
                          <a:lnTo>
                            <a:pt x="504" y="60"/>
                          </a:lnTo>
                          <a:lnTo>
                            <a:pt x="522" y="36"/>
                          </a:lnTo>
                          <a:lnTo>
                            <a:pt x="504" y="36"/>
                          </a:lnTo>
                          <a:lnTo>
                            <a:pt x="510" y="18"/>
                          </a:lnTo>
                          <a:lnTo>
                            <a:pt x="480" y="24"/>
                          </a:lnTo>
                          <a:lnTo>
                            <a:pt x="474" y="18"/>
                          </a:lnTo>
                          <a:lnTo>
                            <a:pt x="462" y="12"/>
                          </a:lnTo>
                          <a:lnTo>
                            <a:pt x="456" y="6"/>
                          </a:lnTo>
                          <a:lnTo>
                            <a:pt x="444" y="0"/>
                          </a:lnTo>
                          <a:lnTo>
                            <a:pt x="432" y="0"/>
                          </a:lnTo>
                          <a:lnTo>
                            <a:pt x="432" y="24"/>
                          </a:lnTo>
                          <a:lnTo>
                            <a:pt x="414" y="30"/>
                          </a:lnTo>
                          <a:lnTo>
                            <a:pt x="408" y="30"/>
                          </a:lnTo>
                          <a:lnTo>
                            <a:pt x="402" y="24"/>
                          </a:lnTo>
                          <a:lnTo>
                            <a:pt x="378" y="24"/>
                          </a:lnTo>
                          <a:lnTo>
                            <a:pt x="372" y="30"/>
                          </a:lnTo>
                          <a:lnTo>
                            <a:pt x="366" y="42"/>
                          </a:lnTo>
                          <a:lnTo>
                            <a:pt x="360" y="36"/>
                          </a:lnTo>
                          <a:lnTo>
                            <a:pt x="348" y="30"/>
                          </a:lnTo>
                          <a:lnTo>
                            <a:pt x="342" y="24"/>
                          </a:lnTo>
                          <a:lnTo>
                            <a:pt x="336" y="24"/>
                          </a:lnTo>
                          <a:lnTo>
                            <a:pt x="330" y="30"/>
                          </a:lnTo>
                          <a:lnTo>
                            <a:pt x="330" y="60"/>
                          </a:lnTo>
                          <a:lnTo>
                            <a:pt x="324" y="48"/>
                          </a:lnTo>
                          <a:lnTo>
                            <a:pt x="318" y="42"/>
                          </a:lnTo>
                          <a:lnTo>
                            <a:pt x="306" y="36"/>
                          </a:lnTo>
                          <a:lnTo>
                            <a:pt x="300" y="24"/>
                          </a:lnTo>
                          <a:lnTo>
                            <a:pt x="288" y="24"/>
                          </a:lnTo>
                          <a:lnTo>
                            <a:pt x="288" y="30"/>
                          </a:lnTo>
                          <a:lnTo>
                            <a:pt x="270" y="30"/>
                          </a:lnTo>
                          <a:lnTo>
                            <a:pt x="264" y="36"/>
                          </a:lnTo>
                          <a:lnTo>
                            <a:pt x="264" y="54"/>
                          </a:lnTo>
                          <a:lnTo>
                            <a:pt x="252" y="54"/>
                          </a:lnTo>
                          <a:lnTo>
                            <a:pt x="240" y="42"/>
                          </a:lnTo>
                          <a:lnTo>
                            <a:pt x="228" y="36"/>
                          </a:lnTo>
                          <a:lnTo>
                            <a:pt x="222" y="30"/>
                          </a:lnTo>
                          <a:lnTo>
                            <a:pt x="216" y="30"/>
                          </a:lnTo>
                          <a:lnTo>
                            <a:pt x="216" y="48"/>
                          </a:lnTo>
                          <a:lnTo>
                            <a:pt x="210" y="60"/>
                          </a:lnTo>
                          <a:lnTo>
                            <a:pt x="210" y="72"/>
                          </a:lnTo>
                          <a:lnTo>
                            <a:pt x="204" y="72"/>
                          </a:lnTo>
                          <a:lnTo>
                            <a:pt x="192" y="60"/>
                          </a:lnTo>
                          <a:lnTo>
                            <a:pt x="186" y="60"/>
                          </a:lnTo>
                          <a:lnTo>
                            <a:pt x="162" y="84"/>
                          </a:lnTo>
                          <a:lnTo>
                            <a:pt x="162" y="90"/>
                          </a:lnTo>
                          <a:lnTo>
                            <a:pt x="156" y="84"/>
                          </a:lnTo>
                          <a:lnTo>
                            <a:pt x="144" y="60"/>
                          </a:lnTo>
                          <a:lnTo>
                            <a:pt x="162" y="42"/>
                          </a:lnTo>
                          <a:lnTo>
                            <a:pt x="162" y="36"/>
                          </a:lnTo>
                          <a:lnTo>
                            <a:pt x="156" y="30"/>
                          </a:lnTo>
                          <a:lnTo>
                            <a:pt x="108" y="6"/>
                          </a:lnTo>
                          <a:lnTo>
                            <a:pt x="96" y="6"/>
                          </a:lnTo>
                          <a:lnTo>
                            <a:pt x="96" y="36"/>
                          </a:lnTo>
                          <a:lnTo>
                            <a:pt x="90" y="36"/>
                          </a:lnTo>
                          <a:lnTo>
                            <a:pt x="84" y="30"/>
                          </a:lnTo>
                          <a:lnTo>
                            <a:pt x="78" y="30"/>
                          </a:lnTo>
                          <a:lnTo>
                            <a:pt x="66" y="24"/>
                          </a:lnTo>
                          <a:lnTo>
                            <a:pt x="54" y="24"/>
                          </a:lnTo>
                          <a:lnTo>
                            <a:pt x="42" y="30"/>
                          </a:lnTo>
                          <a:lnTo>
                            <a:pt x="30" y="42"/>
                          </a:lnTo>
                          <a:lnTo>
                            <a:pt x="48" y="54"/>
                          </a:lnTo>
                          <a:lnTo>
                            <a:pt x="30" y="54"/>
                          </a:lnTo>
                          <a:lnTo>
                            <a:pt x="18" y="60"/>
                          </a:lnTo>
                          <a:lnTo>
                            <a:pt x="12" y="66"/>
                          </a:lnTo>
                          <a:lnTo>
                            <a:pt x="0" y="66"/>
                          </a:lnTo>
                          <a:lnTo>
                            <a:pt x="6" y="72"/>
                          </a:lnTo>
                          <a:lnTo>
                            <a:pt x="18" y="78"/>
                          </a:lnTo>
                          <a:lnTo>
                            <a:pt x="30" y="78"/>
                          </a:lnTo>
                          <a:lnTo>
                            <a:pt x="54" y="66"/>
                          </a:lnTo>
                          <a:lnTo>
                            <a:pt x="66" y="66"/>
                          </a:lnTo>
                          <a:lnTo>
                            <a:pt x="72" y="60"/>
                          </a:lnTo>
                          <a:lnTo>
                            <a:pt x="78" y="60"/>
                          </a:lnTo>
                          <a:lnTo>
                            <a:pt x="126" y="72"/>
                          </a:lnTo>
                          <a:lnTo>
                            <a:pt x="90" y="90"/>
                          </a:lnTo>
                          <a:lnTo>
                            <a:pt x="102" y="90"/>
                          </a:lnTo>
                          <a:lnTo>
                            <a:pt x="108" y="96"/>
                          </a:lnTo>
                          <a:lnTo>
                            <a:pt x="114" y="96"/>
                          </a:lnTo>
                          <a:lnTo>
                            <a:pt x="120" y="102"/>
                          </a:lnTo>
                          <a:lnTo>
                            <a:pt x="114" y="102"/>
                          </a:lnTo>
                          <a:lnTo>
                            <a:pt x="108" y="108"/>
                          </a:lnTo>
                          <a:lnTo>
                            <a:pt x="6" y="108"/>
                          </a:lnTo>
                          <a:lnTo>
                            <a:pt x="0" y="114"/>
                          </a:lnTo>
                          <a:lnTo>
                            <a:pt x="12" y="120"/>
                          </a:lnTo>
                          <a:lnTo>
                            <a:pt x="60" y="120"/>
                          </a:lnTo>
                          <a:lnTo>
                            <a:pt x="84" y="132"/>
                          </a:lnTo>
                          <a:lnTo>
                            <a:pt x="90" y="138"/>
                          </a:lnTo>
                          <a:lnTo>
                            <a:pt x="126" y="132"/>
                          </a:lnTo>
                          <a:lnTo>
                            <a:pt x="108" y="150"/>
                          </a:lnTo>
                          <a:lnTo>
                            <a:pt x="120" y="156"/>
                          </a:lnTo>
                          <a:lnTo>
                            <a:pt x="114" y="162"/>
                          </a:lnTo>
                          <a:lnTo>
                            <a:pt x="114" y="168"/>
                          </a:lnTo>
                          <a:lnTo>
                            <a:pt x="108" y="174"/>
                          </a:lnTo>
                          <a:lnTo>
                            <a:pt x="90" y="174"/>
                          </a:lnTo>
                          <a:lnTo>
                            <a:pt x="78" y="180"/>
                          </a:lnTo>
                          <a:lnTo>
                            <a:pt x="54" y="180"/>
                          </a:lnTo>
                          <a:lnTo>
                            <a:pt x="54" y="186"/>
                          </a:lnTo>
                          <a:lnTo>
                            <a:pt x="66" y="192"/>
                          </a:lnTo>
                          <a:lnTo>
                            <a:pt x="120" y="192"/>
                          </a:lnTo>
                          <a:lnTo>
                            <a:pt x="132" y="186"/>
                          </a:lnTo>
                          <a:lnTo>
                            <a:pt x="138" y="180"/>
                          </a:lnTo>
                          <a:lnTo>
                            <a:pt x="168" y="198"/>
                          </a:lnTo>
                          <a:lnTo>
                            <a:pt x="180" y="186"/>
                          </a:lnTo>
                          <a:lnTo>
                            <a:pt x="180" y="198"/>
                          </a:lnTo>
                          <a:lnTo>
                            <a:pt x="228" y="222"/>
                          </a:lnTo>
                          <a:lnTo>
                            <a:pt x="252" y="222"/>
                          </a:lnTo>
                          <a:close/>
                        </a:path>
                      </a:pathLst>
                    </a:custGeom>
                    <a:solidFill>
                      <a:schemeClr val="bg1">
                        <a:lumMod val="7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39" name="Hungary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657731" y="2506664"/>
                      <a:ext cx="171450" cy="88900"/>
                    </a:xfrm>
                    <a:custGeom>
                      <a:avLst/>
                      <a:gdLst>
                        <a:gd name="T0" fmla="*/ 2147483647 w 426"/>
                        <a:gd name="T1" fmla="*/ 2147483647 h 222"/>
                        <a:gd name="T2" fmla="*/ 2147483647 w 426"/>
                        <a:gd name="T3" fmla="*/ 2147483647 h 222"/>
                        <a:gd name="T4" fmla="*/ 2147483647 w 426"/>
                        <a:gd name="T5" fmla="*/ 2147483647 h 222"/>
                        <a:gd name="T6" fmla="*/ 0 w 426"/>
                        <a:gd name="T7" fmla="*/ 2147483647 h 222"/>
                        <a:gd name="T8" fmla="*/ 2147483647 w 426"/>
                        <a:gd name="T9" fmla="*/ 2147483647 h 222"/>
                        <a:gd name="T10" fmla="*/ 2147483647 w 426"/>
                        <a:gd name="T11" fmla="*/ 2147483647 h 222"/>
                        <a:gd name="T12" fmla="*/ 2147483647 w 426"/>
                        <a:gd name="T13" fmla="*/ 2147483647 h 222"/>
                        <a:gd name="T14" fmla="*/ 2147483647 w 426"/>
                        <a:gd name="T15" fmla="*/ 2147483647 h 222"/>
                        <a:gd name="T16" fmla="*/ 2147483647 w 426"/>
                        <a:gd name="T17" fmla="*/ 2147483647 h 222"/>
                        <a:gd name="T18" fmla="*/ 2147483647 w 426"/>
                        <a:gd name="T19" fmla="*/ 2147483647 h 222"/>
                        <a:gd name="T20" fmla="*/ 2147483647 w 426"/>
                        <a:gd name="T21" fmla="*/ 2147483647 h 222"/>
                        <a:gd name="T22" fmla="*/ 2147483647 w 426"/>
                        <a:gd name="T23" fmla="*/ 2147483647 h 222"/>
                        <a:gd name="T24" fmla="*/ 2147483647 w 426"/>
                        <a:gd name="T25" fmla="*/ 2147483647 h 222"/>
                        <a:gd name="T26" fmla="*/ 2147483647 w 426"/>
                        <a:gd name="T27" fmla="*/ 2147483647 h 222"/>
                        <a:gd name="T28" fmla="*/ 2147483647 w 426"/>
                        <a:gd name="T29" fmla="*/ 2147483647 h 222"/>
                        <a:gd name="T30" fmla="*/ 2147483647 w 426"/>
                        <a:gd name="T31" fmla="*/ 2147483647 h 222"/>
                        <a:gd name="T32" fmla="*/ 2147483647 w 426"/>
                        <a:gd name="T33" fmla="*/ 2147483647 h 222"/>
                        <a:gd name="T34" fmla="*/ 2147483647 w 426"/>
                        <a:gd name="T35" fmla="*/ 2147483647 h 222"/>
                        <a:gd name="T36" fmla="*/ 2147483647 w 426"/>
                        <a:gd name="T37" fmla="*/ 2147483647 h 222"/>
                        <a:gd name="T38" fmla="*/ 2147483647 w 426"/>
                        <a:gd name="T39" fmla="*/ 2147483647 h 222"/>
                        <a:gd name="T40" fmla="*/ 2147483647 w 426"/>
                        <a:gd name="T41" fmla="*/ 2147483647 h 222"/>
                        <a:gd name="T42" fmla="*/ 2147483647 w 426"/>
                        <a:gd name="T43" fmla="*/ 2147483647 h 222"/>
                        <a:gd name="T44" fmla="*/ 2147483647 w 426"/>
                        <a:gd name="T45" fmla="*/ 2147483647 h 222"/>
                        <a:gd name="T46" fmla="*/ 2147483647 w 426"/>
                        <a:gd name="T47" fmla="*/ 2147483647 h 222"/>
                        <a:gd name="T48" fmla="*/ 2147483647 w 426"/>
                        <a:gd name="T49" fmla="*/ 0 h 222"/>
                        <a:gd name="T50" fmla="*/ 2147483647 w 426"/>
                        <a:gd name="T51" fmla="*/ 2147483647 h 222"/>
                        <a:gd name="T52" fmla="*/ 2147483647 w 426"/>
                        <a:gd name="T53" fmla="*/ 0 h 222"/>
                        <a:gd name="T54" fmla="*/ 2147483647 w 426"/>
                        <a:gd name="T55" fmla="*/ 2147483647 h 222"/>
                        <a:gd name="T56" fmla="*/ 2147483647 w 426"/>
                        <a:gd name="T57" fmla="*/ 2147483647 h 222"/>
                        <a:gd name="T58" fmla="*/ 2147483647 w 426"/>
                        <a:gd name="T59" fmla="*/ 2147483647 h 222"/>
                        <a:gd name="T60" fmla="*/ 2147483647 w 426"/>
                        <a:gd name="T61" fmla="*/ 2147483647 h 222"/>
                        <a:gd name="T62" fmla="*/ 2147483647 w 426"/>
                        <a:gd name="T63" fmla="*/ 2147483647 h 222"/>
                        <a:gd name="T64" fmla="*/ 2147483647 w 426"/>
                        <a:gd name="T65" fmla="*/ 2147483647 h 222"/>
                        <a:gd name="T66" fmla="*/ 2147483647 w 426"/>
                        <a:gd name="T67" fmla="*/ 2147483647 h 222"/>
                        <a:gd name="T68" fmla="*/ 2147483647 w 426"/>
                        <a:gd name="T69" fmla="*/ 2147483647 h 222"/>
                        <a:gd name="T70" fmla="*/ 2147483647 w 426"/>
                        <a:gd name="T71" fmla="*/ 2147483647 h 222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w 426"/>
                        <a:gd name="T109" fmla="*/ 0 h 222"/>
                        <a:gd name="T110" fmla="*/ 426 w 426"/>
                        <a:gd name="T111" fmla="*/ 222 h 222"/>
                      </a:gdLst>
                      <a:ahLst/>
                      <a:cxnLst>
                        <a:cxn ang="T72">
                          <a:pos x="T0" y="T1"/>
                        </a:cxn>
                        <a:cxn ang="T73">
                          <a:pos x="T2" y="T3"/>
                        </a:cxn>
                        <a:cxn ang="T74">
                          <a:pos x="T4" y="T5"/>
                        </a:cxn>
                        <a:cxn ang="T75">
                          <a:pos x="T6" y="T7"/>
                        </a:cxn>
                        <a:cxn ang="T76">
                          <a:pos x="T8" y="T9"/>
                        </a:cxn>
                        <a:cxn ang="T77">
                          <a:pos x="T10" y="T11"/>
                        </a:cxn>
                        <a:cxn ang="T78">
                          <a:pos x="T12" y="T13"/>
                        </a:cxn>
                        <a:cxn ang="T79">
                          <a:pos x="T14" y="T15"/>
                        </a:cxn>
                        <a:cxn ang="T80">
                          <a:pos x="T16" y="T17"/>
                        </a:cxn>
                        <a:cxn ang="T81">
                          <a:pos x="T18" y="T19"/>
                        </a:cxn>
                        <a:cxn ang="T82">
                          <a:pos x="T20" y="T21"/>
                        </a:cxn>
                        <a:cxn ang="T83">
                          <a:pos x="T22" y="T23"/>
                        </a:cxn>
                        <a:cxn ang="T84">
                          <a:pos x="T24" y="T25"/>
                        </a:cxn>
                        <a:cxn ang="T85">
                          <a:pos x="T26" y="T27"/>
                        </a:cxn>
                        <a:cxn ang="T86">
                          <a:pos x="T28" y="T29"/>
                        </a:cxn>
                        <a:cxn ang="T87">
                          <a:pos x="T30" y="T31"/>
                        </a:cxn>
                        <a:cxn ang="T88">
                          <a:pos x="T32" y="T33"/>
                        </a:cxn>
                        <a:cxn ang="T89">
                          <a:pos x="T34" y="T35"/>
                        </a:cxn>
                        <a:cxn ang="T90">
                          <a:pos x="T36" y="T37"/>
                        </a:cxn>
                        <a:cxn ang="T91">
                          <a:pos x="T38" y="T39"/>
                        </a:cxn>
                        <a:cxn ang="T92">
                          <a:pos x="T40" y="T41"/>
                        </a:cxn>
                        <a:cxn ang="T93">
                          <a:pos x="T42" y="T43"/>
                        </a:cxn>
                        <a:cxn ang="T94">
                          <a:pos x="T44" y="T45"/>
                        </a:cxn>
                        <a:cxn ang="T95">
                          <a:pos x="T46" y="T47"/>
                        </a:cxn>
                        <a:cxn ang="T96">
                          <a:pos x="T48" y="T49"/>
                        </a:cxn>
                        <a:cxn ang="T97">
                          <a:pos x="T50" y="T51"/>
                        </a:cxn>
                        <a:cxn ang="T98">
                          <a:pos x="T52" y="T53"/>
                        </a:cxn>
                        <a:cxn ang="T99">
                          <a:pos x="T54" y="T55"/>
                        </a:cxn>
                        <a:cxn ang="T100">
                          <a:pos x="T56" y="T57"/>
                        </a:cxn>
                        <a:cxn ang="T101">
                          <a:pos x="T58" y="T59"/>
                        </a:cxn>
                        <a:cxn ang="T102">
                          <a:pos x="T60" y="T61"/>
                        </a:cxn>
                        <a:cxn ang="T103">
                          <a:pos x="T62" y="T63"/>
                        </a:cxn>
                        <a:cxn ang="T104">
                          <a:pos x="T64" y="T65"/>
                        </a:cxn>
                        <a:cxn ang="T105">
                          <a:pos x="T66" y="T67"/>
                        </a:cxn>
                        <a:cxn ang="T106">
                          <a:pos x="T68" y="T69"/>
                        </a:cxn>
                        <a:cxn ang="T107">
                          <a:pos x="T70" y="T71"/>
                        </a:cxn>
                      </a:cxnLst>
                      <a:rect l="T108" t="T109" r="T110" b="T111"/>
                      <a:pathLst>
                        <a:path w="426" h="222">
                          <a:moveTo>
                            <a:pt x="42" y="66"/>
                          </a:moveTo>
                          <a:lnTo>
                            <a:pt x="24" y="66"/>
                          </a:lnTo>
                          <a:lnTo>
                            <a:pt x="18" y="78"/>
                          </a:lnTo>
                          <a:lnTo>
                            <a:pt x="30" y="78"/>
                          </a:lnTo>
                          <a:lnTo>
                            <a:pt x="18" y="96"/>
                          </a:lnTo>
                          <a:lnTo>
                            <a:pt x="18" y="120"/>
                          </a:lnTo>
                          <a:lnTo>
                            <a:pt x="0" y="120"/>
                          </a:lnTo>
                          <a:lnTo>
                            <a:pt x="0" y="126"/>
                          </a:lnTo>
                          <a:lnTo>
                            <a:pt x="6" y="132"/>
                          </a:lnTo>
                          <a:lnTo>
                            <a:pt x="12" y="150"/>
                          </a:lnTo>
                          <a:lnTo>
                            <a:pt x="30" y="162"/>
                          </a:lnTo>
                          <a:lnTo>
                            <a:pt x="42" y="168"/>
                          </a:lnTo>
                          <a:lnTo>
                            <a:pt x="48" y="174"/>
                          </a:lnTo>
                          <a:lnTo>
                            <a:pt x="48" y="180"/>
                          </a:lnTo>
                          <a:lnTo>
                            <a:pt x="60" y="192"/>
                          </a:lnTo>
                          <a:lnTo>
                            <a:pt x="72" y="198"/>
                          </a:lnTo>
                          <a:lnTo>
                            <a:pt x="78" y="204"/>
                          </a:lnTo>
                          <a:lnTo>
                            <a:pt x="90" y="210"/>
                          </a:lnTo>
                          <a:lnTo>
                            <a:pt x="108" y="210"/>
                          </a:lnTo>
                          <a:lnTo>
                            <a:pt x="114" y="222"/>
                          </a:lnTo>
                          <a:lnTo>
                            <a:pt x="156" y="216"/>
                          </a:lnTo>
                          <a:lnTo>
                            <a:pt x="168" y="210"/>
                          </a:lnTo>
                          <a:lnTo>
                            <a:pt x="174" y="204"/>
                          </a:lnTo>
                          <a:lnTo>
                            <a:pt x="198" y="204"/>
                          </a:lnTo>
                          <a:lnTo>
                            <a:pt x="216" y="186"/>
                          </a:lnTo>
                          <a:lnTo>
                            <a:pt x="240" y="186"/>
                          </a:lnTo>
                          <a:lnTo>
                            <a:pt x="258" y="198"/>
                          </a:lnTo>
                          <a:lnTo>
                            <a:pt x="288" y="192"/>
                          </a:lnTo>
                          <a:lnTo>
                            <a:pt x="288" y="174"/>
                          </a:lnTo>
                          <a:lnTo>
                            <a:pt x="306" y="180"/>
                          </a:lnTo>
                          <a:lnTo>
                            <a:pt x="312" y="174"/>
                          </a:lnTo>
                          <a:lnTo>
                            <a:pt x="324" y="168"/>
                          </a:lnTo>
                          <a:lnTo>
                            <a:pt x="330" y="162"/>
                          </a:lnTo>
                          <a:lnTo>
                            <a:pt x="330" y="144"/>
                          </a:lnTo>
                          <a:lnTo>
                            <a:pt x="336" y="138"/>
                          </a:lnTo>
                          <a:lnTo>
                            <a:pt x="348" y="132"/>
                          </a:lnTo>
                          <a:lnTo>
                            <a:pt x="366" y="114"/>
                          </a:lnTo>
                          <a:lnTo>
                            <a:pt x="366" y="72"/>
                          </a:lnTo>
                          <a:lnTo>
                            <a:pt x="378" y="60"/>
                          </a:lnTo>
                          <a:lnTo>
                            <a:pt x="408" y="60"/>
                          </a:lnTo>
                          <a:lnTo>
                            <a:pt x="426" y="42"/>
                          </a:lnTo>
                          <a:lnTo>
                            <a:pt x="420" y="36"/>
                          </a:lnTo>
                          <a:lnTo>
                            <a:pt x="408" y="36"/>
                          </a:lnTo>
                          <a:lnTo>
                            <a:pt x="402" y="30"/>
                          </a:lnTo>
                          <a:lnTo>
                            <a:pt x="396" y="30"/>
                          </a:lnTo>
                          <a:lnTo>
                            <a:pt x="372" y="6"/>
                          </a:lnTo>
                          <a:lnTo>
                            <a:pt x="348" y="6"/>
                          </a:lnTo>
                          <a:lnTo>
                            <a:pt x="336" y="12"/>
                          </a:lnTo>
                          <a:lnTo>
                            <a:pt x="324" y="12"/>
                          </a:lnTo>
                          <a:lnTo>
                            <a:pt x="324" y="0"/>
                          </a:lnTo>
                          <a:lnTo>
                            <a:pt x="312" y="0"/>
                          </a:lnTo>
                          <a:lnTo>
                            <a:pt x="312" y="18"/>
                          </a:lnTo>
                          <a:lnTo>
                            <a:pt x="294" y="12"/>
                          </a:lnTo>
                          <a:lnTo>
                            <a:pt x="294" y="0"/>
                          </a:lnTo>
                          <a:lnTo>
                            <a:pt x="270" y="0"/>
                          </a:lnTo>
                          <a:lnTo>
                            <a:pt x="264" y="12"/>
                          </a:lnTo>
                          <a:lnTo>
                            <a:pt x="252" y="24"/>
                          </a:lnTo>
                          <a:lnTo>
                            <a:pt x="246" y="24"/>
                          </a:lnTo>
                          <a:lnTo>
                            <a:pt x="234" y="30"/>
                          </a:lnTo>
                          <a:lnTo>
                            <a:pt x="210" y="30"/>
                          </a:lnTo>
                          <a:lnTo>
                            <a:pt x="204" y="42"/>
                          </a:lnTo>
                          <a:lnTo>
                            <a:pt x="168" y="36"/>
                          </a:lnTo>
                          <a:lnTo>
                            <a:pt x="156" y="60"/>
                          </a:lnTo>
                          <a:lnTo>
                            <a:pt x="144" y="60"/>
                          </a:lnTo>
                          <a:lnTo>
                            <a:pt x="126" y="66"/>
                          </a:lnTo>
                          <a:lnTo>
                            <a:pt x="84" y="66"/>
                          </a:lnTo>
                          <a:lnTo>
                            <a:pt x="78" y="60"/>
                          </a:lnTo>
                          <a:lnTo>
                            <a:pt x="72" y="48"/>
                          </a:lnTo>
                          <a:lnTo>
                            <a:pt x="66" y="42"/>
                          </a:lnTo>
                          <a:lnTo>
                            <a:pt x="54" y="60"/>
                          </a:lnTo>
                          <a:lnTo>
                            <a:pt x="42" y="54"/>
                          </a:lnTo>
                          <a:lnTo>
                            <a:pt x="42" y="66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40" name="Greece" descr="© INSCALE GmbH, 05.05.2010&#10;http://www.presentationload.com/"/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4773619" y="2724152"/>
                      <a:ext cx="214313" cy="222250"/>
                    </a:xfrm>
                    <a:custGeom>
                      <a:avLst/>
                      <a:gdLst>
                        <a:gd name="T0" fmla="*/ 0 w 534"/>
                        <a:gd name="T1" fmla="*/ 2147483647 h 552"/>
                        <a:gd name="T2" fmla="*/ 2147483647 w 534"/>
                        <a:gd name="T3" fmla="*/ 2147483647 h 552"/>
                        <a:gd name="T4" fmla="*/ 2147483647 w 534"/>
                        <a:gd name="T5" fmla="*/ 2147483647 h 552"/>
                        <a:gd name="T6" fmla="*/ 2147483647 w 534"/>
                        <a:gd name="T7" fmla="*/ 2147483647 h 552"/>
                        <a:gd name="T8" fmla="*/ 2147483647 w 534"/>
                        <a:gd name="T9" fmla="*/ 2147483647 h 552"/>
                        <a:gd name="T10" fmla="*/ 2147483647 w 534"/>
                        <a:gd name="T11" fmla="*/ 2147483647 h 552"/>
                        <a:gd name="T12" fmla="*/ 2147483647 w 534"/>
                        <a:gd name="T13" fmla="*/ 2147483647 h 552"/>
                        <a:gd name="T14" fmla="*/ 2147483647 w 534"/>
                        <a:gd name="T15" fmla="*/ 2147483647 h 552"/>
                        <a:gd name="T16" fmla="*/ 2147483647 w 534"/>
                        <a:gd name="T17" fmla="*/ 2147483647 h 552"/>
                        <a:gd name="T18" fmla="*/ 2147483647 w 534"/>
                        <a:gd name="T19" fmla="*/ 2147483647 h 552"/>
                        <a:gd name="T20" fmla="*/ 2147483647 w 534"/>
                        <a:gd name="T21" fmla="*/ 2147483647 h 552"/>
                        <a:gd name="T22" fmla="*/ 2147483647 w 534"/>
                        <a:gd name="T23" fmla="*/ 2147483647 h 552"/>
                        <a:gd name="T24" fmla="*/ 2147483647 w 534"/>
                        <a:gd name="T25" fmla="*/ 2147483647 h 552"/>
                        <a:gd name="T26" fmla="*/ 2147483647 w 534"/>
                        <a:gd name="T27" fmla="*/ 2147483647 h 552"/>
                        <a:gd name="T28" fmla="*/ 2147483647 w 534"/>
                        <a:gd name="T29" fmla="*/ 2147483647 h 552"/>
                        <a:gd name="T30" fmla="*/ 2147483647 w 534"/>
                        <a:gd name="T31" fmla="*/ 2147483647 h 552"/>
                        <a:gd name="T32" fmla="*/ 2147483647 w 534"/>
                        <a:gd name="T33" fmla="*/ 2147483647 h 552"/>
                        <a:gd name="T34" fmla="*/ 2147483647 w 534"/>
                        <a:gd name="T35" fmla="*/ 2147483647 h 552"/>
                        <a:gd name="T36" fmla="*/ 2147483647 w 534"/>
                        <a:gd name="T37" fmla="*/ 2147483647 h 552"/>
                        <a:gd name="T38" fmla="*/ 2147483647 w 534"/>
                        <a:gd name="T39" fmla="*/ 2147483647 h 552"/>
                        <a:gd name="T40" fmla="*/ 2147483647 w 534"/>
                        <a:gd name="T41" fmla="*/ 2147483647 h 552"/>
                        <a:gd name="T42" fmla="*/ 2147483647 w 534"/>
                        <a:gd name="T43" fmla="*/ 2147483647 h 552"/>
                        <a:gd name="T44" fmla="*/ 2147483647 w 534"/>
                        <a:gd name="T45" fmla="*/ 2147483647 h 552"/>
                        <a:gd name="T46" fmla="*/ 2147483647 w 534"/>
                        <a:gd name="T47" fmla="*/ 2147483647 h 552"/>
                        <a:gd name="T48" fmla="*/ 2147483647 w 534"/>
                        <a:gd name="T49" fmla="*/ 2147483647 h 552"/>
                        <a:gd name="T50" fmla="*/ 2147483647 w 534"/>
                        <a:gd name="T51" fmla="*/ 2147483647 h 552"/>
                        <a:gd name="T52" fmla="*/ 2147483647 w 534"/>
                        <a:gd name="T53" fmla="*/ 2147483647 h 552"/>
                        <a:gd name="T54" fmla="*/ 2147483647 w 534"/>
                        <a:gd name="T55" fmla="*/ 2147483647 h 552"/>
                        <a:gd name="T56" fmla="*/ 2147483647 w 534"/>
                        <a:gd name="T57" fmla="*/ 2147483647 h 552"/>
                        <a:gd name="T58" fmla="*/ 2147483647 w 534"/>
                        <a:gd name="T59" fmla="*/ 2147483647 h 552"/>
                        <a:gd name="T60" fmla="*/ 2147483647 w 534"/>
                        <a:gd name="T61" fmla="*/ 2147483647 h 552"/>
                        <a:gd name="T62" fmla="*/ 2147483647 w 534"/>
                        <a:gd name="T63" fmla="*/ 2147483647 h 552"/>
                        <a:gd name="T64" fmla="*/ 2147483647 w 534"/>
                        <a:gd name="T65" fmla="*/ 2147483647 h 552"/>
                        <a:gd name="T66" fmla="*/ 2147483647 w 534"/>
                        <a:gd name="T67" fmla="*/ 2147483647 h 552"/>
                        <a:gd name="T68" fmla="*/ 2147483647 w 534"/>
                        <a:gd name="T69" fmla="*/ 2147483647 h 552"/>
                        <a:gd name="T70" fmla="*/ 2147483647 w 534"/>
                        <a:gd name="T71" fmla="*/ 2147483647 h 552"/>
                        <a:gd name="T72" fmla="*/ 2147483647 w 534"/>
                        <a:gd name="T73" fmla="*/ 2147483647 h 552"/>
                        <a:gd name="T74" fmla="*/ 2147483647 w 534"/>
                        <a:gd name="T75" fmla="*/ 2147483647 h 552"/>
                        <a:gd name="T76" fmla="*/ 2147483647 w 534"/>
                        <a:gd name="T77" fmla="*/ 2147483647 h 552"/>
                        <a:gd name="T78" fmla="*/ 2147483647 w 534"/>
                        <a:gd name="T79" fmla="*/ 2147483647 h 552"/>
                        <a:gd name="T80" fmla="*/ 2147483647 w 534"/>
                        <a:gd name="T81" fmla="*/ 2147483647 h 552"/>
                        <a:gd name="T82" fmla="*/ 2147483647 w 534"/>
                        <a:gd name="T83" fmla="*/ 2147483647 h 552"/>
                        <a:gd name="T84" fmla="*/ 2147483647 w 534"/>
                        <a:gd name="T85" fmla="*/ 2147483647 h 552"/>
                        <a:gd name="T86" fmla="*/ 2147483647 w 534"/>
                        <a:gd name="T87" fmla="*/ 2147483647 h 552"/>
                        <a:gd name="T88" fmla="*/ 2147483647 w 534"/>
                        <a:gd name="T89" fmla="*/ 2147483647 h 552"/>
                        <a:gd name="T90" fmla="*/ 2147483647 w 534"/>
                        <a:gd name="T91" fmla="*/ 2147483647 h 552"/>
                        <a:gd name="T92" fmla="*/ 2147483647 w 534"/>
                        <a:gd name="T93" fmla="*/ 2147483647 h 552"/>
                        <a:gd name="T94" fmla="*/ 2147483647 w 534"/>
                        <a:gd name="T95" fmla="*/ 2147483647 h 552"/>
                        <a:gd name="T96" fmla="*/ 2147483647 w 534"/>
                        <a:gd name="T97" fmla="*/ 2147483647 h 552"/>
                        <a:gd name="T98" fmla="*/ 2147483647 w 534"/>
                        <a:gd name="T99" fmla="*/ 2147483647 h 552"/>
                        <a:gd name="T100" fmla="*/ 2147483647 w 534"/>
                        <a:gd name="T101" fmla="*/ 2147483647 h 552"/>
                        <a:gd name="T102" fmla="*/ 2147483647 w 534"/>
                        <a:gd name="T103" fmla="*/ 2147483647 h 552"/>
                        <a:gd name="T104" fmla="*/ 2147483647 w 534"/>
                        <a:gd name="T105" fmla="*/ 2147483647 h 552"/>
                        <a:gd name="T106" fmla="*/ 2147483647 w 534"/>
                        <a:gd name="T107" fmla="*/ 2147483647 h 552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w 534"/>
                        <a:gd name="T163" fmla="*/ 0 h 552"/>
                        <a:gd name="T164" fmla="*/ 534 w 534"/>
                        <a:gd name="T165" fmla="*/ 552 h 552"/>
                      </a:gdLst>
                      <a:ahLst/>
                      <a:cxnLst>
                        <a:cxn ang="T108">
                          <a:pos x="T0" y="T1"/>
                        </a:cxn>
                        <a:cxn ang="T109">
                          <a:pos x="T2" y="T3"/>
                        </a:cxn>
                        <a:cxn ang="T110">
                          <a:pos x="T4" y="T5"/>
                        </a:cxn>
                        <a:cxn ang="T111">
                          <a:pos x="T6" y="T7"/>
                        </a:cxn>
                        <a:cxn ang="T112">
                          <a:pos x="T8" y="T9"/>
                        </a:cxn>
                        <a:cxn ang="T113">
                          <a:pos x="T10" y="T11"/>
                        </a:cxn>
                        <a:cxn ang="T114">
                          <a:pos x="T12" y="T13"/>
                        </a:cxn>
                        <a:cxn ang="T115">
                          <a:pos x="T14" y="T15"/>
                        </a:cxn>
                        <a:cxn ang="T116">
                          <a:pos x="T16" y="T17"/>
                        </a:cxn>
                        <a:cxn ang="T117">
                          <a:pos x="T18" y="T19"/>
                        </a:cxn>
                        <a:cxn ang="T118">
                          <a:pos x="T20" y="T21"/>
                        </a:cxn>
                        <a:cxn ang="T119">
                          <a:pos x="T22" y="T23"/>
                        </a:cxn>
                        <a:cxn ang="T120">
                          <a:pos x="T24" y="T25"/>
                        </a:cxn>
                        <a:cxn ang="T121">
                          <a:pos x="T26" y="T27"/>
                        </a:cxn>
                        <a:cxn ang="T122">
                          <a:pos x="T28" y="T29"/>
                        </a:cxn>
                        <a:cxn ang="T123">
                          <a:pos x="T30" y="T31"/>
                        </a:cxn>
                        <a:cxn ang="T124">
                          <a:pos x="T32" y="T33"/>
                        </a:cxn>
                        <a:cxn ang="T125">
                          <a:pos x="T34" y="T35"/>
                        </a:cxn>
                        <a:cxn ang="T126">
                          <a:pos x="T36" y="T37"/>
                        </a:cxn>
                        <a:cxn ang="T127">
                          <a:pos x="T38" y="T39"/>
                        </a:cxn>
                        <a:cxn ang="T128">
                          <a:pos x="T40" y="T41"/>
                        </a:cxn>
                        <a:cxn ang="T129">
                          <a:pos x="T42" y="T43"/>
                        </a:cxn>
                        <a:cxn ang="T130">
                          <a:pos x="T44" y="T45"/>
                        </a:cxn>
                        <a:cxn ang="T131">
                          <a:pos x="T46" y="T47"/>
                        </a:cxn>
                        <a:cxn ang="T132">
                          <a:pos x="T48" y="T49"/>
                        </a:cxn>
                        <a:cxn ang="T133">
                          <a:pos x="T50" y="T51"/>
                        </a:cxn>
                        <a:cxn ang="T134">
                          <a:pos x="T52" y="T53"/>
                        </a:cxn>
                        <a:cxn ang="T135">
                          <a:pos x="T54" y="T55"/>
                        </a:cxn>
                        <a:cxn ang="T136">
                          <a:pos x="T56" y="T57"/>
                        </a:cxn>
                        <a:cxn ang="T137">
                          <a:pos x="T58" y="T59"/>
                        </a:cxn>
                        <a:cxn ang="T138">
                          <a:pos x="T60" y="T61"/>
                        </a:cxn>
                        <a:cxn ang="T139">
                          <a:pos x="T62" y="T63"/>
                        </a:cxn>
                        <a:cxn ang="T140">
                          <a:pos x="T64" y="T65"/>
                        </a:cxn>
                        <a:cxn ang="T141">
                          <a:pos x="T66" y="T67"/>
                        </a:cxn>
                        <a:cxn ang="T142">
                          <a:pos x="T68" y="T69"/>
                        </a:cxn>
                        <a:cxn ang="T143">
                          <a:pos x="T70" y="T71"/>
                        </a:cxn>
                        <a:cxn ang="T144">
                          <a:pos x="T72" y="T73"/>
                        </a:cxn>
                        <a:cxn ang="T145">
                          <a:pos x="T74" y="T75"/>
                        </a:cxn>
                        <a:cxn ang="T146">
                          <a:pos x="T76" y="T77"/>
                        </a:cxn>
                        <a:cxn ang="T147">
                          <a:pos x="T78" y="T79"/>
                        </a:cxn>
                        <a:cxn ang="T148">
                          <a:pos x="T80" y="T81"/>
                        </a:cxn>
                        <a:cxn ang="T149">
                          <a:pos x="T82" y="T83"/>
                        </a:cxn>
                        <a:cxn ang="T150">
                          <a:pos x="T84" y="T85"/>
                        </a:cxn>
                        <a:cxn ang="T151">
                          <a:pos x="T86" y="T87"/>
                        </a:cxn>
                        <a:cxn ang="T152">
                          <a:pos x="T88" y="T89"/>
                        </a:cxn>
                        <a:cxn ang="T153">
                          <a:pos x="T90" y="T91"/>
                        </a:cxn>
                        <a:cxn ang="T154">
                          <a:pos x="T92" y="T93"/>
                        </a:cxn>
                        <a:cxn ang="T155">
                          <a:pos x="T94" y="T95"/>
                        </a:cxn>
                        <a:cxn ang="T156">
                          <a:pos x="T96" y="T97"/>
                        </a:cxn>
                        <a:cxn ang="T157">
                          <a:pos x="T98" y="T99"/>
                        </a:cxn>
                        <a:cxn ang="T158">
                          <a:pos x="T100" y="T101"/>
                        </a:cxn>
                        <a:cxn ang="T159">
                          <a:pos x="T102" y="T103"/>
                        </a:cxn>
                        <a:cxn ang="T160">
                          <a:pos x="T104" y="T105"/>
                        </a:cxn>
                        <a:cxn ang="T161">
                          <a:pos x="T106" y="T107"/>
                        </a:cxn>
                      </a:cxnLst>
                      <a:rect l="T162" t="T163" r="T164" b="T165"/>
                      <a:pathLst>
                        <a:path w="534" h="552">
                          <a:moveTo>
                            <a:pt x="240" y="108"/>
                          </a:moveTo>
                          <a:lnTo>
                            <a:pt x="270" y="126"/>
                          </a:lnTo>
                          <a:lnTo>
                            <a:pt x="282" y="120"/>
                          </a:lnTo>
                          <a:lnTo>
                            <a:pt x="240" y="108"/>
                          </a:lnTo>
                          <a:close/>
                          <a:moveTo>
                            <a:pt x="24" y="258"/>
                          </a:moveTo>
                          <a:lnTo>
                            <a:pt x="0" y="282"/>
                          </a:lnTo>
                          <a:lnTo>
                            <a:pt x="42" y="294"/>
                          </a:lnTo>
                          <a:lnTo>
                            <a:pt x="24" y="258"/>
                          </a:lnTo>
                          <a:close/>
                          <a:moveTo>
                            <a:pt x="312" y="414"/>
                          </a:moveTo>
                          <a:lnTo>
                            <a:pt x="312" y="420"/>
                          </a:lnTo>
                          <a:lnTo>
                            <a:pt x="324" y="420"/>
                          </a:lnTo>
                          <a:lnTo>
                            <a:pt x="324" y="414"/>
                          </a:lnTo>
                          <a:lnTo>
                            <a:pt x="318" y="408"/>
                          </a:lnTo>
                          <a:lnTo>
                            <a:pt x="312" y="408"/>
                          </a:lnTo>
                          <a:lnTo>
                            <a:pt x="312" y="414"/>
                          </a:lnTo>
                          <a:close/>
                          <a:moveTo>
                            <a:pt x="306" y="390"/>
                          </a:moveTo>
                          <a:lnTo>
                            <a:pt x="300" y="378"/>
                          </a:lnTo>
                          <a:lnTo>
                            <a:pt x="294" y="390"/>
                          </a:lnTo>
                          <a:lnTo>
                            <a:pt x="306" y="390"/>
                          </a:lnTo>
                          <a:close/>
                          <a:moveTo>
                            <a:pt x="294" y="294"/>
                          </a:moveTo>
                          <a:lnTo>
                            <a:pt x="318" y="336"/>
                          </a:lnTo>
                          <a:lnTo>
                            <a:pt x="330" y="318"/>
                          </a:lnTo>
                          <a:lnTo>
                            <a:pt x="294" y="294"/>
                          </a:lnTo>
                          <a:close/>
                          <a:moveTo>
                            <a:pt x="108" y="264"/>
                          </a:moveTo>
                          <a:lnTo>
                            <a:pt x="138" y="264"/>
                          </a:lnTo>
                          <a:lnTo>
                            <a:pt x="144" y="270"/>
                          </a:lnTo>
                          <a:lnTo>
                            <a:pt x="156" y="270"/>
                          </a:lnTo>
                          <a:lnTo>
                            <a:pt x="180" y="282"/>
                          </a:lnTo>
                          <a:lnTo>
                            <a:pt x="192" y="282"/>
                          </a:lnTo>
                          <a:lnTo>
                            <a:pt x="198" y="288"/>
                          </a:lnTo>
                          <a:lnTo>
                            <a:pt x="204" y="288"/>
                          </a:lnTo>
                          <a:lnTo>
                            <a:pt x="216" y="300"/>
                          </a:lnTo>
                          <a:lnTo>
                            <a:pt x="228" y="306"/>
                          </a:lnTo>
                          <a:lnTo>
                            <a:pt x="234" y="312"/>
                          </a:lnTo>
                          <a:lnTo>
                            <a:pt x="246" y="312"/>
                          </a:lnTo>
                          <a:lnTo>
                            <a:pt x="252" y="306"/>
                          </a:lnTo>
                          <a:lnTo>
                            <a:pt x="252" y="288"/>
                          </a:lnTo>
                          <a:lnTo>
                            <a:pt x="228" y="264"/>
                          </a:lnTo>
                          <a:lnTo>
                            <a:pt x="216" y="258"/>
                          </a:lnTo>
                          <a:lnTo>
                            <a:pt x="210" y="252"/>
                          </a:lnTo>
                          <a:lnTo>
                            <a:pt x="204" y="252"/>
                          </a:lnTo>
                          <a:lnTo>
                            <a:pt x="198" y="246"/>
                          </a:lnTo>
                          <a:lnTo>
                            <a:pt x="186" y="246"/>
                          </a:lnTo>
                          <a:lnTo>
                            <a:pt x="174" y="234"/>
                          </a:lnTo>
                          <a:lnTo>
                            <a:pt x="168" y="234"/>
                          </a:lnTo>
                          <a:lnTo>
                            <a:pt x="174" y="228"/>
                          </a:lnTo>
                          <a:lnTo>
                            <a:pt x="192" y="228"/>
                          </a:lnTo>
                          <a:lnTo>
                            <a:pt x="198" y="240"/>
                          </a:lnTo>
                          <a:lnTo>
                            <a:pt x="222" y="252"/>
                          </a:lnTo>
                          <a:lnTo>
                            <a:pt x="234" y="264"/>
                          </a:lnTo>
                          <a:lnTo>
                            <a:pt x="258" y="264"/>
                          </a:lnTo>
                          <a:lnTo>
                            <a:pt x="270" y="252"/>
                          </a:lnTo>
                          <a:lnTo>
                            <a:pt x="258" y="240"/>
                          </a:lnTo>
                          <a:lnTo>
                            <a:pt x="246" y="240"/>
                          </a:lnTo>
                          <a:lnTo>
                            <a:pt x="234" y="234"/>
                          </a:lnTo>
                          <a:lnTo>
                            <a:pt x="222" y="234"/>
                          </a:lnTo>
                          <a:lnTo>
                            <a:pt x="210" y="228"/>
                          </a:lnTo>
                          <a:lnTo>
                            <a:pt x="204" y="216"/>
                          </a:lnTo>
                          <a:lnTo>
                            <a:pt x="198" y="210"/>
                          </a:lnTo>
                          <a:lnTo>
                            <a:pt x="198" y="204"/>
                          </a:lnTo>
                          <a:lnTo>
                            <a:pt x="192" y="192"/>
                          </a:lnTo>
                          <a:lnTo>
                            <a:pt x="186" y="186"/>
                          </a:lnTo>
                          <a:lnTo>
                            <a:pt x="174" y="162"/>
                          </a:lnTo>
                          <a:lnTo>
                            <a:pt x="168" y="156"/>
                          </a:lnTo>
                          <a:lnTo>
                            <a:pt x="162" y="144"/>
                          </a:lnTo>
                          <a:lnTo>
                            <a:pt x="150" y="132"/>
                          </a:lnTo>
                          <a:lnTo>
                            <a:pt x="150" y="120"/>
                          </a:lnTo>
                          <a:lnTo>
                            <a:pt x="144" y="114"/>
                          </a:lnTo>
                          <a:lnTo>
                            <a:pt x="144" y="102"/>
                          </a:lnTo>
                          <a:lnTo>
                            <a:pt x="150" y="96"/>
                          </a:lnTo>
                          <a:lnTo>
                            <a:pt x="156" y="96"/>
                          </a:lnTo>
                          <a:lnTo>
                            <a:pt x="162" y="102"/>
                          </a:lnTo>
                          <a:lnTo>
                            <a:pt x="162" y="108"/>
                          </a:lnTo>
                          <a:lnTo>
                            <a:pt x="168" y="114"/>
                          </a:lnTo>
                          <a:lnTo>
                            <a:pt x="180" y="114"/>
                          </a:lnTo>
                          <a:lnTo>
                            <a:pt x="180" y="120"/>
                          </a:lnTo>
                          <a:lnTo>
                            <a:pt x="186" y="120"/>
                          </a:lnTo>
                          <a:lnTo>
                            <a:pt x="198" y="132"/>
                          </a:lnTo>
                          <a:lnTo>
                            <a:pt x="198" y="144"/>
                          </a:lnTo>
                          <a:lnTo>
                            <a:pt x="204" y="144"/>
                          </a:lnTo>
                          <a:lnTo>
                            <a:pt x="210" y="138"/>
                          </a:lnTo>
                          <a:lnTo>
                            <a:pt x="216" y="138"/>
                          </a:lnTo>
                          <a:lnTo>
                            <a:pt x="204" y="120"/>
                          </a:lnTo>
                          <a:lnTo>
                            <a:pt x="210" y="120"/>
                          </a:lnTo>
                          <a:lnTo>
                            <a:pt x="234" y="132"/>
                          </a:lnTo>
                          <a:lnTo>
                            <a:pt x="222" y="114"/>
                          </a:lnTo>
                          <a:lnTo>
                            <a:pt x="228" y="108"/>
                          </a:lnTo>
                          <a:lnTo>
                            <a:pt x="228" y="84"/>
                          </a:lnTo>
                          <a:lnTo>
                            <a:pt x="240" y="72"/>
                          </a:lnTo>
                          <a:lnTo>
                            <a:pt x="270" y="72"/>
                          </a:lnTo>
                          <a:lnTo>
                            <a:pt x="276" y="78"/>
                          </a:lnTo>
                          <a:lnTo>
                            <a:pt x="276" y="90"/>
                          </a:lnTo>
                          <a:lnTo>
                            <a:pt x="288" y="90"/>
                          </a:lnTo>
                          <a:lnTo>
                            <a:pt x="294" y="84"/>
                          </a:lnTo>
                          <a:lnTo>
                            <a:pt x="300" y="72"/>
                          </a:lnTo>
                          <a:lnTo>
                            <a:pt x="306" y="66"/>
                          </a:lnTo>
                          <a:lnTo>
                            <a:pt x="342" y="66"/>
                          </a:lnTo>
                          <a:lnTo>
                            <a:pt x="360" y="72"/>
                          </a:lnTo>
                          <a:lnTo>
                            <a:pt x="372" y="72"/>
                          </a:lnTo>
                          <a:lnTo>
                            <a:pt x="378" y="78"/>
                          </a:lnTo>
                          <a:lnTo>
                            <a:pt x="384" y="78"/>
                          </a:lnTo>
                          <a:lnTo>
                            <a:pt x="384" y="72"/>
                          </a:lnTo>
                          <a:lnTo>
                            <a:pt x="390" y="60"/>
                          </a:lnTo>
                          <a:lnTo>
                            <a:pt x="390" y="48"/>
                          </a:lnTo>
                          <a:lnTo>
                            <a:pt x="384" y="42"/>
                          </a:lnTo>
                          <a:lnTo>
                            <a:pt x="384" y="36"/>
                          </a:lnTo>
                          <a:lnTo>
                            <a:pt x="390" y="30"/>
                          </a:lnTo>
                          <a:lnTo>
                            <a:pt x="408" y="30"/>
                          </a:lnTo>
                          <a:lnTo>
                            <a:pt x="408" y="18"/>
                          </a:lnTo>
                          <a:lnTo>
                            <a:pt x="402" y="12"/>
                          </a:lnTo>
                          <a:lnTo>
                            <a:pt x="402" y="6"/>
                          </a:lnTo>
                          <a:lnTo>
                            <a:pt x="390" y="6"/>
                          </a:lnTo>
                          <a:lnTo>
                            <a:pt x="384" y="0"/>
                          </a:lnTo>
                          <a:lnTo>
                            <a:pt x="366" y="6"/>
                          </a:lnTo>
                          <a:lnTo>
                            <a:pt x="372" y="12"/>
                          </a:lnTo>
                          <a:lnTo>
                            <a:pt x="372" y="30"/>
                          </a:lnTo>
                          <a:lnTo>
                            <a:pt x="366" y="36"/>
                          </a:lnTo>
                          <a:lnTo>
                            <a:pt x="348" y="36"/>
                          </a:lnTo>
                          <a:lnTo>
                            <a:pt x="336" y="24"/>
                          </a:lnTo>
                          <a:lnTo>
                            <a:pt x="324" y="36"/>
                          </a:lnTo>
                          <a:lnTo>
                            <a:pt x="312" y="36"/>
                          </a:lnTo>
                          <a:lnTo>
                            <a:pt x="300" y="24"/>
                          </a:lnTo>
                          <a:lnTo>
                            <a:pt x="294" y="30"/>
                          </a:lnTo>
                          <a:lnTo>
                            <a:pt x="282" y="30"/>
                          </a:lnTo>
                          <a:lnTo>
                            <a:pt x="264" y="12"/>
                          </a:lnTo>
                          <a:lnTo>
                            <a:pt x="264" y="6"/>
                          </a:lnTo>
                          <a:lnTo>
                            <a:pt x="234" y="12"/>
                          </a:lnTo>
                          <a:lnTo>
                            <a:pt x="228" y="30"/>
                          </a:lnTo>
                          <a:lnTo>
                            <a:pt x="204" y="24"/>
                          </a:lnTo>
                          <a:lnTo>
                            <a:pt x="198" y="30"/>
                          </a:lnTo>
                          <a:lnTo>
                            <a:pt x="186" y="36"/>
                          </a:lnTo>
                          <a:lnTo>
                            <a:pt x="174" y="36"/>
                          </a:lnTo>
                          <a:lnTo>
                            <a:pt x="168" y="30"/>
                          </a:lnTo>
                          <a:lnTo>
                            <a:pt x="162" y="30"/>
                          </a:lnTo>
                          <a:lnTo>
                            <a:pt x="150" y="36"/>
                          </a:lnTo>
                          <a:lnTo>
                            <a:pt x="138" y="48"/>
                          </a:lnTo>
                          <a:lnTo>
                            <a:pt x="126" y="54"/>
                          </a:lnTo>
                          <a:lnTo>
                            <a:pt x="102" y="54"/>
                          </a:lnTo>
                          <a:lnTo>
                            <a:pt x="102" y="60"/>
                          </a:lnTo>
                          <a:lnTo>
                            <a:pt x="96" y="72"/>
                          </a:lnTo>
                          <a:lnTo>
                            <a:pt x="72" y="72"/>
                          </a:lnTo>
                          <a:lnTo>
                            <a:pt x="66" y="66"/>
                          </a:lnTo>
                          <a:lnTo>
                            <a:pt x="60" y="66"/>
                          </a:lnTo>
                          <a:lnTo>
                            <a:pt x="48" y="72"/>
                          </a:lnTo>
                          <a:lnTo>
                            <a:pt x="54" y="84"/>
                          </a:lnTo>
                          <a:lnTo>
                            <a:pt x="54" y="90"/>
                          </a:lnTo>
                          <a:lnTo>
                            <a:pt x="42" y="102"/>
                          </a:lnTo>
                          <a:lnTo>
                            <a:pt x="24" y="102"/>
                          </a:lnTo>
                          <a:lnTo>
                            <a:pt x="24" y="126"/>
                          </a:lnTo>
                          <a:lnTo>
                            <a:pt x="12" y="132"/>
                          </a:lnTo>
                          <a:lnTo>
                            <a:pt x="0" y="132"/>
                          </a:lnTo>
                          <a:lnTo>
                            <a:pt x="0" y="198"/>
                          </a:lnTo>
                          <a:lnTo>
                            <a:pt x="6" y="204"/>
                          </a:lnTo>
                          <a:lnTo>
                            <a:pt x="18" y="210"/>
                          </a:lnTo>
                          <a:lnTo>
                            <a:pt x="24" y="216"/>
                          </a:lnTo>
                          <a:lnTo>
                            <a:pt x="30" y="228"/>
                          </a:lnTo>
                          <a:lnTo>
                            <a:pt x="36" y="234"/>
                          </a:lnTo>
                          <a:lnTo>
                            <a:pt x="42" y="246"/>
                          </a:lnTo>
                          <a:lnTo>
                            <a:pt x="54" y="258"/>
                          </a:lnTo>
                          <a:lnTo>
                            <a:pt x="60" y="270"/>
                          </a:lnTo>
                          <a:lnTo>
                            <a:pt x="84" y="270"/>
                          </a:lnTo>
                          <a:lnTo>
                            <a:pt x="96" y="264"/>
                          </a:lnTo>
                          <a:lnTo>
                            <a:pt x="108" y="264"/>
                          </a:lnTo>
                          <a:close/>
                          <a:moveTo>
                            <a:pt x="396" y="252"/>
                          </a:moveTo>
                          <a:lnTo>
                            <a:pt x="372" y="252"/>
                          </a:lnTo>
                          <a:lnTo>
                            <a:pt x="372" y="270"/>
                          </a:lnTo>
                          <a:lnTo>
                            <a:pt x="384" y="294"/>
                          </a:lnTo>
                          <a:lnTo>
                            <a:pt x="396" y="252"/>
                          </a:lnTo>
                          <a:close/>
                          <a:moveTo>
                            <a:pt x="24" y="312"/>
                          </a:moveTo>
                          <a:lnTo>
                            <a:pt x="18" y="318"/>
                          </a:lnTo>
                          <a:lnTo>
                            <a:pt x="24" y="324"/>
                          </a:lnTo>
                          <a:lnTo>
                            <a:pt x="30" y="324"/>
                          </a:lnTo>
                          <a:lnTo>
                            <a:pt x="36" y="330"/>
                          </a:lnTo>
                          <a:lnTo>
                            <a:pt x="42" y="324"/>
                          </a:lnTo>
                          <a:lnTo>
                            <a:pt x="42" y="318"/>
                          </a:lnTo>
                          <a:lnTo>
                            <a:pt x="30" y="306"/>
                          </a:lnTo>
                          <a:lnTo>
                            <a:pt x="24" y="312"/>
                          </a:lnTo>
                          <a:close/>
                          <a:moveTo>
                            <a:pt x="378" y="390"/>
                          </a:moveTo>
                          <a:lnTo>
                            <a:pt x="378" y="408"/>
                          </a:lnTo>
                          <a:lnTo>
                            <a:pt x="390" y="390"/>
                          </a:lnTo>
                          <a:lnTo>
                            <a:pt x="378" y="390"/>
                          </a:lnTo>
                          <a:close/>
                          <a:moveTo>
                            <a:pt x="408" y="330"/>
                          </a:moveTo>
                          <a:lnTo>
                            <a:pt x="396" y="330"/>
                          </a:lnTo>
                          <a:lnTo>
                            <a:pt x="384" y="336"/>
                          </a:lnTo>
                          <a:lnTo>
                            <a:pt x="384" y="342"/>
                          </a:lnTo>
                          <a:lnTo>
                            <a:pt x="396" y="342"/>
                          </a:lnTo>
                          <a:lnTo>
                            <a:pt x="402" y="336"/>
                          </a:lnTo>
                          <a:lnTo>
                            <a:pt x="408" y="336"/>
                          </a:lnTo>
                          <a:lnTo>
                            <a:pt x="408" y="330"/>
                          </a:lnTo>
                          <a:close/>
                          <a:moveTo>
                            <a:pt x="396" y="192"/>
                          </a:moveTo>
                          <a:lnTo>
                            <a:pt x="372" y="198"/>
                          </a:lnTo>
                          <a:lnTo>
                            <a:pt x="372" y="210"/>
                          </a:lnTo>
                          <a:lnTo>
                            <a:pt x="390" y="210"/>
                          </a:lnTo>
                          <a:lnTo>
                            <a:pt x="396" y="216"/>
                          </a:lnTo>
                          <a:lnTo>
                            <a:pt x="396" y="222"/>
                          </a:lnTo>
                          <a:lnTo>
                            <a:pt x="414" y="222"/>
                          </a:lnTo>
                          <a:lnTo>
                            <a:pt x="414" y="210"/>
                          </a:lnTo>
                          <a:lnTo>
                            <a:pt x="396" y="192"/>
                          </a:lnTo>
                          <a:close/>
                          <a:moveTo>
                            <a:pt x="342" y="372"/>
                          </a:moveTo>
                          <a:lnTo>
                            <a:pt x="342" y="378"/>
                          </a:lnTo>
                          <a:lnTo>
                            <a:pt x="348" y="384"/>
                          </a:lnTo>
                          <a:lnTo>
                            <a:pt x="360" y="384"/>
                          </a:lnTo>
                          <a:lnTo>
                            <a:pt x="366" y="378"/>
                          </a:lnTo>
                          <a:lnTo>
                            <a:pt x="366" y="372"/>
                          </a:lnTo>
                          <a:lnTo>
                            <a:pt x="360" y="366"/>
                          </a:lnTo>
                          <a:lnTo>
                            <a:pt x="342" y="366"/>
                          </a:lnTo>
                          <a:lnTo>
                            <a:pt x="342" y="372"/>
                          </a:lnTo>
                          <a:close/>
                          <a:moveTo>
                            <a:pt x="444" y="312"/>
                          </a:moveTo>
                          <a:lnTo>
                            <a:pt x="432" y="312"/>
                          </a:lnTo>
                          <a:lnTo>
                            <a:pt x="432" y="330"/>
                          </a:lnTo>
                          <a:lnTo>
                            <a:pt x="444" y="336"/>
                          </a:lnTo>
                          <a:lnTo>
                            <a:pt x="450" y="330"/>
                          </a:lnTo>
                          <a:lnTo>
                            <a:pt x="450" y="318"/>
                          </a:lnTo>
                          <a:lnTo>
                            <a:pt x="444" y="312"/>
                          </a:lnTo>
                          <a:close/>
                          <a:moveTo>
                            <a:pt x="444" y="372"/>
                          </a:moveTo>
                          <a:lnTo>
                            <a:pt x="456" y="354"/>
                          </a:lnTo>
                          <a:lnTo>
                            <a:pt x="438" y="354"/>
                          </a:lnTo>
                          <a:lnTo>
                            <a:pt x="444" y="372"/>
                          </a:lnTo>
                          <a:close/>
                          <a:moveTo>
                            <a:pt x="276" y="222"/>
                          </a:moveTo>
                          <a:lnTo>
                            <a:pt x="276" y="240"/>
                          </a:lnTo>
                          <a:lnTo>
                            <a:pt x="288" y="240"/>
                          </a:lnTo>
                          <a:lnTo>
                            <a:pt x="276" y="222"/>
                          </a:lnTo>
                          <a:close/>
                          <a:moveTo>
                            <a:pt x="534" y="420"/>
                          </a:moveTo>
                          <a:lnTo>
                            <a:pt x="522" y="420"/>
                          </a:lnTo>
                          <a:lnTo>
                            <a:pt x="516" y="426"/>
                          </a:lnTo>
                          <a:lnTo>
                            <a:pt x="510" y="438"/>
                          </a:lnTo>
                          <a:lnTo>
                            <a:pt x="510" y="468"/>
                          </a:lnTo>
                          <a:lnTo>
                            <a:pt x="516" y="468"/>
                          </a:lnTo>
                          <a:lnTo>
                            <a:pt x="522" y="456"/>
                          </a:lnTo>
                          <a:lnTo>
                            <a:pt x="528" y="450"/>
                          </a:lnTo>
                          <a:lnTo>
                            <a:pt x="534" y="438"/>
                          </a:lnTo>
                          <a:lnTo>
                            <a:pt x="534" y="420"/>
                          </a:lnTo>
                          <a:close/>
                          <a:moveTo>
                            <a:pt x="462" y="384"/>
                          </a:moveTo>
                          <a:lnTo>
                            <a:pt x="456" y="408"/>
                          </a:lnTo>
                          <a:lnTo>
                            <a:pt x="498" y="378"/>
                          </a:lnTo>
                          <a:lnTo>
                            <a:pt x="486" y="372"/>
                          </a:lnTo>
                          <a:lnTo>
                            <a:pt x="462" y="384"/>
                          </a:lnTo>
                          <a:close/>
                          <a:moveTo>
                            <a:pt x="462" y="510"/>
                          </a:moveTo>
                          <a:lnTo>
                            <a:pt x="480" y="510"/>
                          </a:lnTo>
                          <a:lnTo>
                            <a:pt x="468" y="468"/>
                          </a:lnTo>
                          <a:lnTo>
                            <a:pt x="462" y="510"/>
                          </a:lnTo>
                          <a:close/>
                          <a:moveTo>
                            <a:pt x="276" y="330"/>
                          </a:moveTo>
                          <a:lnTo>
                            <a:pt x="270" y="336"/>
                          </a:lnTo>
                          <a:lnTo>
                            <a:pt x="270" y="348"/>
                          </a:lnTo>
                          <a:lnTo>
                            <a:pt x="276" y="348"/>
                          </a:lnTo>
                          <a:lnTo>
                            <a:pt x="288" y="336"/>
                          </a:lnTo>
                          <a:lnTo>
                            <a:pt x="282" y="330"/>
                          </a:lnTo>
                          <a:lnTo>
                            <a:pt x="276" y="330"/>
                          </a:lnTo>
                          <a:close/>
                          <a:moveTo>
                            <a:pt x="186" y="432"/>
                          </a:moveTo>
                          <a:lnTo>
                            <a:pt x="180" y="438"/>
                          </a:lnTo>
                          <a:lnTo>
                            <a:pt x="180" y="450"/>
                          </a:lnTo>
                          <a:lnTo>
                            <a:pt x="186" y="456"/>
                          </a:lnTo>
                          <a:lnTo>
                            <a:pt x="198" y="444"/>
                          </a:lnTo>
                          <a:lnTo>
                            <a:pt x="198" y="438"/>
                          </a:lnTo>
                          <a:lnTo>
                            <a:pt x="192" y="432"/>
                          </a:lnTo>
                          <a:lnTo>
                            <a:pt x="186" y="432"/>
                          </a:lnTo>
                          <a:close/>
                          <a:moveTo>
                            <a:pt x="384" y="528"/>
                          </a:moveTo>
                          <a:lnTo>
                            <a:pt x="378" y="528"/>
                          </a:lnTo>
                          <a:lnTo>
                            <a:pt x="378" y="516"/>
                          </a:lnTo>
                          <a:lnTo>
                            <a:pt x="372" y="510"/>
                          </a:lnTo>
                          <a:lnTo>
                            <a:pt x="342" y="510"/>
                          </a:lnTo>
                          <a:lnTo>
                            <a:pt x="306" y="504"/>
                          </a:lnTo>
                          <a:lnTo>
                            <a:pt x="276" y="504"/>
                          </a:lnTo>
                          <a:lnTo>
                            <a:pt x="246" y="486"/>
                          </a:lnTo>
                          <a:lnTo>
                            <a:pt x="228" y="504"/>
                          </a:lnTo>
                          <a:lnTo>
                            <a:pt x="234" y="510"/>
                          </a:lnTo>
                          <a:lnTo>
                            <a:pt x="246" y="516"/>
                          </a:lnTo>
                          <a:lnTo>
                            <a:pt x="252" y="522"/>
                          </a:lnTo>
                          <a:lnTo>
                            <a:pt x="258" y="516"/>
                          </a:lnTo>
                          <a:lnTo>
                            <a:pt x="264" y="528"/>
                          </a:lnTo>
                          <a:lnTo>
                            <a:pt x="300" y="528"/>
                          </a:lnTo>
                          <a:lnTo>
                            <a:pt x="312" y="552"/>
                          </a:lnTo>
                          <a:lnTo>
                            <a:pt x="354" y="546"/>
                          </a:lnTo>
                          <a:lnTo>
                            <a:pt x="354" y="540"/>
                          </a:lnTo>
                          <a:lnTo>
                            <a:pt x="402" y="540"/>
                          </a:lnTo>
                          <a:lnTo>
                            <a:pt x="414" y="528"/>
                          </a:lnTo>
                          <a:lnTo>
                            <a:pt x="414" y="522"/>
                          </a:lnTo>
                          <a:lnTo>
                            <a:pt x="408" y="516"/>
                          </a:lnTo>
                          <a:lnTo>
                            <a:pt x="402" y="516"/>
                          </a:lnTo>
                          <a:lnTo>
                            <a:pt x="396" y="522"/>
                          </a:lnTo>
                          <a:lnTo>
                            <a:pt x="390" y="522"/>
                          </a:lnTo>
                          <a:lnTo>
                            <a:pt x="384" y="528"/>
                          </a:lnTo>
                          <a:close/>
                          <a:moveTo>
                            <a:pt x="420" y="408"/>
                          </a:moveTo>
                          <a:lnTo>
                            <a:pt x="408" y="408"/>
                          </a:lnTo>
                          <a:lnTo>
                            <a:pt x="408" y="420"/>
                          </a:lnTo>
                          <a:lnTo>
                            <a:pt x="420" y="420"/>
                          </a:lnTo>
                          <a:lnTo>
                            <a:pt x="426" y="414"/>
                          </a:lnTo>
                          <a:lnTo>
                            <a:pt x="420" y="408"/>
                          </a:lnTo>
                          <a:close/>
                          <a:moveTo>
                            <a:pt x="114" y="276"/>
                          </a:moveTo>
                          <a:lnTo>
                            <a:pt x="90" y="288"/>
                          </a:lnTo>
                          <a:lnTo>
                            <a:pt x="84" y="288"/>
                          </a:lnTo>
                          <a:lnTo>
                            <a:pt x="66" y="312"/>
                          </a:lnTo>
                          <a:lnTo>
                            <a:pt x="96" y="336"/>
                          </a:lnTo>
                          <a:lnTo>
                            <a:pt x="96" y="348"/>
                          </a:lnTo>
                          <a:lnTo>
                            <a:pt x="90" y="366"/>
                          </a:lnTo>
                          <a:lnTo>
                            <a:pt x="90" y="384"/>
                          </a:lnTo>
                          <a:lnTo>
                            <a:pt x="96" y="390"/>
                          </a:lnTo>
                          <a:lnTo>
                            <a:pt x="108" y="396"/>
                          </a:lnTo>
                          <a:lnTo>
                            <a:pt x="114" y="396"/>
                          </a:lnTo>
                          <a:lnTo>
                            <a:pt x="114" y="390"/>
                          </a:lnTo>
                          <a:lnTo>
                            <a:pt x="126" y="378"/>
                          </a:lnTo>
                          <a:lnTo>
                            <a:pt x="132" y="378"/>
                          </a:lnTo>
                          <a:lnTo>
                            <a:pt x="156" y="420"/>
                          </a:lnTo>
                          <a:lnTo>
                            <a:pt x="162" y="390"/>
                          </a:lnTo>
                          <a:lnTo>
                            <a:pt x="180" y="414"/>
                          </a:lnTo>
                          <a:lnTo>
                            <a:pt x="204" y="420"/>
                          </a:lnTo>
                          <a:lnTo>
                            <a:pt x="186" y="402"/>
                          </a:lnTo>
                          <a:lnTo>
                            <a:pt x="192" y="396"/>
                          </a:lnTo>
                          <a:lnTo>
                            <a:pt x="192" y="372"/>
                          </a:lnTo>
                          <a:lnTo>
                            <a:pt x="186" y="366"/>
                          </a:lnTo>
                          <a:lnTo>
                            <a:pt x="180" y="354"/>
                          </a:lnTo>
                          <a:lnTo>
                            <a:pt x="174" y="348"/>
                          </a:lnTo>
                          <a:lnTo>
                            <a:pt x="168" y="336"/>
                          </a:lnTo>
                          <a:lnTo>
                            <a:pt x="168" y="330"/>
                          </a:lnTo>
                          <a:lnTo>
                            <a:pt x="186" y="330"/>
                          </a:lnTo>
                          <a:lnTo>
                            <a:pt x="198" y="336"/>
                          </a:lnTo>
                          <a:lnTo>
                            <a:pt x="210" y="348"/>
                          </a:lnTo>
                          <a:lnTo>
                            <a:pt x="222" y="342"/>
                          </a:lnTo>
                          <a:lnTo>
                            <a:pt x="210" y="336"/>
                          </a:lnTo>
                          <a:lnTo>
                            <a:pt x="204" y="324"/>
                          </a:lnTo>
                          <a:lnTo>
                            <a:pt x="192" y="318"/>
                          </a:lnTo>
                          <a:lnTo>
                            <a:pt x="186" y="312"/>
                          </a:lnTo>
                          <a:lnTo>
                            <a:pt x="174" y="306"/>
                          </a:lnTo>
                          <a:lnTo>
                            <a:pt x="156" y="294"/>
                          </a:lnTo>
                          <a:lnTo>
                            <a:pt x="138" y="288"/>
                          </a:lnTo>
                          <a:lnTo>
                            <a:pt x="126" y="282"/>
                          </a:lnTo>
                          <a:lnTo>
                            <a:pt x="120" y="276"/>
                          </a:lnTo>
                          <a:lnTo>
                            <a:pt x="114" y="276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41" name="Germany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398968" y="2308227"/>
                      <a:ext cx="227013" cy="238125"/>
                    </a:xfrm>
                    <a:custGeom>
                      <a:avLst/>
                      <a:gdLst>
                        <a:gd name="T0" fmla="*/ 2147483647 w 564"/>
                        <a:gd name="T1" fmla="*/ 2147483647 h 588"/>
                        <a:gd name="T2" fmla="*/ 2147483647 w 564"/>
                        <a:gd name="T3" fmla="*/ 2147483647 h 588"/>
                        <a:gd name="T4" fmla="*/ 2147483647 w 564"/>
                        <a:gd name="T5" fmla="*/ 2147483647 h 588"/>
                        <a:gd name="T6" fmla="*/ 2147483647 w 564"/>
                        <a:gd name="T7" fmla="*/ 2147483647 h 588"/>
                        <a:gd name="T8" fmla="*/ 2147483647 w 564"/>
                        <a:gd name="T9" fmla="*/ 2147483647 h 588"/>
                        <a:gd name="T10" fmla="*/ 2147483647 w 564"/>
                        <a:gd name="T11" fmla="*/ 2147483647 h 588"/>
                        <a:gd name="T12" fmla="*/ 2147483647 w 564"/>
                        <a:gd name="T13" fmla="*/ 2147483647 h 588"/>
                        <a:gd name="T14" fmla="*/ 2147483647 w 564"/>
                        <a:gd name="T15" fmla="*/ 2147483647 h 588"/>
                        <a:gd name="T16" fmla="*/ 2147483647 w 564"/>
                        <a:gd name="T17" fmla="*/ 2147483647 h 588"/>
                        <a:gd name="T18" fmla="*/ 2147483647 w 564"/>
                        <a:gd name="T19" fmla="*/ 2147483647 h 588"/>
                        <a:gd name="T20" fmla="*/ 2147483647 w 564"/>
                        <a:gd name="T21" fmla="*/ 2147483647 h 588"/>
                        <a:gd name="T22" fmla="*/ 2147483647 w 564"/>
                        <a:gd name="T23" fmla="*/ 2147483647 h 588"/>
                        <a:gd name="T24" fmla="*/ 2147483647 w 564"/>
                        <a:gd name="T25" fmla="*/ 2147483647 h 588"/>
                        <a:gd name="T26" fmla="*/ 2147483647 w 564"/>
                        <a:gd name="T27" fmla="*/ 2147483647 h 588"/>
                        <a:gd name="T28" fmla="*/ 2147483647 w 564"/>
                        <a:gd name="T29" fmla="*/ 2147483647 h 588"/>
                        <a:gd name="T30" fmla="*/ 2147483647 w 564"/>
                        <a:gd name="T31" fmla="*/ 2147483647 h 588"/>
                        <a:gd name="T32" fmla="*/ 2147483647 w 564"/>
                        <a:gd name="T33" fmla="*/ 2147483647 h 588"/>
                        <a:gd name="T34" fmla="*/ 2147483647 w 564"/>
                        <a:gd name="T35" fmla="*/ 2147483647 h 588"/>
                        <a:gd name="T36" fmla="*/ 2147483647 w 564"/>
                        <a:gd name="T37" fmla="*/ 2147483647 h 588"/>
                        <a:gd name="T38" fmla="*/ 2147483647 w 564"/>
                        <a:gd name="T39" fmla="*/ 2147483647 h 588"/>
                        <a:gd name="T40" fmla="*/ 2147483647 w 564"/>
                        <a:gd name="T41" fmla="*/ 2147483647 h 588"/>
                        <a:gd name="T42" fmla="*/ 2147483647 w 564"/>
                        <a:gd name="T43" fmla="*/ 2147483647 h 588"/>
                        <a:gd name="T44" fmla="*/ 2147483647 w 564"/>
                        <a:gd name="T45" fmla="*/ 2147483647 h 588"/>
                        <a:gd name="T46" fmla="*/ 2147483647 w 564"/>
                        <a:gd name="T47" fmla="*/ 2147483647 h 588"/>
                        <a:gd name="T48" fmla="*/ 2147483647 w 564"/>
                        <a:gd name="T49" fmla="*/ 2147483647 h 588"/>
                        <a:gd name="T50" fmla="*/ 2147483647 w 564"/>
                        <a:gd name="T51" fmla="*/ 2147483647 h 588"/>
                        <a:gd name="T52" fmla="*/ 2147483647 w 564"/>
                        <a:gd name="T53" fmla="*/ 2147483647 h 588"/>
                        <a:gd name="T54" fmla="*/ 2147483647 w 564"/>
                        <a:gd name="T55" fmla="*/ 2147483647 h 588"/>
                        <a:gd name="T56" fmla="*/ 2147483647 w 564"/>
                        <a:gd name="T57" fmla="*/ 2147483647 h 588"/>
                        <a:gd name="T58" fmla="*/ 2147483647 w 564"/>
                        <a:gd name="T59" fmla="*/ 2147483647 h 588"/>
                        <a:gd name="T60" fmla="*/ 2147483647 w 564"/>
                        <a:gd name="T61" fmla="*/ 2147483647 h 588"/>
                        <a:gd name="T62" fmla="*/ 2147483647 w 564"/>
                        <a:gd name="T63" fmla="*/ 2147483647 h 588"/>
                        <a:gd name="T64" fmla="*/ 2147483647 w 564"/>
                        <a:gd name="T65" fmla="*/ 2147483647 h 588"/>
                        <a:gd name="T66" fmla="*/ 2147483647 w 564"/>
                        <a:gd name="T67" fmla="*/ 2147483647 h 588"/>
                        <a:gd name="T68" fmla="*/ 2147483647 w 564"/>
                        <a:gd name="T69" fmla="*/ 2147483647 h 588"/>
                        <a:gd name="T70" fmla="*/ 2147483647 w 564"/>
                        <a:gd name="T71" fmla="*/ 2147483647 h 588"/>
                        <a:gd name="T72" fmla="*/ 2147483647 w 564"/>
                        <a:gd name="T73" fmla="*/ 2147483647 h 588"/>
                        <a:gd name="T74" fmla="*/ 2147483647 w 564"/>
                        <a:gd name="T75" fmla="*/ 2147483647 h 588"/>
                        <a:gd name="T76" fmla="*/ 2147483647 w 564"/>
                        <a:gd name="T77" fmla="*/ 2147483647 h 588"/>
                        <a:gd name="T78" fmla="*/ 2147483647 w 564"/>
                        <a:gd name="T79" fmla="*/ 2147483647 h 588"/>
                        <a:gd name="T80" fmla="*/ 2147483647 w 564"/>
                        <a:gd name="T81" fmla="*/ 2147483647 h 588"/>
                        <a:gd name="T82" fmla="*/ 2147483647 w 564"/>
                        <a:gd name="T83" fmla="*/ 0 h 588"/>
                        <a:gd name="T84" fmla="*/ 2147483647 w 564"/>
                        <a:gd name="T85" fmla="*/ 2147483647 h 588"/>
                        <a:gd name="T86" fmla="*/ 2147483647 w 564"/>
                        <a:gd name="T87" fmla="*/ 2147483647 h 588"/>
                        <a:gd name="T88" fmla="*/ 2147483647 w 564"/>
                        <a:gd name="T89" fmla="*/ 2147483647 h 588"/>
                        <a:gd name="T90" fmla="*/ 2147483647 w 564"/>
                        <a:gd name="T91" fmla="*/ 2147483647 h 588"/>
                        <a:gd name="T92" fmla="*/ 2147483647 w 564"/>
                        <a:gd name="T93" fmla="*/ 2147483647 h 588"/>
                        <a:gd name="T94" fmla="*/ 2147483647 w 564"/>
                        <a:gd name="T95" fmla="*/ 2147483647 h 588"/>
                        <a:gd name="T96" fmla="*/ 2147483647 w 564"/>
                        <a:gd name="T97" fmla="*/ 2147483647 h 588"/>
                        <a:gd name="T98" fmla="*/ 2147483647 w 564"/>
                        <a:gd name="T99" fmla="*/ 2147483647 h 588"/>
                        <a:gd name="T100" fmla="*/ 2147483647 w 564"/>
                        <a:gd name="T101" fmla="*/ 2147483647 h 588"/>
                        <a:gd name="T102" fmla="*/ 2147483647 w 564"/>
                        <a:gd name="T103" fmla="*/ 2147483647 h 588"/>
                        <a:gd name="T104" fmla="*/ 0 w 564"/>
                        <a:gd name="T105" fmla="*/ 2147483647 h 588"/>
                        <a:gd name="T106" fmla="*/ 2147483647 w 564"/>
                        <a:gd name="T107" fmla="*/ 2147483647 h 588"/>
                        <a:gd name="T108" fmla="*/ 2147483647 w 564"/>
                        <a:gd name="T109" fmla="*/ 2147483647 h 588"/>
                        <a:gd name="T110" fmla="*/ 2147483647 w 564"/>
                        <a:gd name="T111" fmla="*/ 2147483647 h 588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w 564"/>
                        <a:gd name="T169" fmla="*/ 0 h 588"/>
                        <a:gd name="T170" fmla="*/ 564 w 564"/>
                        <a:gd name="T171" fmla="*/ 588 h 588"/>
                      </a:gdLst>
                      <a:ahLst/>
                      <a:cxnLst>
                        <a:cxn ang="T112">
                          <a:pos x="T0" y="T1"/>
                        </a:cxn>
                        <a:cxn ang="T113">
                          <a:pos x="T2" y="T3"/>
                        </a:cxn>
                        <a:cxn ang="T114">
                          <a:pos x="T4" y="T5"/>
                        </a:cxn>
                        <a:cxn ang="T115">
                          <a:pos x="T6" y="T7"/>
                        </a:cxn>
                        <a:cxn ang="T116">
                          <a:pos x="T8" y="T9"/>
                        </a:cxn>
                        <a:cxn ang="T117">
                          <a:pos x="T10" y="T11"/>
                        </a:cxn>
                        <a:cxn ang="T118">
                          <a:pos x="T12" y="T13"/>
                        </a:cxn>
                        <a:cxn ang="T119">
                          <a:pos x="T14" y="T15"/>
                        </a:cxn>
                        <a:cxn ang="T120">
                          <a:pos x="T16" y="T17"/>
                        </a:cxn>
                        <a:cxn ang="T121">
                          <a:pos x="T18" y="T19"/>
                        </a:cxn>
                        <a:cxn ang="T122">
                          <a:pos x="T20" y="T21"/>
                        </a:cxn>
                        <a:cxn ang="T123">
                          <a:pos x="T22" y="T23"/>
                        </a:cxn>
                        <a:cxn ang="T124">
                          <a:pos x="T24" y="T25"/>
                        </a:cxn>
                        <a:cxn ang="T125">
                          <a:pos x="T26" y="T27"/>
                        </a:cxn>
                        <a:cxn ang="T126">
                          <a:pos x="T28" y="T29"/>
                        </a:cxn>
                        <a:cxn ang="T127">
                          <a:pos x="T30" y="T31"/>
                        </a:cxn>
                        <a:cxn ang="T128">
                          <a:pos x="T32" y="T33"/>
                        </a:cxn>
                        <a:cxn ang="T129">
                          <a:pos x="T34" y="T35"/>
                        </a:cxn>
                        <a:cxn ang="T130">
                          <a:pos x="T36" y="T37"/>
                        </a:cxn>
                        <a:cxn ang="T131">
                          <a:pos x="T38" y="T39"/>
                        </a:cxn>
                        <a:cxn ang="T132">
                          <a:pos x="T40" y="T41"/>
                        </a:cxn>
                        <a:cxn ang="T133">
                          <a:pos x="T42" y="T43"/>
                        </a:cxn>
                        <a:cxn ang="T134">
                          <a:pos x="T44" y="T45"/>
                        </a:cxn>
                        <a:cxn ang="T135">
                          <a:pos x="T46" y="T47"/>
                        </a:cxn>
                        <a:cxn ang="T136">
                          <a:pos x="T48" y="T49"/>
                        </a:cxn>
                        <a:cxn ang="T137">
                          <a:pos x="T50" y="T51"/>
                        </a:cxn>
                        <a:cxn ang="T138">
                          <a:pos x="T52" y="T53"/>
                        </a:cxn>
                        <a:cxn ang="T139">
                          <a:pos x="T54" y="T55"/>
                        </a:cxn>
                        <a:cxn ang="T140">
                          <a:pos x="T56" y="T57"/>
                        </a:cxn>
                        <a:cxn ang="T141">
                          <a:pos x="T58" y="T59"/>
                        </a:cxn>
                        <a:cxn ang="T142">
                          <a:pos x="T60" y="T61"/>
                        </a:cxn>
                        <a:cxn ang="T143">
                          <a:pos x="T62" y="T63"/>
                        </a:cxn>
                        <a:cxn ang="T144">
                          <a:pos x="T64" y="T65"/>
                        </a:cxn>
                        <a:cxn ang="T145">
                          <a:pos x="T66" y="T67"/>
                        </a:cxn>
                        <a:cxn ang="T146">
                          <a:pos x="T68" y="T69"/>
                        </a:cxn>
                        <a:cxn ang="T147">
                          <a:pos x="T70" y="T71"/>
                        </a:cxn>
                        <a:cxn ang="T148">
                          <a:pos x="T72" y="T73"/>
                        </a:cxn>
                        <a:cxn ang="T149">
                          <a:pos x="T74" y="T75"/>
                        </a:cxn>
                        <a:cxn ang="T150">
                          <a:pos x="T76" y="T77"/>
                        </a:cxn>
                        <a:cxn ang="T151">
                          <a:pos x="T78" y="T79"/>
                        </a:cxn>
                        <a:cxn ang="T152">
                          <a:pos x="T80" y="T81"/>
                        </a:cxn>
                        <a:cxn ang="T153">
                          <a:pos x="T82" y="T83"/>
                        </a:cxn>
                        <a:cxn ang="T154">
                          <a:pos x="T84" y="T85"/>
                        </a:cxn>
                        <a:cxn ang="T155">
                          <a:pos x="T86" y="T87"/>
                        </a:cxn>
                        <a:cxn ang="T156">
                          <a:pos x="T88" y="T89"/>
                        </a:cxn>
                        <a:cxn ang="T157">
                          <a:pos x="T90" y="T91"/>
                        </a:cxn>
                        <a:cxn ang="T158">
                          <a:pos x="T92" y="T93"/>
                        </a:cxn>
                        <a:cxn ang="T159">
                          <a:pos x="T94" y="T95"/>
                        </a:cxn>
                        <a:cxn ang="T160">
                          <a:pos x="T96" y="T97"/>
                        </a:cxn>
                        <a:cxn ang="T161">
                          <a:pos x="T98" y="T99"/>
                        </a:cxn>
                        <a:cxn ang="T162">
                          <a:pos x="T100" y="T101"/>
                        </a:cxn>
                        <a:cxn ang="T163">
                          <a:pos x="T102" y="T103"/>
                        </a:cxn>
                        <a:cxn ang="T164">
                          <a:pos x="T104" y="T105"/>
                        </a:cxn>
                        <a:cxn ang="T165">
                          <a:pos x="T106" y="T107"/>
                        </a:cxn>
                        <a:cxn ang="T166">
                          <a:pos x="T108" y="T109"/>
                        </a:cxn>
                        <a:cxn ang="T167">
                          <a:pos x="T110" y="T111"/>
                        </a:cxn>
                      </a:cxnLst>
                      <a:rect l="T168" t="T169" r="T170" b="T171"/>
                      <a:pathLst>
                        <a:path w="564" h="588">
                          <a:moveTo>
                            <a:pt x="30" y="414"/>
                          </a:moveTo>
                          <a:lnTo>
                            <a:pt x="30" y="420"/>
                          </a:lnTo>
                          <a:lnTo>
                            <a:pt x="36" y="420"/>
                          </a:lnTo>
                          <a:lnTo>
                            <a:pt x="36" y="444"/>
                          </a:lnTo>
                          <a:lnTo>
                            <a:pt x="60" y="444"/>
                          </a:lnTo>
                          <a:lnTo>
                            <a:pt x="60" y="450"/>
                          </a:lnTo>
                          <a:lnTo>
                            <a:pt x="72" y="450"/>
                          </a:lnTo>
                          <a:lnTo>
                            <a:pt x="84" y="444"/>
                          </a:lnTo>
                          <a:lnTo>
                            <a:pt x="96" y="444"/>
                          </a:lnTo>
                          <a:lnTo>
                            <a:pt x="96" y="450"/>
                          </a:lnTo>
                          <a:lnTo>
                            <a:pt x="120" y="450"/>
                          </a:lnTo>
                          <a:lnTo>
                            <a:pt x="138" y="456"/>
                          </a:lnTo>
                          <a:lnTo>
                            <a:pt x="132" y="468"/>
                          </a:lnTo>
                          <a:lnTo>
                            <a:pt x="114" y="486"/>
                          </a:lnTo>
                          <a:lnTo>
                            <a:pt x="114" y="498"/>
                          </a:lnTo>
                          <a:lnTo>
                            <a:pt x="108" y="510"/>
                          </a:lnTo>
                          <a:lnTo>
                            <a:pt x="102" y="516"/>
                          </a:lnTo>
                          <a:lnTo>
                            <a:pt x="96" y="528"/>
                          </a:lnTo>
                          <a:lnTo>
                            <a:pt x="96" y="570"/>
                          </a:lnTo>
                          <a:lnTo>
                            <a:pt x="132" y="570"/>
                          </a:lnTo>
                          <a:lnTo>
                            <a:pt x="150" y="564"/>
                          </a:lnTo>
                          <a:lnTo>
                            <a:pt x="156" y="570"/>
                          </a:lnTo>
                          <a:lnTo>
                            <a:pt x="150" y="564"/>
                          </a:lnTo>
                          <a:lnTo>
                            <a:pt x="150" y="552"/>
                          </a:lnTo>
                          <a:lnTo>
                            <a:pt x="156" y="546"/>
                          </a:lnTo>
                          <a:lnTo>
                            <a:pt x="162" y="546"/>
                          </a:lnTo>
                          <a:lnTo>
                            <a:pt x="174" y="552"/>
                          </a:lnTo>
                          <a:lnTo>
                            <a:pt x="180" y="558"/>
                          </a:lnTo>
                          <a:lnTo>
                            <a:pt x="192" y="558"/>
                          </a:lnTo>
                          <a:lnTo>
                            <a:pt x="210" y="564"/>
                          </a:lnTo>
                          <a:lnTo>
                            <a:pt x="216" y="576"/>
                          </a:lnTo>
                          <a:lnTo>
                            <a:pt x="252" y="576"/>
                          </a:lnTo>
                          <a:lnTo>
                            <a:pt x="258" y="582"/>
                          </a:lnTo>
                          <a:lnTo>
                            <a:pt x="258" y="588"/>
                          </a:lnTo>
                          <a:lnTo>
                            <a:pt x="270" y="588"/>
                          </a:lnTo>
                          <a:lnTo>
                            <a:pt x="276" y="582"/>
                          </a:lnTo>
                          <a:lnTo>
                            <a:pt x="276" y="570"/>
                          </a:lnTo>
                          <a:lnTo>
                            <a:pt x="294" y="570"/>
                          </a:lnTo>
                          <a:lnTo>
                            <a:pt x="312" y="588"/>
                          </a:lnTo>
                          <a:lnTo>
                            <a:pt x="330" y="588"/>
                          </a:lnTo>
                          <a:lnTo>
                            <a:pt x="336" y="582"/>
                          </a:lnTo>
                          <a:lnTo>
                            <a:pt x="354" y="570"/>
                          </a:lnTo>
                          <a:lnTo>
                            <a:pt x="372" y="570"/>
                          </a:lnTo>
                          <a:lnTo>
                            <a:pt x="390" y="558"/>
                          </a:lnTo>
                          <a:lnTo>
                            <a:pt x="402" y="564"/>
                          </a:lnTo>
                          <a:lnTo>
                            <a:pt x="420" y="570"/>
                          </a:lnTo>
                          <a:lnTo>
                            <a:pt x="432" y="582"/>
                          </a:lnTo>
                          <a:lnTo>
                            <a:pt x="438" y="582"/>
                          </a:lnTo>
                          <a:lnTo>
                            <a:pt x="438" y="540"/>
                          </a:lnTo>
                          <a:lnTo>
                            <a:pt x="426" y="540"/>
                          </a:lnTo>
                          <a:lnTo>
                            <a:pt x="426" y="534"/>
                          </a:lnTo>
                          <a:lnTo>
                            <a:pt x="432" y="528"/>
                          </a:lnTo>
                          <a:lnTo>
                            <a:pt x="432" y="522"/>
                          </a:lnTo>
                          <a:lnTo>
                            <a:pt x="438" y="516"/>
                          </a:lnTo>
                          <a:lnTo>
                            <a:pt x="456" y="516"/>
                          </a:lnTo>
                          <a:lnTo>
                            <a:pt x="462" y="522"/>
                          </a:lnTo>
                          <a:lnTo>
                            <a:pt x="468" y="522"/>
                          </a:lnTo>
                          <a:lnTo>
                            <a:pt x="468" y="504"/>
                          </a:lnTo>
                          <a:lnTo>
                            <a:pt x="462" y="492"/>
                          </a:lnTo>
                          <a:lnTo>
                            <a:pt x="480" y="492"/>
                          </a:lnTo>
                          <a:lnTo>
                            <a:pt x="486" y="474"/>
                          </a:lnTo>
                          <a:lnTo>
                            <a:pt x="486" y="462"/>
                          </a:lnTo>
                          <a:lnTo>
                            <a:pt x="480" y="462"/>
                          </a:lnTo>
                          <a:lnTo>
                            <a:pt x="474" y="456"/>
                          </a:lnTo>
                          <a:lnTo>
                            <a:pt x="462" y="456"/>
                          </a:lnTo>
                          <a:lnTo>
                            <a:pt x="456" y="444"/>
                          </a:lnTo>
                          <a:lnTo>
                            <a:pt x="450" y="444"/>
                          </a:lnTo>
                          <a:lnTo>
                            <a:pt x="444" y="432"/>
                          </a:lnTo>
                          <a:lnTo>
                            <a:pt x="432" y="432"/>
                          </a:lnTo>
                          <a:lnTo>
                            <a:pt x="420" y="426"/>
                          </a:lnTo>
                          <a:lnTo>
                            <a:pt x="420" y="420"/>
                          </a:lnTo>
                          <a:lnTo>
                            <a:pt x="414" y="420"/>
                          </a:lnTo>
                          <a:lnTo>
                            <a:pt x="408" y="408"/>
                          </a:lnTo>
                          <a:lnTo>
                            <a:pt x="396" y="396"/>
                          </a:lnTo>
                          <a:lnTo>
                            <a:pt x="396" y="390"/>
                          </a:lnTo>
                          <a:lnTo>
                            <a:pt x="402" y="390"/>
                          </a:lnTo>
                          <a:lnTo>
                            <a:pt x="408" y="384"/>
                          </a:lnTo>
                          <a:lnTo>
                            <a:pt x="396" y="372"/>
                          </a:lnTo>
                          <a:lnTo>
                            <a:pt x="390" y="372"/>
                          </a:lnTo>
                          <a:lnTo>
                            <a:pt x="384" y="366"/>
                          </a:lnTo>
                          <a:lnTo>
                            <a:pt x="384" y="354"/>
                          </a:lnTo>
                          <a:lnTo>
                            <a:pt x="390" y="354"/>
                          </a:lnTo>
                          <a:lnTo>
                            <a:pt x="390" y="360"/>
                          </a:lnTo>
                          <a:lnTo>
                            <a:pt x="402" y="360"/>
                          </a:lnTo>
                          <a:lnTo>
                            <a:pt x="402" y="354"/>
                          </a:lnTo>
                          <a:lnTo>
                            <a:pt x="414" y="354"/>
                          </a:lnTo>
                          <a:lnTo>
                            <a:pt x="414" y="348"/>
                          </a:lnTo>
                          <a:lnTo>
                            <a:pt x="420" y="342"/>
                          </a:lnTo>
                          <a:lnTo>
                            <a:pt x="426" y="342"/>
                          </a:lnTo>
                          <a:lnTo>
                            <a:pt x="438" y="348"/>
                          </a:lnTo>
                          <a:lnTo>
                            <a:pt x="450" y="336"/>
                          </a:lnTo>
                          <a:lnTo>
                            <a:pt x="468" y="330"/>
                          </a:lnTo>
                          <a:lnTo>
                            <a:pt x="468" y="324"/>
                          </a:lnTo>
                          <a:lnTo>
                            <a:pt x="492" y="324"/>
                          </a:lnTo>
                          <a:lnTo>
                            <a:pt x="492" y="318"/>
                          </a:lnTo>
                          <a:lnTo>
                            <a:pt x="510" y="318"/>
                          </a:lnTo>
                          <a:lnTo>
                            <a:pt x="510" y="312"/>
                          </a:lnTo>
                          <a:lnTo>
                            <a:pt x="516" y="306"/>
                          </a:lnTo>
                          <a:lnTo>
                            <a:pt x="522" y="306"/>
                          </a:lnTo>
                          <a:lnTo>
                            <a:pt x="528" y="300"/>
                          </a:lnTo>
                          <a:lnTo>
                            <a:pt x="540" y="312"/>
                          </a:lnTo>
                          <a:lnTo>
                            <a:pt x="552" y="312"/>
                          </a:lnTo>
                          <a:lnTo>
                            <a:pt x="558" y="300"/>
                          </a:lnTo>
                          <a:lnTo>
                            <a:pt x="558" y="294"/>
                          </a:lnTo>
                          <a:lnTo>
                            <a:pt x="564" y="288"/>
                          </a:lnTo>
                          <a:lnTo>
                            <a:pt x="564" y="282"/>
                          </a:lnTo>
                          <a:lnTo>
                            <a:pt x="552" y="282"/>
                          </a:lnTo>
                          <a:lnTo>
                            <a:pt x="558" y="276"/>
                          </a:lnTo>
                          <a:lnTo>
                            <a:pt x="558" y="264"/>
                          </a:lnTo>
                          <a:lnTo>
                            <a:pt x="552" y="264"/>
                          </a:lnTo>
                          <a:lnTo>
                            <a:pt x="546" y="270"/>
                          </a:lnTo>
                          <a:lnTo>
                            <a:pt x="546" y="252"/>
                          </a:lnTo>
                          <a:lnTo>
                            <a:pt x="540" y="246"/>
                          </a:lnTo>
                          <a:lnTo>
                            <a:pt x="534" y="246"/>
                          </a:lnTo>
                          <a:lnTo>
                            <a:pt x="528" y="240"/>
                          </a:lnTo>
                          <a:lnTo>
                            <a:pt x="528" y="234"/>
                          </a:lnTo>
                          <a:lnTo>
                            <a:pt x="540" y="228"/>
                          </a:lnTo>
                          <a:lnTo>
                            <a:pt x="546" y="222"/>
                          </a:lnTo>
                          <a:lnTo>
                            <a:pt x="540" y="216"/>
                          </a:lnTo>
                          <a:lnTo>
                            <a:pt x="534" y="216"/>
                          </a:lnTo>
                          <a:lnTo>
                            <a:pt x="540" y="210"/>
                          </a:lnTo>
                          <a:lnTo>
                            <a:pt x="540" y="204"/>
                          </a:lnTo>
                          <a:lnTo>
                            <a:pt x="528" y="204"/>
                          </a:lnTo>
                          <a:lnTo>
                            <a:pt x="528" y="192"/>
                          </a:lnTo>
                          <a:lnTo>
                            <a:pt x="534" y="192"/>
                          </a:lnTo>
                          <a:lnTo>
                            <a:pt x="534" y="174"/>
                          </a:lnTo>
                          <a:lnTo>
                            <a:pt x="522" y="174"/>
                          </a:lnTo>
                          <a:lnTo>
                            <a:pt x="516" y="168"/>
                          </a:lnTo>
                          <a:lnTo>
                            <a:pt x="510" y="168"/>
                          </a:lnTo>
                          <a:lnTo>
                            <a:pt x="504" y="162"/>
                          </a:lnTo>
                          <a:lnTo>
                            <a:pt x="504" y="150"/>
                          </a:lnTo>
                          <a:lnTo>
                            <a:pt x="510" y="150"/>
                          </a:lnTo>
                          <a:lnTo>
                            <a:pt x="522" y="138"/>
                          </a:lnTo>
                          <a:lnTo>
                            <a:pt x="522" y="120"/>
                          </a:lnTo>
                          <a:lnTo>
                            <a:pt x="516" y="114"/>
                          </a:lnTo>
                          <a:lnTo>
                            <a:pt x="510" y="114"/>
                          </a:lnTo>
                          <a:lnTo>
                            <a:pt x="510" y="96"/>
                          </a:lnTo>
                          <a:lnTo>
                            <a:pt x="504" y="90"/>
                          </a:lnTo>
                          <a:lnTo>
                            <a:pt x="486" y="84"/>
                          </a:lnTo>
                          <a:lnTo>
                            <a:pt x="486" y="78"/>
                          </a:lnTo>
                          <a:lnTo>
                            <a:pt x="480" y="66"/>
                          </a:lnTo>
                          <a:lnTo>
                            <a:pt x="474" y="60"/>
                          </a:lnTo>
                          <a:lnTo>
                            <a:pt x="456" y="60"/>
                          </a:lnTo>
                          <a:lnTo>
                            <a:pt x="450" y="54"/>
                          </a:lnTo>
                          <a:lnTo>
                            <a:pt x="444" y="54"/>
                          </a:lnTo>
                          <a:lnTo>
                            <a:pt x="438" y="48"/>
                          </a:lnTo>
                          <a:lnTo>
                            <a:pt x="426" y="48"/>
                          </a:lnTo>
                          <a:lnTo>
                            <a:pt x="420" y="42"/>
                          </a:lnTo>
                          <a:lnTo>
                            <a:pt x="396" y="42"/>
                          </a:lnTo>
                          <a:lnTo>
                            <a:pt x="384" y="54"/>
                          </a:lnTo>
                          <a:lnTo>
                            <a:pt x="342" y="54"/>
                          </a:lnTo>
                          <a:lnTo>
                            <a:pt x="342" y="72"/>
                          </a:lnTo>
                          <a:lnTo>
                            <a:pt x="300" y="72"/>
                          </a:lnTo>
                          <a:lnTo>
                            <a:pt x="300" y="60"/>
                          </a:lnTo>
                          <a:lnTo>
                            <a:pt x="312" y="48"/>
                          </a:lnTo>
                          <a:lnTo>
                            <a:pt x="312" y="42"/>
                          </a:lnTo>
                          <a:lnTo>
                            <a:pt x="318" y="30"/>
                          </a:lnTo>
                          <a:lnTo>
                            <a:pt x="294" y="42"/>
                          </a:lnTo>
                          <a:lnTo>
                            <a:pt x="252" y="36"/>
                          </a:lnTo>
                          <a:lnTo>
                            <a:pt x="246" y="30"/>
                          </a:lnTo>
                          <a:lnTo>
                            <a:pt x="246" y="18"/>
                          </a:lnTo>
                          <a:lnTo>
                            <a:pt x="240" y="6"/>
                          </a:lnTo>
                          <a:lnTo>
                            <a:pt x="234" y="6"/>
                          </a:lnTo>
                          <a:lnTo>
                            <a:pt x="234" y="12"/>
                          </a:lnTo>
                          <a:lnTo>
                            <a:pt x="228" y="6"/>
                          </a:lnTo>
                          <a:lnTo>
                            <a:pt x="204" y="6"/>
                          </a:lnTo>
                          <a:lnTo>
                            <a:pt x="198" y="0"/>
                          </a:lnTo>
                          <a:lnTo>
                            <a:pt x="168" y="0"/>
                          </a:lnTo>
                          <a:lnTo>
                            <a:pt x="192" y="36"/>
                          </a:lnTo>
                          <a:lnTo>
                            <a:pt x="180" y="48"/>
                          </a:lnTo>
                          <a:lnTo>
                            <a:pt x="198" y="72"/>
                          </a:lnTo>
                          <a:lnTo>
                            <a:pt x="216" y="90"/>
                          </a:lnTo>
                          <a:lnTo>
                            <a:pt x="186" y="78"/>
                          </a:lnTo>
                          <a:lnTo>
                            <a:pt x="162" y="84"/>
                          </a:lnTo>
                          <a:lnTo>
                            <a:pt x="162" y="108"/>
                          </a:lnTo>
                          <a:lnTo>
                            <a:pt x="132" y="108"/>
                          </a:lnTo>
                          <a:lnTo>
                            <a:pt x="126" y="96"/>
                          </a:lnTo>
                          <a:lnTo>
                            <a:pt x="84" y="96"/>
                          </a:lnTo>
                          <a:lnTo>
                            <a:pt x="84" y="126"/>
                          </a:lnTo>
                          <a:lnTo>
                            <a:pt x="90" y="126"/>
                          </a:lnTo>
                          <a:lnTo>
                            <a:pt x="84" y="132"/>
                          </a:lnTo>
                          <a:lnTo>
                            <a:pt x="90" y="144"/>
                          </a:lnTo>
                          <a:lnTo>
                            <a:pt x="78" y="150"/>
                          </a:lnTo>
                          <a:lnTo>
                            <a:pt x="72" y="150"/>
                          </a:lnTo>
                          <a:lnTo>
                            <a:pt x="72" y="168"/>
                          </a:lnTo>
                          <a:lnTo>
                            <a:pt x="78" y="174"/>
                          </a:lnTo>
                          <a:lnTo>
                            <a:pt x="66" y="174"/>
                          </a:lnTo>
                          <a:lnTo>
                            <a:pt x="54" y="180"/>
                          </a:lnTo>
                          <a:lnTo>
                            <a:pt x="48" y="180"/>
                          </a:lnTo>
                          <a:lnTo>
                            <a:pt x="48" y="186"/>
                          </a:lnTo>
                          <a:lnTo>
                            <a:pt x="54" y="192"/>
                          </a:lnTo>
                          <a:lnTo>
                            <a:pt x="60" y="192"/>
                          </a:lnTo>
                          <a:lnTo>
                            <a:pt x="72" y="204"/>
                          </a:lnTo>
                          <a:lnTo>
                            <a:pt x="72" y="210"/>
                          </a:lnTo>
                          <a:lnTo>
                            <a:pt x="66" y="210"/>
                          </a:lnTo>
                          <a:lnTo>
                            <a:pt x="60" y="216"/>
                          </a:lnTo>
                          <a:lnTo>
                            <a:pt x="54" y="228"/>
                          </a:lnTo>
                          <a:lnTo>
                            <a:pt x="48" y="228"/>
                          </a:lnTo>
                          <a:lnTo>
                            <a:pt x="42" y="234"/>
                          </a:lnTo>
                          <a:lnTo>
                            <a:pt x="42" y="240"/>
                          </a:lnTo>
                          <a:lnTo>
                            <a:pt x="18" y="240"/>
                          </a:lnTo>
                          <a:lnTo>
                            <a:pt x="12" y="234"/>
                          </a:lnTo>
                          <a:lnTo>
                            <a:pt x="6" y="234"/>
                          </a:lnTo>
                          <a:lnTo>
                            <a:pt x="12" y="258"/>
                          </a:lnTo>
                          <a:lnTo>
                            <a:pt x="12" y="264"/>
                          </a:lnTo>
                          <a:lnTo>
                            <a:pt x="18" y="270"/>
                          </a:lnTo>
                          <a:lnTo>
                            <a:pt x="18" y="276"/>
                          </a:lnTo>
                          <a:lnTo>
                            <a:pt x="6" y="282"/>
                          </a:lnTo>
                          <a:lnTo>
                            <a:pt x="0" y="288"/>
                          </a:lnTo>
                          <a:lnTo>
                            <a:pt x="6" y="294"/>
                          </a:lnTo>
                          <a:lnTo>
                            <a:pt x="6" y="306"/>
                          </a:lnTo>
                          <a:lnTo>
                            <a:pt x="0" y="312"/>
                          </a:lnTo>
                          <a:lnTo>
                            <a:pt x="0" y="324"/>
                          </a:lnTo>
                          <a:lnTo>
                            <a:pt x="12" y="324"/>
                          </a:lnTo>
                          <a:lnTo>
                            <a:pt x="24" y="336"/>
                          </a:lnTo>
                          <a:lnTo>
                            <a:pt x="24" y="354"/>
                          </a:lnTo>
                          <a:lnTo>
                            <a:pt x="30" y="360"/>
                          </a:lnTo>
                          <a:lnTo>
                            <a:pt x="18" y="360"/>
                          </a:lnTo>
                          <a:lnTo>
                            <a:pt x="12" y="366"/>
                          </a:lnTo>
                          <a:lnTo>
                            <a:pt x="12" y="384"/>
                          </a:lnTo>
                          <a:lnTo>
                            <a:pt x="18" y="390"/>
                          </a:lnTo>
                          <a:lnTo>
                            <a:pt x="24" y="390"/>
                          </a:lnTo>
                          <a:lnTo>
                            <a:pt x="36" y="396"/>
                          </a:lnTo>
                          <a:lnTo>
                            <a:pt x="36" y="408"/>
                          </a:lnTo>
                          <a:lnTo>
                            <a:pt x="30" y="414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42" name="France" descr="© INSCALE GmbH, 05.05.2010&#10;http://www.presentationload.com/"/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4124330" y="2422527"/>
                      <a:ext cx="366713" cy="317500"/>
                    </a:xfrm>
                    <a:custGeom>
                      <a:avLst/>
                      <a:gdLst>
                        <a:gd name="T0" fmla="*/ 2147483647 w 230"/>
                        <a:gd name="T1" fmla="*/ 2147483647 h 198"/>
                        <a:gd name="T2" fmla="*/ 2147483647 w 230"/>
                        <a:gd name="T3" fmla="*/ 2147483647 h 198"/>
                        <a:gd name="T4" fmla="*/ 2147483647 w 230"/>
                        <a:gd name="T5" fmla="*/ 2147483647 h 198"/>
                        <a:gd name="T6" fmla="*/ 2147483647 w 230"/>
                        <a:gd name="T7" fmla="*/ 2147483647 h 198"/>
                        <a:gd name="T8" fmla="*/ 2147483647 w 230"/>
                        <a:gd name="T9" fmla="*/ 2147483647 h 198"/>
                        <a:gd name="T10" fmla="*/ 2147483647 w 230"/>
                        <a:gd name="T11" fmla="*/ 2147483647 h 198"/>
                        <a:gd name="T12" fmla="*/ 2147483647 w 230"/>
                        <a:gd name="T13" fmla="*/ 2147483647 h 198"/>
                        <a:gd name="T14" fmla="*/ 2147483647 w 230"/>
                        <a:gd name="T15" fmla="*/ 2147483647 h 198"/>
                        <a:gd name="T16" fmla="*/ 2147483647 w 230"/>
                        <a:gd name="T17" fmla="*/ 2147483647 h 198"/>
                        <a:gd name="T18" fmla="*/ 2147483647 w 230"/>
                        <a:gd name="T19" fmla="*/ 2147483647 h 198"/>
                        <a:gd name="T20" fmla="*/ 2147483647 w 230"/>
                        <a:gd name="T21" fmla="*/ 2147483647 h 198"/>
                        <a:gd name="T22" fmla="*/ 2147483647 w 230"/>
                        <a:gd name="T23" fmla="*/ 2147483647 h 198"/>
                        <a:gd name="T24" fmla="*/ 2147483647 w 230"/>
                        <a:gd name="T25" fmla="*/ 2147483647 h 198"/>
                        <a:gd name="T26" fmla="*/ 2147483647 w 230"/>
                        <a:gd name="T27" fmla="*/ 2147483647 h 198"/>
                        <a:gd name="T28" fmla="*/ 2147483647 w 230"/>
                        <a:gd name="T29" fmla="*/ 2147483647 h 198"/>
                        <a:gd name="T30" fmla="*/ 2147483647 w 230"/>
                        <a:gd name="T31" fmla="*/ 2147483647 h 198"/>
                        <a:gd name="T32" fmla="*/ 2147483647 w 230"/>
                        <a:gd name="T33" fmla="*/ 2147483647 h 198"/>
                        <a:gd name="T34" fmla="*/ 2147483647 w 230"/>
                        <a:gd name="T35" fmla="*/ 2147483647 h 198"/>
                        <a:gd name="T36" fmla="*/ 2147483647 w 230"/>
                        <a:gd name="T37" fmla="*/ 2147483647 h 198"/>
                        <a:gd name="T38" fmla="*/ 2147483647 w 230"/>
                        <a:gd name="T39" fmla="*/ 2147483647 h 198"/>
                        <a:gd name="T40" fmla="*/ 2147483647 w 230"/>
                        <a:gd name="T41" fmla="*/ 2147483647 h 198"/>
                        <a:gd name="T42" fmla="*/ 2147483647 w 230"/>
                        <a:gd name="T43" fmla="*/ 2147483647 h 198"/>
                        <a:gd name="T44" fmla="*/ 2147483647 w 230"/>
                        <a:gd name="T45" fmla="*/ 2147483647 h 198"/>
                        <a:gd name="T46" fmla="*/ 2147483647 w 230"/>
                        <a:gd name="T47" fmla="*/ 2147483647 h 198"/>
                        <a:gd name="T48" fmla="*/ 2147483647 w 230"/>
                        <a:gd name="T49" fmla="*/ 2147483647 h 198"/>
                        <a:gd name="T50" fmla="*/ 2147483647 w 230"/>
                        <a:gd name="T51" fmla="*/ 2147483647 h 198"/>
                        <a:gd name="T52" fmla="*/ 2147483647 w 230"/>
                        <a:gd name="T53" fmla="*/ 2147483647 h 198"/>
                        <a:gd name="T54" fmla="*/ 2147483647 w 230"/>
                        <a:gd name="T55" fmla="*/ 2147483647 h 198"/>
                        <a:gd name="T56" fmla="*/ 2147483647 w 230"/>
                        <a:gd name="T57" fmla="*/ 2147483647 h 198"/>
                        <a:gd name="T58" fmla="*/ 2147483647 w 230"/>
                        <a:gd name="T59" fmla="*/ 2147483647 h 198"/>
                        <a:gd name="T60" fmla="*/ 2147483647 w 230"/>
                        <a:gd name="T61" fmla="*/ 2147483647 h 198"/>
                        <a:gd name="T62" fmla="*/ 2147483647 w 230"/>
                        <a:gd name="T63" fmla="*/ 2147483647 h 198"/>
                        <a:gd name="T64" fmla="*/ 2147483647 w 230"/>
                        <a:gd name="T65" fmla="*/ 2147483647 h 198"/>
                        <a:gd name="T66" fmla="*/ 2147483647 w 230"/>
                        <a:gd name="T67" fmla="*/ 2147483647 h 198"/>
                        <a:gd name="T68" fmla="*/ 2147483647 w 230"/>
                        <a:gd name="T69" fmla="*/ 2147483647 h 198"/>
                        <a:gd name="T70" fmla="*/ 2147483647 w 230"/>
                        <a:gd name="T71" fmla="*/ 2147483647 h 198"/>
                        <a:gd name="T72" fmla="*/ 2147483647 w 230"/>
                        <a:gd name="T73" fmla="*/ 2147483647 h 198"/>
                        <a:gd name="T74" fmla="*/ 2147483647 w 230"/>
                        <a:gd name="T75" fmla="*/ 2147483647 h 198"/>
                        <a:gd name="T76" fmla="*/ 2147483647 w 230"/>
                        <a:gd name="T77" fmla="*/ 2147483647 h 198"/>
                        <a:gd name="T78" fmla="*/ 2147483647 w 230"/>
                        <a:gd name="T79" fmla="*/ 2147483647 h 198"/>
                        <a:gd name="T80" fmla="*/ 2147483647 w 230"/>
                        <a:gd name="T81" fmla="*/ 2147483647 h 198"/>
                        <a:gd name="T82" fmla="*/ 2147483647 w 230"/>
                        <a:gd name="T83" fmla="*/ 2147483647 h 198"/>
                        <a:gd name="T84" fmla="*/ 2147483647 w 230"/>
                        <a:gd name="T85" fmla="*/ 2147483647 h 198"/>
                        <a:gd name="T86" fmla="*/ 2147483647 w 230"/>
                        <a:gd name="T87" fmla="*/ 2147483647 h 198"/>
                        <a:gd name="T88" fmla="*/ 2147483647 w 230"/>
                        <a:gd name="T89" fmla="*/ 2147483647 h 198"/>
                        <a:gd name="T90" fmla="*/ 2147483647 w 230"/>
                        <a:gd name="T91" fmla="*/ 2147483647 h 198"/>
                        <a:gd name="T92" fmla="*/ 2147483647 w 230"/>
                        <a:gd name="T93" fmla="*/ 2147483647 h 198"/>
                        <a:gd name="T94" fmla="*/ 2147483647 w 230"/>
                        <a:gd name="T95" fmla="*/ 2147483647 h 198"/>
                        <a:gd name="T96" fmla="*/ 2147483647 w 230"/>
                        <a:gd name="T97" fmla="*/ 2147483647 h 198"/>
                        <a:gd name="T98" fmla="*/ 2147483647 w 230"/>
                        <a:gd name="T99" fmla="*/ 2147483647 h 198"/>
                        <a:gd name="T100" fmla="*/ 2147483647 w 230"/>
                        <a:gd name="T101" fmla="*/ 2147483647 h 198"/>
                        <a:gd name="T102" fmla="*/ 2147483647 w 230"/>
                        <a:gd name="T103" fmla="*/ 2147483647 h 198"/>
                        <a:gd name="T104" fmla="*/ 2147483647 w 230"/>
                        <a:gd name="T105" fmla="*/ 2147483647 h 198"/>
                        <a:gd name="T106" fmla="*/ 2147483647 w 230"/>
                        <a:gd name="T107" fmla="*/ 2147483647 h 198"/>
                        <a:gd name="T108" fmla="*/ 2147483647 w 230"/>
                        <a:gd name="T109" fmla="*/ 2147483647 h 198"/>
                        <a:gd name="T110" fmla="*/ 2147483647 w 230"/>
                        <a:gd name="T111" fmla="*/ 2147483647 h 198"/>
                        <a:gd name="T112" fmla="*/ 2147483647 w 230"/>
                        <a:gd name="T113" fmla="*/ 2147483647 h 198"/>
                        <a:gd name="T114" fmla="*/ 2147483647 w 230"/>
                        <a:gd name="T115" fmla="*/ 2147483647 h 198"/>
                        <a:gd name="T116" fmla="*/ 2147483647 w 230"/>
                        <a:gd name="T117" fmla="*/ 2147483647 h 198"/>
                        <a:gd name="T118" fmla="*/ 2147483647 w 230"/>
                        <a:gd name="T119" fmla="*/ 2147483647 h 198"/>
                        <a:gd name="T120" fmla="*/ 2147483647 w 230"/>
                        <a:gd name="T121" fmla="*/ 2147483647 h 198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60000 65536"/>
                        <a:gd name="T178" fmla="*/ 0 60000 65536"/>
                        <a:gd name="T179" fmla="*/ 0 60000 65536"/>
                        <a:gd name="T180" fmla="*/ 0 60000 65536"/>
                        <a:gd name="T181" fmla="*/ 0 60000 65536"/>
                        <a:gd name="T182" fmla="*/ 0 60000 65536"/>
                        <a:gd name="T183" fmla="*/ 0 w 230"/>
                        <a:gd name="T184" fmla="*/ 0 h 198"/>
                        <a:gd name="T185" fmla="*/ 230 w 230"/>
                        <a:gd name="T186" fmla="*/ 198 h 198"/>
                      </a:gdLst>
                      <a:ahLst/>
                      <a:cxnLst>
                        <a:cxn ang="T122">
                          <a:pos x="T0" y="T1"/>
                        </a:cxn>
                        <a:cxn ang="T123">
                          <a:pos x="T2" y="T3"/>
                        </a:cxn>
                        <a:cxn ang="T124">
                          <a:pos x="T4" y="T5"/>
                        </a:cxn>
                        <a:cxn ang="T125">
                          <a:pos x="T6" y="T7"/>
                        </a:cxn>
                        <a:cxn ang="T126">
                          <a:pos x="T8" y="T9"/>
                        </a:cxn>
                        <a:cxn ang="T127">
                          <a:pos x="T10" y="T11"/>
                        </a:cxn>
                        <a:cxn ang="T128">
                          <a:pos x="T12" y="T13"/>
                        </a:cxn>
                        <a:cxn ang="T129">
                          <a:pos x="T14" y="T15"/>
                        </a:cxn>
                        <a:cxn ang="T130">
                          <a:pos x="T16" y="T17"/>
                        </a:cxn>
                        <a:cxn ang="T131">
                          <a:pos x="T18" y="T19"/>
                        </a:cxn>
                        <a:cxn ang="T132">
                          <a:pos x="T20" y="T21"/>
                        </a:cxn>
                        <a:cxn ang="T133">
                          <a:pos x="T22" y="T23"/>
                        </a:cxn>
                        <a:cxn ang="T134">
                          <a:pos x="T24" y="T25"/>
                        </a:cxn>
                        <a:cxn ang="T135">
                          <a:pos x="T26" y="T27"/>
                        </a:cxn>
                        <a:cxn ang="T136">
                          <a:pos x="T28" y="T29"/>
                        </a:cxn>
                        <a:cxn ang="T137">
                          <a:pos x="T30" y="T31"/>
                        </a:cxn>
                        <a:cxn ang="T138">
                          <a:pos x="T32" y="T33"/>
                        </a:cxn>
                        <a:cxn ang="T139">
                          <a:pos x="T34" y="T35"/>
                        </a:cxn>
                        <a:cxn ang="T140">
                          <a:pos x="T36" y="T37"/>
                        </a:cxn>
                        <a:cxn ang="T141">
                          <a:pos x="T38" y="T39"/>
                        </a:cxn>
                        <a:cxn ang="T142">
                          <a:pos x="T40" y="T41"/>
                        </a:cxn>
                        <a:cxn ang="T143">
                          <a:pos x="T42" y="T43"/>
                        </a:cxn>
                        <a:cxn ang="T144">
                          <a:pos x="T44" y="T45"/>
                        </a:cxn>
                        <a:cxn ang="T145">
                          <a:pos x="T46" y="T47"/>
                        </a:cxn>
                        <a:cxn ang="T146">
                          <a:pos x="T48" y="T49"/>
                        </a:cxn>
                        <a:cxn ang="T147">
                          <a:pos x="T50" y="T51"/>
                        </a:cxn>
                        <a:cxn ang="T148">
                          <a:pos x="T52" y="T53"/>
                        </a:cxn>
                        <a:cxn ang="T149">
                          <a:pos x="T54" y="T55"/>
                        </a:cxn>
                        <a:cxn ang="T150">
                          <a:pos x="T56" y="T57"/>
                        </a:cxn>
                        <a:cxn ang="T151">
                          <a:pos x="T58" y="T59"/>
                        </a:cxn>
                        <a:cxn ang="T152">
                          <a:pos x="T60" y="T61"/>
                        </a:cxn>
                        <a:cxn ang="T153">
                          <a:pos x="T62" y="T63"/>
                        </a:cxn>
                        <a:cxn ang="T154">
                          <a:pos x="T64" y="T65"/>
                        </a:cxn>
                        <a:cxn ang="T155">
                          <a:pos x="T66" y="T67"/>
                        </a:cxn>
                        <a:cxn ang="T156">
                          <a:pos x="T68" y="T69"/>
                        </a:cxn>
                        <a:cxn ang="T157">
                          <a:pos x="T70" y="T71"/>
                        </a:cxn>
                        <a:cxn ang="T158">
                          <a:pos x="T72" y="T73"/>
                        </a:cxn>
                        <a:cxn ang="T159">
                          <a:pos x="T74" y="T75"/>
                        </a:cxn>
                        <a:cxn ang="T160">
                          <a:pos x="T76" y="T77"/>
                        </a:cxn>
                        <a:cxn ang="T161">
                          <a:pos x="T78" y="T79"/>
                        </a:cxn>
                        <a:cxn ang="T162">
                          <a:pos x="T80" y="T81"/>
                        </a:cxn>
                        <a:cxn ang="T163">
                          <a:pos x="T82" y="T83"/>
                        </a:cxn>
                        <a:cxn ang="T164">
                          <a:pos x="T84" y="T85"/>
                        </a:cxn>
                        <a:cxn ang="T165">
                          <a:pos x="T86" y="T87"/>
                        </a:cxn>
                        <a:cxn ang="T166">
                          <a:pos x="T88" y="T89"/>
                        </a:cxn>
                        <a:cxn ang="T167">
                          <a:pos x="T90" y="T91"/>
                        </a:cxn>
                        <a:cxn ang="T168">
                          <a:pos x="T92" y="T93"/>
                        </a:cxn>
                        <a:cxn ang="T169">
                          <a:pos x="T94" y="T95"/>
                        </a:cxn>
                        <a:cxn ang="T170">
                          <a:pos x="T96" y="T97"/>
                        </a:cxn>
                        <a:cxn ang="T171">
                          <a:pos x="T98" y="T99"/>
                        </a:cxn>
                        <a:cxn ang="T172">
                          <a:pos x="T100" y="T101"/>
                        </a:cxn>
                        <a:cxn ang="T173">
                          <a:pos x="T102" y="T103"/>
                        </a:cxn>
                        <a:cxn ang="T174">
                          <a:pos x="T104" y="T105"/>
                        </a:cxn>
                        <a:cxn ang="T175">
                          <a:pos x="T106" y="T107"/>
                        </a:cxn>
                        <a:cxn ang="T176">
                          <a:pos x="T108" y="T109"/>
                        </a:cxn>
                        <a:cxn ang="T177">
                          <a:pos x="T110" y="T111"/>
                        </a:cxn>
                        <a:cxn ang="T178">
                          <a:pos x="T112" y="T113"/>
                        </a:cxn>
                        <a:cxn ang="T179">
                          <a:pos x="T114" y="T115"/>
                        </a:cxn>
                        <a:cxn ang="T180">
                          <a:pos x="T116" y="T117"/>
                        </a:cxn>
                        <a:cxn ang="T181">
                          <a:pos x="T118" y="T119"/>
                        </a:cxn>
                        <a:cxn ang="T182">
                          <a:pos x="T120" y="T121"/>
                        </a:cxn>
                      </a:cxnLst>
                      <a:rect l="T183" t="T184" r="T185" b="T186"/>
                      <a:pathLst>
                        <a:path w="230" h="198">
                          <a:moveTo>
                            <a:pt x="230" y="172"/>
                          </a:moveTo>
                          <a:lnTo>
                            <a:pt x="230" y="172"/>
                          </a:lnTo>
                          <a:lnTo>
                            <a:pt x="230" y="166"/>
                          </a:lnTo>
                          <a:lnTo>
                            <a:pt x="228" y="166"/>
                          </a:lnTo>
                          <a:lnTo>
                            <a:pt x="224" y="168"/>
                          </a:lnTo>
                          <a:lnTo>
                            <a:pt x="224" y="170"/>
                          </a:lnTo>
                          <a:lnTo>
                            <a:pt x="220" y="172"/>
                          </a:lnTo>
                          <a:lnTo>
                            <a:pt x="218" y="174"/>
                          </a:lnTo>
                          <a:lnTo>
                            <a:pt x="216" y="178"/>
                          </a:lnTo>
                          <a:lnTo>
                            <a:pt x="216" y="182"/>
                          </a:lnTo>
                          <a:lnTo>
                            <a:pt x="218" y="186"/>
                          </a:lnTo>
                          <a:lnTo>
                            <a:pt x="218" y="190"/>
                          </a:lnTo>
                          <a:lnTo>
                            <a:pt x="218" y="192"/>
                          </a:lnTo>
                          <a:lnTo>
                            <a:pt x="218" y="194"/>
                          </a:lnTo>
                          <a:lnTo>
                            <a:pt x="222" y="196"/>
                          </a:lnTo>
                          <a:lnTo>
                            <a:pt x="224" y="198"/>
                          </a:lnTo>
                          <a:lnTo>
                            <a:pt x="230" y="192"/>
                          </a:lnTo>
                          <a:lnTo>
                            <a:pt x="230" y="186"/>
                          </a:lnTo>
                          <a:lnTo>
                            <a:pt x="228" y="186"/>
                          </a:lnTo>
                          <a:lnTo>
                            <a:pt x="230" y="184"/>
                          </a:lnTo>
                          <a:lnTo>
                            <a:pt x="230" y="172"/>
                          </a:lnTo>
                          <a:close/>
                          <a:moveTo>
                            <a:pt x="198" y="40"/>
                          </a:moveTo>
                          <a:lnTo>
                            <a:pt x="198" y="40"/>
                          </a:lnTo>
                          <a:lnTo>
                            <a:pt x="196" y="40"/>
                          </a:lnTo>
                          <a:lnTo>
                            <a:pt x="192" y="40"/>
                          </a:lnTo>
                          <a:lnTo>
                            <a:pt x="190" y="40"/>
                          </a:lnTo>
                          <a:lnTo>
                            <a:pt x="184" y="40"/>
                          </a:lnTo>
                          <a:lnTo>
                            <a:pt x="184" y="34"/>
                          </a:lnTo>
                          <a:lnTo>
                            <a:pt x="182" y="34"/>
                          </a:lnTo>
                          <a:lnTo>
                            <a:pt x="182" y="32"/>
                          </a:lnTo>
                          <a:lnTo>
                            <a:pt x="178" y="30"/>
                          </a:lnTo>
                          <a:lnTo>
                            <a:pt x="174" y="34"/>
                          </a:lnTo>
                          <a:lnTo>
                            <a:pt x="172" y="32"/>
                          </a:lnTo>
                          <a:lnTo>
                            <a:pt x="166" y="32"/>
                          </a:lnTo>
                          <a:lnTo>
                            <a:pt x="164" y="28"/>
                          </a:lnTo>
                          <a:lnTo>
                            <a:pt x="162" y="28"/>
                          </a:lnTo>
                          <a:lnTo>
                            <a:pt x="158" y="28"/>
                          </a:lnTo>
                          <a:lnTo>
                            <a:pt x="156" y="28"/>
                          </a:lnTo>
                          <a:lnTo>
                            <a:pt x="156" y="22"/>
                          </a:lnTo>
                          <a:lnTo>
                            <a:pt x="152" y="24"/>
                          </a:lnTo>
                          <a:lnTo>
                            <a:pt x="146" y="24"/>
                          </a:lnTo>
                          <a:lnTo>
                            <a:pt x="146" y="18"/>
                          </a:lnTo>
                          <a:lnTo>
                            <a:pt x="144" y="16"/>
                          </a:lnTo>
                          <a:lnTo>
                            <a:pt x="142" y="14"/>
                          </a:lnTo>
                          <a:lnTo>
                            <a:pt x="136" y="14"/>
                          </a:lnTo>
                          <a:lnTo>
                            <a:pt x="132" y="12"/>
                          </a:lnTo>
                          <a:lnTo>
                            <a:pt x="126" y="10"/>
                          </a:lnTo>
                          <a:lnTo>
                            <a:pt x="126" y="6"/>
                          </a:lnTo>
                          <a:lnTo>
                            <a:pt x="126" y="0"/>
                          </a:lnTo>
                          <a:lnTo>
                            <a:pt x="118" y="0"/>
                          </a:lnTo>
                          <a:lnTo>
                            <a:pt x="114" y="2"/>
                          </a:lnTo>
                          <a:lnTo>
                            <a:pt x="112" y="2"/>
                          </a:lnTo>
                          <a:lnTo>
                            <a:pt x="110" y="4"/>
                          </a:lnTo>
                          <a:lnTo>
                            <a:pt x="104" y="4"/>
                          </a:lnTo>
                          <a:lnTo>
                            <a:pt x="104" y="6"/>
                          </a:lnTo>
                          <a:lnTo>
                            <a:pt x="104" y="8"/>
                          </a:lnTo>
                          <a:lnTo>
                            <a:pt x="104" y="12"/>
                          </a:lnTo>
                          <a:lnTo>
                            <a:pt x="106" y="14"/>
                          </a:lnTo>
                          <a:lnTo>
                            <a:pt x="106" y="20"/>
                          </a:lnTo>
                          <a:lnTo>
                            <a:pt x="104" y="22"/>
                          </a:lnTo>
                          <a:lnTo>
                            <a:pt x="98" y="24"/>
                          </a:lnTo>
                          <a:lnTo>
                            <a:pt x="92" y="24"/>
                          </a:lnTo>
                          <a:lnTo>
                            <a:pt x="82" y="32"/>
                          </a:lnTo>
                          <a:lnTo>
                            <a:pt x="86" y="34"/>
                          </a:lnTo>
                          <a:lnTo>
                            <a:pt x="84" y="34"/>
                          </a:lnTo>
                          <a:lnTo>
                            <a:pt x="82" y="34"/>
                          </a:lnTo>
                          <a:lnTo>
                            <a:pt x="76" y="38"/>
                          </a:lnTo>
                          <a:lnTo>
                            <a:pt x="68" y="38"/>
                          </a:lnTo>
                          <a:lnTo>
                            <a:pt x="66" y="36"/>
                          </a:lnTo>
                          <a:lnTo>
                            <a:pt x="60" y="30"/>
                          </a:lnTo>
                          <a:lnTo>
                            <a:pt x="58" y="30"/>
                          </a:lnTo>
                          <a:lnTo>
                            <a:pt x="56" y="28"/>
                          </a:lnTo>
                          <a:lnTo>
                            <a:pt x="52" y="28"/>
                          </a:lnTo>
                          <a:lnTo>
                            <a:pt x="52" y="30"/>
                          </a:lnTo>
                          <a:lnTo>
                            <a:pt x="52" y="34"/>
                          </a:lnTo>
                          <a:lnTo>
                            <a:pt x="54" y="34"/>
                          </a:lnTo>
                          <a:lnTo>
                            <a:pt x="56" y="38"/>
                          </a:lnTo>
                          <a:lnTo>
                            <a:pt x="58" y="40"/>
                          </a:lnTo>
                          <a:lnTo>
                            <a:pt x="58" y="46"/>
                          </a:lnTo>
                          <a:lnTo>
                            <a:pt x="56" y="48"/>
                          </a:lnTo>
                          <a:lnTo>
                            <a:pt x="54" y="48"/>
                          </a:lnTo>
                          <a:lnTo>
                            <a:pt x="48" y="48"/>
                          </a:lnTo>
                          <a:lnTo>
                            <a:pt x="38" y="48"/>
                          </a:lnTo>
                          <a:lnTo>
                            <a:pt x="38" y="54"/>
                          </a:lnTo>
                          <a:lnTo>
                            <a:pt x="36" y="52"/>
                          </a:lnTo>
                          <a:lnTo>
                            <a:pt x="34" y="48"/>
                          </a:lnTo>
                          <a:lnTo>
                            <a:pt x="32" y="48"/>
                          </a:lnTo>
                          <a:lnTo>
                            <a:pt x="30" y="46"/>
                          </a:lnTo>
                          <a:lnTo>
                            <a:pt x="26" y="46"/>
                          </a:lnTo>
                          <a:lnTo>
                            <a:pt x="24" y="48"/>
                          </a:lnTo>
                          <a:lnTo>
                            <a:pt x="22" y="48"/>
                          </a:lnTo>
                          <a:lnTo>
                            <a:pt x="20" y="48"/>
                          </a:lnTo>
                          <a:lnTo>
                            <a:pt x="16" y="48"/>
                          </a:lnTo>
                          <a:lnTo>
                            <a:pt x="12" y="50"/>
                          </a:lnTo>
                          <a:lnTo>
                            <a:pt x="8" y="50"/>
                          </a:lnTo>
                          <a:lnTo>
                            <a:pt x="6" y="52"/>
                          </a:lnTo>
                          <a:lnTo>
                            <a:pt x="4" y="54"/>
                          </a:lnTo>
                          <a:lnTo>
                            <a:pt x="6" y="56"/>
                          </a:lnTo>
                          <a:lnTo>
                            <a:pt x="8" y="56"/>
                          </a:lnTo>
                          <a:lnTo>
                            <a:pt x="10" y="58"/>
                          </a:lnTo>
                          <a:lnTo>
                            <a:pt x="10" y="60"/>
                          </a:lnTo>
                          <a:lnTo>
                            <a:pt x="6" y="60"/>
                          </a:lnTo>
                          <a:lnTo>
                            <a:pt x="2" y="60"/>
                          </a:lnTo>
                          <a:lnTo>
                            <a:pt x="0" y="60"/>
                          </a:lnTo>
                          <a:lnTo>
                            <a:pt x="0" y="62"/>
                          </a:lnTo>
                          <a:lnTo>
                            <a:pt x="6" y="66"/>
                          </a:lnTo>
                          <a:lnTo>
                            <a:pt x="12" y="66"/>
                          </a:lnTo>
                          <a:lnTo>
                            <a:pt x="12" y="64"/>
                          </a:lnTo>
                          <a:lnTo>
                            <a:pt x="26" y="72"/>
                          </a:lnTo>
                          <a:lnTo>
                            <a:pt x="32" y="72"/>
                          </a:lnTo>
                          <a:lnTo>
                            <a:pt x="38" y="76"/>
                          </a:lnTo>
                          <a:lnTo>
                            <a:pt x="48" y="76"/>
                          </a:lnTo>
                          <a:lnTo>
                            <a:pt x="40" y="80"/>
                          </a:lnTo>
                          <a:lnTo>
                            <a:pt x="42" y="84"/>
                          </a:lnTo>
                          <a:lnTo>
                            <a:pt x="44" y="86"/>
                          </a:lnTo>
                          <a:lnTo>
                            <a:pt x="46" y="92"/>
                          </a:lnTo>
                          <a:lnTo>
                            <a:pt x="52" y="96"/>
                          </a:lnTo>
                          <a:lnTo>
                            <a:pt x="58" y="96"/>
                          </a:lnTo>
                          <a:lnTo>
                            <a:pt x="58" y="106"/>
                          </a:lnTo>
                          <a:lnTo>
                            <a:pt x="62" y="114"/>
                          </a:lnTo>
                          <a:lnTo>
                            <a:pt x="66" y="124"/>
                          </a:lnTo>
                          <a:lnTo>
                            <a:pt x="58" y="114"/>
                          </a:lnTo>
                          <a:lnTo>
                            <a:pt x="58" y="118"/>
                          </a:lnTo>
                          <a:lnTo>
                            <a:pt x="56" y="120"/>
                          </a:lnTo>
                          <a:lnTo>
                            <a:pt x="56" y="132"/>
                          </a:lnTo>
                          <a:lnTo>
                            <a:pt x="54" y="134"/>
                          </a:lnTo>
                          <a:lnTo>
                            <a:pt x="52" y="144"/>
                          </a:lnTo>
                          <a:lnTo>
                            <a:pt x="52" y="146"/>
                          </a:lnTo>
                          <a:lnTo>
                            <a:pt x="50" y="150"/>
                          </a:lnTo>
                          <a:lnTo>
                            <a:pt x="50" y="152"/>
                          </a:lnTo>
                          <a:lnTo>
                            <a:pt x="48" y="152"/>
                          </a:lnTo>
                          <a:lnTo>
                            <a:pt x="48" y="154"/>
                          </a:lnTo>
                          <a:lnTo>
                            <a:pt x="46" y="156"/>
                          </a:lnTo>
                          <a:lnTo>
                            <a:pt x="44" y="158"/>
                          </a:lnTo>
                          <a:lnTo>
                            <a:pt x="46" y="160"/>
                          </a:lnTo>
                          <a:lnTo>
                            <a:pt x="46" y="158"/>
                          </a:lnTo>
                          <a:lnTo>
                            <a:pt x="48" y="158"/>
                          </a:lnTo>
                          <a:lnTo>
                            <a:pt x="52" y="160"/>
                          </a:lnTo>
                          <a:lnTo>
                            <a:pt x="52" y="162"/>
                          </a:lnTo>
                          <a:lnTo>
                            <a:pt x="50" y="164"/>
                          </a:lnTo>
                          <a:lnTo>
                            <a:pt x="60" y="164"/>
                          </a:lnTo>
                          <a:lnTo>
                            <a:pt x="64" y="168"/>
                          </a:lnTo>
                          <a:lnTo>
                            <a:pt x="66" y="166"/>
                          </a:lnTo>
                          <a:lnTo>
                            <a:pt x="68" y="166"/>
                          </a:lnTo>
                          <a:lnTo>
                            <a:pt x="72" y="170"/>
                          </a:lnTo>
                          <a:lnTo>
                            <a:pt x="78" y="170"/>
                          </a:lnTo>
                          <a:lnTo>
                            <a:pt x="78" y="172"/>
                          </a:lnTo>
                          <a:lnTo>
                            <a:pt x="84" y="172"/>
                          </a:lnTo>
                          <a:lnTo>
                            <a:pt x="84" y="168"/>
                          </a:lnTo>
                          <a:lnTo>
                            <a:pt x="86" y="166"/>
                          </a:lnTo>
                          <a:lnTo>
                            <a:pt x="90" y="166"/>
                          </a:lnTo>
                          <a:lnTo>
                            <a:pt x="92" y="168"/>
                          </a:lnTo>
                          <a:lnTo>
                            <a:pt x="92" y="170"/>
                          </a:lnTo>
                          <a:lnTo>
                            <a:pt x="96" y="170"/>
                          </a:lnTo>
                          <a:lnTo>
                            <a:pt x="96" y="172"/>
                          </a:lnTo>
                          <a:lnTo>
                            <a:pt x="104" y="172"/>
                          </a:lnTo>
                          <a:lnTo>
                            <a:pt x="104" y="174"/>
                          </a:lnTo>
                          <a:lnTo>
                            <a:pt x="104" y="176"/>
                          </a:lnTo>
                          <a:lnTo>
                            <a:pt x="112" y="176"/>
                          </a:lnTo>
                          <a:lnTo>
                            <a:pt x="112" y="178"/>
                          </a:lnTo>
                          <a:lnTo>
                            <a:pt x="118" y="178"/>
                          </a:lnTo>
                          <a:lnTo>
                            <a:pt x="118" y="176"/>
                          </a:lnTo>
                          <a:lnTo>
                            <a:pt x="118" y="174"/>
                          </a:lnTo>
                          <a:lnTo>
                            <a:pt x="122" y="174"/>
                          </a:lnTo>
                          <a:lnTo>
                            <a:pt x="122" y="170"/>
                          </a:lnTo>
                          <a:lnTo>
                            <a:pt x="126" y="164"/>
                          </a:lnTo>
                          <a:lnTo>
                            <a:pt x="130" y="160"/>
                          </a:lnTo>
                          <a:lnTo>
                            <a:pt x="132" y="158"/>
                          </a:lnTo>
                          <a:lnTo>
                            <a:pt x="134" y="156"/>
                          </a:lnTo>
                          <a:lnTo>
                            <a:pt x="138" y="154"/>
                          </a:lnTo>
                          <a:lnTo>
                            <a:pt x="140" y="152"/>
                          </a:lnTo>
                          <a:lnTo>
                            <a:pt x="144" y="152"/>
                          </a:lnTo>
                          <a:lnTo>
                            <a:pt x="146" y="154"/>
                          </a:lnTo>
                          <a:lnTo>
                            <a:pt x="150" y="154"/>
                          </a:lnTo>
                          <a:lnTo>
                            <a:pt x="152" y="156"/>
                          </a:lnTo>
                          <a:lnTo>
                            <a:pt x="162" y="156"/>
                          </a:lnTo>
                          <a:lnTo>
                            <a:pt x="166" y="160"/>
                          </a:lnTo>
                          <a:lnTo>
                            <a:pt x="166" y="162"/>
                          </a:lnTo>
                          <a:lnTo>
                            <a:pt x="170" y="162"/>
                          </a:lnTo>
                          <a:lnTo>
                            <a:pt x="172" y="164"/>
                          </a:lnTo>
                          <a:lnTo>
                            <a:pt x="178" y="164"/>
                          </a:lnTo>
                          <a:lnTo>
                            <a:pt x="182" y="162"/>
                          </a:lnTo>
                          <a:lnTo>
                            <a:pt x="184" y="160"/>
                          </a:lnTo>
                          <a:lnTo>
                            <a:pt x="186" y="154"/>
                          </a:lnTo>
                          <a:lnTo>
                            <a:pt x="192" y="150"/>
                          </a:lnTo>
                          <a:lnTo>
                            <a:pt x="196" y="150"/>
                          </a:lnTo>
                          <a:lnTo>
                            <a:pt x="196" y="148"/>
                          </a:lnTo>
                          <a:lnTo>
                            <a:pt x="200" y="144"/>
                          </a:lnTo>
                          <a:lnTo>
                            <a:pt x="200" y="142"/>
                          </a:lnTo>
                          <a:lnTo>
                            <a:pt x="198" y="140"/>
                          </a:lnTo>
                          <a:lnTo>
                            <a:pt x="192" y="140"/>
                          </a:lnTo>
                          <a:lnTo>
                            <a:pt x="188" y="138"/>
                          </a:lnTo>
                          <a:lnTo>
                            <a:pt x="186" y="136"/>
                          </a:lnTo>
                          <a:lnTo>
                            <a:pt x="186" y="134"/>
                          </a:lnTo>
                          <a:lnTo>
                            <a:pt x="188" y="132"/>
                          </a:lnTo>
                          <a:lnTo>
                            <a:pt x="190" y="130"/>
                          </a:lnTo>
                          <a:lnTo>
                            <a:pt x="190" y="126"/>
                          </a:lnTo>
                          <a:lnTo>
                            <a:pt x="188" y="126"/>
                          </a:lnTo>
                          <a:lnTo>
                            <a:pt x="184" y="126"/>
                          </a:lnTo>
                          <a:lnTo>
                            <a:pt x="182" y="120"/>
                          </a:lnTo>
                          <a:lnTo>
                            <a:pt x="188" y="120"/>
                          </a:lnTo>
                          <a:lnTo>
                            <a:pt x="192" y="116"/>
                          </a:lnTo>
                          <a:lnTo>
                            <a:pt x="192" y="114"/>
                          </a:lnTo>
                          <a:lnTo>
                            <a:pt x="186" y="108"/>
                          </a:lnTo>
                          <a:lnTo>
                            <a:pt x="188" y="106"/>
                          </a:lnTo>
                          <a:lnTo>
                            <a:pt x="190" y="106"/>
                          </a:lnTo>
                          <a:lnTo>
                            <a:pt x="190" y="104"/>
                          </a:lnTo>
                          <a:lnTo>
                            <a:pt x="186" y="100"/>
                          </a:lnTo>
                          <a:lnTo>
                            <a:pt x="188" y="94"/>
                          </a:lnTo>
                          <a:lnTo>
                            <a:pt x="186" y="94"/>
                          </a:lnTo>
                          <a:lnTo>
                            <a:pt x="182" y="94"/>
                          </a:lnTo>
                          <a:lnTo>
                            <a:pt x="176" y="100"/>
                          </a:lnTo>
                          <a:lnTo>
                            <a:pt x="174" y="100"/>
                          </a:lnTo>
                          <a:lnTo>
                            <a:pt x="174" y="98"/>
                          </a:lnTo>
                          <a:lnTo>
                            <a:pt x="176" y="96"/>
                          </a:lnTo>
                          <a:lnTo>
                            <a:pt x="174" y="94"/>
                          </a:lnTo>
                          <a:lnTo>
                            <a:pt x="178" y="92"/>
                          </a:lnTo>
                          <a:lnTo>
                            <a:pt x="178" y="88"/>
                          </a:lnTo>
                          <a:lnTo>
                            <a:pt x="182" y="86"/>
                          </a:lnTo>
                          <a:lnTo>
                            <a:pt x="182" y="82"/>
                          </a:lnTo>
                          <a:lnTo>
                            <a:pt x="186" y="82"/>
                          </a:lnTo>
                          <a:lnTo>
                            <a:pt x="188" y="80"/>
                          </a:lnTo>
                          <a:lnTo>
                            <a:pt x="190" y="78"/>
                          </a:lnTo>
                          <a:lnTo>
                            <a:pt x="192" y="76"/>
                          </a:lnTo>
                          <a:lnTo>
                            <a:pt x="192" y="74"/>
                          </a:lnTo>
                          <a:lnTo>
                            <a:pt x="198" y="76"/>
                          </a:lnTo>
                          <a:lnTo>
                            <a:pt x="198" y="72"/>
                          </a:lnTo>
                          <a:lnTo>
                            <a:pt x="198" y="60"/>
                          </a:lnTo>
                          <a:lnTo>
                            <a:pt x="200" y="58"/>
                          </a:lnTo>
                          <a:lnTo>
                            <a:pt x="202" y="56"/>
                          </a:lnTo>
                          <a:lnTo>
                            <a:pt x="204" y="54"/>
                          </a:lnTo>
                          <a:lnTo>
                            <a:pt x="204" y="50"/>
                          </a:lnTo>
                          <a:lnTo>
                            <a:pt x="208" y="46"/>
                          </a:lnTo>
                          <a:lnTo>
                            <a:pt x="210" y="42"/>
                          </a:lnTo>
                          <a:lnTo>
                            <a:pt x="204" y="40"/>
                          </a:lnTo>
                          <a:lnTo>
                            <a:pt x="198" y="40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43" name="Finland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725994" y="1868489"/>
                      <a:ext cx="252413" cy="288925"/>
                    </a:xfrm>
                    <a:custGeom>
                      <a:avLst/>
                      <a:gdLst>
                        <a:gd name="T0" fmla="*/ 2147483647 w 630"/>
                        <a:gd name="T1" fmla="*/ 2147483647 h 714"/>
                        <a:gd name="T2" fmla="*/ 2147483647 w 630"/>
                        <a:gd name="T3" fmla="*/ 2147483647 h 714"/>
                        <a:gd name="T4" fmla="*/ 2147483647 w 630"/>
                        <a:gd name="T5" fmla="*/ 2147483647 h 714"/>
                        <a:gd name="T6" fmla="*/ 2147483647 w 630"/>
                        <a:gd name="T7" fmla="*/ 2147483647 h 714"/>
                        <a:gd name="T8" fmla="*/ 2147483647 w 630"/>
                        <a:gd name="T9" fmla="*/ 2147483647 h 714"/>
                        <a:gd name="T10" fmla="*/ 2147483647 w 630"/>
                        <a:gd name="T11" fmla="*/ 2147483647 h 714"/>
                        <a:gd name="T12" fmla="*/ 2147483647 w 630"/>
                        <a:gd name="T13" fmla="*/ 2147483647 h 714"/>
                        <a:gd name="T14" fmla="*/ 2147483647 w 630"/>
                        <a:gd name="T15" fmla="*/ 2147483647 h 714"/>
                        <a:gd name="T16" fmla="*/ 2147483647 w 630"/>
                        <a:gd name="T17" fmla="*/ 2147483647 h 714"/>
                        <a:gd name="T18" fmla="*/ 2147483647 w 630"/>
                        <a:gd name="T19" fmla="*/ 2147483647 h 714"/>
                        <a:gd name="T20" fmla="*/ 2147483647 w 630"/>
                        <a:gd name="T21" fmla="*/ 2147483647 h 714"/>
                        <a:gd name="T22" fmla="*/ 2147483647 w 630"/>
                        <a:gd name="T23" fmla="*/ 2147483647 h 714"/>
                        <a:gd name="T24" fmla="*/ 2147483647 w 630"/>
                        <a:gd name="T25" fmla="*/ 2147483647 h 714"/>
                        <a:gd name="T26" fmla="*/ 2147483647 w 630"/>
                        <a:gd name="T27" fmla="*/ 2147483647 h 714"/>
                        <a:gd name="T28" fmla="*/ 2147483647 w 630"/>
                        <a:gd name="T29" fmla="*/ 2147483647 h 714"/>
                        <a:gd name="T30" fmla="*/ 2147483647 w 630"/>
                        <a:gd name="T31" fmla="*/ 2147483647 h 714"/>
                        <a:gd name="T32" fmla="*/ 2147483647 w 630"/>
                        <a:gd name="T33" fmla="*/ 2147483647 h 714"/>
                        <a:gd name="T34" fmla="*/ 2147483647 w 630"/>
                        <a:gd name="T35" fmla="*/ 2147483647 h 714"/>
                        <a:gd name="T36" fmla="*/ 2147483647 w 630"/>
                        <a:gd name="T37" fmla="*/ 2147483647 h 714"/>
                        <a:gd name="T38" fmla="*/ 2147483647 w 630"/>
                        <a:gd name="T39" fmla="*/ 2147483647 h 714"/>
                        <a:gd name="T40" fmla="*/ 2147483647 w 630"/>
                        <a:gd name="T41" fmla="*/ 2147483647 h 714"/>
                        <a:gd name="T42" fmla="*/ 2147483647 w 630"/>
                        <a:gd name="T43" fmla="*/ 2147483647 h 714"/>
                        <a:gd name="T44" fmla="*/ 2147483647 w 630"/>
                        <a:gd name="T45" fmla="*/ 2147483647 h 714"/>
                        <a:gd name="T46" fmla="*/ 2147483647 w 630"/>
                        <a:gd name="T47" fmla="*/ 2147483647 h 714"/>
                        <a:gd name="T48" fmla="*/ 2147483647 w 630"/>
                        <a:gd name="T49" fmla="*/ 2147483647 h 714"/>
                        <a:gd name="T50" fmla="*/ 2147483647 w 630"/>
                        <a:gd name="T51" fmla="*/ 2147483647 h 714"/>
                        <a:gd name="T52" fmla="*/ 2147483647 w 630"/>
                        <a:gd name="T53" fmla="*/ 2147483647 h 714"/>
                        <a:gd name="T54" fmla="*/ 2147483647 w 630"/>
                        <a:gd name="T55" fmla="*/ 2147483647 h 714"/>
                        <a:gd name="T56" fmla="*/ 2147483647 w 630"/>
                        <a:gd name="T57" fmla="*/ 2147483647 h 714"/>
                        <a:gd name="T58" fmla="*/ 2147483647 w 630"/>
                        <a:gd name="T59" fmla="*/ 2147483647 h 714"/>
                        <a:gd name="T60" fmla="*/ 2147483647 w 630"/>
                        <a:gd name="T61" fmla="*/ 2147483647 h 714"/>
                        <a:gd name="T62" fmla="*/ 2147483647 w 630"/>
                        <a:gd name="T63" fmla="*/ 2147483647 h 714"/>
                        <a:gd name="T64" fmla="*/ 2147483647 w 630"/>
                        <a:gd name="T65" fmla="*/ 2147483647 h 714"/>
                        <a:gd name="T66" fmla="*/ 2147483647 w 630"/>
                        <a:gd name="T67" fmla="*/ 2147483647 h 714"/>
                        <a:gd name="T68" fmla="*/ 2147483647 w 630"/>
                        <a:gd name="T69" fmla="*/ 2147483647 h 714"/>
                        <a:gd name="T70" fmla="*/ 2147483647 w 630"/>
                        <a:gd name="T71" fmla="*/ 2147483647 h 714"/>
                        <a:gd name="T72" fmla="*/ 2147483647 w 630"/>
                        <a:gd name="T73" fmla="*/ 2147483647 h 714"/>
                        <a:gd name="T74" fmla="*/ 2147483647 w 630"/>
                        <a:gd name="T75" fmla="*/ 2147483647 h 714"/>
                        <a:gd name="T76" fmla="*/ 2147483647 w 630"/>
                        <a:gd name="T77" fmla="*/ 2147483647 h 714"/>
                        <a:gd name="T78" fmla="*/ 2147483647 w 630"/>
                        <a:gd name="T79" fmla="*/ 2147483647 h 714"/>
                        <a:gd name="T80" fmla="*/ 2147483647 w 630"/>
                        <a:gd name="T81" fmla="*/ 2147483647 h 714"/>
                        <a:gd name="T82" fmla="*/ 2147483647 w 630"/>
                        <a:gd name="T83" fmla="*/ 2147483647 h 714"/>
                        <a:gd name="T84" fmla="*/ 2147483647 w 630"/>
                        <a:gd name="T85" fmla="*/ 2147483647 h 714"/>
                        <a:gd name="T86" fmla="*/ 2147483647 w 630"/>
                        <a:gd name="T87" fmla="*/ 2147483647 h 714"/>
                        <a:gd name="T88" fmla="*/ 2147483647 w 630"/>
                        <a:gd name="T89" fmla="*/ 2147483647 h 714"/>
                        <a:gd name="T90" fmla="*/ 2147483647 w 630"/>
                        <a:gd name="T91" fmla="*/ 2147483647 h 714"/>
                        <a:gd name="T92" fmla="*/ 2147483647 w 630"/>
                        <a:gd name="T93" fmla="*/ 2147483647 h 714"/>
                        <a:gd name="T94" fmla="*/ 2147483647 w 630"/>
                        <a:gd name="T95" fmla="*/ 2147483647 h 714"/>
                        <a:gd name="T96" fmla="*/ 2147483647 w 630"/>
                        <a:gd name="T97" fmla="*/ 2147483647 h 714"/>
                        <a:gd name="T98" fmla="*/ 2147483647 w 630"/>
                        <a:gd name="T99" fmla="*/ 2147483647 h 714"/>
                        <a:gd name="T100" fmla="*/ 2147483647 w 630"/>
                        <a:gd name="T101" fmla="*/ 2147483647 h 714"/>
                        <a:gd name="T102" fmla="*/ 2147483647 w 630"/>
                        <a:gd name="T103" fmla="*/ 2147483647 h 714"/>
                        <a:gd name="T104" fmla="*/ 2147483647 w 630"/>
                        <a:gd name="T105" fmla="*/ 2147483647 h 714"/>
                        <a:gd name="T106" fmla="*/ 2147483647 w 630"/>
                        <a:gd name="T107" fmla="*/ 0 h 714"/>
                        <a:gd name="T108" fmla="*/ 2147483647 w 630"/>
                        <a:gd name="T109" fmla="*/ 2147483647 h 714"/>
                        <a:gd name="T110" fmla="*/ 2147483647 w 630"/>
                        <a:gd name="T111" fmla="*/ 2147483647 h 714"/>
                        <a:gd name="T112" fmla="*/ 2147483647 w 630"/>
                        <a:gd name="T113" fmla="*/ 2147483647 h 714"/>
                        <a:gd name="T114" fmla="*/ 2147483647 w 630"/>
                        <a:gd name="T115" fmla="*/ 2147483647 h 714"/>
                        <a:gd name="T116" fmla="*/ 2147483647 w 630"/>
                        <a:gd name="T117" fmla="*/ 2147483647 h 714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w 630"/>
                        <a:gd name="T178" fmla="*/ 0 h 714"/>
                        <a:gd name="T179" fmla="*/ 630 w 630"/>
                        <a:gd name="T180" fmla="*/ 714 h 714"/>
                      </a:gdLst>
                      <a:ahLst/>
                      <a:cxnLst>
                        <a:cxn ang="T118">
                          <a:pos x="T0" y="T1"/>
                        </a:cxn>
                        <a:cxn ang="T119">
                          <a:pos x="T2" y="T3"/>
                        </a:cxn>
                        <a:cxn ang="T120">
                          <a:pos x="T4" y="T5"/>
                        </a:cxn>
                        <a:cxn ang="T121">
                          <a:pos x="T6" y="T7"/>
                        </a:cxn>
                        <a:cxn ang="T122">
                          <a:pos x="T8" y="T9"/>
                        </a:cxn>
                        <a:cxn ang="T123">
                          <a:pos x="T10" y="T11"/>
                        </a:cxn>
                        <a:cxn ang="T124">
                          <a:pos x="T12" y="T13"/>
                        </a:cxn>
                        <a:cxn ang="T125">
                          <a:pos x="T14" y="T15"/>
                        </a:cxn>
                        <a:cxn ang="T126">
                          <a:pos x="T16" y="T17"/>
                        </a:cxn>
                        <a:cxn ang="T127">
                          <a:pos x="T18" y="T19"/>
                        </a:cxn>
                        <a:cxn ang="T128">
                          <a:pos x="T20" y="T21"/>
                        </a:cxn>
                        <a:cxn ang="T129">
                          <a:pos x="T22" y="T23"/>
                        </a:cxn>
                        <a:cxn ang="T130">
                          <a:pos x="T24" y="T25"/>
                        </a:cxn>
                        <a:cxn ang="T131">
                          <a:pos x="T26" y="T27"/>
                        </a:cxn>
                        <a:cxn ang="T132">
                          <a:pos x="T28" y="T29"/>
                        </a:cxn>
                        <a:cxn ang="T133">
                          <a:pos x="T30" y="T31"/>
                        </a:cxn>
                        <a:cxn ang="T134">
                          <a:pos x="T32" y="T33"/>
                        </a:cxn>
                        <a:cxn ang="T135">
                          <a:pos x="T34" y="T35"/>
                        </a:cxn>
                        <a:cxn ang="T136">
                          <a:pos x="T36" y="T37"/>
                        </a:cxn>
                        <a:cxn ang="T137">
                          <a:pos x="T38" y="T39"/>
                        </a:cxn>
                        <a:cxn ang="T138">
                          <a:pos x="T40" y="T41"/>
                        </a:cxn>
                        <a:cxn ang="T139">
                          <a:pos x="T42" y="T43"/>
                        </a:cxn>
                        <a:cxn ang="T140">
                          <a:pos x="T44" y="T45"/>
                        </a:cxn>
                        <a:cxn ang="T141">
                          <a:pos x="T46" y="T47"/>
                        </a:cxn>
                        <a:cxn ang="T142">
                          <a:pos x="T48" y="T49"/>
                        </a:cxn>
                        <a:cxn ang="T143">
                          <a:pos x="T50" y="T51"/>
                        </a:cxn>
                        <a:cxn ang="T144">
                          <a:pos x="T52" y="T53"/>
                        </a:cxn>
                        <a:cxn ang="T145">
                          <a:pos x="T54" y="T55"/>
                        </a:cxn>
                        <a:cxn ang="T146">
                          <a:pos x="T56" y="T57"/>
                        </a:cxn>
                        <a:cxn ang="T147">
                          <a:pos x="T58" y="T59"/>
                        </a:cxn>
                        <a:cxn ang="T148">
                          <a:pos x="T60" y="T61"/>
                        </a:cxn>
                        <a:cxn ang="T149">
                          <a:pos x="T62" y="T63"/>
                        </a:cxn>
                        <a:cxn ang="T150">
                          <a:pos x="T64" y="T65"/>
                        </a:cxn>
                        <a:cxn ang="T151">
                          <a:pos x="T66" y="T67"/>
                        </a:cxn>
                        <a:cxn ang="T152">
                          <a:pos x="T68" y="T69"/>
                        </a:cxn>
                        <a:cxn ang="T153">
                          <a:pos x="T70" y="T71"/>
                        </a:cxn>
                        <a:cxn ang="T154">
                          <a:pos x="T72" y="T73"/>
                        </a:cxn>
                        <a:cxn ang="T155">
                          <a:pos x="T74" y="T75"/>
                        </a:cxn>
                        <a:cxn ang="T156">
                          <a:pos x="T76" y="T77"/>
                        </a:cxn>
                        <a:cxn ang="T157">
                          <a:pos x="T78" y="T79"/>
                        </a:cxn>
                        <a:cxn ang="T158">
                          <a:pos x="T80" y="T81"/>
                        </a:cxn>
                        <a:cxn ang="T159">
                          <a:pos x="T82" y="T83"/>
                        </a:cxn>
                        <a:cxn ang="T160">
                          <a:pos x="T84" y="T85"/>
                        </a:cxn>
                        <a:cxn ang="T161">
                          <a:pos x="T86" y="T87"/>
                        </a:cxn>
                        <a:cxn ang="T162">
                          <a:pos x="T88" y="T89"/>
                        </a:cxn>
                        <a:cxn ang="T163">
                          <a:pos x="T90" y="T91"/>
                        </a:cxn>
                        <a:cxn ang="T164">
                          <a:pos x="T92" y="T93"/>
                        </a:cxn>
                        <a:cxn ang="T165">
                          <a:pos x="T94" y="T95"/>
                        </a:cxn>
                        <a:cxn ang="T166">
                          <a:pos x="T96" y="T97"/>
                        </a:cxn>
                        <a:cxn ang="T167">
                          <a:pos x="T98" y="T99"/>
                        </a:cxn>
                        <a:cxn ang="T168">
                          <a:pos x="T100" y="T101"/>
                        </a:cxn>
                        <a:cxn ang="T169">
                          <a:pos x="T102" y="T103"/>
                        </a:cxn>
                        <a:cxn ang="T170">
                          <a:pos x="T104" y="T105"/>
                        </a:cxn>
                        <a:cxn ang="T171">
                          <a:pos x="T106" y="T107"/>
                        </a:cxn>
                        <a:cxn ang="T172">
                          <a:pos x="T108" y="T109"/>
                        </a:cxn>
                        <a:cxn ang="T173">
                          <a:pos x="T110" y="T111"/>
                        </a:cxn>
                        <a:cxn ang="T174">
                          <a:pos x="T112" y="T113"/>
                        </a:cxn>
                        <a:cxn ang="T175">
                          <a:pos x="T114" y="T115"/>
                        </a:cxn>
                        <a:cxn ang="T176">
                          <a:pos x="T116" y="T117"/>
                        </a:cxn>
                      </a:cxnLst>
                      <a:rect l="T177" t="T178" r="T179" b="T180"/>
                      <a:pathLst>
                        <a:path w="630" h="714">
                          <a:moveTo>
                            <a:pt x="162" y="84"/>
                          </a:moveTo>
                          <a:lnTo>
                            <a:pt x="156" y="90"/>
                          </a:lnTo>
                          <a:lnTo>
                            <a:pt x="144" y="96"/>
                          </a:lnTo>
                          <a:lnTo>
                            <a:pt x="132" y="96"/>
                          </a:lnTo>
                          <a:lnTo>
                            <a:pt x="126" y="90"/>
                          </a:lnTo>
                          <a:lnTo>
                            <a:pt x="108" y="90"/>
                          </a:lnTo>
                          <a:lnTo>
                            <a:pt x="96" y="84"/>
                          </a:lnTo>
                          <a:lnTo>
                            <a:pt x="84" y="84"/>
                          </a:lnTo>
                          <a:lnTo>
                            <a:pt x="72" y="72"/>
                          </a:lnTo>
                          <a:lnTo>
                            <a:pt x="60" y="66"/>
                          </a:lnTo>
                          <a:lnTo>
                            <a:pt x="54" y="54"/>
                          </a:lnTo>
                          <a:lnTo>
                            <a:pt x="48" y="48"/>
                          </a:lnTo>
                          <a:lnTo>
                            <a:pt x="30" y="48"/>
                          </a:lnTo>
                          <a:lnTo>
                            <a:pt x="24" y="54"/>
                          </a:lnTo>
                          <a:lnTo>
                            <a:pt x="24" y="66"/>
                          </a:lnTo>
                          <a:lnTo>
                            <a:pt x="6" y="60"/>
                          </a:lnTo>
                          <a:lnTo>
                            <a:pt x="0" y="66"/>
                          </a:lnTo>
                          <a:lnTo>
                            <a:pt x="6" y="72"/>
                          </a:lnTo>
                          <a:lnTo>
                            <a:pt x="18" y="78"/>
                          </a:lnTo>
                          <a:lnTo>
                            <a:pt x="24" y="84"/>
                          </a:lnTo>
                          <a:lnTo>
                            <a:pt x="36" y="90"/>
                          </a:lnTo>
                          <a:lnTo>
                            <a:pt x="48" y="90"/>
                          </a:lnTo>
                          <a:lnTo>
                            <a:pt x="54" y="96"/>
                          </a:lnTo>
                          <a:lnTo>
                            <a:pt x="60" y="96"/>
                          </a:lnTo>
                          <a:lnTo>
                            <a:pt x="72" y="108"/>
                          </a:lnTo>
                          <a:lnTo>
                            <a:pt x="108" y="108"/>
                          </a:lnTo>
                          <a:lnTo>
                            <a:pt x="138" y="126"/>
                          </a:lnTo>
                          <a:lnTo>
                            <a:pt x="150" y="126"/>
                          </a:lnTo>
                          <a:lnTo>
                            <a:pt x="156" y="132"/>
                          </a:lnTo>
                          <a:lnTo>
                            <a:pt x="162" y="132"/>
                          </a:lnTo>
                          <a:lnTo>
                            <a:pt x="162" y="156"/>
                          </a:lnTo>
                          <a:lnTo>
                            <a:pt x="156" y="162"/>
                          </a:lnTo>
                          <a:lnTo>
                            <a:pt x="156" y="168"/>
                          </a:lnTo>
                          <a:lnTo>
                            <a:pt x="168" y="174"/>
                          </a:lnTo>
                          <a:lnTo>
                            <a:pt x="162" y="198"/>
                          </a:lnTo>
                          <a:lnTo>
                            <a:pt x="186" y="210"/>
                          </a:lnTo>
                          <a:lnTo>
                            <a:pt x="180" y="222"/>
                          </a:lnTo>
                          <a:lnTo>
                            <a:pt x="174" y="228"/>
                          </a:lnTo>
                          <a:lnTo>
                            <a:pt x="168" y="240"/>
                          </a:lnTo>
                          <a:lnTo>
                            <a:pt x="168" y="246"/>
                          </a:lnTo>
                          <a:lnTo>
                            <a:pt x="180" y="258"/>
                          </a:lnTo>
                          <a:lnTo>
                            <a:pt x="192" y="264"/>
                          </a:lnTo>
                          <a:lnTo>
                            <a:pt x="198" y="270"/>
                          </a:lnTo>
                          <a:lnTo>
                            <a:pt x="210" y="306"/>
                          </a:lnTo>
                          <a:lnTo>
                            <a:pt x="222" y="294"/>
                          </a:lnTo>
                          <a:lnTo>
                            <a:pt x="228" y="294"/>
                          </a:lnTo>
                          <a:lnTo>
                            <a:pt x="234" y="300"/>
                          </a:lnTo>
                          <a:lnTo>
                            <a:pt x="246" y="300"/>
                          </a:lnTo>
                          <a:lnTo>
                            <a:pt x="270" y="324"/>
                          </a:lnTo>
                          <a:lnTo>
                            <a:pt x="270" y="336"/>
                          </a:lnTo>
                          <a:lnTo>
                            <a:pt x="276" y="348"/>
                          </a:lnTo>
                          <a:lnTo>
                            <a:pt x="276" y="354"/>
                          </a:lnTo>
                          <a:lnTo>
                            <a:pt x="264" y="348"/>
                          </a:lnTo>
                          <a:lnTo>
                            <a:pt x="246" y="348"/>
                          </a:lnTo>
                          <a:lnTo>
                            <a:pt x="240" y="354"/>
                          </a:lnTo>
                          <a:lnTo>
                            <a:pt x="234" y="366"/>
                          </a:lnTo>
                          <a:lnTo>
                            <a:pt x="228" y="372"/>
                          </a:lnTo>
                          <a:lnTo>
                            <a:pt x="222" y="384"/>
                          </a:lnTo>
                          <a:lnTo>
                            <a:pt x="216" y="390"/>
                          </a:lnTo>
                          <a:lnTo>
                            <a:pt x="180" y="420"/>
                          </a:lnTo>
                          <a:lnTo>
                            <a:pt x="144" y="432"/>
                          </a:lnTo>
                          <a:lnTo>
                            <a:pt x="138" y="438"/>
                          </a:lnTo>
                          <a:lnTo>
                            <a:pt x="126" y="444"/>
                          </a:lnTo>
                          <a:lnTo>
                            <a:pt x="120" y="456"/>
                          </a:lnTo>
                          <a:lnTo>
                            <a:pt x="120" y="462"/>
                          </a:lnTo>
                          <a:lnTo>
                            <a:pt x="108" y="474"/>
                          </a:lnTo>
                          <a:lnTo>
                            <a:pt x="90" y="474"/>
                          </a:lnTo>
                          <a:lnTo>
                            <a:pt x="66" y="504"/>
                          </a:lnTo>
                          <a:lnTo>
                            <a:pt x="66" y="534"/>
                          </a:lnTo>
                          <a:lnTo>
                            <a:pt x="72" y="540"/>
                          </a:lnTo>
                          <a:lnTo>
                            <a:pt x="72" y="570"/>
                          </a:lnTo>
                          <a:lnTo>
                            <a:pt x="96" y="588"/>
                          </a:lnTo>
                          <a:lnTo>
                            <a:pt x="96" y="594"/>
                          </a:lnTo>
                          <a:lnTo>
                            <a:pt x="90" y="600"/>
                          </a:lnTo>
                          <a:lnTo>
                            <a:pt x="90" y="612"/>
                          </a:lnTo>
                          <a:lnTo>
                            <a:pt x="84" y="630"/>
                          </a:lnTo>
                          <a:lnTo>
                            <a:pt x="84" y="648"/>
                          </a:lnTo>
                          <a:lnTo>
                            <a:pt x="90" y="654"/>
                          </a:lnTo>
                          <a:lnTo>
                            <a:pt x="96" y="666"/>
                          </a:lnTo>
                          <a:lnTo>
                            <a:pt x="108" y="678"/>
                          </a:lnTo>
                          <a:lnTo>
                            <a:pt x="132" y="690"/>
                          </a:lnTo>
                          <a:lnTo>
                            <a:pt x="174" y="690"/>
                          </a:lnTo>
                          <a:lnTo>
                            <a:pt x="174" y="696"/>
                          </a:lnTo>
                          <a:lnTo>
                            <a:pt x="168" y="702"/>
                          </a:lnTo>
                          <a:lnTo>
                            <a:pt x="168" y="708"/>
                          </a:lnTo>
                          <a:lnTo>
                            <a:pt x="174" y="714"/>
                          </a:lnTo>
                          <a:lnTo>
                            <a:pt x="240" y="714"/>
                          </a:lnTo>
                          <a:lnTo>
                            <a:pt x="252" y="708"/>
                          </a:lnTo>
                          <a:lnTo>
                            <a:pt x="270" y="708"/>
                          </a:lnTo>
                          <a:lnTo>
                            <a:pt x="300" y="696"/>
                          </a:lnTo>
                          <a:lnTo>
                            <a:pt x="336" y="696"/>
                          </a:lnTo>
                          <a:lnTo>
                            <a:pt x="384" y="672"/>
                          </a:lnTo>
                          <a:lnTo>
                            <a:pt x="462" y="672"/>
                          </a:lnTo>
                          <a:lnTo>
                            <a:pt x="456" y="660"/>
                          </a:lnTo>
                          <a:lnTo>
                            <a:pt x="516" y="630"/>
                          </a:lnTo>
                          <a:lnTo>
                            <a:pt x="576" y="570"/>
                          </a:lnTo>
                          <a:lnTo>
                            <a:pt x="582" y="570"/>
                          </a:lnTo>
                          <a:lnTo>
                            <a:pt x="618" y="534"/>
                          </a:lnTo>
                          <a:lnTo>
                            <a:pt x="624" y="522"/>
                          </a:lnTo>
                          <a:lnTo>
                            <a:pt x="630" y="516"/>
                          </a:lnTo>
                          <a:lnTo>
                            <a:pt x="630" y="504"/>
                          </a:lnTo>
                          <a:lnTo>
                            <a:pt x="624" y="492"/>
                          </a:lnTo>
                          <a:lnTo>
                            <a:pt x="618" y="486"/>
                          </a:lnTo>
                          <a:lnTo>
                            <a:pt x="612" y="474"/>
                          </a:lnTo>
                          <a:lnTo>
                            <a:pt x="540" y="438"/>
                          </a:lnTo>
                          <a:lnTo>
                            <a:pt x="546" y="438"/>
                          </a:lnTo>
                          <a:lnTo>
                            <a:pt x="570" y="414"/>
                          </a:lnTo>
                          <a:lnTo>
                            <a:pt x="570" y="408"/>
                          </a:lnTo>
                          <a:lnTo>
                            <a:pt x="564" y="402"/>
                          </a:lnTo>
                          <a:lnTo>
                            <a:pt x="552" y="396"/>
                          </a:lnTo>
                          <a:lnTo>
                            <a:pt x="528" y="390"/>
                          </a:lnTo>
                          <a:lnTo>
                            <a:pt x="534" y="378"/>
                          </a:lnTo>
                          <a:lnTo>
                            <a:pt x="540" y="372"/>
                          </a:lnTo>
                          <a:lnTo>
                            <a:pt x="540" y="366"/>
                          </a:lnTo>
                          <a:lnTo>
                            <a:pt x="534" y="360"/>
                          </a:lnTo>
                          <a:lnTo>
                            <a:pt x="528" y="360"/>
                          </a:lnTo>
                          <a:lnTo>
                            <a:pt x="522" y="354"/>
                          </a:lnTo>
                          <a:lnTo>
                            <a:pt x="510" y="354"/>
                          </a:lnTo>
                          <a:lnTo>
                            <a:pt x="510" y="342"/>
                          </a:lnTo>
                          <a:lnTo>
                            <a:pt x="498" y="330"/>
                          </a:lnTo>
                          <a:lnTo>
                            <a:pt x="504" y="300"/>
                          </a:lnTo>
                          <a:lnTo>
                            <a:pt x="510" y="300"/>
                          </a:lnTo>
                          <a:lnTo>
                            <a:pt x="522" y="306"/>
                          </a:lnTo>
                          <a:lnTo>
                            <a:pt x="534" y="306"/>
                          </a:lnTo>
                          <a:lnTo>
                            <a:pt x="540" y="300"/>
                          </a:lnTo>
                          <a:lnTo>
                            <a:pt x="540" y="294"/>
                          </a:lnTo>
                          <a:lnTo>
                            <a:pt x="534" y="288"/>
                          </a:lnTo>
                          <a:lnTo>
                            <a:pt x="522" y="282"/>
                          </a:lnTo>
                          <a:lnTo>
                            <a:pt x="498" y="258"/>
                          </a:lnTo>
                          <a:lnTo>
                            <a:pt x="486" y="252"/>
                          </a:lnTo>
                          <a:lnTo>
                            <a:pt x="480" y="240"/>
                          </a:lnTo>
                          <a:lnTo>
                            <a:pt x="468" y="234"/>
                          </a:lnTo>
                          <a:lnTo>
                            <a:pt x="450" y="216"/>
                          </a:lnTo>
                          <a:lnTo>
                            <a:pt x="456" y="210"/>
                          </a:lnTo>
                          <a:lnTo>
                            <a:pt x="468" y="204"/>
                          </a:lnTo>
                          <a:lnTo>
                            <a:pt x="474" y="204"/>
                          </a:lnTo>
                          <a:lnTo>
                            <a:pt x="474" y="192"/>
                          </a:lnTo>
                          <a:lnTo>
                            <a:pt x="480" y="192"/>
                          </a:lnTo>
                          <a:lnTo>
                            <a:pt x="492" y="186"/>
                          </a:lnTo>
                          <a:lnTo>
                            <a:pt x="498" y="186"/>
                          </a:lnTo>
                          <a:lnTo>
                            <a:pt x="498" y="174"/>
                          </a:lnTo>
                          <a:lnTo>
                            <a:pt x="450" y="126"/>
                          </a:lnTo>
                          <a:lnTo>
                            <a:pt x="432" y="126"/>
                          </a:lnTo>
                          <a:lnTo>
                            <a:pt x="426" y="132"/>
                          </a:lnTo>
                          <a:lnTo>
                            <a:pt x="420" y="132"/>
                          </a:lnTo>
                          <a:lnTo>
                            <a:pt x="414" y="126"/>
                          </a:lnTo>
                          <a:lnTo>
                            <a:pt x="414" y="120"/>
                          </a:lnTo>
                          <a:lnTo>
                            <a:pt x="408" y="108"/>
                          </a:lnTo>
                          <a:lnTo>
                            <a:pt x="408" y="96"/>
                          </a:lnTo>
                          <a:lnTo>
                            <a:pt x="426" y="96"/>
                          </a:lnTo>
                          <a:lnTo>
                            <a:pt x="426" y="90"/>
                          </a:lnTo>
                          <a:lnTo>
                            <a:pt x="414" y="78"/>
                          </a:lnTo>
                          <a:lnTo>
                            <a:pt x="420" y="54"/>
                          </a:lnTo>
                          <a:lnTo>
                            <a:pt x="426" y="54"/>
                          </a:lnTo>
                          <a:lnTo>
                            <a:pt x="426" y="60"/>
                          </a:lnTo>
                          <a:lnTo>
                            <a:pt x="432" y="60"/>
                          </a:lnTo>
                          <a:lnTo>
                            <a:pt x="432" y="42"/>
                          </a:lnTo>
                          <a:lnTo>
                            <a:pt x="426" y="30"/>
                          </a:lnTo>
                          <a:lnTo>
                            <a:pt x="414" y="18"/>
                          </a:lnTo>
                          <a:lnTo>
                            <a:pt x="408" y="18"/>
                          </a:lnTo>
                          <a:lnTo>
                            <a:pt x="372" y="12"/>
                          </a:lnTo>
                          <a:lnTo>
                            <a:pt x="372" y="0"/>
                          </a:lnTo>
                          <a:lnTo>
                            <a:pt x="336" y="0"/>
                          </a:lnTo>
                          <a:lnTo>
                            <a:pt x="324" y="6"/>
                          </a:lnTo>
                          <a:lnTo>
                            <a:pt x="294" y="6"/>
                          </a:lnTo>
                          <a:lnTo>
                            <a:pt x="282" y="12"/>
                          </a:lnTo>
                          <a:lnTo>
                            <a:pt x="276" y="12"/>
                          </a:lnTo>
                          <a:lnTo>
                            <a:pt x="264" y="18"/>
                          </a:lnTo>
                          <a:lnTo>
                            <a:pt x="264" y="30"/>
                          </a:lnTo>
                          <a:lnTo>
                            <a:pt x="258" y="36"/>
                          </a:lnTo>
                          <a:lnTo>
                            <a:pt x="258" y="72"/>
                          </a:lnTo>
                          <a:lnTo>
                            <a:pt x="234" y="72"/>
                          </a:lnTo>
                          <a:lnTo>
                            <a:pt x="234" y="78"/>
                          </a:lnTo>
                          <a:lnTo>
                            <a:pt x="228" y="84"/>
                          </a:lnTo>
                          <a:lnTo>
                            <a:pt x="228" y="96"/>
                          </a:lnTo>
                          <a:lnTo>
                            <a:pt x="210" y="96"/>
                          </a:lnTo>
                          <a:lnTo>
                            <a:pt x="204" y="90"/>
                          </a:lnTo>
                          <a:lnTo>
                            <a:pt x="192" y="84"/>
                          </a:lnTo>
                          <a:lnTo>
                            <a:pt x="162" y="84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44" name="Estonia" descr="© INSCALE GmbH, 05.05.2010&#10;http://www.presentationload.com/"/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4775206" y="2166939"/>
                      <a:ext cx="141288" cy="61913"/>
                    </a:xfrm>
                    <a:custGeom>
                      <a:avLst/>
                      <a:gdLst>
                        <a:gd name="T0" fmla="*/ 2147483647 w 348"/>
                        <a:gd name="T1" fmla="*/ 2147483647 h 156"/>
                        <a:gd name="T2" fmla="*/ 2147483647 w 348"/>
                        <a:gd name="T3" fmla="*/ 2147483647 h 156"/>
                        <a:gd name="T4" fmla="*/ 2147483647 w 348"/>
                        <a:gd name="T5" fmla="*/ 2147483647 h 156"/>
                        <a:gd name="T6" fmla="*/ 2147483647 w 348"/>
                        <a:gd name="T7" fmla="*/ 2147483647 h 156"/>
                        <a:gd name="T8" fmla="*/ 2147483647 w 348"/>
                        <a:gd name="T9" fmla="*/ 2147483647 h 156"/>
                        <a:gd name="T10" fmla="*/ 2147483647 w 348"/>
                        <a:gd name="T11" fmla="*/ 2147483647 h 156"/>
                        <a:gd name="T12" fmla="*/ 2147483647 w 348"/>
                        <a:gd name="T13" fmla="*/ 2147483647 h 156"/>
                        <a:gd name="T14" fmla="*/ 2147483647 w 348"/>
                        <a:gd name="T15" fmla="*/ 0 h 156"/>
                        <a:gd name="T16" fmla="*/ 2147483647 w 348"/>
                        <a:gd name="T17" fmla="*/ 2147483647 h 156"/>
                        <a:gd name="T18" fmla="*/ 2147483647 w 348"/>
                        <a:gd name="T19" fmla="*/ 2147483647 h 156"/>
                        <a:gd name="T20" fmla="*/ 2147483647 w 348"/>
                        <a:gd name="T21" fmla="*/ 2147483647 h 156"/>
                        <a:gd name="T22" fmla="*/ 2147483647 w 348"/>
                        <a:gd name="T23" fmla="*/ 2147483647 h 156"/>
                        <a:gd name="T24" fmla="*/ 2147483647 w 348"/>
                        <a:gd name="T25" fmla="*/ 2147483647 h 156"/>
                        <a:gd name="T26" fmla="*/ 2147483647 w 348"/>
                        <a:gd name="T27" fmla="*/ 2147483647 h 156"/>
                        <a:gd name="T28" fmla="*/ 2147483647 w 348"/>
                        <a:gd name="T29" fmla="*/ 2147483647 h 156"/>
                        <a:gd name="T30" fmla="*/ 2147483647 w 348"/>
                        <a:gd name="T31" fmla="*/ 2147483647 h 156"/>
                        <a:gd name="T32" fmla="*/ 2147483647 w 348"/>
                        <a:gd name="T33" fmla="*/ 2147483647 h 156"/>
                        <a:gd name="T34" fmla="*/ 2147483647 w 348"/>
                        <a:gd name="T35" fmla="*/ 2147483647 h 156"/>
                        <a:gd name="T36" fmla="*/ 2147483647 w 348"/>
                        <a:gd name="T37" fmla="*/ 2147483647 h 156"/>
                        <a:gd name="T38" fmla="*/ 2147483647 w 348"/>
                        <a:gd name="T39" fmla="*/ 2147483647 h 156"/>
                        <a:gd name="T40" fmla="*/ 2147483647 w 348"/>
                        <a:gd name="T41" fmla="*/ 2147483647 h 156"/>
                        <a:gd name="T42" fmla="*/ 2147483647 w 348"/>
                        <a:gd name="T43" fmla="*/ 2147483647 h 156"/>
                        <a:gd name="T44" fmla="*/ 2147483647 w 348"/>
                        <a:gd name="T45" fmla="*/ 2147483647 h 156"/>
                        <a:gd name="T46" fmla="*/ 2147483647 w 348"/>
                        <a:gd name="T47" fmla="*/ 2147483647 h 156"/>
                        <a:gd name="T48" fmla="*/ 0 w 348"/>
                        <a:gd name="T49" fmla="*/ 2147483647 h 156"/>
                        <a:gd name="T50" fmla="*/ 2147483647 w 348"/>
                        <a:gd name="T51" fmla="*/ 2147483647 h 156"/>
                        <a:gd name="T52" fmla="*/ 2147483647 w 348"/>
                        <a:gd name="T53" fmla="*/ 2147483647 h 156"/>
                        <a:gd name="T54" fmla="*/ 2147483647 w 348"/>
                        <a:gd name="T55" fmla="*/ 2147483647 h 156"/>
                        <a:gd name="T56" fmla="*/ 2147483647 w 348"/>
                        <a:gd name="T57" fmla="*/ 2147483647 h 156"/>
                        <a:gd name="T58" fmla="*/ 2147483647 w 348"/>
                        <a:gd name="T59" fmla="*/ 2147483647 h 156"/>
                        <a:gd name="T60" fmla="*/ 2147483647 w 348"/>
                        <a:gd name="T61" fmla="*/ 2147483647 h 156"/>
                        <a:gd name="T62" fmla="*/ 2147483647 w 348"/>
                        <a:gd name="T63" fmla="*/ 2147483647 h 156"/>
                        <a:gd name="T64" fmla="*/ 2147483647 w 348"/>
                        <a:gd name="T65" fmla="*/ 2147483647 h 156"/>
                        <a:gd name="T66" fmla="*/ 2147483647 w 348"/>
                        <a:gd name="T67" fmla="*/ 2147483647 h 156"/>
                        <a:gd name="T68" fmla="*/ 2147483647 w 348"/>
                        <a:gd name="T69" fmla="*/ 2147483647 h 156"/>
                        <a:gd name="T70" fmla="*/ 2147483647 w 348"/>
                        <a:gd name="T71" fmla="*/ 2147483647 h 15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w 348"/>
                        <a:gd name="T109" fmla="*/ 0 h 156"/>
                        <a:gd name="T110" fmla="*/ 348 w 348"/>
                        <a:gd name="T111" fmla="*/ 156 h 156"/>
                      </a:gdLst>
                      <a:ahLst/>
                      <a:cxnLst>
                        <a:cxn ang="T72">
                          <a:pos x="T0" y="T1"/>
                        </a:cxn>
                        <a:cxn ang="T73">
                          <a:pos x="T2" y="T3"/>
                        </a:cxn>
                        <a:cxn ang="T74">
                          <a:pos x="T4" y="T5"/>
                        </a:cxn>
                        <a:cxn ang="T75">
                          <a:pos x="T6" y="T7"/>
                        </a:cxn>
                        <a:cxn ang="T76">
                          <a:pos x="T8" y="T9"/>
                        </a:cxn>
                        <a:cxn ang="T77">
                          <a:pos x="T10" y="T11"/>
                        </a:cxn>
                        <a:cxn ang="T78">
                          <a:pos x="T12" y="T13"/>
                        </a:cxn>
                        <a:cxn ang="T79">
                          <a:pos x="T14" y="T15"/>
                        </a:cxn>
                        <a:cxn ang="T80">
                          <a:pos x="T16" y="T17"/>
                        </a:cxn>
                        <a:cxn ang="T81">
                          <a:pos x="T18" y="T19"/>
                        </a:cxn>
                        <a:cxn ang="T82">
                          <a:pos x="T20" y="T21"/>
                        </a:cxn>
                        <a:cxn ang="T83">
                          <a:pos x="T22" y="T23"/>
                        </a:cxn>
                        <a:cxn ang="T84">
                          <a:pos x="T24" y="T25"/>
                        </a:cxn>
                        <a:cxn ang="T85">
                          <a:pos x="T26" y="T27"/>
                        </a:cxn>
                        <a:cxn ang="T86">
                          <a:pos x="T28" y="T29"/>
                        </a:cxn>
                        <a:cxn ang="T87">
                          <a:pos x="T30" y="T31"/>
                        </a:cxn>
                        <a:cxn ang="T88">
                          <a:pos x="T32" y="T33"/>
                        </a:cxn>
                        <a:cxn ang="T89">
                          <a:pos x="T34" y="T35"/>
                        </a:cxn>
                        <a:cxn ang="T90">
                          <a:pos x="T36" y="T37"/>
                        </a:cxn>
                        <a:cxn ang="T91">
                          <a:pos x="T38" y="T39"/>
                        </a:cxn>
                        <a:cxn ang="T92">
                          <a:pos x="T40" y="T41"/>
                        </a:cxn>
                        <a:cxn ang="T93">
                          <a:pos x="T42" y="T43"/>
                        </a:cxn>
                        <a:cxn ang="T94">
                          <a:pos x="T44" y="T45"/>
                        </a:cxn>
                        <a:cxn ang="T95">
                          <a:pos x="T46" y="T47"/>
                        </a:cxn>
                        <a:cxn ang="T96">
                          <a:pos x="T48" y="T49"/>
                        </a:cxn>
                        <a:cxn ang="T97">
                          <a:pos x="T50" y="T51"/>
                        </a:cxn>
                        <a:cxn ang="T98">
                          <a:pos x="T52" y="T53"/>
                        </a:cxn>
                        <a:cxn ang="T99">
                          <a:pos x="T54" y="T55"/>
                        </a:cxn>
                        <a:cxn ang="T100">
                          <a:pos x="T56" y="T57"/>
                        </a:cxn>
                        <a:cxn ang="T101">
                          <a:pos x="T58" y="T59"/>
                        </a:cxn>
                        <a:cxn ang="T102">
                          <a:pos x="T60" y="T61"/>
                        </a:cxn>
                        <a:cxn ang="T103">
                          <a:pos x="T62" y="T63"/>
                        </a:cxn>
                        <a:cxn ang="T104">
                          <a:pos x="T64" y="T65"/>
                        </a:cxn>
                        <a:cxn ang="T105">
                          <a:pos x="T66" y="T67"/>
                        </a:cxn>
                        <a:cxn ang="T106">
                          <a:pos x="T68" y="T69"/>
                        </a:cxn>
                        <a:cxn ang="T107">
                          <a:pos x="T70" y="T71"/>
                        </a:cxn>
                      </a:cxnLst>
                      <a:rect l="T108" t="T109" r="T110" b="T111"/>
                      <a:pathLst>
                        <a:path w="348" h="156">
                          <a:moveTo>
                            <a:pt x="336" y="114"/>
                          </a:moveTo>
                          <a:lnTo>
                            <a:pt x="324" y="108"/>
                          </a:lnTo>
                          <a:lnTo>
                            <a:pt x="336" y="84"/>
                          </a:lnTo>
                          <a:lnTo>
                            <a:pt x="318" y="78"/>
                          </a:lnTo>
                          <a:lnTo>
                            <a:pt x="318" y="60"/>
                          </a:lnTo>
                          <a:lnTo>
                            <a:pt x="330" y="48"/>
                          </a:lnTo>
                          <a:lnTo>
                            <a:pt x="336" y="48"/>
                          </a:lnTo>
                          <a:lnTo>
                            <a:pt x="342" y="42"/>
                          </a:lnTo>
                          <a:lnTo>
                            <a:pt x="336" y="30"/>
                          </a:lnTo>
                          <a:lnTo>
                            <a:pt x="342" y="18"/>
                          </a:lnTo>
                          <a:lnTo>
                            <a:pt x="330" y="12"/>
                          </a:lnTo>
                          <a:lnTo>
                            <a:pt x="312" y="12"/>
                          </a:lnTo>
                          <a:lnTo>
                            <a:pt x="294" y="6"/>
                          </a:lnTo>
                          <a:lnTo>
                            <a:pt x="276" y="6"/>
                          </a:lnTo>
                          <a:lnTo>
                            <a:pt x="264" y="0"/>
                          </a:lnTo>
                          <a:lnTo>
                            <a:pt x="204" y="0"/>
                          </a:lnTo>
                          <a:lnTo>
                            <a:pt x="192" y="6"/>
                          </a:lnTo>
                          <a:lnTo>
                            <a:pt x="156" y="6"/>
                          </a:lnTo>
                          <a:lnTo>
                            <a:pt x="150" y="12"/>
                          </a:lnTo>
                          <a:lnTo>
                            <a:pt x="126" y="24"/>
                          </a:lnTo>
                          <a:lnTo>
                            <a:pt x="108" y="30"/>
                          </a:lnTo>
                          <a:lnTo>
                            <a:pt x="96" y="36"/>
                          </a:lnTo>
                          <a:lnTo>
                            <a:pt x="90" y="36"/>
                          </a:lnTo>
                          <a:lnTo>
                            <a:pt x="84" y="42"/>
                          </a:lnTo>
                          <a:lnTo>
                            <a:pt x="84" y="48"/>
                          </a:lnTo>
                          <a:lnTo>
                            <a:pt x="90" y="60"/>
                          </a:lnTo>
                          <a:lnTo>
                            <a:pt x="90" y="72"/>
                          </a:lnTo>
                          <a:lnTo>
                            <a:pt x="96" y="78"/>
                          </a:lnTo>
                          <a:lnTo>
                            <a:pt x="96" y="84"/>
                          </a:lnTo>
                          <a:lnTo>
                            <a:pt x="150" y="90"/>
                          </a:lnTo>
                          <a:lnTo>
                            <a:pt x="138" y="126"/>
                          </a:lnTo>
                          <a:lnTo>
                            <a:pt x="150" y="126"/>
                          </a:lnTo>
                          <a:lnTo>
                            <a:pt x="180" y="114"/>
                          </a:lnTo>
                          <a:lnTo>
                            <a:pt x="210" y="114"/>
                          </a:lnTo>
                          <a:lnTo>
                            <a:pt x="234" y="126"/>
                          </a:lnTo>
                          <a:lnTo>
                            <a:pt x="240" y="132"/>
                          </a:lnTo>
                          <a:lnTo>
                            <a:pt x="252" y="138"/>
                          </a:lnTo>
                          <a:lnTo>
                            <a:pt x="270" y="156"/>
                          </a:lnTo>
                          <a:lnTo>
                            <a:pt x="288" y="156"/>
                          </a:lnTo>
                          <a:lnTo>
                            <a:pt x="294" y="150"/>
                          </a:lnTo>
                          <a:lnTo>
                            <a:pt x="312" y="150"/>
                          </a:lnTo>
                          <a:lnTo>
                            <a:pt x="318" y="156"/>
                          </a:lnTo>
                          <a:lnTo>
                            <a:pt x="330" y="156"/>
                          </a:lnTo>
                          <a:lnTo>
                            <a:pt x="330" y="144"/>
                          </a:lnTo>
                          <a:lnTo>
                            <a:pt x="348" y="132"/>
                          </a:lnTo>
                          <a:lnTo>
                            <a:pt x="336" y="114"/>
                          </a:lnTo>
                          <a:close/>
                          <a:moveTo>
                            <a:pt x="36" y="78"/>
                          </a:moveTo>
                          <a:lnTo>
                            <a:pt x="6" y="78"/>
                          </a:lnTo>
                          <a:lnTo>
                            <a:pt x="0" y="84"/>
                          </a:lnTo>
                          <a:lnTo>
                            <a:pt x="0" y="102"/>
                          </a:lnTo>
                          <a:lnTo>
                            <a:pt x="6" y="108"/>
                          </a:lnTo>
                          <a:lnTo>
                            <a:pt x="18" y="132"/>
                          </a:lnTo>
                          <a:lnTo>
                            <a:pt x="24" y="126"/>
                          </a:lnTo>
                          <a:lnTo>
                            <a:pt x="30" y="114"/>
                          </a:lnTo>
                          <a:lnTo>
                            <a:pt x="42" y="108"/>
                          </a:lnTo>
                          <a:lnTo>
                            <a:pt x="54" y="108"/>
                          </a:lnTo>
                          <a:lnTo>
                            <a:pt x="60" y="102"/>
                          </a:lnTo>
                          <a:lnTo>
                            <a:pt x="72" y="96"/>
                          </a:lnTo>
                          <a:lnTo>
                            <a:pt x="78" y="90"/>
                          </a:lnTo>
                          <a:lnTo>
                            <a:pt x="72" y="72"/>
                          </a:lnTo>
                          <a:lnTo>
                            <a:pt x="36" y="78"/>
                          </a:lnTo>
                          <a:close/>
                          <a:moveTo>
                            <a:pt x="36" y="66"/>
                          </a:moveTo>
                          <a:lnTo>
                            <a:pt x="48" y="66"/>
                          </a:lnTo>
                          <a:lnTo>
                            <a:pt x="54" y="54"/>
                          </a:lnTo>
                          <a:lnTo>
                            <a:pt x="60" y="48"/>
                          </a:lnTo>
                          <a:lnTo>
                            <a:pt x="60" y="42"/>
                          </a:lnTo>
                          <a:lnTo>
                            <a:pt x="54" y="36"/>
                          </a:lnTo>
                          <a:lnTo>
                            <a:pt x="48" y="36"/>
                          </a:lnTo>
                          <a:lnTo>
                            <a:pt x="36" y="42"/>
                          </a:lnTo>
                          <a:lnTo>
                            <a:pt x="30" y="48"/>
                          </a:lnTo>
                          <a:lnTo>
                            <a:pt x="24" y="60"/>
                          </a:lnTo>
                          <a:lnTo>
                            <a:pt x="30" y="66"/>
                          </a:lnTo>
                          <a:lnTo>
                            <a:pt x="36" y="66"/>
                          </a:lnTo>
                          <a:close/>
                        </a:path>
                      </a:pathLst>
                    </a:custGeom>
                    <a:solidFill>
                      <a:schemeClr val="bg1">
                        <a:lumMod val="7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45" name="Denmark" descr="© INSCALE GmbH, 05.05.2010&#10;http://www.presentationload.com/"/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4454531" y="2225677"/>
                      <a:ext cx="112713" cy="95250"/>
                    </a:xfrm>
                    <a:custGeom>
                      <a:avLst/>
                      <a:gdLst>
                        <a:gd name="T0" fmla="*/ 2147483647 w 71"/>
                        <a:gd name="T1" fmla="*/ 2147483647 h 60"/>
                        <a:gd name="T2" fmla="*/ 2147483647 w 71"/>
                        <a:gd name="T3" fmla="*/ 2147483647 h 60"/>
                        <a:gd name="T4" fmla="*/ 2147483647 w 71"/>
                        <a:gd name="T5" fmla="*/ 2147483647 h 60"/>
                        <a:gd name="T6" fmla="*/ 2147483647 w 71"/>
                        <a:gd name="T7" fmla="*/ 2147483647 h 60"/>
                        <a:gd name="T8" fmla="*/ 2147483647 w 71"/>
                        <a:gd name="T9" fmla="*/ 2147483647 h 60"/>
                        <a:gd name="T10" fmla="*/ 2147483647 w 71"/>
                        <a:gd name="T11" fmla="*/ 2147483647 h 60"/>
                        <a:gd name="T12" fmla="*/ 2147483647 w 71"/>
                        <a:gd name="T13" fmla="*/ 2147483647 h 60"/>
                        <a:gd name="T14" fmla="*/ 2147483647 w 71"/>
                        <a:gd name="T15" fmla="*/ 2147483647 h 60"/>
                        <a:gd name="T16" fmla="*/ 2147483647 w 71"/>
                        <a:gd name="T17" fmla="*/ 2147483647 h 60"/>
                        <a:gd name="T18" fmla="*/ 2147483647 w 71"/>
                        <a:gd name="T19" fmla="*/ 2147483647 h 60"/>
                        <a:gd name="T20" fmla="*/ 2147483647 w 71"/>
                        <a:gd name="T21" fmla="*/ 2147483647 h 60"/>
                        <a:gd name="T22" fmla="*/ 2147483647 w 71"/>
                        <a:gd name="T23" fmla="*/ 2147483647 h 60"/>
                        <a:gd name="T24" fmla="*/ 2147483647 w 71"/>
                        <a:gd name="T25" fmla="*/ 2147483647 h 60"/>
                        <a:gd name="T26" fmla="*/ 2147483647 w 71"/>
                        <a:gd name="T27" fmla="*/ 2147483647 h 60"/>
                        <a:gd name="T28" fmla="*/ 2147483647 w 71"/>
                        <a:gd name="T29" fmla="*/ 2147483647 h 60"/>
                        <a:gd name="T30" fmla="*/ 2147483647 w 71"/>
                        <a:gd name="T31" fmla="*/ 2147483647 h 60"/>
                        <a:gd name="T32" fmla="*/ 2147483647 w 71"/>
                        <a:gd name="T33" fmla="*/ 2147483647 h 60"/>
                        <a:gd name="T34" fmla="*/ 2147483647 w 71"/>
                        <a:gd name="T35" fmla="*/ 2147483647 h 60"/>
                        <a:gd name="T36" fmla="*/ 2147483647 w 71"/>
                        <a:gd name="T37" fmla="*/ 2147483647 h 60"/>
                        <a:gd name="T38" fmla="*/ 2147483647 w 71"/>
                        <a:gd name="T39" fmla="*/ 2147483647 h 60"/>
                        <a:gd name="T40" fmla="*/ 2147483647 w 71"/>
                        <a:gd name="T41" fmla="*/ 2147483647 h 60"/>
                        <a:gd name="T42" fmla="*/ 2147483647 w 71"/>
                        <a:gd name="T43" fmla="*/ 2147483647 h 60"/>
                        <a:gd name="T44" fmla="*/ 2147483647 w 71"/>
                        <a:gd name="T45" fmla="*/ 2147483647 h 60"/>
                        <a:gd name="T46" fmla="*/ 2147483647 w 71"/>
                        <a:gd name="T47" fmla="*/ 2147483647 h 60"/>
                        <a:gd name="T48" fmla="*/ 2147483647 w 71"/>
                        <a:gd name="T49" fmla="*/ 2147483647 h 60"/>
                        <a:gd name="T50" fmla="*/ 2147483647 w 71"/>
                        <a:gd name="T51" fmla="*/ 2147483647 h 60"/>
                        <a:gd name="T52" fmla="*/ 2147483647 w 71"/>
                        <a:gd name="T53" fmla="*/ 2147483647 h 60"/>
                        <a:gd name="T54" fmla="*/ 2147483647 w 71"/>
                        <a:gd name="T55" fmla="*/ 2147483647 h 60"/>
                        <a:gd name="T56" fmla="*/ 2147483647 w 71"/>
                        <a:gd name="T57" fmla="*/ 2147483647 h 60"/>
                        <a:gd name="T58" fmla="*/ 2147483647 w 71"/>
                        <a:gd name="T59" fmla="*/ 2147483647 h 60"/>
                        <a:gd name="T60" fmla="*/ 2147483647 w 71"/>
                        <a:gd name="T61" fmla="*/ 2147483647 h 60"/>
                        <a:gd name="T62" fmla="*/ 2147483647 w 71"/>
                        <a:gd name="T63" fmla="*/ 0 h 60"/>
                        <a:gd name="T64" fmla="*/ 2147483647 w 71"/>
                        <a:gd name="T65" fmla="*/ 2147483647 h 60"/>
                        <a:gd name="T66" fmla="*/ 2147483647 w 71"/>
                        <a:gd name="T67" fmla="*/ 2147483647 h 60"/>
                        <a:gd name="T68" fmla="*/ 2147483647 w 71"/>
                        <a:gd name="T69" fmla="*/ 2147483647 h 60"/>
                        <a:gd name="T70" fmla="*/ 2147483647 w 71"/>
                        <a:gd name="T71" fmla="*/ 2147483647 h 60"/>
                        <a:gd name="T72" fmla="*/ 2147483647 w 71"/>
                        <a:gd name="T73" fmla="*/ 2147483647 h 60"/>
                        <a:gd name="T74" fmla="*/ 2147483647 w 71"/>
                        <a:gd name="T75" fmla="*/ 2147483647 h 60"/>
                        <a:gd name="T76" fmla="*/ 2147483647 w 71"/>
                        <a:gd name="T77" fmla="*/ 2147483647 h 60"/>
                        <a:gd name="T78" fmla="*/ 2147483647 w 71"/>
                        <a:gd name="T79" fmla="*/ 2147483647 h 60"/>
                        <a:gd name="T80" fmla="*/ 2147483647 w 71"/>
                        <a:gd name="T81" fmla="*/ 2147483647 h 60"/>
                        <a:gd name="T82" fmla="*/ 0 w 71"/>
                        <a:gd name="T83" fmla="*/ 2147483647 h 60"/>
                        <a:gd name="T84" fmla="*/ 0 w 71"/>
                        <a:gd name="T85" fmla="*/ 2147483647 h 60"/>
                        <a:gd name="T86" fmla="*/ 2147483647 w 71"/>
                        <a:gd name="T87" fmla="*/ 2147483647 h 60"/>
                        <a:gd name="T88" fmla="*/ 2147483647 w 71"/>
                        <a:gd name="T89" fmla="*/ 2147483647 h 60"/>
                        <a:gd name="T90" fmla="*/ 2147483647 w 71"/>
                        <a:gd name="T91" fmla="*/ 2147483647 h 60"/>
                        <a:gd name="T92" fmla="*/ 2147483647 w 71"/>
                        <a:gd name="T93" fmla="*/ 2147483647 h 60"/>
                        <a:gd name="T94" fmla="*/ 2147483647 w 71"/>
                        <a:gd name="T95" fmla="*/ 2147483647 h 60"/>
                        <a:gd name="T96" fmla="*/ 2147483647 w 71"/>
                        <a:gd name="T97" fmla="*/ 2147483647 h 60"/>
                        <a:gd name="T98" fmla="*/ 2147483647 w 71"/>
                        <a:gd name="T99" fmla="*/ 2147483647 h 60"/>
                        <a:gd name="T100" fmla="*/ 2147483647 w 71"/>
                        <a:gd name="T101" fmla="*/ 2147483647 h 60"/>
                        <a:gd name="T102" fmla="*/ 2147483647 w 71"/>
                        <a:gd name="T103" fmla="*/ 2147483647 h 60"/>
                        <a:gd name="T104" fmla="*/ 2147483647 w 71"/>
                        <a:gd name="T105" fmla="*/ 2147483647 h 60"/>
                        <a:gd name="T106" fmla="*/ 2147483647 w 71"/>
                        <a:gd name="T107" fmla="*/ 2147483647 h 60"/>
                        <a:gd name="T108" fmla="*/ 2147483647 w 71"/>
                        <a:gd name="T109" fmla="*/ 2147483647 h 60"/>
                        <a:gd name="T110" fmla="*/ 2147483647 w 71"/>
                        <a:gd name="T111" fmla="*/ 2147483647 h 60"/>
                        <a:gd name="T112" fmla="*/ 2147483647 w 71"/>
                        <a:gd name="T113" fmla="*/ 2147483647 h 60"/>
                        <a:gd name="T114" fmla="*/ 2147483647 w 71"/>
                        <a:gd name="T115" fmla="*/ 2147483647 h 60"/>
                        <a:gd name="T116" fmla="*/ 2147483647 w 71"/>
                        <a:gd name="T117" fmla="*/ 2147483647 h 60"/>
                        <a:gd name="T118" fmla="*/ 2147483647 w 71"/>
                        <a:gd name="T119" fmla="*/ 2147483647 h 60"/>
                        <a:gd name="T120" fmla="*/ 2147483647 w 71"/>
                        <a:gd name="T121" fmla="*/ 2147483647 h 60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60000 65536"/>
                        <a:gd name="T178" fmla="*/ 0 60000 65536"/>
                        <a:gd name="T179" fmla="*/ 0 60000 65536"/>
                        <a:gd name="T180" fmla="*/ 0 60000 65536"/>
                        <a:gd name="T181" fmla="*/ 0 60000 65536"/>
                        <a:gd name="T182" fmla="*/ 0 60000 65536"/>
                        <a:gd name="T183" fmla="*/ 0 w 71"/>
                        <a:gd name="T184" fmla="*/ 0 h 60"/>
                        <a:gd name="T185" fmla="*/ 71 w 71"/>
                        <a:gd name="T186" fmla="*/ 60 h 60"/>
                      </a:gdLst>
                      <a:ahLst/>
                      <a:cxnLst>
                        <a:cxn ang="T122">
                          <a:pos x="T0" y="T1"/>
                        </a:cxn>
                        <a:cxn ang="T123">
                          <a:pos x="T2" y="T3"/>
                        </a:cxn>
                        <a:cxn ang="T124">
                          <a:pos x="T4" y="T5"/>
                        </a:cxn>
                        <a:cxn ang="T125">
                          <a:pos x="T6" y="T7"/>
                        </a:cxn>
                        <a:cxn ang="T126">
                          <a:pos x="T8" y="T9"/>
                        </a:cxn>
                        <a:cxn ang="T127">
                          <a:pos x="T10" y="T11"/>
                        </a:cxn>
                        <a:cxn ang="T128">
                          <a:pos x="T12" y="T13"/>
                        </a:cxn>
                        <a:cxn ang="T129">
                          <a:pos x="T14" y="T15"/>
                        </a:cxn>
                        <a:cxn ang="T130">
                          <a:pos x="T16" y="T17"/>
                        </a:cxn>
                        <a:cxn ang="T131">
                          <a:pos x="T18" y="T19"/>
                        </a:cxn>
                        <a:cxn ang="T132">
                          <a:pos x="T20" y="T21"/>
                        </a:cxn>
                        <a:cxn ang="T133">
                          <a:pos x="T22" y="T23"/>
                        </a:cxn>
                        <a:cxn ang="T134">
                          <a:pos x="T24" y="T25"/>
                        </a:cxn>
                        <a:cxn ang="T135">
                          <a:pos x="T26" y="T27"/>
                        </a:cxn>
                        <a:cxn ang="T136">
                          <a:pos x="T28" y="T29"/>
                        </a:cxn>
                        <a:cxn ang="T137">
                          <a:pos x="T30" y="T31"/>
                        </a:cxn>
                        <a:cxn ang="T138">
                          <a:pos x="T32" y="T33"/>
                        </a:cxn>
                        <a:cxn ang="T139">
                          <a:pos x="T34" y="T35"/>
                        </a:cxn>
                        <a:cxn ang="T140">
                          <a:pos x="T36" y="T37"/>
                        </a:cxn>
                        <a:cxn ang="T141">
                          <a:pos x="T38" y="T39"/>
                        </a:cxn>
                        <a:cxn ang="T142">
                          <a:pos x="T40" y="T41"/>
                        </a:cxn>
                        <a:cxn ang="T143">
                          <a:pos x="T42" y="T43"/>
                        </a:cxn>
                        <a:cxn ang="T144">
                          <a:pos x="T44" y="T45"/>
                        </a:cxn>
                        <a:cxn ang="T145">
                          <a:pos x="T46" y="T47"/>
                        </a:cxn>
                        <a:cxn ang="T146">
                          <a:pos x="T48" y="T49"/>
                        </a:cxn>
                        <a:cxn ang="T147">
                          <a:pos x="T50" y="T51"/>
                        </a:cxn>
                        <a:cxn ang="T148">
                          <a:pos x="T52" y="T53"/>
                        </a:cxn>
                        <a:cxn ang="T149">
                          <a:pos x="T54" y="T55"/>
                        </a:cxn>
                        <a:cxn ang="T150">
                          <a:pos x="T56" y="T57"/>
                        </a:cxn>
                        <a:cxn ang="T151">
                          <a:pos x="T58" y="T59"/>
                        </a:cxn>
                        <a:cxn ang="T152">
                          <a:pos x="T60" y="T61"/>
                        </a:cxn>
                        <a:cxn ang="T153">
                          <a:pos x="T62" y="T63"/>
                        </a:cxn>
                        <a:cxn ang="T154">
                          <a:pos x="T64" y="T65"/>
                        </a:cxn>
                        <a:cxn ang="T155">
                          <a:pos x="T66" y="T67"/>
                        </a:cxn>
                        <a:cxn ang="T156">
                          <a:pos x="T68" y="T69"/>
                        </a:cxn>
                        <a:cxn ang="T157">
                          <a:pos x="T70" y="T71"/>
                        </a:cxn>
                        <a:cxn ang="T158">
                          <a:pos x="T72" y="T73"/>
                        </a:cxn>
                        <a:cxn ang="T159">
                          <a:pos x="T74" y="T75"/>
                        </a:cxn>
                        <a:cxn ang="T160">
                          <a:pos x="T76" y="T77"/>
                        </a:cxn>
                        <a:cxn ang="T161">
                          <a:pos x="T78" y="T79"/>
                        </a:cxn>
                        <a:cxn ang="T162">
                          <a:pos x="T80" y="T81"/>
                        </a:cxn>
                        <a:cxn ang="T163">
                          <a:pos x="T82" y="T83"/>
                        </a:cxn>
                        <a:cxn ang="T164">
                          <a:pos x="T84" y="T85"/>
                        </a:cxn>
                        <a:cxn ang="T165">
                          <a:pos x="T86" y="T87"/>
                        </a:cxn>
                        <a:cxn ang="T166">
                          <a:pos x="T88" y="T89"/>
                        </a:cxn>
                        <a:cxn ang="T167">
                          <a:pos x="T90" y="T91"/>
                        </a:cxn>
                        <a:cxn ang="T168">
                          <a:pos x="T92" y="T93"/>
                        </a:cxn>
                        <a:cxn ang="T169">
                          <a:pos x="T94" y="T95"/>
                        </a:cxn>
                        <a:cxn ang="T170">
                          <a:pos x="T96" y="T97"/>
                        </a:cxn>
                        <a:cxn ang="T171">
                          <a:pos x="T98" y="T99"/>
                        </a:cxn>
                        <a:cxn ang="T172">
                          <a:pos x="T100" y="T101"/>
                        </a:cxn>
                        <a:cxn ang="T173">
                          <a:pos x="T102" y="T103"/>
                        </a:cxn>
                        <a:cxn ang="T174">
                          <a:pos x="T104" y="T105"/>
                        </a:cxn>
                        <a:cxn ang="T175">
                          <a:pos x="T106" y="T107"/>
                        </a:cxn>
                        <a:cxn ang="T176">
                          <a:pos x="T108" y="T109"/>
                        </a:cxn>
                        <a:cxn ang="T177">
                          <a:pos x="T110" y="T111"/>
                        </a:cxn>
                        <a:cxn ang="T178">
                          <a:pos x="T112" y="T113"/>
                        </a:cxn>
                        <a:cxn ang="T179">
                          <a:pos x="T114" y="T115"/>
                        </a:cxn>
                        <a:cxn ang="T180">
                          <a:pos x="T116" y="T117"/>
                        </a:cxn>
                        <a:cxn ang="T181">
                          <a:pos x="T118" y="T119"/>
                        </a:cxn>
                        <a:cxn ang="T182">
                          <a:pos x="T120" y="T121"/>
                        </a:cxn>
                      </a:cxnLst>
                      <a:rect l="T183" t="T184" r="T185" b="T186"/>
                      <a:pathLst>
                        <a:path w="71" h="60">
                          <a:moveTo>
                            <a:pt x="62" y="48"/>
                          </a:moveTo>
                          <a:lnTo>
                            <a:pt x="67" y="46"/>
                          </a:lnTo>
                          <a:lnTo>
                            <a:pt x="69" y="46"/>
                          </a:lnTo>
                          <a:lnTo>
                            <a:pt x="69" y="43"/>
                          </a:lnTo>
                          <a:lnTo>
                            <a:pt x="67" y="43"/>
                          </a:lnTo>
                          <a:lnTo>
                            <a:pt x="62" y="41"/>
                          </a:lnTo>
                          <a:lnTo>
                            <a:pt x="62" y="38"/>
                          </a:lnTo>
                          <a:lnTo>
                            <a:pt x="64" y="38"/>
                          </a:lnTo>
                          <a:lnTo>
                            <a:pt x="64" y="36"/>
                          </a:lnTo>
                          <a:lnTo>
                            <a:pt x="67" y="34"/>
                          </a:lnTo>
                          <a:lnTo>
                            <a:pt x="67" y="29"/>
                          </a:lnTo>
                          <a:lnTo>
                            <a:pt x="64" y="29"/>
                          </a:lnTo>
                          <a:lnTo>
                            <a:pt x="62" y="29"/>
                          </a:lnTo>
                          <a:lnTo>
                            <a:pt x="60" y="31"/>
                          </a:lnTo>
                          <a:lnTo>
                            <a:pt x="60" y="34"/>
                          </a:lnTo>
                          <a:lnTo>
                            <a:pt x="57" y="36"/>
                          </a:lnTo>
                          <a:lnTo>
                            <a:pt x="57" y="34"/>
                          </a:lnTo>
                          <a:lnTo>
                            <a:pt x="55" y="31"/>
                          </a:lnTo>
                          <a:lnTo>
                            <a:pt x="52" y="34"/>
                          </a:lnTo>
                          <a:lnTo>
                            <a:pt x="45" y="38"/>
                          </a:lnTo>
                          <a:lnTo>
                            <a:pt x="48" y="38"/>
                          </a:lnTo>
                          <a:lnTo>
                            <a:pt x="50" y="41"/>
                          </a:lnTo>
                          <a:lnTo>
                            <a:pt x="50" y="43"/>
                          </a:lnTo>
                          <a:lnTo>
                            <a:pt x="50" y="46"/>
                          </a:lnTo>
                          <a:lnTo>
                            <a:pt x="50" y="48"/>
                          </a:lnTo>
                          <a:lnTo>
                            <a:pt x="48" y="48"/>
                          </a:lnTo>
                          <a:lnTo>
                            <a:pt x="50" y="48"/>
                          </a:lnTo>
                          <a:lnTo>
                            <a:pt x="50" y="50"/>
                          </a:lnTo>
                          <a:lnTo>
                            <a:pt x="55" y="50"/>
                          </a:lnTo>
                          <a:lnTo>
                            <a:pt x="55" y="48"/>
                          </a:lnTo>
                          <a:lnTo>
                            <a:pt x="57" y="48"/>
                          </a:lnTo>
                          <a:lnTo>
                            <a:pt x="57" y="50"/>
                          </a:lnTo>
                          <a:lnTo>
                            <a:pt x="60" y="53"/>
                          </a:lnTo>
                          <a:lnTo>
                            <a:pt x="60" y="55"/>
                          </a:lnTo>
                          <a:lnTo>
                            <a:pt x="62" y="55"/>
                          </a:lnTo>
                          <a:lnTo>
                            <a:pt x="62" y="53"/>
                          </a:lnTo>
                          <a:lnTo>
                            <a:pt x="62" y="48"/>
                          </a:lnTo>
                          <a:close/>
                          <a:moveTo>
                            <a:pt x="71" y="53"/>
                          </a:moveTo>
                          <a:lnTo>
                            <a:pt x="62" y="55"/>
                          </a:lnTo>
                          <a:lnTo>
                            <a:pt x="60" y="58"/>
                          </a:lnTo>
                          <a:lnTo>
                            <a:pt x="57" y="58"/>
                          </a:lnTo>
                          <a:lnTo>
                            <a:pt x="57" y="55"/>
                          </a:lnTo>
                          <a:lnTo>
                            <a:pt x="55" y="55"/>
                          </a:lnTo>
                          <a:lnTo>
                            <a:pt x="50" y="53"/>
                          </a:lnTo>
                          <a:lnTo>
                            <a:pt x="45" y="53"/>
                          </a:lnTo>
                          <a:lnTo>
                            <a:pt x="45" y="58"/>
                          </a:lnTo>
                          <a:lnTo>
                            <a:pt x="50" y="58"/>
                          </a:lnTo>
                          <a:lnTo>
                            <a:pt x="52" y="58"/>
                          </a:lnTo>
                          <a:lnTo>
                            <a:pt x="55" y="60"/>
                          </a:lnTo>
                          <a:lnTo>
                            <a:pt x="57" y="60"/>
                          </a:lnTo>
                          <a:lnTo>
                            <a:pt x="60" y="60"/>
                          </a:lnTo>
                          <a:lnTo>
                            <a:pt x="62" y="60"/>
                          </a:lnTo>
                          <a:lnTo>
                            <a:pt x="69" y="58"/>
                          </a:lnTo>
                          <a:lnTo>
                            <a:pt x="71" y="58"/>
                          </a:lnTo>
                          <a:lnTo>
                            <a:pt x="71" y="53"/>
                          </a:lnTo>
                          <a:close/>
                          <a:moveTo>
                            <a:pt x="31" y="12"/>
                          </a:moveTo>
                          <a:lnTo>
                            <a:pt x="36" y="7"/>
                          </a:lnTo>
                          <a:lnTo>
                            <a:pt x="36" y="3"/>
                          </a:lnTo>
                          <a:lnTo>
                            <a:pt x="36" y="0"/>
                          </a:lnTo>
                          <a:lnTo>
                            <a:pt x="26" y="0"/>
                          </a:lnTo>
                          <a:lnTo>
                            <a:pt x="26" y="3"/>
                          </a:lnTo>
                          <a:lnTo>
                            <a:pt x="21" y="7"/>
                          </a:lnTo>
                          <a:lnTo>
                            <a:pt x="21" y="10"/>
                          </a:lnTo>
                          <a:lnTo>
                            <a:pt x="19" y="10"/>
                          </a:lnTo>
                          <a:lnTo>
                            <a:pt x="19" y="19"/>
                          </a:lnTo>
                          <a:lnTo>
                            <a:pt x="14" y="14"/>
                          </a:lnTo>
                          <a:lnTo>
                            <a:pt x="12" y="7"/>
                          </a:lnTo>
                          <a:lnTo>
                            <a:pt x="7" y="10"/>
                          </a:lnTo>
                          <a:lnTo>
                            <a:pt x="5" y="10"/>
                          </a:lnTo>
                          <a:lnTo>
                            <a:pt x="5" y="12"/>
                          </a:lnTo>
                          <a:lnTo>
                            <a:pt x="5" y="14"/>
                          </a:lnTo>
                          <a:lnTo>
                            <a:pt x="7" y="14"/>
                          </a:lnTo>
                          <a:lnTo>
                            <a:pt x="12" y="19"/>
                          </a:lnTo>
                          <a:lnTo>
                            <a:pt x="12" y="22"/>
                          </a:lnTo>
                          <a:lnTo>
                            <a:pt x="5" y="19"/>
                          </a:lnTo>
                          <a:lnTo>
                            <a:pt x="2" y="24"/>
                          </a:lnTo>
                          <a:lnTo>
                            <a:pt x="0" y="24"/>
                          </a:lnTo>
                          <a:lnTo>
                            <a:pt x="0" y="29"/>
                          </a:lnTo>
                          <a:lnTo>
                            <a:pt x="0" y="31"/>
                          </a:lnTo>
                          <a:lnTo>
                            <a:pt x="5" y="34"/>
                          </a:lnTo>
                          <a:lnTo>
                            <a:pt x="7" y="34"/>
                          </a:lnTo>
                          <a:lnTo>
                            <a:pt x="2" y="38"/>
                          </a:lnTo>
                          <a:lnTo>
                            <a:pt x="2" y="41"/>
                          </a:lnTo>
                          <a:lnTo>
                            <a:pt x="5" y="43"/>
                          </a:lnTo>
                          <a:lnTo>
                            <a:pt x="7" y="43"/>
                          </a:lnTo>
                          <a:lnTo>
                            <a:pt x="7" y="48"/>
                          </a:lnTo>
                          <a:lnTo>
                            <a:pt x="5" y="53"/>
                          </a:lnTo>
                          <a:lnTo>
                            <a:pt x="7" y="53"/>
                          </a:lnTo>
                          <a:lnTo>
                            <a:pt x="17" y="53"/>
                          </a:lnTo>
                          <a:lnTo>
                            <a:pt x="17" y="55"/>
                          </a:lnTo>
                          <a:lnTo>
                            <a:pt x="24" y="55"/>
                          </a:lnTo>
                          <a:lnTo>
                            <a:pt x="26" y="58"/>
                          </a:lnTo>
                          <a:lnTo>
                            <a:pt x="26" y="55"/>
                          </a:lnTo>
                          <a:lnTo>
                            <a:pt x="24" y="53"/>
                          </a:lnTo>
                          <a:lnTo>
                            <a:pt x="24" y="48"/>
                          </a:lnTo>
                          <a:lnTo>
                            <a:pt x="26" y="43"/>
                          </a:lnTo>
                          <a:lnTo>
                            <a:pt x="24" y="41"/>
                          </a:lnTo>
                          <a:lnTo>
                            <a:pt x="24" y="38"/>
                          </a:lnTo>
                          <a:lnTo>
                            <a:pt x="21" y="38"/>
                          </a:lnTo>
                          <a:lnTo>
                            <a:pt x="24" y="38"/>
                          </a:lnTo>
                          <a:lnTo>
                            <a:pt x="31" y="34"/>
                          </a:lnTo>
                          <a:lnTo>
                            <a:pt x="33" y="26"/>
                          </a:lnTo>
                          <a:lnTo>
                            <a:pt x="38" y="26"/>
                          </a:lnTo>
                          <a:lnTo>
                            <a:pt x="41" y="19"/>
                          </a:lnTo>
                          <a:lnTo>
                            <a:pt x="31" y="19"/>
                          </a:lnTo>
                          <a:lnTo>
                            <a:pt x="31" y="12"/>
                          </a:lnTo>
                          <a:close/>
                          <a:moveTo>
                            <a:pt x="29" y="38"/>
                          </a:moveTo>
                          <a:lnTo>
                            <a:pt x="31" y="48"/>
                          </a:lnTo>
                          <a:lnTo>
                            <a:pt x="36" y="53"/>
                          </a:lnTo>
                          <a:lnTo>
                            <a:pt x="38" y="46"/>
                          </a:lnTo>
                          <a:lnTo>
                            <a:pt x="33" y="41"/>
                          </a:lnTo>
                          <a:lnTo>
                            <a:pt x="29" y="38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46" name="Czech Republic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554543" y="2428877"/>
                      <a:ext cx="169863" cy="77788"/>
                    </a:xfrm>
                    <a:custGeom>
                      <a:avLst/>
                      <a:gdLst>
                        <a:gd name="T0" fmla="*/ 2147483647 w 420"/>
                        <a:gd name="T1" fmla="*/ 2147483647 h 192"/>
                        <a:gd name="T2" fmla="*/ 2147483647 w 420"/>
                        <a:gd name="T3" fmla="*/ 2147483647 h 192"/>
                        <a:gd name="T4" fmla="*/ 2147483647 w 420"/>
                        <a:gd name="T5" fmla="*/ 2147483647 h 192"/>
                        <a:gd name="T6" fmla="*/ 2147483647 w 420"/>
                        <a:gd name="T7" fmla="*/ 2147483647 h 192"/>
                        <a:gd name="T8" fmla="*/ 2147483647 w 420"/>
                        <a:gd name="T9" fmla="*/ 2147483647 h 192"/>
                        <a:gd name="T10" fmla="*/ 2147483647 w 420"/>
                        <a:gd name="T11" fmla="*/ 2147483647 h 192"/>
                        <a:gd name="T12" fmla="*/ 2147483647 w 420"/>
                        <a:gd name="T13" fmla="*/ 2147483647 h 192"/>
                        <a:gd name="T14" fmla="*/ 2147483647 w 420"/>
                        <a:gd name="T15" fmla="*/ 2147483647 h 192"/>
                        <a:gd name="T16" fmla="*/ 2147483647 w 420"/>
                        <a:gd name="T17" fmla="*/ 2147483647 h 192"/>
                        <a:gd name="T18" fmla="*/ 2147483647 w 420"/>
                        <a:gd name="T19" fmla="*/ 2147483647 h 192"/>
                        <a:gd name="T20" fmla="*/ 2147483647 w 420"/>
                        <a:gd name="T21" fmla="*/ 2147483647 h 192"/>
                        <a:gd name="T22" fmla="*/ 2147483647 w 420"/>
                        <a:gd name="T23" fmla="*/ 2147483647 h 192"/>
                        <a:gd name="T24" fmla="*/ 2147483647 w 420"/>
                        <a:gd name="T25" fmla="*/ 2147483647 h 192"/>
                        <a:gd name="T26" fmla="*/ 2147483647 w 420"/>
                        <a:gd name="T27" fmla="*/ 2147483647 h 192"/>
                        <a:gd name="T28" fmla="*/ 2147483647 w 420"/>
                        <a:gd name="T29" fmla="*/ 0 h 192"/>
                        <a:gd name="T30" fmla="*/ 2147483647 w 420"/>
                        <a:gd name="T31" fmla="*/ 2147483647 h 192"/>
                        <a:gd name="T32" fmla="*/ 2147483647 w 420"/>
                        <a:gd name="T33" fmla="*/ 0 h 192"/>
                        <a:gd name="T34" fmla="*/ 2147483647 w 420"/>
                        <a:gd name="T35" fmla="*/ 2147483647 h 192"/>
                        <a:gd name="T36" fmla="*/ 2147483647 w 420"/>
                        <a:gd name="T37" fmla="*/ 2147483647 h 192"/>
                        <a:gd name="T38" fmla="*/ 2147483647 w 420"/>
                        <a:gd name="T39" fmla="*/ 2147483647 h 192"/>
                        <a:gd name="T40" fmla="*/ 2147483647 w 420"/>
                        <a:gd name="T41" fmla="*/ 2147483647 h 192"/>
                        <a:gd name="T42" fmla="*/ 2147483647 w 420"/>
                        <a:gd name="T43" fmla="*/ 2147483647 h 192"/>
                        <a:gd name="T44" fmla="*/ 2147483647 w 420"/>
                        <a:gd name="T45" fmla="*/ 2147483647 h 192"/>
                        <a:gd name="T46" fmla="*/ 2147483647 w 420"/>
                        <a:gd name="T47" fmla="*/ 2147483647 h 192"/>
                        <a:gd name="T48" fmla="*/ 2147483647 w 420"/>
                        <a:gd name="T49" fmla="*/ 2147483647 h 192"/>
                        <a:gd name="T50" fmla="*/ 2147483647 w 420"/>
                        <a:gd name="T51" fmla="*/ 2147483647 h 192"/>
                        <a:gd name="T52" fmla="*/ 0 w 420"/>
                        <a:gd name="T53" fmla="*/ 2147483647 h 192"/>
                        <a:gd name="T54" fmla="*/ 2147483647 w 420"/>
                        <a:gd name="T55" fmla="*/ 2147483647 h 192"/>
                        <a:gd name="T56" fmla="*/ 2147483647 w 420"/>
                        <a:gd name="T57" fmla="*/ 2147483647 h 192"/>
                        <a:gd name="T58" fmla="*/ 2147483647 w 420"/>
                        <a:gd name="T59" fmla="*/ 2147483647 h 192"/>
                        <a:gd name="T60" fmla="*/ 2147483647 w 420"/>
                        <a:gd name="T61" fmla="*/ 2147483647 h 192"/>
                        <a:gd name="T62" fmla="*/ 2147483647 w 420"/>
                        <a:gd name="T63" fmla="*/ 2147483647 h 192"/>
                        <a:gd name="T64" fmla="*/ 2147483647 w 420"/>
                        <a:gd name="T65" fmla="*/ 2147483647 h 192"/>
                        <a:gd name="T66" fmla="*/ 2147483647 w 420"/>
                        <a:gd name="T67" fmla="*/ 2147483647 h 192"/>
                        <a:gd name="T68" fmla="*/ 2147483647 w 420"/>
                        <a:gd name="T69" fmla="*/ 2147483647 h 192"/>
                        <a:gd name="T70" fmla="*/ 2147483647 w 420"/>
                        <a:gd name="T71" fmla="*/ 2147483647 h 192"/>
                        <a:gd name="T72" fmla="*/ 2147483647 w 420"/>
                        <a:gd name="T73" fmla="*/ 2147483647 h 192"/>
                        <a:gd name="T74" fmla="*/ 2147483647 w 420"/>
                        <a:gd name="T75" fmla="*/ 2147483647 h 192"/>
                        <a:gd name="T76" fmla="*/ 2147483647 w 420"/>
                        <a:gd name="T77" fmla="*/ 2147483647 h 192"/>
                        <a:gd name="T78" fmla="*/ 2147483647 w 420"/>
                        <a:gd name="T79" fmla="*/ 2147483647 h 192"/>
                        <a:gd name="T80" fmla="*/ 2147483647 w 420"/>
                        <a:gd name="T81" fmla="*/ 2147483647 h 192"/>
                        <a:gd name="T82" fmla="*/ 2147483647 w 420"/>
                        <a:gd name="T83" fmla="*/ 2147483647 h 192"/>
                        <a:gd name="T84" fmla="*/ 2147483647 w 420"/>
                        <a:gd name="T85" fmla="*/ 2147483647 h 192"/>
                        <a:gd name="T86" fmla="*/ 2147483647 w 420"/>
                        <a:gd name="T87" fmla="*/ 2147483647 h 192"/>
                        <a:gd name="T88" fmla="*/ 2147483647 w 420"/>
                        <a:gd name="T89" fmla="*/ 2147483647 h 192"/>
                        <a:gd name="T90" fmla="*/ 2147483647 w 420"/>
                        <a:gd name="T91" fmla="*/ 2147483647 h 192"/>
                        <a:gd name="T92" fmla="*/ 2147483647 w 420"/>
                        <a:gd name="T93" fmla="*/ 2147483647 h 192"/>
                        <a:gd name="T94" fmla="*/ 2147483647 w 420"/>
                        <a:gd name="T95" fmla="*/ 2147483647 h 192"/>
                        <a:gd name="T96" fmla="*/ 2147483647 w 420"/>
                        <a:gd name="T97" fmla="*/ 2147483647 h 192"/>
                        <a:gd name="T98" fmla="*/ 2147483647 w 420"/>
                        <a:gd name="T99" fmla="*/ 2147483647 h 192"/>
                        <a:gd name="T100" fmla="*/ 2147483647 w 420"/>
                        <a:gd name="T101" fmla="*/ 2147483647 h 192"/>
                        <a:gd name="T102" fmla="*/ 2147483647 w 420"/>
                        <a:gd name="T103" fmla="*/ 2147483647 h 192"/>
                        <a:gd name="T104" fmla="*/ 2147483647 w 420"/>
                        <a:gd name="T105" fmla="*/ 2147483647 h 192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w 420"/>
                        <a:gd name="T160" fmla="*/ 0 h 192"/>
                        <a:gd name="T161" fmla="*/ 420 w 420"/>
                        <a:gd name="T162" fmla="*/ 192 h 192"/>
                      </a:gdLst>
                      <a:ahLst/>
                      <a:cxnLst>
                        <a:cxn ang="T106">
                          <a:pos x="T0" y="T1"/>
                        </a:cxn>
                        <a:cxn ang="T107">
                          <a:pos x="T2" y="T3"/>
                        </a:cxn>
                        <a:cxn ang="T108">
                          <a:pos x="T4" y="T5"/>
                        </a:cxn>
                        <a:cxn ang="T109">
                          <a:pos x="T6" y="T7"/>
                        </a:cxn>
                        <a:cxn ang="T110">
                          <a:pos x="T8" y="T9"/>
                        </a:cxn>
                        <a:cxn ang="T111">
                          <a:pos x="T10" y="T11"/>
                        </a:cxn>
                        <a:cxn ang="T112">
                          <a:pos x="T12" y="T13"/>
                        </a:cxn>
                        <a:cxn ang="T113">
                          <a:pos x="T14" y="T15"/>
                        </a:cxn>
                        <a:cxn ang="T114">
                          <a:pos x="T16" y="T17"/>
                        </a:cxn>
                        <a:cxn ang="T115">
                          <a:pos x="T18" y="T19"/>
                        </a:cxn>
                        <a:cxn ang="T116">
                          <a:pos x="T20" y="T21"/>
                        </a:cxn>
                        <a:cxn ang="T117">
                          <a:pos x="T22" y="T23"/>
                        </a:cxn>
                        <a:cxn ang="T118">
                          <a:pos x="T24" y="T25"/>
                        </a:cxn>
                        <a:cxn ang="T119">
                          <a:pos x="T26" y="T27"/>
                        </a:cxn>
                        <a:cxn ang="T120">
                          <a:pos x="T28" y="T29"/>
                        </a:cxn>
                        <a:cxn ang="T121">
                          <a:pos x="T30" y="T31"/>
                        </a:cxn>
                        <a:cxn ang="T122">
                          <a:pos x="T32" y="T33"/>
                        </a:cxn>
                        <a:cxn ang="T123">
                          <a:pos x="T34" y="T35"/>
                        </a:cxn>
                        <a:cxn ang="T124">
                          <a:pos x="T36" y="T37"/>
                        </a:cxn>
                        <a:cxn ang="T125">
                          <a:pos x="T38" y="T39"/>
                        </a:cxn>
                        <a:cxn ang="T126">
                          <a:pos x="T40" y="T41"/>
                        </a:cxn>
                        <a:cxn ang="T127">
                          <a:pos x="T42" y="T43"/>
                        </a:cxn>
                        <a:cxn ang="T128">
                          <a:pos x="T44" y="T45"/>
                        </a:cxn>
                        <a:cxn ang="T129">
                          <a:pos x="T46" y="T47"/>
                        </a:cxn>
                        <a:cxn ang="T130">
                          <a:pos x="T48" y="T49"/>
                        </a:cxn>
                        <a:cxn ang="T131">
                          <a:pos x="T50" y="T51"/>
                        </a:cxn>
                        <a:cxn ang="T132">
                          <a:pos x="T52" y="T53"/>
                        </a:cxn>
                        <a:cxn ang="T133">
                          <a:pos x="T54" y="T55"/>
                        </a:cxn>
                        <a:cxn ang="T134">
                          <a:pos x="T56" y="T57"/>
                        </a:cxn>
                        <a:cxn ang="T135">
                          <a:pos x="T58" y="T59"/>
                        </a:cxn>
                        <a:cxn ang="T136">
                          <a:pos x="T60" y="T61"/>
                        </a:cxn>
                        <a:cxn ang="T137">
                          <a:pos x="T62" y="T63"/>
                        </a:cxn>
                        <a:cxn ang="T138">
                          <a:pos x="T64" y="T65"/>
                        </a:cxn>
                        <a:cxn ang="T139">
                          <a:pos x="T66" y="T67"/>
                        </a:cxn>
                        <a:cxn ang="T140">
                          <a:pos x="T68" y="T69"/>
                        </a:cxn>
                        <a:cxn ang="T141">
                          <a:pos x="T70" y="T71"/>
                        </a:cxn>
                        <a:cxn ang="T142">
                          <a:pos x="T72" y="T73"/>
                        </a:cxn>
                        <a:cxn ang="T143">
                          <a:pos x="T74" y="T75"/>
                        </a:cxn>
                        <a:cxn ang="T144">
                          <a:pos x="T76" y="T77"/>
                        </a:cxn>
                        <a:cxn ang="T145">
                          <a:pos x="T78" y="T79"/>
                        </a:cxn>
                        <a:cxn ang="T146">
                          <a:pos x="T80" y="T81"/>
                        </a:cxn>
                        <a:cxn ang="T147">
                          <a:pos x="T82" y="T83"/>
                        </a:cxn>
                        <a:cxn ang="T148">
                          <a:pos x="T84" y="T85"/>
                        </a:cxn>
                        <a:cxn ang="T149">
                          <a:pos x="T86" y="T87"/>
                        </a:cxn>
                        <a:cxn ang="T150">
                          <a:pos x="T88" y="T89"/>
                        </a:cxn>
                        <a:cxn ang="T151">
                          <a:pos x="T90" y="T91"/>
                        </a:cxn>
                        <a:cxn ang="T152">
                          <a:pos x="T92" y="T93"/>
                        </a:cxn>
                        <a:cxn ang="T153">
                          <a:pos x="T94" y="T95"/>
                        </a:cxn>
                        <a:cxn ang="T154">
                          <a:pos x="T96" y="T97"/>
                        </a:cxn>
                        <a:cxn ang="T155">
                          <a:pos x="T98" y="T99"/>
                        </a:cxn>
                        <a:cxn ang="T156">
                          <a:pos x="T100" y="T101"/>
                        </a:cxn>
                        <a:cxn ang="T157">
                          <a:pos x="T102" y="T103"/>
                        </a:cxn>
                        <a:cxn ang="T158">
                          <a:pos x="T104" y="T105"/>
                        </a:cxn>
                      </a:cxnLst>
                      <a:rect l="T159" t="T160" r="T161" b="T162"/>
                      <a:pathLst>
                        <a:path w="420" h="192">
                          <a:moveTo>
                            <a:pt x="408" y="108"/>
                          </a:moveTo>
                          <a:lnTo>
                            <a:pt x="402" y="96"/>
                          </a:lnTo>
                          <a:lnTo>
                            <a:pt x="402" y="90"/>
                          </a:lnTo>
                          <a:lnTo>
                            <a:pt x="390" y="84"/>
                          </a:lnTo>
                          <a:lnTo>
                            <a:pt x="372" y="84"/>
                          </a:lnTo>
                          <a:lnTo>
                            <a:pt x="372" y="78"/>
                          </a:lnTo>
                          <a:lnTo>
                            <a:pt x="366" y="72"/>
                          </a:lnTo>
                          <a:lnTo>
                            <a:pt x="360" y="84"/>
                          </a:lnTo>
                          <a:lnTo>
                            <a:pt x="354" y="78"/>
                          </a:lnTo>
                          <a:lnTo>
                            <a:pt x="348" y="66"/>
                          </a:lnTo>
                          <a:lnTo>
                            <a:pt x="342" y="60"/>
                          </a:lnTo>
                          <a:lnTo>
                            <a:pt x="324" y="60"/>
                          </a:lnTo>
                          <a:lnTo>
                            <a:pt x="330" y="54"/>
                          </a:lnTo>
                          <a:lnTo>
                            <a:pt x="312" y="54"/>
                          </a:lnTo>
                          <a:lnTo>
                            <a:pt x="300" y="60"/>
                          </a:lnTo>
                          <a:lnTo>
                            <a:pt x="294" y="60"/>
                          </a:lnTo>
                          <a:lnTo>
                            <a:pt x="294" y="66"/>
                          </a:lnTo>
                          <a:lnTo>
                            <a:pt x="276" y="66"/>
                          </a:lnTo>
                          <a:lnTo>
                            <a:pt x="270" y="60"/>
                          </a:lnTo>
                          <a:lnTo>
                            <a:pt x="264" y="60"/>
                          </a:lnTo>
                          <a:lnTo>
                            <a:pt x="264" y="48"/>
                          </a:lnTo>
                          <a:lnTo>
                            <a:pt x="252" y="42"/>
                          </a:lnTo>
                          <a:lnTo>
                            <a:pt x="264" y="36"/>
                          </a:lnTo>
                          <a:lnTo>
                            <a:pt x="258" y="30"/>
                          </a:lnTo>
                          <a:lnTo>
                            <a:pt x="234" y="30"/>
                          </a:lnTo>
                          <a:lnTo>
                            <a:pt x="234" y="24"/>
                          </a:lnTo>
                          <a:lnTo>
                            <a:pt x="228" y="24"/>
                          </a:lnTo>
                          <a:lnTo>
                            <a:pt x="216" y="18"/>
                          </a:lnTo>
                          <a:lnTo>
                            <a:pt x="198" y="18"/>
                          </a:lnTo>
                          <a:lnTo>
                            <a:pt x="192" y="0"/>
                          </a:lnTo>
                          <a:lnTo>
                            <a:pt x="174" y="0"/>
                          </a:lnTo>
                          <a:lnTo>
                            <a:pt x="162" y="12"/>
                          </a:lnTo>
                          <a:lnTo>
                            <a:pt x="156" y="12"/>
                          </a:lnTo>
                          <a:lnTo>
                            <a:pt x="144" y="0"/>
                          </a:lnTo>
                          <a:lnTo>
                            <a:pt x="138" y="6"/>
                          </a:lnTo>
                          <a:lnTo>
                            <a:pt x="132" y="6"/>
                          </a:lnTo>
                          <a:lnTo>
                            <a:pt x="126" y="12"/>
                          </a:lnTo>
                          <a:lnTo>
                            <a:pt x="126" y="18"/>
                          </a:lnTo>
                          <a:lnTo>
                            <a:pt x="108" y="18"/>
                          </a:lnTo>
                          <a:lnTo>
                            <a:pt x="108" y="24"/>
                          </a:lnTo>
                          <a:lnTo>
                            <a:pt x="84" y="24"/>
                          </a:lnTo>
                          <a:lnTo>
                            <a:pt x="84" y="30"/>
                          </a:lnTo>
                          <a:lnTo>
                            <a:pt x="66" y="36"/>
                          </a:lnTo>
                          <a:lnTo>
                            <a:pt x="54" y="48"/>
                          </a:lnTo>
                          <a:lnTo>
                            <a:pt x="42" y="42"/>
                          </a:lnTo>
                          <a:lnTo>
                            <a:pt x="36" y="42"/>
                          </a:lnTo>
                          <a:lnTo>
                            <a:pt x="30" y="48"/>
                          </a:lnTo>
                          <a:lnTo>
                            <a:pt x="30" y="54"/>
                          </a:lnTo>
                          <a:lnTo>
                            <a:pt x="18" y="54"/>
                          </a:lnTo>
                          <a:lnTo>
                            <a:pt x="18" y="60"/>
                          </a:lnTo>
                          <a:lnTo>
                            <a:pt x="6" y="60"/>
                          </a:lnTo>
                          <a:lnTo>
                            <a:pt x="6" y="54"/>
                          </a:lnTo>
                          <a:lnTo>
                            <a:pt x="0" y="54"/>
                          </a:lnTo>
                          <a:lnTo>
                            <a:pt x="0" y="66"/>
                          </a:lnTo>
                          <a:lnTo>
                            <a:pt x="6" y="72"/>
                          </a:lnTo>
                          <a:lnTo>
                            <a:pt x="12" y="72"/>
                          </a:lnTo>
                          <a:lnTo>
                            <a:pt x="24" y="84"/>
                          </a:lnTo>
                          <a:lnTo>
                            <a:pt x="18" y="90"/>
                          </a:lnTo>
                          <a:lnTo>
                            <a:pt x="12" y="90"/>
                          </a:lnTo>
                          <a:lnTo>
                            <a:pt x="12" y="96"/>
                          </a:lnTo>
                          <a:lnTo>
                            <a:pt x="24" y="108"/>
                          </a:lnTo>
                          <a:lnTo>
                            <a:pt x="30" y="120"/>
                          </a:lnTo>
                          <a:lnTo>
                            <a:pt x="36" y="120"/>
                          </a:lnTo>
                          <a:lnTo>
                            <a:pt x="36" y="126"/>
                          </a:lnTo>
                          <a:lnTo>
                            <a:pt x="48" y="132"/>
                          </a:lnTo>
                          <a:lnTo>
                            <a:pt x="60" y="132"/>
                          </a:lnTo>
                          <a:lnTo>
                            <a:pt x="66" y="144"/>
                          </a:lnTo>
                          <a:lnTo>
                            <a:pt x="72" y="144"/>
                          </a:lnTo>
                          <a:lnTo>
                            <a:pt x="78" y="156"/>
                          </a:lnTo>
                          <a:lnTo>
                            <a:pt x="90" y="156"/>
                          </a:lnTo>
                          <a:lnTo>
                            <a:pt x="96" y="162"/>
                          </a:lnTo>
                          <a:lnTo>
                            <a:pt x="102" y="162"/>
                          </a:lnTo>
                          <a:lnTo>
                            <a:pt x="102" y="174"/>
                          </a:lnTo>
                          <a:lnTo>
                            <a:pt x="120" y="192"/>
                          </a:lnTo>
                          <a:lnTo>
                            <a:pt x="132" y="192"/>
                          </a:lnTo>
                          <a:lnTo>
                            <a:pt x="144" y="186"/>
                          </a:lnTo>
                          <a:lnTo>
                            <a:pt x="150" y="186"/>
                          </a:lnTo>
                          <a:lnTo>
                            <a:pt x="162" y="192"/>
                          </a:lnTo>
                          <a:lnTo>
                            <a:pt x="162" y="174"/>
                          </a:lnTo>
                          <a:lnTo>
                            <a:pt x="168" y="174"/>
                          </a:lnTo>
                          <a:lnTo>
                            <a:pt x="174" y="162"/>
                          </a:lnTo>
                          <a:lnTo>
                            <a:pt x="180" y="156"/>
                          </a:lnTo>
                          <a:lnTo>
                            <a:pt x="198" y="156"/>
                          </a:lnTo>
                          <a:lnTo>
                            <a:pt x="210" y="162"/>
                          </a:lnTo>
                          <a:lnTo>
                            <a:pt x="222" y="174"/>
                          </a:lnTo>
                          <a:lnTo>
                            <a:pt x="234" y="168"/>
                          </a:lnTo>
                          <a:lnTo>
                            <a:pt x="246" y="180"/>
                          </a:lnTo>
                          <a:lnTo>
                            <a:pt x="258" y="174"/>
                          </a:lnTo>
                          <a:lnTo>
                            <a:pt x="264" y="168"/>
                          </a:lnTo>
                          <a:lnTo>
                            <a:pt x="276" y="168"/>
                          </a:lnTo>
                          <a:lnTo>
                            <a:pt x="282" y="174"/>
                          </a:lnTo>
                          <a:lnTo>
                            <a:pt x="288" y="174"/>
                          </a:lnTo>
                          <a:lnTo>
                            <a:pt x="300" y="180"/>
                          </a:lnTo>
                          <a:lnTo>
                            <a:pt x="306" y="174"/>
                          </a:lnTo>
                          <a:lnTo>
                            <a:pt x="324" y="174"/>
                          </a:lnTo>
                          <a:lnTo>
                            <a:pt x="330" y="168"/>
                          </a:lnTo>
                          <a:lnTo>
                            <a:pt x="330" y="174"/>
                          </a:lnTo>
                          <a:lnTo>
                            <a:pt x="348" y="174"/>
                          </a:lnTo>
                          <a:lnTo>
                            <a:pt x="360" y="168"/>
                          </a:lnTo>
                          <a:lnTo>
                            <a:pt x="366" y="162"/>
                          </a:lnTo>
                          <a:lnTo>
                            <a:pt x="378" y="156"/>
                          </a:lnTo>
                          <a:lnTo>
                            <a:pt x="378" y="132"/>
                          </a:lnTo>
                          <a:lnTo>
                            <a:pt x="402" y="126"/>
                          </a:lnTo>
                          <a:lnTo>
                            <a:pt x="420" y="114"/>
                          </a:lnTo>
                          <a:lnTo>
                            <a:pt x="414" y="108"/>
                          </a:lnTo>
                          <a:lnTo>
                            <a:pt x="408" y="108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47" name="Belgium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322768" y="2416177"/>
                      <a:ext cx="88900" cy="61913"/>
                    </a:xfrm>
                    <a:custGeom>
                      <a:avLst/>
                      <a:gdLst>
                        <a:gd name="T0" fmla="*/ 0 w 222"/>
                        <a:gd name="T1" fmla="*/ 2147483647 h 150"/>
                        <a:gd name="T2" fmla="*/ 2147483647 w 222"/>
                        <a:gd name="T3" fmla="*/ 2147483647 h 150"/>
                        <a:gd name="T4" fmla="*/ 2147483647 w 222"/>
                        <a:gd name="T5" fmla="*/ 2147483647 h 150"/>
                        <a:gd name="T6" fmla="*/ 2147483647 w 222"/>
                        <a:gd name="T7" fmla="*/ 2147483647 h 150"/>
                        <a:gd name="T8" fmla="*/ 2147483647 w 222"/>
                        <a:gd name="T9" fmla="*/ 2147483647 h 150"/>
                        <a:gd name="T10" fmla="*/ 2147483647 w 222"/>
                        <a:gd name="T11" fmla="*/ 2147483647 h 150"/>
                        <a:gd name="T12" fmla="*/ 2147483647 w 222"/>
                        <a:gd name="T13" fmla="*/ 2147483647 h 150"/>
                        <a:gd name="T14" fmla="*/ 2147483647 w 222"/>
                        <a:gd name="T15" fmla="*/ 2147483647 h 150"/>
                        <a:gd name="T16" fmla="*/ 2147483647 w 222"/>
                        <a:gd name="T17" fmla="*/ 2147483647 h 150"/>
                        <a:gd name="T18" fmla="*/ 2147483647 w 222"/>
                        <a:gd name="T19" fmla="*/ 2147483647 h 150"/>
                        <a:gd name="T20" fmla="*/ 2147483647 w 222"/>
                        <a:gd name="T21" fmla="*/ 2147483647 h 150"/>
                        <a:gd name="T22" fmla="*/ 2147483647 w 222"/>
                        <a:gd name="T23" fmla="*/ 2147483647 h 150"/>
                        <a:gd name="T24" fmla="*/ 2147483647 w 222"/>
                        <a:gd name="T25" fmla="*/ 2147483647 h 150"/>
                        <a:gd name="T26" fmla="*/ 2147483647 w 222"/>
                        <a:gd name="T27" fmla="*/ 2147483647 h 150"/>
                        <a:gd name="T28" fmla="*/ 2147483647 w 222"/>
                        <a:gd name="T29" fmla="*/ 2147483647 h 150"/>
                        <a:gd name="T30" fmla="*/ 2147483647 w 222"/>
                        <a:gd name="T31" fmla="*/ 2147483647 h 150"/>
                        <a:gd name="T32" fmla="*/ 2147483647 w 222"/>
                        <a:gd name="T33" fmla="*/ 2147483647 h 150"/>
                        <a:gd name="T34" fmla="*/ 2147483647 w 222"/>
                        <a:gd name="T35" fmla="*/ 2147483647 h 150"/>
                        <a:gd name="T36" fmla="*/ 2147483647 w 222"/>
                        <a:gd name="T37" fmla="*/ 2147483647 h 150"/>
                        <a:gd name="T38" fmla="*/ 2147483647 w 222"/>
                        <a:gd name="T39" fmla="*/ 2147483647 h 150"/>
                        <a:gd name="T40" fmla="*/ 2147483647 w 222"/>
                        <a:gd name="T41" fmla="*/ 2147483647 h 150"/>
                        <a:gd name="T42" fmla="*/ 2147483647 w 222"/>
                        <a:gd name="T43" fmla="*/ 2147483647 h 150"/>
                        <a:gd name="T44" fmla="*/ 2147483647 w 222"/>
                        <a:gd name="T45" fmla="*/ 2147483647 h 150"/>
                        <a:gd name="T46" fmla="*/ 2147483647 w 222"/>
                        <a:gd name="T47" fmla="*/ 2147483647 h 150"/>
                        <a:gd name="T48" fmla="*/ 2147483647 w 222"/>
                        <a:gd name="T49" fmla="*/ 2147483647 h 150"/>
                        <a:gd name="T50" fmla="*/ 2147483647 w 222"/>
                        <a:gd name="T51" fmla="*/ 2147483647 h 150"/>
                        <a:gd name="T52" fmla="*/ 2147483647 w 222"/>
                        <a:gd name="T53" fmla="*/ 2147483647 h 150"/>
                        <a:gd name="T54" fmla="*/ 2147483647 w 222"/>
                        <a:gd name="T55" fmla="*/ 2147483647 h 150"/>
                        <a:gd name="T56" fmla="*/ 2147483647 w 222"/>
                        <a:gd name="T57" fmla="*/ 2147483647 h 150"/>
                        <a:gd name="T58" fmla="*/ 2147483647 w 222"/>
                        <a:gd name="T59" fmla="*/ 2147483647 h 150"/>
                        <a:gd name="T60" fmla="*/ 2147483647 w 222"/>
                        <a:gd name="T61" fmla="*/ 2147483647 h 150"/>
                        <a:gd name="T62" fmla="*/ 2147483647 w 222"/>
                        <a:gd name="T63" fmla="*/ 2147483647 h 150"/>
                        <a:gd name="T64" fmla="*/ 2147483647 w 222"/>
                        <a:gd name="T65" fmla="*/ 2147483647 h 150"/>
                        <a:gd name="T66" fmla="*/ 2147483647 w 222"/>
                        <a:gd name="T67" fmla="*/ 2147483647 h 150"/>
                        <a:gd name="T68" fmla="*/ 2147483647 w 222"/>
                        <a:gd name="T69" fmla="*/ 2147483647 h 150"/>
                        <a:gd name="T70" fmla="*/ 2147483647 w 222"/>
                        <a:gd name="T71" fmla="*/ 2147483647 h 150"/>
                        <a:gd name="T72" fmla="*/ 2147483647 w 222"/>
                        <a:gd name="T73" fmla="*/ 2147483647 h 150"/>
                        <a:gd name="T74" fmla="*/ 2147483647 w 222"/>
                        <a:gd name="T75" fmla="*/ 2147483647 h 150"/>
                        <a:gd name="T76" fmla="*/ 2147483647 w 222"/>
                        <a:gd name="T77" fmla="*/ 2147483647 h 150"/>
                        <a:gd name="T78" fmla="*/ 2147483647 w 222"/>
                        <a:gd name="T79" fmla="*/ 2147483647 h 150"/>
                        <a:gd name="T80" fmla="*/ 2147483647 w 222"/>
                        <a:gd name="T81" fmla="*/ 0 h 150"/>
                        <a:gd name="T82" fmla="*/ 2147483647 w 222"/>
                        <a:gd name="T83" fmla="*/ 0 h 150"/>
                        <a:gd name="T84" fmla="*/ 2147483647 w 222"/>
                        <a:gd name="T85" fmla="*/ 2147483647 h 150"/>
                        <a:gd name="T86" fmla="*/ 2147483647 w 222"/>
                        <a:gd name="T87" fmla="*/ 0 h 150"/>
                        <a:gd name="T88" fmla="*/ 2147483647 w 222"/>
                        <a:gd name="T89" fmla="*/ 2147483647 h 150"/>
                        <a:gd name="T90" fmla="*/ 2147483647 w 222"/>
                        <a:gd name="T91" fmla="*/ 2147483647 h 150"/>
                        <a:gd name="T92" fmla="*/ 2147483647 w 222"/>
                        <a:gd name="T93" fmla="*/ 2147483647 h 150"/>
                        <a:gd name="T94" fmla="*/ 2147483647 w 222"/>
                        <a:gd name="T95" fmla="*/ 2147483647 h 150"/>
                        <a:gd name="T96" fmla="*/ 2147483647 w 222"/>
                        <a:gd name="T97" fmla="*/ 2147483647 h 150"/>
                        <a:gd name="T98" fmla="*/ 2147483647 w 222"/>
                        <a:gd name="T99" fmla="*/ 2147483647 h 150"/>
                        <a:gd name="T100" fmla="*/ 2147483647 w 222"/>
                        <a:gd name="T101" fmla="*/ 2147483647 h 150"/>
                        <a:gd name="T102" fmla="*/ 0 w 222"/>
                        <a:gd name="T103" fmla="*/ 2147483647 h 150"/>
                        <a:gd name="T104" fmla="*/ 0 w 222"/>
                        <a:gd name="T105" fmla="*/ 2147483647 h 150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w 222"/>
                        <a:gd name="T160" fmla="*/ 0 h 150"/>
                        <a:gd name="T161" fmla="*/ 222 w 222"/>
                        <a:gd name="T162" fmla="*/ 150 h 150"/>
                      </a:gdLst>
                      <a:ahLst/>
                      <a:cxnLst>
                        <a:cxn ang="T106">
                          <a:pos x="T0" y="T1"/>
                        </a:cxn>
                        <a:cxn ang="T107">
                          <a:pos x="T2" y="T3"/>
                        </a:cxn>
                        <a:cxn ang="T108">
                          <a:pos x="T4" y="T5"/>
                        </a:cxn>
                        <a:cxn ang="T109">
                          <a:pos x="T6" y="T7"/>
                        </a:cxn>
                        <a:cxn ang="T110">
                          <a:pos x="T8" y="T9"/>
                        </a:cxn>
                        <a:cxn ang="T111">
                          <a:pos x="T10" y="T11"/>
                        </a:cxn>
                        <a:cxn ang="T112">
                          <a:pos x="T12" y="T13"/>
                        </a:cxn>
                        <a:cxn ang="T113">
                          <a:pos x="T14" y="T15"/>
                        </a:cxn>
                        <a:cxn ang="T114">
                          <a:pos x="T16" y="T17"/>
                        </a:cxn>
                        <a:cxn ang="T115">
                          <a:pos x="T18" y="T19"/>
                        </a:cxn>
                        <a:cxn ang="T116">
                          <a:pos x="T20" y="T21"/>
                        </a:cxn>
                        <a:cxn ang="T117">
                          <a:pos x="T22" y="T23"/>
                        </a:cxn>
                        <a:cxn ang="T118">
                          <a:pos x="T24" y="T25"/>
                        </a:cxn>
                        <a:cxn ang="T119">
                          <a:pos x="T26" y="T27"/>
                        </a:cxn>
                        <a:cxn ang="T120">
                          <a:pos x="T28" y="T29"/>
                        </a:cxn>
                        <a:cxn ang="T121">
                          <a:pos x="T30" y="T31"/>
                        </a:cxn>
                        <a:cxn ang="T122">
                          <a:pos x="T32" y="T33"/>
                        </a:cxn>
                        <a:cxn ang="T123">
                          <a:pos x="T34" y="T35"/>
                        </a:cxn>
                        <a:cxn ang="T124">
                          <a:pos x="T36" y="T37"/>
                        </a:cxn>
                        <a:cxn ang="T125">
                          <a:pos x="T38" y="T39"/>
                        </a:cxn>
                        <a:cxn ang="T126">
                          <a:pos x="T40" y="T41"/>
                        </a:cxn>
                        <a:cxn ang="T127">
                          <a:pos x="T42" y="T43"/>
                        </a:cxn>
                        <a:cxn ang="T128">
                          <a:pos x="T44" y="T45"/>
                        </a:cxn>
                        <a:cxn ang="T129">
                          <a:pos x="T46" y="T47"/>
                        </a:cxn>
                        <a:cxn ang="T130">
                          <a:pos x="T48" y="T49"/>
                        </a:cxn>
                        <a:cxn ang="T131">
                          <a:pos x="T50" y="T51"/>
                        </a:cxn>
                        <a:cxn ang="T132">
                          <a:pos x="T52" y="T53"/>
                        </a:cxn>
                        <a:cxn ang="T133">
                          <a:pos x="T54" y="T55"/>
                        </a:cxn>
                        <a:cxn ang="T134">
                          <a:pos x="T56" y="T57"/>
                        </a:cxn>
                        <a:cxn ang="T135">
                          <a:pos x="T58" y="T59"/>
                        </a:cxn>
                        <a:cxn ang="T136">
                          <a:pos x="T60" y="T61"/>
                        </a:cxn>
                        <a:cxn ang="T137">
                          <a:pos x="T62" y="T63"/>
                        </a:cxn>
                        <a:cxn ang="T138">
                          <a:pos x="T64" y="T65"/>
                        </a:cxn>
                        <a:cxn ang="T139">
                          <a:pos x="T66" y="T67"/>
                        </a:cxn>
                        <a:cxn ang="T140">
                          <a:pos x="T68" y="T69"/>
                        </a:cxn>
                        <a:cxn ang="T141">
                          <a:pos x="T70" y="T71"/>
                        </a:cxn>
                        <a:cxn ang="T142">
                          <a:pos x="T72" y="T73"/>
                        </a:cxn>
                        <a:cxn ang="T143">
                          <a:pos x="T74" y="T75"/>
                        </a:cxn>
                        <a:cxn ang="T144">
                          <a:pos x="T76" y="T77"/>
                        </a:cxn>
                        <a:cxn ang="T145">
                          <a:pos x="T78" y="T79"/>
                        </a:cxn>
                        <a:cxn ang="T146">
                          <a:pos x="T80" y="T81"/>
                        </a:cxn>
                        <a:cxn ang="T147">
                          <a:pos x="T82" y="T83"/>
                        </a:cxn>
                        <a:cxn ang="T148">
                          <a:pos x="T84" y="T85"/>
                        </a:cxn>
                        <a:cxn ang="T149">
                          <a:pos x="T86" y="T87"/>
                        </a:cxn>
                        <a:cxn ang="T150">
                          <a:pos x="T88" y="T89"/>
                        </a:cxn>
                        <a:cxn ang="T151">
                          <a:pos x="T90" y="T91"/>
                        </a:cxn>
                        <a:cxn ang="T152">
                          <a:pos x="T92" y="T93"/>
                        </a:cxn>
                        <a:cxn ang="T153">
                          <a:pos x="T94" y="T95"/>
                        </a:cxn>
                        <a:cxn ang="T154">
                          <a:pos x="T96" y="T97"/>
                        </a:cxn>
                        <a:cxn ang="T155">
                          <a:pos x="T98" y="T99"/>
                        </a:cxn>
                        <a:cxn ang="T156">
                          <a:pos x="T100" y="T101"/>
                        </a:cxn>
                        <a:cxn ang="T157">
                          <a:pos x="T102" y="T103"/>
                        </a:cxn>
                        <a:cxn ang="T158">
                          <a:pos x="T104" y="T105"/>
                        </a:cxn>
                      </a:cxnLst>
                      <a:rect l="T159" t="T160" r="T161" b="T162"/>
                      <a:pathLst>
                        <a:path w="222" h="150">
                          <a:moveTo>
                            <a:pt x="0" y="42"/>
                          </a:moveTo>
                          <a:lnTo>
                            <a:pt x="6" y="60"/>
                          </a:lnTo>
                          <a:lnTo>
                            <a:pt x="30" y="66"/>
                          </a:lnTo>
                          <a:lnTo>
                            <a:pt x="42" y="78"/>
                          </a:lnTo>
                          <a:lnTo>
                            <a:pt x="66" y="78"/>
                          </a:lnTo>
                          <a:lnTo>
                            <a:pt x="78" y="84"/>
                          </a:lnTo>
                          <a:lnTo>
                            <a:pt x="84" y="90"/>
                          </a:lnTo>
                          <a:lnTo>
                            <a:pt x="84" y="114"/>
                          </a:lnTo>
                          <a:lnTo>
                            <a:pt x="108" y="114"/>
                          </a:lnTo>
                          <a:lnTo>
                            <a:pt x="120" y="102"/>
                          </a:lnTo>
                          <a:lnTo>
                            <a:pt x="120" y="126"/>
                          </a:lnTo>
                          <a:lnTo>
                            <a:pt x="132" y="126"/>
                          </a:lnTo>
                          <a:lnTo>
                            <a:pt x="144" y="132"/>
                          </a:lnTo>
                          <a:lnTo>
                            <a:pt x="150" y="132"/>
                          </a:lnTo>
                          <a:lnTo>
                            <a:pt x="162" y="144"/>
                          </a:lnTo>
                          <a:lnTo>
                            <a:pt x="180" y="144"/>
                          </a:lnTo>
                          <a:lnTo>
                            <a:pt x="192" y="150"/>
                          </a:lnTo>
                          <a:lnTo>
                            <a:pt x="192" y="144"/>
                          </a:lnTo>
                          <a:lnTo>
                            <a:pt x="186" y="132"/>
                          </a:lnTo>
                          <a:lnTo>
                            <a:pt x="174" y="120"/>
                          </a:lnTo>
                          <a:lnTo>
                            <a:pt x="174" y="114"/>
                          </a:lnTo>
                          <a:lnTo>
                            <a:pt x="180" y="114"/>
                          </a:lnTo>
                          <a:lnTo>
                            <a:pt x="192" y="108"/>
                          </a:lnTo>
                          <a:lnTo>
                            <a:pt x="198" y="102"/>
                          </a:lnTo>
                          <a:lnTo>
                            <a:pt x="204" y="102"/>
                          </a:lnTo>
                          <a:lnTo>
                            <a:pt x="204" y="96"/>
                          </a:lnTo>
                          <a:lnTo>
                            <a:pt x="210" y="90"/>
                          </a:lnTo>
                          <a:lnTo>
                            <a:pt x="222" y="90"/>
                          </a:lnTo>
                          <a:lnTo>
                            <a:pt x="216" y="84"/>
                          </a:lnTo>
                          <a:lnTo>
                            <a:pt x="216" y="66"/>
                          </a:lnTo>
                          <a:lnTo>
                            <a:pt x="204" y="54"/>
                          </a:lnTo>
                          <a:lnTo>
                            <a:pt x="180" y="54"/>
                          </a:lnTo>
                          <a:lnTo>
                            <a:pt x="180" y="42"/>
                          </a:lnTo>
                          <a:lnTo>
                            <a:pt x="186" y="36"/>
                          </a:lnTo>
                          <a:lnTo>
                            <a:pt x="186" y="18"/>
                          </a:lnTo>
                          <a:lnTo>
                            <a:pt x="180" y="12"/>
                          </a:lnTo>
                          <a:lnTo>
                            <a:pt x="174" y="12"/>
                          </a:lnTo>
                          <a:lnTo>
                            <a:pt x="162" y="18"/>
                          </a:lnTo>
                          <a:lnTo>
                            <a:pt x="150" y="18"/>
                          </a:lnTo>
                          <a:lnTo>
                            <a:pt x="144" y="12"/>
                          </a:lnTo>
                          <a:lnTo>
                            <a:pt x="144" y="0"/>
                          </a:lnTo>
                          <a:lnTo>
                            <a:pt x="108" y="0"/>
                          </a:lnTo>
                          <a:lnTo>
                            <a:pt x="108" y="6"/>
                          </a:lnTo>
                          <a:lnTo>
                            <a:pt x="96" y="0"/>
                          </a:lnTo>
                          <a:lnTo>
                            <a:pt x="96" y="12"/>
                          </a:lnTo>
                          <a:lnTo>
                            <a:pt x="78" y="6"/>
                          </a:lnTo>
                          <a:lnTo>
                            <a:pt x="72" y="18"/>
                          </a:lnTo>
                          <a:lnTo>
                            <a:pt x="66" y="12"/>
                          </a:lnTo>
                          <a:lnTo>
                            <a:pt x="42" y="12"/>
                          </a:lnTo>
                          <a:lnTo>
                            <a:pt x="36" y="6"/>
                          </a:lnTo>
                          <a:lnTo>
                            <a:pt x="24" y="6"/>
                          </a:lnTo>
                          <a:lnTo>
                            <a:pt x="0" y="24"/>
                          </a:lnTo>
                          <a:lnTo>
                            <a:pt x="0" y="42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48" name="Andorra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276730" y="2695577"/>
                      <a:ext cx="12700" cy="6350"/>
                    </a:xfrm>
                    <a:custGeom>
                      <a:avLst/>
                      <a:gdLst>
                        <a:gd name="T0" fmla="*/ 2147483647 w 30"/>
                        <a:gd name="T1" fmla="*/ 2147483647 h 18"/>
                        <a:gd name="T2" fmla="*/ 2147483647 w 30"/>
                        <a:gd name="T3" fmla="*/ 2147483647 h 18"/>
                        <a:gd name="T4" fmla="*/ 2147483647 w 30"/>
                        <a:gd name="T5" fmla="*/ 2147483647 h 18"/>
                        <a:gd name="T6" fmla="*/ 2147483647 w 30"/>
                        <a:gd name="T7" fmla="*/ 0 h 18"/>
                        <a:gd name="T8" fmla="*/ 0 w 30"/>
                        <a:gd name="T9" fmla="*/ 0 h 18"/>
                        <a:gd name="T10" fmla="*/ 2147483647 w 30"/>
                        <a:gd name="T11" fmla="*/ 2147483647 h 18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30"/>
                        <a:gd name="T19" fmla="*/ 0 h 18"/>
                        <a:gd name="T20" fmla="*/ 30 w 30"/>
                        <a:gd name="T21" fmla="*/ 18 h 18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30" h="18">
                          <a:moveTo>
                            <a:pt x="6" y="18"/>
                          </a:moveTo>
                          <a:lnTo>
                            <a:pt x="18" y="12"/>
                          </a:lnTo>
                          <a:lnTo>
                            <a:pt x="30" y="12"/>
                          </a:lnTo>
                          <a:lnTo>
                            <a:pt x="30" y="0"/>
                          </a:lnTo>
                          <a:lnTo>
                            <a:pt x="0" y="0"/>
                          </a:lnTo>
                          <a:lnTo>
                            <a:pt x="6" y="18"/>
                          </a:ln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sp>
                  <p:nvSpPr>
                    <p:cNvPr id="349" name="Albania" descr="© INSCALE GmbH, 05.05.2010&#10;http://www.presentationload.com/"/>
                    <p:cNvSpPr>
                      <a:spLocks/>
                    </p:cNvSpPr>
                    <p:nvPr/>
                  </p:nvSpPr>
                  <p:spPr bwMode="gray">
                    <a:xfrm>
                      <a:off x="4735519" y="2695577"/>
                      <a:ext cx="57150" cy="98425"/>
                    </a:xfrm>
                    <a:custGeom>
                      <a:avLst/>
                      <a:gdLst>
                        <a:gd name="T0" fmla="*/ 2147483647 w 144"/>
                        <a:gd name="T1" fmla="*/ 2147483647 h 246"/>
                        <a:gd name="T2" fmla="*/ 2147483647 w 144"/>
                        <a:gd name="T3" fmla="*/ 2147483647 h 246"/>
                        <a:gd name="T4" fmla="*/ 2147483647 w 144"/>
                        <a:gd name="T5" fmla="*/ 2147483647 h 246"/>
                        <a:gd name="T6" fmla="*/ 2147483647 w 144"/>
                        <a:gd name="T7" fmla="*/ 2147483647 h 246"/>
                        <a:gd name="T8" fmla="*/ 2147483647 w 144"/>
                        <a:gd name="T9" fmla="*/ 2147483647 h 246"/>
                        <a:gd name="T10" fmla="*/ 2147483647 w 144"/>
                        <a:gd name="T11" fmla="*/ 2147483647 h 246"/>
                        <a:gd name="T12" fmla="*/ 2147483647 w 144"/>
                        <a:gd name="T13" fmla="*/ 2147483647 h 246"/>
                        <a:gd name="T14" fmla="*/ 2147483647 w 144"/>
                        <a:gd name="T15" fmla="*/ 2147483647 h 246"/>
                        <a:gd name="T16" fmla="*/ 2147483647 w 144"/>
                        <a:gd name="T17" fmla="*/ 2147483647 h 246"/>
                        <a:gd name="T18" fmla="*/ 2147483647 w 144"/>
                        <a:gd name="T19" fmla="*/ 2147483647 h 246"/>
                        <a:gd name="T20" fmla="*/ 2147483647 w 144"/>
                        <a:gd name="T21" fmla="*/ 2147483647 h 246"/>
                        <a:gd name="T22" fmla="*/ 2147483647 w 144"/>
                        <a:gd name="T23" fmla="*/ 2147483647 h 246"/>
                        <a:gd name="T24" fmla="*/ 2147483647 w 144"/>
                        <a:gd name="T25" fmla="*/ 2147483647 h 246"/>
                        <a:gd name="T26" fmla="*/ 2147483647 w 144"/>
                        <a:gd name="T27" fmla="*/ 2147483647 h 246"/>
                        <a:gd name="T28" fmla="*/ 2147483647 w 144"/>
                        <a:gd name="T29" fmla="*/ 2147483647 h 246"/>
                        <a:gd name="T30" fmla="*/ 2147483647 w 144"/>
                        <a:gd name="T31" fmla="*/ 2147483647 h 246"/>
                        <a:gd name="T32" fmla="*/ 2147483647 w 144"/>
                        <a:gd name="T33" fmla="*/ 2147483647 h 246"/>
                        <a:gd name="T34" fmla="*/ 2147483647 w 144"/>
                        <a:gd name="T35" fmla="*/ 2147483647 h 246"/>
                        <a:gd name="T36" fmla="*/ 2147483647 w 144"/>
                        <a:gd name="T37" fmla="*/ 2147483647 h 246"/>
                        <a:gd name="T38" fmla="*/ 2147483647 w 144"/>
                        <a:gd name="T39" fmla="*/ 0 h 246"/>
                        <a:gd name="T40" fmla="*/ 2147483647 w 144"/>
                        <a:gd name="T41" fmla="*/ 2147483647 h 246"/>
                        <a:gd name="T42" fmla="*/ 2147483647 w 144"/>
                        <a:gd name="T43" fmla="*/ 2147483647 h 246"/>
                        <a:gd name="T44" fmla="*/ 0 w 144"/>
                        <a:gd name="T45" fmla="*/ 2147483647 h 246"/>
                        <a:gd name="T46" fmla="*/ 2147483647 w 144"/>
                        <a:gd name="T47" fmla="*/ 2147483647 h 246"/>
                        <a:gd name="T48" fmla="*/ 2147483647 w 144"/>
                        <a:gd name="T49" fmla="*/ 2147483647 h 246"/>
                        <a:gd name="T50" fmla="*/ 2147483647 w 144"/>
                        <a:gd name="T51" fmla="*/ 2147483647 h 246"/>
                        <a:gd name="T52" fmla="*/ 2147483647 w 144"/>
                        <a:gd name="T53" fmla="*/ 2147483647 h 246"/>
                        <a:gd name="T54" fmla="*/ 2147483647 w 144"/>
                        <a:gd name="T55" fmla="*/ 2147483647 h 246"/>
                        <a:gd name="T56" fmla="*/ 2147483647 w 144"/>
                        <a:gd name="T57" fmla="*/ 2147483647 h 246"/>
                        <a:gd name="T58" fmla="*/ 2147483647 w 144"/>
                        <a:gd name="T59" fmla="*/ 2147483647 h 246"/>
                        <a:gd name="T60" fmla="*/ 2147483647 w 144"/>
                        <a:gd name="T61" fmla="*/ 2147483647 h 246"/>
                        <a:gd name="T62" fmla="*/ 2147483647 w 144"/>
                        <a:gd name="T63" fmla="*/ 2147483647 h 246"/>
                        <a:gd name="T64" fmla="*/ 2147483647 w 144"/>
                        <a:gd name="T65" fmla="*/ 2147483647 h 246"/>
                        <a:gd name="T66" fmla="*/ 2147483647 w 144"/>
                        <a:gd name="T67" fmla="*/ 2147483647 h 246"/>
                        <a:gd name="T68" fmla="*/ 2147483647 w 144"/>
                        <a:gd name="T69" fmla="*/ 2147483647 h 246"/>
                        <a:gd name="T70" fmla="*/ 2147483647 w 144"/>
                        <a:gd name="T71" fmla="*/ 2147483647 h 246"/>
                        <a:gd name="T72" fmla="*/ 2147483647 w 144"/>
                        <a:gd name="T73" fmla="*/ 2147483647 h 246"/>
                        <a:gd name="T74" fmla="*/ 2147483647 w 144"/>
                        <a:gd name="T75" fmla="*/ 2147483647 h 246"/>
                        <a:gd name="T76" fmla="*/ 2147483647 w 144"/>
                        <a:gd name="T77" fmla="*/ 2147483647 h 246"/>
                        <a:gd name="T78" fmla="*/ 2147483647 w 144"/>
                        <a:gd name="T79" fmla="*/ 2147483647 h 246"/>
                        <a:gd name="T80" fmla="*/ 2147483647 w 144"/>
                        <a:gd name="T81" fmla="*/ 2147483647 h 246"/>
                        <a:gd name="T82" fmla="*/ 2147483647 w 144"/>
                        <a:gd name="T83" fmla="*/ 2147483647 h 246"/>
                        <a:gd name="T84" fmla="*/ 2147483647 w 144"/>
                        <a:gd name="T85" fmla="*/ 2147483647 h 246"/>
                        <a:gd name="T86" fmla="*/ 2147483647 w 144"/>
                        <a:gd name="T87" fmla="*/ 2147483647 h 246"/>
                        <a:gd name="T88" fmla="*/ 2147483647 w 144"/>
                        <a:gd name="T89" fmla="*/ 2147483647 h 24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w 144"/>
                        <a:gd name="T136" fmla="*/ 0 h 246"/>
                        <a:gd name="T137" fmla="*/ 144 w 144"/>
                        <a:gd name="T138" fmla="*/ 246 h 246"/>
                      </a:gdLst>
                      <a:ahLst/>
                      <a:cxnLst>
                        <a:cxn ang="T90">
                          <a:pos x="T0" y="T1"/>
                        </a:cxn>
                        <a:cxn ang="T91">
                          <a:pos x="T2" y="T3"/>
                        </a:cxn>
                        <a:cxn ang="T92">
                          <a:pos x="T4" y="T5"/>
                        </a:cxn>
                        <a:cxn ang="T93">
                          <a:pos x="T6" y="T7"/>
                        </a:cxn>
                        <a:cxn ang="T94">
                          <a:pos x="T8" y="T9"/>
                        </a:cxn>
                        <a:cxn ang="T95">
                          <a:pos x="T10" y="T11"/>
                        </a:cxn>
                        <a:cxn ang="T96">
                          <a:pos x="T12" y="T13"/>
                        </a:cxn>
                        <a:cxn ang="T97">
                          <a:pos x="T14" y="T15"/>
                        </a:cxn>
                        <a:cxn ang="T98">
                          <a:pos x="T16" y="T17"/>
                        </a:cxn>
                        <a:cxn ang="T99">
                          <a:pos x="T18" y="T19"/>
                        </a:cxn>
                        <a:cxn ang="T100">
                          <a:pos x="T20" y="T21"/>
                        </a:cxn>
                        <a:cxn ang="T101">
                          <a:pos x="T22" y="T23"/>
                        </a:cxn>
                        <a:cxn ang="T102">
                          <a:pos x="T24" y="T25"/>
                        </a:cxn>
                        <a:cxn ang="T103">
                          <a:pos x="T26" y="T27"/>
                        </a:cxn>
                        <a:cxn ang="T104">
                          <a:pos x="T28" y="T29"/>
                        </a:cxn>
                        <a:cxn ang="T105">
                          <a:pos x="T30" y="T31"/>
                        </a:cxn>
                        <a:cxn ang="T106">
                          <a:pos x="T32" y="T33"/>
                        </a:cxn>
                        <a:cxn ang="T107">
                          <a:pos x="T34" y="T35"/>
                        </a:cxn>
                        <a:cxn ang="T108">
                          <a:pos x="T36" y="T37"/>
                        </a:cxn>
                        <a:cxn ang="T109">
                          <a:pos x="T38" y="T39"/>
                        </a:cxn>
                        <a:cxn ang="T110">
                          <a:pos x="T40" y="T41"/>
                        </a:cxn>
                        <a:cxn ang="T111">
                          <a:pos x="T42" y="T43"/>
                        </a:cxn>
                        <a:cxn ang="T112">
                          <a:pos x="T44" y="T45"/>
                        </a:cxn>
                        <a:cxn ang="T113">
                          <a:pos x="T46" y="T47"/>
                        </a:cxn>
                        <a:cxn ang="T114">
                          <a:pos x="T48" y="T49"/>
                        </a:cxn>
                        <a:cxn ang="T115">
                          <a:pos x="T50" y="T51"/>
                        </a:cxn>
                        <a:cxn ang="T116">
                          <a:pos x="T52" y="T53"/>
                        </a:cxn>
                        <a:cxn ang="T117">
                          <a:pos x="T54" y="T55"/>
                        </a:cxn>
                        <a:cxn ang="T118">
                          <a:pos x="T56" y="T57"/>
                        </a:cxn>
                        <a:cxn ang="T119">
                          <a:pos x="T58" y="T59"/>
                        </a:cxn>
                        <a:cxn ang="T120">
                          <a:pos x="T60" y="T61"/>
                        </a:cxn>
                        <a:cxn ang="T121">
                          <a:pos x="T62" y="T63"/>
                        </a:cxn>
                        <a:cxn ang="T122">
                          <a:pos x="T64" y="T65"/>
                        </a:cxn>
                        <a:cxn ang="T123">
                          <a:pos x="T66" y="T67"/>
                        </a:cxn>
                        <a:cxn ang="T124">
                          <a:pos x="T68" y="T69"/>
                        </a:cxn>
                        <a:cxn ang="T125">
                          <a:pos x="T70" y="T71"/>
                        </a:cxn>
                        <a:cxn ang="T126">
                          <a:pos x="T72" y="T73"/>
                        </a:cxn>
                        <a:cxn ang="T127">
                          <a:pos x="T74" y="T75"/>
                        </a:cxn>
                        <a:cxn ang="T128">
                          <a:pos x="T76" y="T77"/>
                        </a:cxn>
                        <a:cxn ang="T129">
                          <a:pos x="T78" y="T79"/>
                        </a:cxn>
                        <a:cxn ang="T130">
                          <a:pos x="T80" y="T81"/>
                        </a:cxn>
                        <a:cxn ang="T131">
                          <a:pos x="T82" y="T83"/>
                        </a:cxn>
                        <a:cxn ang="T132">
                          <a:pos x="T84" y="T85"/>
                        </a:cxn>
                        <a:cxn ang="T133">
                          <a:pos x="T86" y="T87"/>
                        </a:cxn>
                        <a:cxn ang="T134">
                          <a:pos x="T88" y="T89"/>
                        </a:cxn>
                      </a:cxnLst>
                      <a:rect l="T135" t="T136" r="T137" b="T138"/>
                      <a:pathLst>
                        <a:path w="144" h="246">
                          <a:moveTo>
                            <a:pt x="96" y="210"/>
                          </a:moveTo>
                          <a:lnTo>
                            <a:pt x="96" y="204"/>
                          </a:lnTo>
                          <a:lnTo>
                            <a:pt x="108" y="204"/>
                          </a:lnTo>
                          <a:lnTo>
                            <a:pt x="120" y="198"/>
                          </a:lnTo>
                          <a:lnTo>
                            <a:pt x="120" y="174"/>
                          </a:lnTo>
                          <a:lnTo>
                            <a:pt x="138" y="174"/>
                          </a:lnTo>
                          <a:lnTo>
                            <a:pt x="144" y="168"/>
                          </a:lnTo>
                          <a:lnTo>
                            <a:pt x="144" y="138"/>
                          </a:lnTo>
                          <a:lnTo>
                            <a:pt x="120" y="144"/>
                          </a:lnTo>
                          <a:lnTo>
                            <a:pt x="120" y="126"/>
                          </a:lnTo>
                          <a:lnTo>
                            <a:pt x="114" y="126"/>
                          </a:lnTo>
                          <a:lnTo>
                            <a:pt x="108" y="120"/>
                          </a:lnTo>
                          <a:lnTo>
                            <a:pt x="108" y="96"/>
                          </a:lnTo>
                          <a:lnTo>
                            <a:pt x="102" y="84"/>
                          </a:lnTo>
                          <a:lnTo>
                            <a:pt x="102" y="42"/>
                          </a:lnTo>
                          <a:lnTo>
                            <a:pt x="96" y="24"/>
                          </a:lnTo>
                          <a:lnTo>
                            <a:pt x="84" y="24"/>
                          </a:lnTo>
                          <a:lnTo>
                            <a:pt x="72" y="6"/>
                          </a:lnTo>
                          <a:lnTo>
                            <a:pt x="66" y="12"/>
                          </a:lnTo>
                          <a:lnTo>
                            <a:pt x="36" y="0"/>
                          </a:lnTo>
                          <a:lnTo>
                            <a:pt x="36" y="18"/>
                          </a:lnTo>
                          <a:lnTo>
                            <a:pt x="24" y="24"/>
                          </a:lnTo>
                          <a:lnTo>
                            <a:pt x="0" y="24"/>
                          </a:lnTo>
                          <a:lnTo>
                            <a:pt x="18" y="36"/>
                          </a:lnTo>
                          <a:lnTo>
                            <a:pt x="24" y="30"/>
                          </a:lnTo>
                          <a:lnTo>
                            <a:pt x="30" y="48"/>
                          </a:lnTo>
                          <a:lnTo>
                            <a:pt x="18" y="60"/>
                          </a:lnTo>
                          <a:lnTo>
                            <a:pt x="24" y="66"/>
                          </a:lnTo>
                          <a:lnTo>
                            <a:pt x="48" y="66"/>
                          </a:lnTo>
                          <a:lnTo>
                            <a:pt x="48" y="84"/>
                          </a:lnTo>
                          <a:lnTo>
                            <a:pt x="42" y="96"/>
                          </a:lnTo>
                          <a:lnTo>
                            <a:pt x="42" y="114"/>
                          </a:lnTo>
                          <a:lnTo>
                            <a:pt x="36" y="132"/>
                          </a:lnTo>
                          <a:lnTo>
                            <a:pt x="36" y="156"/>
                          </a:lnTo>
                          <a:lnTo>
                            <a:pt x="24" y="180"/>
                          </a:lnTo>
                          <a:lnTo>
                            <a:pt x="24" y="186"/>
                          </a:lnTo>
                          <a:lnTo>
                            <a:pt x="42" y="204"/>
                          </a:lnTo>
                          <a:lnTo>
                            <a:pt x="54" y="210"/>
                          </a:lnTo>
                          <a:lnTo>
                            <a:pt x="60" y="216"/>
                          </a:lnTo>
                          <a:lnTo>
                            <a:pt x="60" y="234"/>
                          </a:lnTo>
                          <a:lnTo>
                            <a:pt x="66" y="240"/>
                          </a:lnTo>
                          <a:lnTo>
                            <a:pt x="84" y="240"/>
                          </a:lnTo>
                          <a:lnTo>
                            <a:pt x="90" y="246"/>
                          </a:lnTo>
                          <a:lnTo>
                            <a:pt x="96" y="246"/>
                          </a:lnTo>
                          <a:lnTo>
                            <a:pt x="96" y="210"/>
                          </a:ln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>
                        <a:spcBef>
                          <a:spcPct val="0"/>
                        </a:spcBef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  <p:grpSp>
                  <p:nvGrpSpPr>
                    <p:cNvPr id="350" name="Gruppieren 652"/>
                    <p:cNvGrpSpPr/>
                    <p:nvPr/>
                  </p:nvGrpSpPr>
                  <p:grpSpPr>
                    <a:xfrm>
                      <a:off x="4491043" y="2270127"/>
                      <a:ext cx="563564" cy="484188"/>
                      <a:chOff x="4491043" y="2270127"/>
                      <a:chExt cx="563564" cy="484188"/>
                    </a:xfrm>
                    <a:grpFill/>
                  </p:grpSpPr>
                  <p:sp>
                    <p:nvSpPr>
                      <p:cNvPr id="352" name="Slovenia" descr="© INSCALE GmbH, 05.05.2010&#10;http://www.presentationload.com/"/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4584706" y="2557464"/>
                        <a:ext cx="85725" cy="47625"/>
                      </a:xfrm>
                      <a:custGeom>
                        <a:avLst/>
                        <a:gdLst>
                          <a:gd name="T0" fmla="*/ 2147483647 w 210"/>
                          <a:gd name="T1" fmla="*/ 2147483647 h 120"/>
                          <a:gd name="T2" fmla="*/ 2147483647 w 210"/>
                          <a:gd name="T3" fmla="*/ 2147483647 h 120"/>
                          <a:gd name="T4" fmla="*/ 2147483647 w 210"/>
                          <a:gd name="T5" fmla="*/ 2147483647 h 120"/>
                          <a:gd name="T6" fmla="*/ 2147483647 w 210"/>
                          <a:gd name="T7" fmla="*/ 2147483647 h 120"/>
                          <a:gd name="T8" fmla="*/ 2147483647 w 210"/>
                          <a:gd name="T9" fmla="*/ 2147483647 h 120"/>
                          <a:gd name="T10" fmla="*/ 2147483647 w 210"/>
                          <a:gd name="T11" fmla="*/ 2147483647 h 120"/>
                          <a:gd name="T12" fmla="*/ 2147483647 w 210"/>
                          <a:gd name="T13" fmla="*/ 2147483647 h 120"/>
                          <a:gd name="T14" fmla="*/ 2147483647 w 210"/>
                          <a:gd name="T15" fmla="*/ 2147483647 h 120"/>
                          <a:gd name="T16" fmla="*/ 2147483647 w 210"/>
                          <a:gd name="T17" fmla="*/ 2147483647 h 120"/>
                          <a:gd name="T18" fmla="*/ 2147483647 w 210"/>
                          <a:gd name="T19" fmla="*/ 2147483647 h 120"/>
                          <a:gd name="T20" fmla="*/ 2147483647 w 210"/>
                          <a:gd name="T21" fmla="*/ 2147483647 h 120"/>
                          <a:gd name="T22" fmla="*/ 2147483647 w 210"/>
                          <a:gd name="T23" fmla="*/ 2147483647 h 120"/>
                          <a:gd name="T24" fmla="*/ 2147483647 w 210"/>
                          <a:gd name="T25" fmla="*/ 2147483647 h 120"/>
                          <a:gd name="T26" fmla="*/ 2147483647 w 210"/>
                          <a:gd name="T27" fmla="*/ 2147483647 h 120"/>
                          <a:gd name="T28" fmla="*/ 2147483647 w 210"/>
                          <a:gd name="T29" fmla="*/ 2147483647 h 120"/>
                          <a:gd name="T30" fmla="*/ 2147483647 w 210"/>
                          <a:gd name="T31" fmla="*/ 2147483647 h 120"/>
                          <a:gd name="T32" fmla="*/ 2147483647 w 210"/>
                          <a:gd name="T33" fmla="*/ 2147483647 h 120"/>
                          <a:gd name="T34" fmla="*/ 2147483647 w 210"/>
                          <a:gd name="T35" fmla="*/ 2147483647 h 120"/>
                          <a:gd name="T36" fmla="*/ 2147483647 w 210"/>
                          <a:gd name="T37" fmla="*/ 2147483647 h 120"/>
                          <a:gd name="T38" fmla="*/ 2147483647 w 210"/>
                          <a:gd name="T39" fmla="*/ 2147483647 h 120"/>
                          <a:gd name="T40" fmla="*/ 2147483647 w 210"/>
                          <a:gd name="T41" fmla="*/ 2147483647 h 120"/>
                          <a:gd name="T42" fmla="*/ 2147483647 w 210"/>
                          <a:gd name="T43" fmla="*/ 0 h 120"/>
                          <a:gd name="T44" fmla="*/ 2147483647 w 210"/>
                          <a:gd name="T45" fmla="*/ 2147483647 h 120"/>
                          <a:gd name="T46" fmla="*/ 2147483647 w 210"/>
                          <a:gd name="T47" fmla="*/ 2147483647 h 120"/>
                          <a:gd name="T48" fmla="*/ 2147483647 w 210"/>
                          <a:gd name="T49" fmla="*/ 2147483647 h 120"/>
                          <a:gd name="T50" fmla="*/ 2147483647 w 210"/>
                          <a:gd name="T51" fmla="*/ 2147483647 h 120"/>
                          <a:gd name="T52" fmla="*/ 2147483647 w 210"/>
                          <a:gd name="T53" fmla="*/ 2147483647 h 120"/>
                          <a:gd name="T54" fmla="*/ 2147483647 w 210"/>
                          <a:gd name="T55" fmla="*/ 2147483647 h 120"/>
                          <a:gd name="T56" fmla="*/ 2147483647 w 210"/>
                          <a:gd name="T57" fmla="*/ 2147483647 h 120"/>
                          <a:gd name="T58" fmla="*/ 2147483647 w 210"/>
                          <a:gd name="T59" fmla="*/ 2147483647 h 120"/>
                          <a:gd name="T60" fmla="*/ 2147483647 w 210"/>
                          <a:gd name="T61" fmla="*/ 2147483647 h 120"/>
                          <a:gd name="T62" fmla="*/ 2147483647 w 210"/>
                          <a:gd name="T63" fmla="*/ 2147483647 h 120"/>
                          <a:gd name="T64" fmla="*/ 2147483647 w 210"/>
                          <a:gd name="T65" fmla="*/ 2147483647 h 120"/>
                          <a:gd name="T66" fmla="*/ 2147483647 w 210"/>
                          <a:gd name="T67" fmla="*/ 2147483647 h 120"/>
                          <a:gd name="T68" fmla="*/ 0 w 210"/>
                          <a:gd name="T69" fmla="*/ 2147483647 h 120"/>
                          <a:gd name="T70" fmla="*/ 2147483647 w 210"/>
                          <a:gd name="T71" fmla="*/ 2147483647 h 120"/>
                          <a:gd name="T72" fmla="*/ 2147483647 w 210"/>
                          <a:gd name="T73" fmla="*/ 2147483647 h 120"/>
                          <a:gd name="T74" fmla="*/ 2147483647 w 210"/>
                          <a:gd name="T75" fmla="*/ 2147483647 h 120"/>
                          <a:gd name="T76" fmla="*/ 2147483647 w 210"/>
                          <a:gd name="T77" fmla="*/ 2147483647 h 120"/>
                          <a:gd name="T78" fmla="*/ 2147483647 w 210"/>
                          <a:gd name="T79" fmla="*/ 2147483647 h 120"/>
                          <a:gd name="T80" fmla="*/ 2147483647 w 210"/>
                          <a:gd name="T81" fmla="*/ 2147483647 h 120"/>
                          <a:gd name="T82" fmla="*/ 2147483647 w 210"/>
                          <a:gd name="T83" fmla="*/ 2147483647 h 120"/>
                          <a:gd name="T84" fmla="*/ 2147483647 w 210"/>
                          <a:gd name="T85" fmla="*/ 2147483647 h 120"/>
                          <a:gd name="T86" fmla="*/ 2147483647 w 210"/>
                          <a:gd name="T87" fmla="*/ 2147483647 h 120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w 210"/>
                          <a:gd name="T133" fmla="*/ 0 h 120"/>
                          <a:gd name="T134" fmla="*/ 210 w 210"/>
                          <a:gd name="T135" fmla="*/ 120 h 120"/>
                        </a:gdLst>
                        <a:ahLst/>
                        <a:cxnLst>
                          <a:cxn ang="T88">
                            <a:pos x="T0" y="T1"/>
                          </a:cxn>
                          <a:cxn ang="T89">
                            <a:pos x="T2" y="T3"/>
                          </a:cxn>
                          <a:cxn ang="T90">
                            <a:pos x="T4" y="T5"/>
                          </a:cxn>
                          <a:cxn ang="T91">
                            <a:pos x="T6" y="T7"/>
                          </a:cxn>
                          <a:cxn ang="T92">
                            <a:pos x="T8" y="T9"/>
                          </a:cxn>
                          <a:cxn ang="T93">
                            <a:pos x="T10" y="T11"/>
                          </a:cxn>
                          <a:cxn ang="T94">
                            <a:pos x="T12" y="T13"/>
                          </a:cxn>
                          <a:cxn ang="T95">
                            <a:pos x="T14" y="T15"/>
                          </a:cxn>
                          <a:cxn ang="T96">
                            <a:pos x="T16" y="T17"/>
                          </a:cxn>
                          <a:cxn ang="T97">
                            <a:pos x="T18" y="T19"/>
                          </a:cxn>
                          <a:cxn ang="T98">
                            <a:pos x="T20" y="T21"/>
                          </a:cxn>
                          <a:cxn ang="T99">
                            <a:pos x="T22" y="T23"/>
                          </a:cxn>
                          <a:cxn ang="T100">
                            <a:pos x="T24" y="T25"/>
                          </a:cxn>
                          <a:cxn ang="T101">
                            <a:pos x="T26" y="T27"/>
                          </a:cxn>
                          <a:cxn ang="T102">
                            <a:pos x="T28" y="T29"/>
                          </a:cxn>
                          <a:cxn ang="T103">
                            <a:pos x="T30" y="T31"/>
                          </a:cxn>
                          <a:cxn ang="T104">
                            <a:pos x="T32" y="T33"/>
                          </a:cxn>
                          <a:cxn ang="T105">
                            <a:pos x="T34" y="T35"/>
                          </a:cxn>
                          <a:cxn ang="T106">
                            <a:pos x="T36" y="T37"/>
                          </a:cxn>
                          <a:cxn ang="T107">
                            <a:pos x="T38" y="T39"/>
                          </a:cxn>
                          <a:cxn ang="T108">
                            <a:pos x="T40" y="T41"/>
                          </a:cxn>
                          <a:cxn ang="T109">
                            <a:pos x="T42" y="T43"/>
                          </a:cxn>
                          <a:cxn ang="T110">
                            <a:pos x="T44" y="T45"/>
                          </a:cxn>
                          <a:cxn ang="T111">
                            <a:pos x="T46" y="T47"/>
                          </a:cxn>
                          <a:cxn ang="T112">
                            <a:pos x="T48" y="T49"/>
                          </a:cxn>
                          <a:cxn ang="T113">
                            <a:pos x="T50" y="T51"/>
                          </a:cxn>
                          <a:cxn ang="T114">
                            <a:pos x="T52" y="T53"/>
                          </a:cxn>
                          <a:cxn ang="T115">
                            <a:pos x="T54" y="T55"/>
                          </a:cxn>
                          <a:cxn ang="T116">
                            <a:pos x="T56" y="T57"/>
                          </a:cxn>
                          <a:cxn ang="T117">
                            <a:pos x="T58" y="T59"/>
                          </a:cxn>
                          <a:cxn ang="T118">
                            <a:pos x="T60" y="T61"/>
                          </a:cxn>
                          <a:cxn ang="T119">
                            <a:pos x="T62" y="T63"/>
                          </a:cxn>
                          <a:cxn ang="T120">
                            <a:pos x="T64" y="T65"/>
                          </a:cxn>
                          <a:cxn ang="T121">
                            <a:pos x="T66" y="T67"/>
                          </a:cxn>
                          <a:cxn ang="T122">
                            <a:pos x="T68" y="T69"/>
                          </a:cxn>
                          <a:cxn ang="T123">
                            <a:pos x="T70" y="T71"/>
                          </a:cxn>
                          <a:cxn ang="T124">
                            <a:pos x="T72" y="T73"/>
                          </a:cxn>
                          <a:cxn ang="T125">
                            <a:pos x="T74" y="T75"/>
                          </a:cxn>
                          <a:cxn ang="T126">
                            <a:pos x="T76" y="T77"/>
                          </a:cxn>
                          <a:cxn ang="T127">
                            <a:pos x="T78" y="T79"/>
                          </a:cxn>
                          <a:cxn ang="T128">
                            <a:pos x="T80" y="T81"/>
                          </a:cxn>
                          <a:cxn ang="T129">
                            <a:pos x="T82" y="T83"/>
                          </a:cxn>
                          <a:cxn ang="T130">
                            <a:pos x="T84" y="T85"/>
                          </a:cxn>
                          <a:cxn ang="T131">
                            <a:pos x="T86" y="T87"/>
                          </a:cxn>
                        </a:cxnLst>
                        <a:rect l="T132" t="T133" r="T134" b="T135"/>
                        <a:pathLst>
                          <a:path w="210" h="120">
                            <a:moveTo>
                              <a:pt x="24" y="120"/>
                            </a:moveTo>
                            <a:lnTo>
                              <a:pt x="42" y="120"/>
                            </a:lnTo>
                            <a:lnTo>
                              <a:pt x="42" y="108"/>
                            </a:lnTo>
                            <a:lnTo>
                              <a:pt x="54" y="114"/>
                            </a:lnTo>
                            <a:lnTo>
                              <a:pt x="72" y="114"/>
                            </a:lnTo>
                            <a:lnTo>
                              <a:pt x="78" y="102"/>
                            </a:lnTo>
                            <a:lnTo>
                              <a:pt x="78" y="108"/>
                            </a:lnTo>
                            <a:lnTo>
                              <a:pt x="84" y="114"/>
                            </a:lnTo>
                            <a:lnTo>
                              <a:pt x="126" y="114"/>
                            </a:lnTo>
                            <a:lnTo>
                              <a:pt x="126" y="96"/>
                            </a:lnTo>
                            <a:lnTo>
                              <a:pt x="138" y="90"/>
                            </a:lnTo>
                            <a:lnTo>
                              <a:pt x="150" y="78"/>
                            </a:lnTo>
                            <a:lnTo>
                              <a:pt x="150" y="72"/>
                            </a:lnTo>
                            <a:lnTo>
                              <a:pt x="144" y="66"/>
                            </a:lnTo>
                            <a:lnTo>
                              <a:pt x="144" y="54"/>
                            </a:lnTo>
                            <a:lnTo>
                              <a:pt x="174" y="54"/>
                            </a:lnTo>
                            <a:lnTo>
                              <a:pt x="186" y="48"/>
                            </a:lnTo>
                            <a:lnTo>
                              <a:pt x="186" y="36"/>
                            </a:lnTo>
                            <a:lnTo>
                              <a:pt x="210" y="36"/>
                            </a:lnTo>
                            <a:lnTo>
                              <a:pt x="192" y="24"/>
                            </a:lnTo>
                            <a:lnTo>
                              <a:pt x="186" y="6"/>
                            </a:lnTo>
                            <a:lnTo>
                              <a:pt x="180" y="0"/>
                            </a:lnTo>
                            <a:lnTo>
                              <a:pt x="174" y="12"/>
                            </a:lnTo>
                            <a:lnTo>
                              <a:pt x="168" y="30"/>
                            </a:lnTo>
                            <a:lnTo>
                              <a:pt x="144" y="24"/>
                            </a:lnTo>
                            <a:lnTo>
                              <a:pt x="132" y="30"/>
                            </a:lnTo>
                            <a:lnTo>
                              <a:pt x="84" y="30"/>
                            </a:lnTo>
                            <a:lnTo>
                              <a:pt x="84" y="42"/>
                            </a:lnTo>
                            <a:lnTo>
                              <a:pt x="54" y="42"/>
                            </a:lnTo>
                            <a:lnTo>
                              <a:pt x="48" y="36"/>
                            </a:lnTo>
                            <a:lnTo>
                              <a:pt x="30" y="36"/>
                            </a:lnTo>
                            <a:lnTo>
                              <a:pt x="24" y="42"/>
                            </a:lnTo>
                            <a:lnTo>
                              <a:pt x="6" y="42"/>
                            </a:lnTo>
                            <a:lnTo>
                              <a:pt x="6" y="48"/>
                            </a:lnTo>
                            <a:lnTo>
                              <a:pt x="0" y="54"/>
                            </a:lnTo>
                            <a:lnTo>
                              <a:pt x="12" y="60"/>
                            </a:lnTo>
                            <a:lnTo>
                              <a:pt x="6" y="96"/>
                            </a:lnTo>
                            <a:lnTo>
                              <a:pt x="18" y="96"/>
                            </a:lnTo>
                            <a:lnTo>
                              <a:pt x="30" y="102"/>
                            </a:lnTo>
                            <a:lnTo>
                              <a:pt x="36" y="102"/>
                            </a:lnTo>
                            <a:lnTo>
                              <a:pt x="36" y="108"/>
                            </a:lnTo>
                            <a:lnTo>
                              <a:pt x="30" y="108"/>
                            </a:lnTo>
                            <a:lnTo>
                              <a:pt x="30" y="114"/>
                            </a:lnTo>
                            <a:lnTo>
                              <a:pt x="24" y="120"/>
                            </a:lnTo>
                            <a:close/>
                          </a:path>
                        </a:pathLst>
                      </a:custGeom>
                      <a:solidFill>
                        <a:srgbClr val="EF4E2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>
                          <a:spcBef>
                            <a:spcPct val="0"/>
                          </a:spcBef>
                          <a:defRPr/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endParaRPr>
                      </a:p>
                    </p:txBody>
                  </p:sp>
                  <p:sp>
                    <p:nvSpPr>
                      <p:cNvPr id="353" name="Macedonia" descr="© INSCALE GmbH, 05.05.2010&#10;http://www.presentationload.com/"/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4775206" y="2701927"/>
                        <a:ext cx="66675" cy="52388"/>
                      </a:xfrm>
                      <a:custGeom>
                        <a:avLst/>
                        <a:gdLst>
                          <a:gd name="T0" fmla="*/ 2147483647 w 162"/>
                          <a:gd name="T1" fmla="*/ 2147483647 h 126"/>
                          <a:gd name="T2" fmla="*/ 2147483647 w 162"/>
                          <a:gd name="T3" fmla="*/ 2147483647 h 126"/>
                          <a:gd name="T4" fmla="*/ 2147483647 w 162"/>
                          <a:gd name="T5" fmla="*/ 2147483647 h 126"/>
                          <a:gd name="T6" fmla="*/ 2147483647 w 162"/>
                          <a:gd name="T7" fmla="*/ 2147483647 h 126"/>
                          <a:gd name="T8" fmla="*/ 2147483647 w 162"/>
                          <a:gd name="T9" fmla="*/ 0 h 126"/>
                          <a:gd name="T10" fmla="*/ 2147483647 w 162"/>
                          <a:gd name="T11" fmla="*/ 2147483647 h 126"/>
                          <a:gd name="T12" fmla="*/ 2147483647 w 162"/>
                          <a:gd name="T13" fmla="*/ 2147483647 h 126"/>
                          <a:gd name="T14" fmla="*/ 2147483647 w 162"/>
                          <a:gd name="T15" fmla="*/ 2147483647 h 126"/>
                          <a:gd name="T16" fmla="*/ 2147483647 w 162"/>
                          <a:gd name="T17" fmla="*/ 2147483647 h 126"/>
                          <a:gd name="T18" fmla="*/ 2147483647 w 162"/>
                          <a:gd name="T19" fmla="*/ 2147483647 h 126"/>
                          <a:gd name="T20" fmla="*/ 2147483647 w 162"/>
                          <a:gd name="T21" fmla="*/ 2147483647 h 126"/>
                          <a:gd name="T22" fmla="*/ 0 w 162"/>
                          <a:gd name="T23" fmla="*/ 2147483647 h 126"/>
                          <a:gd name="T24" fmla="*/ 0 w 162"/>
                          <a:gd name="T25" fmla="*/ 2147483647 h 126"/>
                          <a:gd name="T26" fmla="*/ 2147483647 w 162"/>
                          <a:gd name="T27" fmla="*/ 2147483647 h 126"/>
                          <a:gd name="T28" fmla="*/ 2147483647 w 162"/>
                          <a:gd name="T29" fmla="*/ 2147483647 h 126"/>
                          <a:gd name="T30" fmla="*/ 2147483647 w 162"/>
                          <a:gd name="T31" fmla="*/ 2147483647 h 126"/>
                          <a:gd name="T32" fmla="*/ 2147483647 w 162"/>
                          <a:gd name="T33" fmla="*/ 2147483647 h 126"/>
                          <a:gd name="T34" fmla="*/ 2147483647 w 162"/>
                          <a:gd name="T35" fmla="*/ 2147483647 h 126"/>
                          <a:gd name="T36" fmla="*/ 2147483647 w 162"/>
                          <a:gd name="T37" fmla="*/ 2147483647 h 126"/>
                          <a:gd name="T38" fmla="*/ 2147483647 w 162"/>
                          <a:gd name="T39" fmla="*/ 2147483647 h 126"/>
                          <a:gd name="T40" fmla="*/ 2147483647 w 162"/>
                          <a:gd name="T41" fmla="*/ 2147483647 h 126"/>
                          <a:gd name="T42" fmla="*/ 2147483647 w 162"/>
                          <a:gd name="T43" fmla="*/ 2147483647 h 126"/>
                          <a:gd name="T44" fmla="*/ 2147483647 w 162"/>
                          <a:gd name="T45" fmla="*/ 2147483647 h 126"/>
                          <a:gd name="T46" fmla="*/ 2147483647 w 162"/>
                          <a:gd name="T47" fmla="*/ 2147483647 h 126"/>
                          <a:gd name="T48" fmla="*/ 2147483647 w 162"/>
                          <a:gd name="T49" fmla="*/ 2147483647 h 126"/>
                          <a:gd name="T50" fmla="*/ 2147483647 w 162"/>
                          <a:gd name="T51" fmla="*/ 2147483647 h 126"/>
                          <a:gd name="T52" fmla="*/ 2147483647 w 162"/>
                          <a:gd name="T53" fmla="*/ 2147483647 h 126"/>
                          <a:gd name="T54" fmla="*/ 2147483647 w 162"/>
                          <a:gd name="T55" fmla="*/ 2147483647 h 126"/>
                          <a:gd name="T56" fmla="*/ 2147483647 w 162"/>
                          <a:gd name="T57" fmla="*/ 2147483647 h 126"/>
                          <a:gd name="T58" fmla="*/ 2147483647 w 162"/>
                          <a:gd name="T59" fmla="*/ 2147483647 h 126"/>
                          <a:gd name="T60" fmla="*/ 2147483647 w 162"/>
                          <a:gd name="T61" fmla="*/ 2147483647 h 126"/>
                          <a:gd name="T62" fmla="*/ 2147483647 w 162"/>
                          <a:gd name="T63" fmla="*/ 2147483647 h 126"/>
                          <a:gd name="T64" fmla="*/ 2147483647 w 162"/>
                          <a:gd name="T65" fmla="*/ 2147483647 h 126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w 162"/>
                          <a:gd name="T100" fmla="*/ 0 h 126"/>
                          <a:gd name="T101" fmla="*/ 162 w 162"/>
                          <a:gd name="T102" fmla="*/ 126 h 126"/>
                        </a:gdLst>
                        <a:ahLst/>
                        <a:cxnLst>
                          <a:cxn ang="T66">
                            <a:pos x="T0" y="T1"/>
                          </a:cxn>
                          <a:cxn ang="T67">
                            <a:pos x="T2" y="T3"/>
                          </a:cxn>
                          <a:cxn ang="T68">
                            <a:pos x="T4" y="T5"/>
                          </a:cxn>
                          <a:cxn ang="T69">
                            <a:pos x="T6" y="T7"/>
                          </a:cxn>
                          <a:cxn ang="T70">
                            <a:pos x="T8" y="T9"/>
                          </a:cxn>
                          <a:cxn ang="T71">
                            <a:pos x="T10" y="T11"/>
                          </a:cxn>
                          <a:cxn ang="T72">
                            <a:pos x="T12" y="T13"/>
                          </a:cxn>
                          <a:cxn ang="T73">
                            <a:pos x="T14" y="T15"/>
                          </a:cxn>
                          <a:cxn ang="T74">
                            <a:pos x="T16" y="T17"/>
                          </a:cxn>
                          <a:cxn ang="T75">
                            <a:pos x="T18" y="T19"/>
                          </a:cxn>
                          <a:cxn ang="T76">
                            <a:pos x="T20" y="T21"/>
                          </a:cxn>
                          <a:cxn ang="T77">
                            <a:pos x="T22" y="T23"/>
                          </a:cxn>
                          <a:cxn ang="T78">
                            <a:pos x="T24" y="T25"/>
                          </a:cxn>
                          <a:cxn ang="T79">
                            <a:pos x="T26" y="T27"/>
                          </a:cxn>
                          <a:cxn ang="T80">
                            <a:pos x="T28" y="T29"/>
                          </a:cxn>
                          <a:cxn ang="T81">
                            <a:pos x="T30" y="T31"/>
                          </a:cxn>
                          <a:cxn ang="T82">
                            <a:pos x="T32" y="T33"/>
                          </a:cxn>
                          <a:cxn ang="T83">
                            <a:pos x="T34" y="T35"/>
                          </a:cxn>
                          <a:cxn ang="T84">
                            <a:pos x="T36" y="T37"/>
                          </a:cxn>
                          <a:cxn ang="T85">
                            <a:pos x="T38" y="T39"/>
                          </a:cxn>
                          <a:cxn ang="T86">
                            <a:pos x="T40" y="T41"/>
                          </a:cxn>
                          <a:cxn ang="T87">
                            <a:pos x="T42" y="T43"/>
                          </a:cxn>
                          <a:cxn ang="T88">
                            <a:pos x="T44" y="T45"/>
                          </a:cxn>
                          <a:cxn ang="T89">
                            <a:pos x="T46" y="T47"/>
                          </a:cxn>
                          <a:cxn ang="T90">
                            <a:pos x="T48" y="T49"/>
                          </a:cxn>
                          <a:cxn ang="T91">
                            <a:pos x="T50" y="T51"/>
                          </a:cxn>
                          <a:cxn ang="T92">
                            <a:pos x="T52" y="T53"/>
                          </a:cxn>
                          <a:cxn ang="T93">
                            <a:pos x="T54" y="T55"/>
                          </a:cxn>
                          <a:cxn ang="T94">
                            <a:pos x="T56" y="T57"/>
                          </a:cxn>
                          <a:cxn ang="T95">
                            <a:pos x="T58" y="T59"/>
                          </a:cxn>
                          <a:cxn ang="T96">
                            <a:pos x="T60" y="T61"/>
                          </a:cxn>
                          <a:cxn ang="T97">
                            <a:pos x="T62" y="T63"/>
                          </a:cxn>
                          <a:cxn ang="T98">
                            <a:pos x="T64" y="T65"/>
                          </a:cxn>
                        </a:cxnLst>
                        <a:rect l="T99" t="T100" r="T101" b="T102"/>
                        <a:pathLst>
                          <a:path w="162" h="126">
                            <a:moveTo>
                              <a:pt x="150" y="42"/>
                            </a:moveTo>
                            <a:lnTo>
                              <a:pt x="132" y="30"/>
                            </a:lnTo>
                            <a:lnTo>
                              <a:pt x="132" y="18"/>
                            </a:lnTo>
                            <a:lnTo>
                              <a:pt x="126" y="18"/>
                            </a:lnTo>
                            <a:lnTo>
                              <a:pt x="114" y="0"/>
                            </a:lnTo>
                            <a:lnTo>
                              <a:pt x="72" y="6"/>
                            </a:lnTo>
                            <a:lnTo>
                              <a:pt x="66" y="12"/>
                            </a:lnTo>
                            <a:lnTo>
                              <a:pt x="48" y="12"/>
                            </a:lnTo>
                            <a:lnTo>
                              <a:pt x="48" y="24"/>
                            </a:lnTo>
                            <a:lnTo>
                              <a:pt x="24" y="24"/>
                            </a:lnTo>
                            <a:lnTo>
                              <a:pt x="18" y="36"/>
                            </a:lnTo>
                            <a:lnTo>
                              <a:pt x="0" y="42"/>
                            </a:lnTo>
                            <a:lnTo>
                              <a:pt x="0" y="66"/>
                            </a:lnTo>
                            <a:lnTo>
                              <a:pt x="6" y="78"/>
                            </a:lnTo>
                            <a:lnTo>
                              <a:pt x="6" y="102"/>
                            </a:lnTo>
                            <a:lnTo>
                              <a:pt x="12" y="108"/>
                            </a:lnTo>
                            <a:lnTo>
                              <a:pt x="18" y="108"/>
                            </a:lnTo>
                            <a:lnTo>
                              <a:pt x="18" y="126"/>
                            </a:lnTo>
                            <a:lnTo>
                              <a:pt x="42" y="120"/>
                            </a:lnTo>
                            <a:lnTo>
                              <a:pt x="42" y="126"/>
                            </a:lnTo>
                            <a:lnTo>
                              <a:pt x="54" y="120"/>
                            </a:lnTo>
                            <a:lnTo>
                              <a:pt x="60" y="120"/>
                            </a:lnTo>
                            <a:lnTo>
                              <a:pt x="66" y="126"/>
                            </a:lnTo>
                            <a:lnTo>
                              <a:pt x="90" y="126"/>
                            </a:lnTo>
                            <a:lnTo>
                              <a:pt x="96" y="114"/>
                            </a:lnTo>
                            <a:lnTo>
                              <a:pt x="96" y="108"/>
                            </a:lnTo>
                            <a:lnTo>
                              <a:pt x="120" y="108"/>
                            </a:lnTo>
                            <a:lnTo>
                              <a:pt x="132" y="102"/>
                            </a:lnTo>
                            <a:lnTo>
                              <a:pt x="156" y="78"/>
                            </a:lnTo>
                            <a:lnTo>
                              <a:pt x="162" y="66"/>
                            </a:lnTo>
                            <a:lnTo>
                              <a:pt x="162" y="60"/>
                            </a:lnTo>
                            <a:lnTo>
                              <a:pt x="156" y="48"/>
                            </a:lnTo>
                            <a:lnTo>
                              <a:pt x="150" y="42"/>
                            </a:lnTo>
                            <a:close/>
                          </a:path>
                        </a:pathLst>
                      </a:custGeom>
                      <a:solidFill>
                        <a:srgbClr val="DF3817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>
                          <a:spcBef>
                            <a:spcPct val="0"/>
                          </a:spcBef>
                          <a:defRPr/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endParaRPr>
                      </a:p>
                    </p:txBody>
                  </p:sp>
                  <p:sp>
                    <p:nvSpPr>
                      <p:cNvPr id="354" name="Croatia" descr="© INSCALE GmbH, 05.05.2010&#10;http://www.presentationload.com/"/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4594231" y="2573339"/>
                        <a:ext cx="149225" cy="109538"/>
                      </a:xfrm>
                      <a:custGeom>
                        <a:avLst/>
                        <a:gdLst>
                          <a:gd name="T0" fmla="*/ 2147483647 w 366"/>
                          <a:gd name="T1" fmla="*/ 2147483647 h 276"/>
                          <a:gd name="T2" fmla="*/ 2147483647 w 366"/>
                          <a:gd name="T3" fmla="*/ 2147483647 h 276"/>
                          <a:gd name="T4" fmla="*/ 2147483647 w 366"/>
                          <a:gd name="T5" fmla="*/ 2147483647 h 276"/>
                          <a:gd name="T6" fmla="*/ 2147483647 w 366"/>
                          <a:gd name="T7" fmla="*/ 2147483647 h 276"/>
                          <a:gd name="T8" fmla="*/ 2147483647 w 366"/>
                          <a:gd name="T9" fmla="*/ 2147483647 h 276"/>
                          <a:gd name="T10" fmla="*/ 2147483647 w 366"/>
                          <a:gd name="T11" fmla="*/ 2147483647 h 276"/>
                          <a:gd name="T12" fmla="*/ 2147483647 w 366"/>
                          <a:gd name="T13" fmla="*/ 2147483647 h 276"/>
                          <a:gd name="T14" fmla="*/ 2147483647 w 366"/>
                          <a:gd name="T15" fmla="*/ 2147483647 h 276"/>
                          <a:gd name="T16" fmla="*/ 2147483647 w 366"/>
                          <a:gd name="T17" fmla="*/ 2147483647 h 276"/>
                          <a:gd name="T18" fmla="*/ 2147483647 w 366"/>
                          <a:gd name="T19" fmla="*/ 2147483647 h 276"/>
                          <a:gd name="T20" fmla="*/ 2147483647 w 366"/>
                          <a:gd name="T21" fmla="*/ 2147483647 h 276"/>
                          <a:gd name="T22" fmla="*/ 2147483647 w 366"/>
                          <a:gd name="T23" fmla="*/ 0 h 276"/>
                          <a:gd name="T24" fmla="*/ 2147483647 w 366"/>
                          <a:gd name="T25" fmla="*/ 2147483647 h 276"/>
                          <a:gd name="T26" fmla="*/ 2147483647 w 366"/>
                          <a:gd name="T27" fmla="*/ 2147483647 h 276"/>
                          <a:gd name="T28" fmla="*/ 2147483647 w 366"/>
                          <a:gd name="T29" fmla="*/ 2147483647 h 276"/>
                          <a:gd name="T30" fmla="*/ 2147483647 w 366"/>
                          <a:gd name="T31" fmla="*/ 2147483647 h 276"/>
                          <a:gd name="T32" fmla="*/ 2147483647 w 366"/>
                          <a:gd name="T33" fmla="*/ 2147483647 h 276"/>
                          <a:gd name="T34" fmla="*/ 2147483647 w 366"/>
                          <a:gd name="T35" fmla="*/ 2147483647 h 276"/>
                          <a:gd name="T36" fmla="*/ 2147483647 w 366"/>
                          <a:gd name="T37" fmla="*/ 2147483647 h 276"/>
                          <a:gd name="T38" fmla="*/ 2147483647 w 366"/>
                          <a:gd name="T39" fmla="*/ 2147483647 h 276"/>
                          <a:gd name="T40" fmla="*/ 0 w 366"/>
                          <a:gd name="T41" fmla="*/ 2147483647 h 276"/>
                          <a:gd name="T42" fmla="*/ 2147483647 w 366"/>
                          <a:gd name="T43" fmla="*/ 2147483647 h 276"/>
                          <a:gd name="T44" fmla="*/ 2147483647 w 366"/>
                          <a:gd name="T45" fmla="*/ 2147483647 h 276"/>
                          <a:gd name="T46" fmla="*/ 2147483647 w 366"/>
                          <a:gd name="T47" fmla="*/ 2147483647 h 276"/>
                          <a:gd name="T48" fmla="*/ 2147483647 w 366"/>
                          <a:gd name="T49" fmla="*/ 2147483647 h 276"/>
                          <a:gd name="T50" fmla="*/ 2147483647 w 366"/>
                          <a:gd name="T51" fmla="*/ 2147483647 h 276"/>
                          <a:gd name="T52" fmla="*/ 2147483647 w 366"/>
                          <a:gd name="T53" fmla="*/ 2147483647 h 276"/>
                          <a:gd name="T54" fmla="*/ 2147483647 w 366"/>
                          <a:gd name="T55" fmla="*/ 2147483647 h 276"/>
                          <a:gd name="T56" fmla="*/ 2147483647 w 366"/>
                          <a:gd name="T57" fmla="*/ 2147483647 h 276"/>
                          <a:gd name="T58" fmla="*/ 2147483647 w 366"/>
                          <a:gd name="T59" fmla="*/ 2147483647 h 276"/>
                          <a:gd name="T60" fmla="*/ 2147483647 w 366"/>
                          <a:gd name="T61" fmla="*/ 2147483647 h 276"/>
                          <a:gd name="T62" fmla="*/ 2147483647 w 366"/>
                          <a:gd name="T63" fmla="*/ 2147483647 h 276"/>
                          <a:gd name="T64" fmla="*/ 2147483647 w 366"/>
                          <a:gd name="T65" fmla="*/ 2147483647 h 276"/>
                          <a:gd name="T66" fmla="*/ 2147483647 w 366"/>
                          <a:gd name="T67" fmla="*/ 2147483647 h 276"/>
                          <a:gd name="T68" fmla="*/ 2147483647 w 366"/>
                          <a:gd name="T69" fmla="*/ 2147483647 h 276"/>
                          <a:gd name="T70" fmla="*/ 2147483647 w 366"/>
                          <a:gd name="T71" fmla="*/ 2147483647 h 276"/>
                          <a:gd name="T72" fmla="*/ 2147483647 w 366"/>
                          <a:gd name="T73" fmla="*/ 2147483647 h 276"/>
                          <a:gd name="T74" fmla="*/ 2147483647 w 366"/>
                          <a:gd name="T75" fmla="*/ 2147483647 h 276"/>
                          <a:gd name="T76" fmla="*/ 2147483647 w 366"/>
                          <a:gd name="T77" fmla="*/ 2147483647 h 276"/>
                          <a:gd name="T78" fmla="*/ 2147483647 w 366"/>
                          <a:gd name="T79" fmla="*/ 2147483647 h 276"/>
                          <a:gd name="T80" fmla="*/ 2147483647 w 366"/>
                          <a:gd name="T81" fmla="*/ 2147483647 h 276"/>
                          <a:gd name="T82" fmla="*/ 2147483647 w 366"/>
                          <a:gd name="T83" fmla="*/ 2147483647 h 276"/>
                          <a:gd name="T84" fmla="*/ 2147483647 w 366"/>
                          <a:gd name="T85" fmla="*/ 2147483647 h 276"/>
                          <a:gd name="T86" fmla="*/ 2147483647 w 366"/>
                          <a:gd name="T87" fmla="*/ 2147483647 h 276"/>
                          <a:gd name="T88" fmla="*/ 2147483647 w 366"/>
                          <a:gd name="T89" fmla="*/ 2147483647 h 276"/>
                          <a:gd name="T90" fmla="*/ 2147483647 w 366"/>
                          <a:gd name="T91" fmla="*/ 2147483647 h 27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w 366"/>
                          <a:gd name="T139" fmla="*/ 0 h 276"/>
                          <a:gd name="T140" fmla="*/ 366 w 366"/>
                          <a:gd name="T141" fmla="*/ 276 h 276"/>
                        </a:gdLst>
                        <a:ahLst/>
                        <a:cxnLst>
                          <a:cxn ang="T92">
                            <a:pos x="T0" y="T1"/>
                          </a:cxn>
                          <a:cxn ang="T93">
                            <a:pos x="T2" y="T3"/>
                          </a:cxn>
                          <a:cxn ang="T94">
                            <a:pos x="T4" y="T5"/>
                          </a:cxn>
                          <a:cxn ang="T95">
                            <a:pos x="T6" y="T7"/>
                          </a:cxn>
                          <a:cxn ang="T96">
                            <a:pos x="T8" y="T9"/>
                          </a:cxn>
                          <a:cxn ang="T97">
                            <a:pos x="T10" y="T11"/>
                          </a:cxn>
                          <a:cxn ang="T98">
                            <a:pos x="T12" y="T13"/>
                          </a:cxn>
                          <a:cxn ang="T99">
                            <a:pos x="T14" y="T15"/>
                          </a:cxn>
                          <a:cxn ang="T100">
                            <a:pos x="T16" y="T17"/>
                          </a:cxn>
                          <a:cxn ang="T101">
                            <a:pos x="T18" y="T19"/>
                          </a:cxn>
                          <a:cxn ang="T102">
                            <a:pos x="T20" y="T21"/>
                          </a:cxn>
                          <a:cxn ang="T103">
                            <a:pos x="T22" y="T23"/>
                          </a:cxn>
                          <a:cxn ang="T104">
                            <a:pos x="T24" y="T25"/>
                          </a:cxn>
                          <a:cxn ang="T105">
                            <a:pos x="T26" y="T27"/>
                          </a:cxn>
                          <a:cxn ang="T106">
                            <a:pos x="T28" y="T29"/>
                          </a:cxn>
                          <a:cxn ang="T107">
                            <a:pos x="T30" y="T31"/>
                          </a:cxn>
                          <a:cxn ang="T108">
                            <a:pos x="T32" y="T33"/>
                          </a:cxn>
                          <a:cxn ang="T109">
                            <a:pos x="T34" y="T35"/>
                          </a:cxn>
                          <a:cxn ang="T110">
                            <a:pos x="T36" y="T37"/>
                          </a:cxn>
                          <a:cxn ang="T111">
                            <a:pos x="T38" y="T39"/>
                          </a:cxn>
                          <a:cxn ang="T112">
                            <a:pos x="T40" y="T41"/>
                          </a:cxn>
                          <a:cxn ang="T113">
                            <a:pos x="T42" y="T43"/>
                          </a:cxn>
                          <a:cxn ang="T114">
                            <a:pos x="T44" y="T45"/>
                          </a:cxn>
                          <a:cxn ang="T115">
                            <a:pos x="T46" y="T47"/>
                          </a:cxn>
                          <a:cxn ang="T116">
                            <a:pos x="T48" y="T49"/>
                          </a:cxn>
                          <a:cxn ang="T117">
                            <a:pos x="T50" y="T51"/>
                          </a:cxn>
                          <a:cxn ang="T118">
                            <a:pos x="T52" y="T53"/>
                          </a:cxn>
                          <a:cxn ang="T119">
                            <a:pos x="T54" y="T55"/>
                          </a:cxn>
                          <a:cxn ang="T120">
                            <a:pos x="T56" y="T57"/>
                          </a:cxn>
                          <a:cxn ang="T121">
                            <a:pos x="T58" y="T59"/>
                          </a:cxn>
                          <a:cxn ang="T122">
                            <a:pos x="T60" y="T61"/>
                          </a:cxn>
                          <a:cxn ang="T123">
                            <a:pos x="T62" y="T63"/>
                          </a:cxn>
                          <a:cxn ang="T124">
                            <a:pos x="T64" y="T65"/>
                          </a:cxn>
                          <a:cxn ang="T125">
                            <a:pos x="T66" y="T67"/>
                          </a:cxn>
                          <a:cxn ang="T126">
                            <a:pos x="T68" y="T69"/>
                          </a:cxn>
                          <a:cxn ang="T127">
                            <a:pos x="T70" y="T71"/>
                          </a:cxn>
                          <a:cxn ang="T128">
                            <a:pos x="T72" y="T73"/>
                          </a:cxn>
                          <a:cxn ang="T129">
                            <a:pos x="T74" y="T75"/>
                          </a:cxn>
                          <a:cxn ang="T130">
                            <a:pos x="T76" y="T77"/>
                          </a:cxn>
                          <a:cxn ang="T131">
                            <a:pos x="T78" y="T79"/>
                          </a:cxn>
                          <a:cxn ang="T132">
                            <a:pos x="T80" y="T81"/>
                          </a:cxn>
                          <a:cxn ang="T133">
                            <a:pos x="T82" y="T83"/>
                          </a:cxn>
                          <a:cxn ang="T134">
                            <a:pos x="T84" y="T85"/>
                          </a:cxn>
                          <a:cxn ang="T135">
                            <a:pos x="T86" y="T87"/>
                          </a:cxn>
                          <a:cxn ang="T136">
                            <a:pos x="T88" y="T89"/>
                          </a:cxn>
                          <a:cxn ang="T137">
                            <a:pos x="T90" y="T91"/>
                          </a:cxn>
                        </a:cxnLst>
                        <a:rect l="T138" t="T139" r="T140" b="T141"/>
                        <a:pathLst>
                          <a:path w="366" h="276">
                            <a:moveTo>
                              <a:pt x="342" y="126"/>
                            </a:moveTo>
                            <a:lnTo>
                              <a:pt x="342" y="114"/>
                            </a:lnTo>
                            <a:lnTo>
                              <a:pt x="348" y="114"/>
                            </a:lnTo>
                            <a:lnTo>
                              <a:pt x="354" y="108"/>
                            </a:lnTo>
                            <a:lnTo>
                              <a:pt x="360" y="108"/>
                            </a:lnTo>
                            <a:lnTo>
                              <a:pt x="366" y="102"/>
                            </a:lnTo>
                            <a:lnTo>
                              <a:pt x="360" y="102"/>
                            </a:lnTo>
                            <a:lnTo>
                              <a:pt x="348" y="96"/>
                            </a:lnTo>
                            <a:lnTo>
                              <a:pt x="336" y="96"/>
                            </a:lnTo>
                            <a:lnTo>
                              <a:pt x="342" y="78"/>
                            </a:lnTo>
                            <a:lnTo>
                              <a:pt x="336" y="78"/>
                            </a:lnTo>
                            <a:lnTo>
                              <a:pt x="330" y="48"/>
                            </a:lnTo>
                            <a:lnTo>
                              <a:pt x="324" y="48"/>
                            </a:lnTo>
                            <a:lnTo>
                              <a:pt x="312" y="54"/>
                            </a:lnTo>
                            <a:lnTo>
                              <a:pt x="270" y="60"/>
                            </a:lnTo>
                            <a:lnTo>
                              <a:pt x="264" y="48"/>
                            </a:lnTo>
                            <a:lnTo>
                              <a:pt x="246" y="48"/>
                            </a:lnTo>
                            <a:lnTo>
                              <a:pt x="234" y="42"/>
                            </a:lnTo>
                            <a:lnTo>
                              <a:pt x="228" y="36"/>
                            </a:lnTo>
                            <a:lnTo>
                              <a:pt x="216" y="30"/>
                            </a:lnTo>
                            <a:lnTo>
                              <a:pt x="204" y="18"/>
                            </a:lnTo>
                            <a:lnTo>
                              <a:pt x="204" y="12"/>
                            </a:lnTo>
                            <a:lnTo>
                              <a:pt x="198" y="6"/>
                            </a:lnTo>
                            <a:lnTo>
                              <a:pt x="186" y="0"/>
                            </a:lnTo>
                            <a:lnTo>
                              <a:pt x="162" y="0"/>
                            </a:lnTo>
                            <a:lnTo>
                              <a:pt x="162" y="12"/>
                            </a:lnTo>
                            <a:lnTo>
                              <a:pt x="150" y="18"/>
                            </a:lnTo>
                            <a:lnTo>
                              <a:pt x="120" y="18"/>
                            </a:lnTo>
                            <a:lnTo>
                              <a:pt x="120" y="30"/>
                            </a:lnTo>
                            <a:lnTo>
                              <a:pt x="126" y="36"/>
                            </a:lnTo>
                            <a:lnTo>
                              <a:pt x="126" y="42"/>
                            </a:lnTo>
                            <a:lnTo>
                              <a:pt x="114" y="54"/>
                            </a:lnTo>
                            <a:lnTo>
                              <a:pt x="102" y="60"/>
                            </a:lnTo>
                            <a:lnTo>
                              <a:pt x="102" y="78"/>
                            </a:lnTo>
                            <a:lnTo>
                              <a:pt x="60" y="78"/>
                            </a:lnTo>
                            <a:lnTo>
                              <a:pt x="54" y="72"/>
                            </a:lnTo>
                            <a:lnTo>
                              <a:pt x="54" y="66"/>
                            </a:lnTo>
                            <a:lnTo>
                              <a:pt x="48" y="78"/>
                            </a:lnTo>
                            <a:lnTo>
                              <a:pt x="30" y="78"/>
                            </a:lnTo>
                            <a:lnTo>
                              <a:pt x="18" y="72"/>
                            </a:lnTo>
                            <a:lnTo>
                              <a:pt x="18" y="84"/>
                            </a:lnTo>
                            <a:lnTo>
                              <a:pt x="0" y="84"/>
                            </a:lnTo>
                            <a:lnTo>
                              <a:pt x="0" y="132"/>
                            </a:lnTo>
                            <a:lnTo>
                              <a:pt x="6" y="132"/>
                            </a:lnTo>
                            <a:lnTo>
                              <a:pt x="12" y="120"/>
                            </a:lnTo>
                            <a:lnTo>
                              <a:pt x="24" y="114"/>
                            </a:lnTo>
                            <a:lnTo>
                              <a:pt x="30" y="102"/>
                            </a:lnTo>
                            <a:lnTo>
                              <a:pt x="42" y="102"/>
                            </a:lnTo>
                            <a:lnTo>
                              <a:pt x="48" y="114"/>
                            </a:lnTo>
                            <a:lnTo>
                              <a:pt x="48" y="132"/>
                            </a:lnTo>
                            <a:lnTo>
                              <a:pt x="78" y="126"/>
                            </a:lnTo>
                            <a:lnTo>
                              <a:pt x="78" y="132"/>
                            </a:lnTo>
                            <a:lnTo>
                              <a:pt x="72" y="144"/>
                            </a:lnTo>
                            <a:lnTo>
                              <a:pt x="72" y="150"/>
                            </a:lnTo>
                            <a:lnTo>
                              <a:pt x="84" y="162"/>
                            </a:lnTo>
                            <a:lnTo>
                              <a:pt x="96" y="168"/>
                            </a:lnTo>
                            <a:lnTo>
                              <a:pt x="96" y="180"/>
                            </a:lnTo>
                            <a:lnTo>
                              <a:pt x="144" y="216"/>
                            </a:lnTo>
                            <a:lnTo>
                              <a:pt x="144" y="240"/>
                            </a:lnTo>
                            <a:lnTo>
                              <a:pt x="198" y="240"/>
                            </a:lnTo>
                            <a:lnTo>
                              <a:pt x="210" y="246"/>
                            </a:lnTo>
                            <a:lnTo>
                              <a:pt x="216" y="252"/>
                            </a:lnTo>
                            <a:lnTo>
                              <a:pt x="216" y="276"/>
                            </a:lnTo>
                            <a:lnTo>
                              <a:pt x="246" y="276"/>
                            </a:lnTo>
                            <a:lnTo>
                              <a:pt x="252" y="270"/>
                            </a:lnTo>
                            <a:lnTo>
                              <a:pt x="252" y="264"/>
                            </a:lnTo>
                            <a:lnTo>
                              <a:pt x="246" y="252"/>
                            </a:lnTo>
                            <a:lnTo>
                              <a:pt x="234" y="246"/>
                            </a:lnTo>
                            <a:lnTo>
                              <a:pt x="216" y="234"/>
                            </a:lnTo>
                            <a:lnTo>
                              <a:pt x="204" y="228"/>
                            </a:lnTo>
                            <a:lnTo>
                              <a:pt x="192" y="216"/>
                            </a:lnTo>
                            <a:lnTo>
                              <a:pt x="180" y="186"/>
                            </a:lnTo>
                            <a:lnTo>
                              <a:pt x="162" y="180"/>
                            </a:lnTo>
                            <a:lnTo>
                              <a:pt x="162" y="162"/>
                            </a:lnTo>
                            <a:lnTo>
                              <a:pt x="156" y="156"/>
                            </a:lnTo>
                            <a:lnTo>
                              <a:pt x="150" y="156"/>
                            </a:lnTo>
                            <a:lnTo>
                              <a:pt x="150" y="144"/>
                            </a:lnTo>
                            <a:lnTo>
                              <a:pt x="132" y="138"/>
                            </a:lnTo>
                            <a:lnTo>
                              <a:pt x="120" y="126"/>
                            </a:lnTo>
                            <a:lnTo>
                              <a:pt x="138" y="120"/>
                            </a:lnTo>
                            <a:lnTo>
                              <a:pt x="138" y="96"/>
                            </a:lnTo>
                            <a:lnTo>
                              <a:pt x="144" y="96"/>
                            </a:lnTo>
                            <a:lnTo>
                              <a:pt x="150" y="102"/>
                            </a:lnTo>
                            <a:lnTo>
                              <a:pt x="162" y="108"/>
                            </a:lnTo>
                            <a:lnTo>
                              <a:pt x="186" y="102"/>
                            </a:lnTo>
                            <a:lnTo>
                              <a:pt x="210" y="102"/>
                            </a:lnTo>
                            <a:lnTo>
                              <a:pt x="228" y="108"/>
                            </a:lnTo>
                            <a:lnTo>
                              <a:pt x="240" y="102"/>
                            </a:lnTo>
                            <a:lnTo>
                              <a:pt x="252" y="102"/>
                            </a:lnTo>
                            <a:lnTo>
                              <a:pt x="258" y="108"/>
                            </a:lnTo>
                            <a:lnTo>
                              <a:pt x="312" y="108"/>
                            </a:lnTo>
                            <a:lnTo>
                              <a:pt x="324" y="126"/>
                            </a:lnTo>
                            <a:lnTo>
                              <a:pt x="342" y="126"/>
                            </a:lnTo>
                            <a:close/>
                          </a:path>
                        </a:pathLst>
                      </a:custGeom>
                      <a:solidFill>
                        <a:srgbClr val="DF3817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>
                          <a:spcBef>
                            <a:spcPct val="0"/>
                          </a:spcBef>
                          <a:defRPr/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endParaRPr>
                      </a:p>
                    </p:txBody>
                  </p:sp>
                  <p:sp>
                    <p:nvSpPr>
                      <p:cNvPr id="355" name="Bulgaria" descr="© INSCALE GmbH, 05.05.2010&#10;http://www.presentationload.com/"/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4822831" y="2646364"/>
                        <a:ext cx="158750" cy="92075"/>
                      </a:xfrm>
                      <a:custGeom>
                        <a:avLst/>
                        <a:gdLst>
                          <a:gd name="T0" fmla="*/ 2147483647 w 396"/>
                          <a:gd name="T1" fmla="*/ 2147483647 h 228"/>
                          <a:gd name="T2" fmla="*/ 2147483647 w 396"/>
                          <a:gd name="T3" fmla="*/ 2147483647 h 228"/>
                          <a:gd name="T4" fmla="*/ 2147483647 w 396"/>
                          <a:gd name="T5" fmla="*/ 2147483647 h 228"/>
                          <a:gd name="T6" fmla="*/ 2147483647 w 396"/>
                          <a:gd name="T7" fmla="*/ 2147483647 h 228"/>
                          <a:gd name="T8" fmla="*/ 2147483647 w 396"/>
                          <a:gd name="T9" fmla="*/ 2147483647 h 228"/>
                          <a:gd name="T10" fmla="*/ 2147483647 w 396"/>
                          <a:gd name="T11" fmla="*/ 2147483647 h 228"/>
                          <a:gd name="T12" fmla="*/ 2147483647 w 396"/>
                          <a:gd name="T13" fmla="*/ 2147483647 h 228"/>
                          <a:gd name="T14" fmla="*/ 2147483647 w 396"/>
                          <a:gd name="T15" fmla="*/ 0 h 228"/>
                          <a:gd name="T16" fmla="*/ 2147483647 w 396"/>
                          <a:gd name="T17" fmla="*/ 2147483647 h 228"/>
                          <a:gd name="T18" fmla="*/ 2147483647 w 396"/>
                          <a:gd name="T19" fmla="*/ 2147483647 h 228"/>
                          <a:gd name="T20" fmla="*/ 2147483647 w 396"/>
                          <a:gd name="T21" fmla="*/ 2147483647 h 228"/>
                          <a:gd name="T22" fmla="*/ 2147483647 w 396"/>
                          <a:gd name="T23" fmla="*/ 2147483647 h 228"/>
                          <a:gd name="T24" fmla="*/ 2147483647 w 396"/>
                          <a:gd name="T25" fmla="*/ 2147483647 h 228"/>
                          <a:gd name="T26" fmla="*/ 2147483647 w 396"/>
                          <a:gd name="T27" fmla="*/ 2147483647 h 228"/>
                          <a:gd name="T28" fmla="*/ 2147483647 w 396"/>
                          <a:gd name="T29" fmla="*/ 2147483647 h 228"/>
                          <a:gd name="T30" fmla="*/ 2147483647 w 396"/>
                          <a:gd name="T31" fmla="*/ 2147483647 h 228"/>
                          <a:gd name="T32" fmla="*/ 2147483647 w 396"/>
                          <a:gd name="T33" fmla="*/ 2147483647 h 228"/>
                          <a:gd name="T34" fmla="*/ 2147483647 w 396"/>
                          <a:gd name="T35" fmla="*/ 2147483647 h 228"/>
                          <a:gd name="T36" fmla="*/ 2147483647 w 396"/>
                          <a:gd name="T37" fmla="*/ 2147483647 h 228"/>
                          <a:gd name="T38" fmla="*/ 2147483647 w 396"/>
                          <a:gd name="T39" fmla="*/ 2147483647 h 228"/>
                          <a:gd name="T40" fmla="*/ 2147483647 w 396"/>
                          <a:gd name="T41" fmla="*/ 2147483647 h 228"/>
                          <a:gd name="T42" fmla="*/ 2147483647 w 396"/>
                          <a:gd name="T43" fmla="*/ 0 h 228"/>
                          <a:gd name="T44" fmla="*/ 0 w 396"/>
                          <a:gd name="T45" fmla="*/ 2147483647 h 228"/>
                          <a:gd name="T46" fmla="*/ 2147483647 w 396"/>
                          <a:gd name="T47" fmla="*/ 2147483647 h 228"/>
                          <a:gd name="T48" fmla="*/ 2147483647 w 396"/>
                          <a:gd name="T49" fmla="*/ 2147483647 h 228"/>
                          <a:gd name="T50" fmla="*/ 2147483647 w 396"/>
                          <a:gd name="T51" fmla="*/ 2147483647 h 228"/>
                          <a:gd name="T52" fmla="*/ 2147483647 w 396"/>
                          <a:gd name="T53" fmla="*/ 2147483647 h 228"/>
                          <a:gd name="T54" fmla="*/ 2147483647 w 396"/>
                          <a:gd name="T55" fmla="*/ 2147483647 h 228"/>
                          <a:gd name="T56" fmla="*/ 0 w 396"/>
                          <a:gd name="T57" fmla="*/ 2147483647 h 228"/>
                          <a:gd name="T58" fmla="*/ 2147483647 w 396"/>
                          <a:gd name="T59" fmla="*/ 2147483647 h 228"/>
                          <a:gd name="T60" fmla="*/ 2147483647 w 396"/>
                          <a:gd name="T61" fmla="*/ 2147483647 h 228"/>
                          <a:gd name="T62" fmla="*/ 2147483647 w 396"/>
                          <a:gd name="T63" fmla="*/ 2147483647 h 228"/>
                          <a:gd name="T64" fmla="*/ 2147483647 w 396"/>
                          <a:gd name="T65" fmla="*/ 2147483647 h 228"/>
                          <a:gd name="T66" fmla="*/ 2147483647 w 396"/>
                          <a:gd name="T67" fmla="*/ 2147483647 h 228"/>
                          <a:gd name="T68" fmla="*/ 2147483647 w 396"/>
                          <a:gd name="T69" fmla="*/ 2147483647 h 228"/>
                          <a:gd name="T70" fmla="*/ 2147483647 w 396"/>
                          <a:gd name="T71" fmla="*/ 2147483647 h 228"/>
                          <a:gd name="T72" fmla="*/ 2147483647 w 396"/>
                          <a:gd name="T73" fmla="*/ 2147483647 h 228"/>
                          <a:gd name="T74" fmla="*/ 2147483647 w 396"/>
                          <a:gd name="T75" fmla="*/ 2147483647 h 228"/>
                          <a:gd name="T76" fmla="*/ 2147483647 w 396"/>
                          <a:gd name="T77" fmla="*/ 2147483647 h 228"/>
                          <a:gd name="T78" fmla="*/ 2147483647 w 396"/>
                          <a:gd name="T79" fmla="*/ 2147483647 h 228"/>
                          <a:gd name="T80" fmla="*/ 2147483647 w 396"/>
                          <a:gd name="T81" fmla="*/ 2147483647 h 228"/>
                          <a:gd name="T82" fmla="*/ 2147483647 w 396"/>
                          <a:gd name="T83" fmla="*/ 2147483647 h 228"/>
                          <a:gd name="T84" fmla="*/ 2147483647 w 396"/>
                          <a:gd name="T85" fmla="*/ 2147483647 h 228"/>
                          <a:gd name="T86" fmla="*/ 2147483647 w 396"/>
                          <a:gd name="T87" fmla="*/ 2147483647 h 228"/>
                          <a:gd name="T88" fmla="*/ 2147483647 w 396"/>
                          <a:gd name="T89" fmla="*/ 2147483647 h 228"/>
                          <a:gd name="T90" fmla="*/ 2147483647 w 396"/>
                          <a:gd name="T91" fmla="*/ 2147483647 h 228"/>
                          <a:gd name="T92" fmla="*/ 2147483647 w 396"/>
                          <a:gd name="T93" fmla="*/ 2147483647 h 228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w 396"/>
                          <a:gd name="T142" fmla="*/ 0 h 228"/>
                          <a:gd name="T143" fmla="*/ 396 w 396"/>
                          <a:gd name="T144" fmla="*/ 228 h 228"/>
                        </a:gdLst>
                        <a:ahLst/>
                        <a:cxnLst>
                          <a:cxn ang="T94">
                            <a:pos x="T0" y="T1"/>
                          </a:cxn>
                          <a:cxn ang="T95">
                            <a:pos x="T2" y="T3"/>
                          </a:cxn>
                          <a:cxn ang="T96">
                            <a:pos x="T4" y="T5"/>
                          </a:cxn>
                          <a:cxn ang="T97">
                            <a:pos x="T6" y="T7"/>
                          </a:cxn>
                          <a:cxn ang="T98">
                            <a:pos x="T8" y="T9"/>
                          </a:cxn>
                          <a:cxn ang="T99">
                            <a:pos x="T10" y="T11"/>
                          </a:cxn>
                          <a:cxn ang="T100">
                            <a:pos x="T12" y="T13"/>
                          </a:cxn>
                          <a:cxn ang="T101">
                            <a:pos x="T14" y="T15"/>
                          </a:cxn>
                          <a:cxn ang="T102">
                            <a:pos x="T16" y="T17"/>
                          </a:cxn>
                          <a:cxn ang="T103">
                            <a:pos x="T18" y="T19"/>
                          </a:cxn>
                          <a:cxn ang="T104">
                            <a:pos x="T20" y="T21"/>
                          </a:cxn>
                          <a:cxn ang="T105">
                            <a:pos x="T22" y="T23"/>
                          </a:cxn>
                          <a:cxn ang="T106">
                            <a:pos x="T24" y="T25"/>
                          </a:cxn>
                          <a:cxn ang="T107">
                            <a:pos x="T26" y="T27"/>
                          </a:cxn>
                          <a:cxn ang="T108">
                            <a:pos x="T28" y="T29"/>
                          </a:cxn>
                          <a:cxn ang="T109">
                            <a:pos x="T30" y="T31"/>
                          </a:cxn>
                          <a:cxn ang="T110">
                            <a:pos x="T32" y="T33"/>
                          </a:cxn>
                          <a:cxn ang="T111">
                            <a:pos x="T34" y="T35"/>
                          </a:cxn>
                          <a:cxn ang="T112">
                            <a:pos x="T36" y="T37"/>
                          </a:cxn>
                          <a:cxn ang="T113">
                            <a:pos x="T38" y="T39"/>
                          </a:cxn>
                          <a:cxn ang="T114">
                            <a:pos x="T40" y="T41"/>
                          </a:cxn>
                          <a:cxn ang="T115">
                            <a:pos x="T42" y="T43"/>
                          </a:cxn>
                          <a:cxn ang="T116">
                            <a:pos x="T44" y="T45"/>
                          </a:cxn>
                          <a:cxn ang="T117">
                            <a:pos x="T46" y="T47"/>
                          </a:cxn>
                          <a:cxn ang="T118">
                            <a:pos x="T48" y="T49"/>
                          </a:cxn>
                          <a:cxn ang="T119">
                            <a:pos x="T50" y="T51"/>
                          </a:cxn>
                          <a:cxn ang="T120">
                            <a:pos x="T52" y="T53"/>
                          </a:cxn>
                          <a:cxn ang="T121">
                            <a:pos x="T54" y="T55"/>
                          </a:cxn>
                          <a:cxn ang="T122">
                            <a:pos x="T56" y="T57"/>
                          </a:cxn>
                          <a:cxn ang="T123">
                            <a:pos x="T58" y="T59"/>
                          </a:cxn>
                          <a:cxn ang="T124">
                            <a:pos x="T60" y="T61"/>
                          </a:cxn>
                          <a:cxn ang="T125">
                            <a:pos x="T62" y="T63"/>
                          </a:cxn>
                          <a:cxn ang="T126">
                            <a:pos x="T64" y="T65"/>
                          </a:cxn>
                          <a:cxn ang="T127">
                            <a:pos x="T66" y="T67"/>
                          </a:cxn>
                          <a:cxn ang="T128">
                            <a:pos x="T68" y="T69"/>
                          </a:cxn>
                          <a:cxn ang="T129">
                            <a:pos x="T70" y="T71"/>
                          </a:cxn>
                          <a:cxn ang="T130">
                            <a:pos x="T72" y="T73"/>
                          </a:cxn>
                          <a:cxn ang="T131">
                            <a:pos x="T74" y="T75"/>
                          </a:cxn>
                          <a:cxn ang="T132">
                            <a:pos x="T76" y="T77"/>
                          </a:cxn>
                          <a:cxn ang="T133">
                            <a:pos x="T78" y="T79"/>
                          </a:cxn>
                          <a:cxn ang="T134">
                            <a:pos x="T80" y="T81"/>
                          </a:cxn>
                          <a:cxn ang="T135">
                            <a:pos x="T82" y="T83"/>
                          </a:cxn>
                          <a:cxn ang="T136">
                            <a:pos x="T84" y="T85"/>
                          </a:cxn>
                          <a:cxn ang="T137">
                            <a:pos x="T86" y="T87"/>
                          </a:cxn>
                          <a:cxn ang="T138">
                            <a:pos x="T88" y="T89"/>
                          </a:cxn>
                          <a:cxn ang="T139">
                            <a:pos x="T90" y="T91"/>
                          </a:cxn>
                          <a:cxn ang="T140">
                            <a:pos x="T92" y="T93"/>
                          </a:cxn>
                        </a:cxnLst>
                        <a:rect l="T141" t="T142" r="T143" b="T144"/>
                        <a:pathLst>
                          <a:path w="396" h="228">
                            <a:moveTo>
                              <a:pt x="372" y="168"/>
                            </a:moveTo>
                            <a:lnTo>
                              <a:pt x="336" y="126"/>
                            </a:lnTo>
                            <a:lnTo>
                              <a:pt x="354" y="108"/>
                            </a:lnTo>
                            <a:lnTo>
                              <a:pt x="354" y="78"/>
                            </a:lnTo>
                            <a:lnTo>
                              <a:pt x="360" y="72"/>
                            </a:lnTo>
                            <a:lnTo>
                              <a:pt x="372" y="66"/>
                            </a:lnTo>
                            <a:lnTo>
                              <a:pt x="396" y="66"/>
                            </a:lnTo>
                            <a:lnTo>
                              <a:pt x="396" y="48"/>
                            </a:lnTo>
                            <a:lnTo>
                              <a:pt x="390" y="36"/>
                            </a:lnTo>
                            <a:lnTo>
                              <a:pt x="372" y="36"/>
                            </a:lnTo>
                            <a:lnTo>
                              <a:pt x="348" y="12"/>
                            </a:lnTo>
                            <a:lnTo>
                              <a:pt x="324" y="12"/>
                            </a:lnTo>
                            <a:lnTo>
                              <a:pt x="312" y="6"/>
                            </a:lnTo>
                            <a:lnTo>
                              <a:pt x="300" y="6"/>
                            </a:lnTo>
                            <a:lnTo>
                              <a:pt x="288" y="0"/>
                            </a:lnTo>
                            <a:lnTo>
                              <a:pt x="282" y="0"/>
                            </a:lnTo>
                            <a:lnTo>
                              <a:pt x="282" y="12"/>
                            </a:lnTo>
                            <a:lnTo>
                              <a:pt x="252" y="6"/>
                            </a:lnTo>
                            <a:lnTo>
                              <a:pt x="252" y="12"/>
                            </a:lnTo>
                            <a:lnTo>
                              <a:pt x="246" y="12"/>
                            </a:lnTo>
                            <a:lnTo>
                              <a:pt x="234" y="18"/>
                            </a:lnTo>
                            <a:lnTo>
                              <a:pt x="228" y="18"/>
                            </a:lnTo>
                            <a:lnTo>
                              <a:pt x="222" y="24"/>
                            </a:lnTo>
                            <a:lnTo>
                              <a:pt x="222" y="36"/>
                            </a:lnTo>
                            <a:lnTo>
                              <a:pt x="216" y="42"/>
                            </a:lnTo>
                            <a:lnTo>
                              <a:pt x="198" y="42"/>
                            </a:lnTo>
                            <a:lnTo>
                              <a:pt x="186" y="36"/>
                            </a:lnTo>
                            <a:lnTo>
                              <a:pt x="180" y="30"/>
                            </a:lnTo>
                            <a:lnTo>
                              <a:pt x="156" y="30"/>
                            </a:lnTo>
                            <a:lnTo>
                              <a:pt x="138" y="24"/>
                            </a:lnTo>
                            <a:lnTo>
                              <a:pt x="138" y="30"/>
                            </a:lnTo>
                            <a:lnTo>
                              <a:pt x="132" y="36"/>
                            </a:lnTo>
                            <a:lnTo>
                              <a:pt x="108" y="36"/>
                            </a:lnTo>
                            <a:lnTo>
                              <a:pt x="102" y="30"/>
                            </a:lnTo>
                            <a:lnTo>
                              <a:pt x="90" y="30"/>
                            </a:lnTo>
                            <a:lnTo>
                              <a:pt x="66" y="18"/>
                            </a:lnTo>
                            <a:lnTo>
                              <a:pt x="54" y="30"/>
                            </a:lnTo>
                            <a:lnTo>
                              <a:pt x="36" y="30"/>
                            </a:lnTo>
                            <a:lnTo>
                              <a:pt x="30" y="24"/>
                            </a:lnTo>
                            <a:lnTo>
                              <a:pt x="36" y="18"/>
                            </a:lnTo>
                            <a:lnTo>
                              <a:pt x="36" y="12"/>
                            </a:lnTo>
                            <a:lnTo>
                              <a:pt x="42" y="6"/>
                            </a:lnTo>
                            <a:lnTo>
                              <a:pt x="36" y="0"/>
                            </a:lnTo>
                            <a:lnTo>
                              <a:pt x="12" y="0"/>
                            </a:lnTo>
                            <a:lnTo>
                              <a:pt x="12" y="12"/>
                            </a:lnTo>
                            <a:lnTo>
                              <a:pt x="0" y="24"/>
                            </a:lnTo>
                            <a:lnTo>
                              <a:pt x="0" y="42"/>
                            </a:lnTo>
                            <a:lnTo>
                              <a:pt x="18" y="48"/>
                            </a:lnTo>
                            <a:lnTo>
                              <a:pt x="12" y="60"/>
                            </a:lnTo>
                            <a:lnTo>
                              <a:pt x="30" y="66"/>
                            </a:lnTo>
                            <a:lnTo>
                              <a:pt x="36" y="72"/>
                            </a:lnTo>
                            <a:lnTo>
                              <a:pt x="36" y="96"/>
                            </a:lnTo>
                            <a:lnTo>
                              <a:pt x="30" y="102"/>
                            </a:lnTo>
                            <a:lnTo>
                              <a:pt x="6" y="102"/>
                            </a:lnTo>
                            <a:lnTo>
                              <a:pt x="6" y="108"/>
                            </a:lnTo>
                            <a:lnTo>
                              <a:pt x="12" y="114"/>
                            </a:lnTo>
                            <a:lnTo>
                              <a:pt x="12" y="138"/>
                            </a:lnTo>
                            <a:lnTo>
                              <a:pt x="0" y="138"/>
                            </a:lnTo>
                            <a:lnTo>
                              <a:pt x="12" y="156"/>
                            </a:lnTo>
                            <a:lnTo>
                              <a:pt x="18" y="156"/>
                            </a:lnTo>
                            <a:lnTo>
                              <a:pt x="18" y="168"/>
                            </a:lnTo>
                            <a:lnTo>
                              <a:pt x="36" y="180"/>
                            </a:lnTo>
                            <a:lnTo>
                              <a:pt x="42" y="186"/>
                            </a:lnTo>
                            <a:lnTo>
                              <a:pt x="48" y="198"/>
                            </a:lnTo>
                            <a:lnTo>
                              <a:pt x="48" y="210"/>
                            </a:lnTo>
                            <a:lnTo>
                              <a:pt x="42" y="222"/>
                            </a:lnTo>
                            <a:lnTo>
                              <a:pt x="48" y="222"/>
                            </a:lnTo>
                            <a:lnTo>
                              <a:pt x="54" y="228"/>
                            </a:lnTo>
                            <a:lnTo>
                              <a:pt x="66" y="228"/>
                            </a:lnTo>
                            <a:lnTo>
                              <a:pt x="78" y="222"/>
                            </a:lnTo>
                            <a:lnTo>
                              <a:pt x="84" y="216"/>
                            </a:lnTo>
                            <a:lnTo>
                              <a:pt x="108" y="222"/>
                            </a:lnTo>
                            <a:lnTo>
                              <a:pt x="114" y="204"/>
                            </a:lnTo>
                            <a:lnTo>
                              <a:pt x="144" y="198"/>
                            </a:lnTo>
                            <a:lnTo>
                              <a:pt x="144" y="204"/>
                            </a:lnTo>
                            <a:lnTo>
                              <a:pt x="162" y="222"/>
                            </a:lnTo>
                            <a:lnTo>
                              <a:pt x="174" y="222"/>
                            </a:lnTo>
                            <a:lnTo>
                              <a:pt x="180" y="216"/>
                            </a:lnTo>
                            <a:lnTo>
                              <a:pt x="192" y="228"/>
                            </a:lnTo>
                            <a:lnTo>
                              <a:pt x="204" y="228"/>
                            </a:lnTo>
                            <a:lnTo>
                              <a:pt x="216" y="216"/>
                            </a:lnTo>
                            <a:lnTo>
                              <a:pt x="228" y="228"/>
                            </a:lnTo>
                            <a:lnTo>
                              <a:pt x="246" y="228"/>
                            </a:lnTo>
                            <a:lnTo>
                              <a:pt x="252" y="222"/>
                            </a:lnTo>
                            <a:lnTo>
                              <a:pt x="252" y="204"/>
                            </a:lnTo>
                            <a:lnTo>
                              <a:pt x="246" y="198"/>
                            </a:lnTo>
                            <a:lnTo>
                              <a:pt x="264" y="192"/>
                            </a:lnTo>
                            <a:lnTo>
                              <a:pt x="282" y="168"/>
                            </a:lnTo>
                            <a:lnTo>
                              <a:pt x="312" y="174"/>
                            </a:lnTo>
                            <a:lnTo>
                              <a:pt x="324" y="156"/>
                            </a:lnTo>
                            <a:lnTo>
                              <a:pt x="336" y="174"/>
                            </a:lnTo>
                            <a:lnTo>
                              <a:pt x="348" y="174"/>
                            </a:lnTo>
                            <a:lnTo>
                              <a:pt x="360" y="180"/>
                            </a:lnTo>
                            <a:lnTo>
                              <a:pt x="372" y="180"/>
                            </a:lnTo>
                            <a:lnTo>
                              <a:pt x="372" y="168"/>
                            </a:lnTo>
                            <a:close/>
                          </a:path>
                        </a:pathLst>
                      </a:custGeom>
                      <a:solidFill>
                        <a:srgbClr val="DF3817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>
                          <a:spcBef>
                            <a:spcPct val="0"/>
                          </a:spcBef>
                          <a:defRPr/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endParaRPr>
                      </a:p>
                    </p:txBody>
                  </p:sp>
                  <p:sp>
                    <p:nvSpPr>
                      <p:cNvPr id="356" name="Bosnia and Herzegovina" descr="© INSCALE GmbH, 05.05.2010&#10;http://www.presentationload.com/"/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4643443" y="2609852"/>
                        <a:ext cx="107950" cy="95250"/>
                      </a:xfrm>
                      <a:custGeom>
                        <a:avLst/>
                        <a:gdLst>
                          <a:gd name="T0" fmla="*/ 2147483647 w 264"/>
                          <a:gd name="T1" fmla="*/ 2147483647 h 234"/>
                          <a:gd name="T2" fmla="*/ 2147483647 w 264"/>
                          <a:gd name="T3" fmla="*/ 2147483647 h 234"/>
                          <a:gd name="T4" fmla="*/ 2147483647 w 264"/>
                          <a:gd name="T5" fmla="*/ 2147483647 h 234"/>
                          <a:gd name="T6" fmla="*/ 2147483647 w 264"/>
                          <a:gd name="T7" fmla="*/ 2147483647 h 234"/>
                          <a:gd name="T8" fmla="*/ 2147483647 w 264"/>
                          <a:gd name="T9" fmla="*/ 2147483647 h 234"/>
                          <a:gd name="T10" fmla="*/ 2147483647 w 264"/>
                          <a:gd name="T11" fmla="*/ 2147483647 h 234"/>
                          <a:gd name="T12" fmla="*/ 2147483647 w 264"/>
                          <a:gd name="T13" fmla="*/ 2147483647 h 234"/>
                          <a:gd name="T14" fmla="*/ 2147483647 w 264"/>
                          <a:gd name="T15" fmla="*/ 2147483647 h 234"/>
                          <a:gd name="T16" fmla="*/ 2147483647 w 264"/>
                          <a:gd name="T17" fmla="*/ 2147483647 h 234"/>
                          <a:gd name="T18" fmla="*/ 2147483647 w 264"/>
                          <a:gd name="T19" fmla="*/ 2147483647 h 234"/>
                          <a:gd name="T20" fmla="*/ 2147483647 w 264"/>
                          <a:gd name="T21" fmla="*/ 2147483647 h 234"/>
                          <a:gd name="T22" fmla="*/ 2147483647 w 264"/>
                          <a:gd name="T23" fmla="*/ 2147483647 h 234"/>
                          <a:gd name="T24" fmla="*/ 2147483647 w 264"/>
                          <a:gd name="T25" fmla="*/ 2147483647 h 234"/>
                          <a:gd name="T26" fmla="*/ 2147483647 w 264"/>
                          <a:gd name="T27" fmla="*/ 2147483647 h 234"/>
                          <a:gd name="T28" fmla="*/ 2147483647 w 264"/>
                          <a:gd name="T29" fmla="*/ 2147483647 h 234"/>
                          <a:gd name="T30" fmla="*/ 2147483647 w 264"/>
                          <a:gd name="T31" fmla="*/ 2147483647 h 234"/>
                          <a:gd name="T32" fmla="*/ 2147483647 w 264"/>
                          <a:gd name="T33" fmla="*/ 2147483647 h 234"/>
                          <a:gd name="T34" fmla="*/ 2147483647 w 264"/>
                          <a:gd name="T35" fmla="*/ 2147483647 h 234"/>
                          <a:gd name="T36" fmla="*/ 2147483647 w 264"/>
                          <a:gd name="T37" fmla="*/ 2147483647 h 234"/>
                          <a:gd name="T38" fmla="*/ 2147483647 w 264"/>
                          <a:gd name="T39" fmla="*/ 0 h 234"/>
                          <a:gd name="T40" fmla="*/ 2147483647 w 264"/>
                          <a:gd name="T41" fmla="*/ 0 h 234"/>
                          <a:gd name="T42" fmla="*/ 2147483647 w 264"/>
                          <a:gd name="T43" fmla="*/ 2147483647 h 234"/>
                          <a:gd name="T44" fmla="*/ 0 w 264"/>
                          <a:gd name="T45" fmla="*/ 2147483647 h 234"/>
                          <a:gd name="T46" fmla="*/ 2147483647 w 264"/>
                          <a:gd name="T47" fmla="*/ 2147483647 h 234"/>
                          <a:gd name="T48" fmla="*/ 2147483647 w 264"/>
                          <a:gd name="T49" fmla="*/ 2147483647 h 234"/>
                          <a:gd name="T50" fmla="*/ 2147483647 w 264"/>
                          <a:gd name="T51" fmla="*/ 2147483647 h 234"/>
                          <a:gd name="T52" fmla="*/ 2147483647 w 264"/>
                          <a:gd name="T53" fmla="*/ 2147483647 h 234"/>
                          <a:gd name="T54" fmla="*/ 2147483647 w 264"/>
                          <a:gd name="T55" fmla="*/ 2147483647 h 234"/>
                          <a:gd name="T56" fmla="*/ 2147483647 w 264"/>
                          <a:gd name="T57" fmla="*/ 2147483647 h 234"/>
                          <a:gd name="T58" fmla="*/ 2147483647 w 264"/>
                          <a:gd name="T59" fmla="*/ 2147483647 h 234"/>
                          <a:gd name="T60" fmla="*/ 2147483647 w 264"/>
                          <a:gd name="T61" fmla="*/ 2147483647 h 234"/>
                          <a:gd name="T62" fmla="*/ 2147483647 w 264"/>
                          <a:gd name="T63" fmla="*/ 2147483647 h 234"/>
                          <a:gd name="T64" fmla="*/ 2147483647 w 264"/>
                          <a:gd name="T65" fmla="*/ 2147483647 h 234"/>
                          <a:gd name="T66" fmla="*/ 2147483647 w 264"/>
                          <a:gd name="T67" fmla="*/ 2147483647 h 234"/>
                          <a:gd name="T68" fmla="*/ 2147483647 w 264"/>
                          <a:gd name="T69" fmla="*/ 2147483647 h 234"/>
                          <a:gd name="T70" fmla="*/ 2147483647 w 264"/>
                          <a:gd name="T71" fmla="*/ 2147483647 h 234"/>
                          <a:gd name="T72" fmla="*/ 2147483647 w 264"/>
                          <a:gd name="T73" fmla="*/ 2147483647 h 234"/>
                          <a:gd name="T74" fmla="*/ 2147483647 w 264"/>
                          <a:gd name="T75" fmla="*/ 2147483647 h 234"/>
                          <a:gd name="T76" fmla="*/ 2147483647 w 264"/>
                          <a:gd name="T77" fmla="*/ 2147483647 h 234"/>
                          <a:gd name="T78" fmla="*/ 2147483647 w 264"/>
                          <a:gd name="T79" fmla="*/ 2147483647 h 234"/>
                          <a:gd name="T80" fmla="*/ 2147483647 w 264"/>
                          <a:gd name="T81" fmla="*/ 2147483647 h 234"/>
                          <a:gd name="T82" fmla="*/ 2147483647 w 264"/>
                          <a:gd name="T83" fmla="*/ 2147483647 h 234"/>
                          <a:gd name="T84" fmla="*/ 2147483647 w 264"/>
                          <a:gd name="T85" fmla="*/ 2147483647 h 234"/>
                          <a:gd name="T86" fmla="*/ 2147483647 w 264"/>
                          <a:gd name="T87" fmla="*/ 2147483647 h 234"/>
                          <a:gd name="T88" fmla="*/ 2147483647 w 264"/>
                          <a:gd name="T89" fmla="*/ 2147483647 h 234"/>
                          <a:gd name="T90" fmla="*/ 2147483647 w 264"/>
                          <a:gd name="T91" fmla="*/ 2147483647 h 234"/>
                          <a:gd name="T92" fmla="*/ 2147483647 w 264"/>
                          <a:gd name="T93" fmla="*/ 2147483647 h 234"/>
                          <a:gd name="T94" fmla="*/ 2147483647 w 264"/>
                          <a:gd name="T95" fmla="*/ 2147483647 h 234"/>
                          <a:gd name="T96" fmla="*/ 2147483647 w 264"/>
                          <a:gd name="T97" fmla="*/ 2147483647 h 234"/>
                          <a:gd name="T98" fmla="*/ 2147483647 w 264"/>
                          <a:gd name="T99" fmla="*/ 2147483647 h 234"/>
                          <a:gd name="T100" fmla="*/ 2147483647 w 264"/>
                          <a:gd name="T101" fmla="*/ 2147483647 h 234"/>
                          <a:gd name="T102" fmla="*/ 2147483647 w 264"/>
                          <a:gd name="T103" fmla="*/ 2147483647 h 234"/>
                          <a:gd name="T104" fmla="*/ 2147483647 w 264"/>
                          <a:gd name="T105" fmla="*/ 2147483647 h 234"/>
                          <a:gd name="T106" fmla="*/ 2147483647 w 264"/>
                          <a:gd name="T107" fmla="*/ 2147483647 h 234"/>
                          <a:gd name="T108" fmla="*/ 2147483647 w 264"/>
                          <a:gd name="T109" fmla="*/ 2147483647 h 234"/>
                          <a:gd name="T110" fmla="*/ 2147483647 w 264"/>
                          <a:gd name="T111" fmla="*/ 2147483647 h 234"/>
                          <a:gd name="T112" fmla="*/ 2147483647 w 264"/>
                          <a:gd name="T113" fmla="*/ 2147483647 h 234"/>
                          <a:gd name="T114" fmla="*/ 2147483647 w 264"/>
                          <a:gd name="T115" fmla="*/ 2147483647 h 234"/>
                          <a:gd name="T116" fmla="*/ 2147483647 w 264"/>
                          <a:gd name="T117" fmla="*/ 2147483647 h 234"/>
                          <a:gd name="T118" fmla="*/ 2147483647 w 264"/>
                          <a:gd name="T119" fmla="*/ 2147483647 h 234"/>
                          <a:gd name="T120" fmla="*/ 2147483647 w 264"/>
                          <a:gd name="T121" fmla="*/ 2147483647 h 234"/>
                          <a:gd name="T122" fmla="*/ 2147483647 w 264"/>
                          <a:gd name="T123" fmla="*/ 2147483647 h 234"/>
                          <a:gd name="T124" fmla="*/ 2147483647 w 264"/>
                          <a:gd name="T125" fmla="*/ 2147483647 h 234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60000 65536"/>
                          <a:gd name="T166" fmla="*/ 0 60000 65536"/>
                          <a:gd name="T167" fmla="*/ 0 60000 65536"/>
                          <a:gd name="T168" fmla="*/ 0 60000 65536"/>
                          <a:gd name="T169" fmla="*/ 0 60000 65536"/>
                          <a:gd name="T170" fmla="*/ 0 60000 65536"/>
                          <a:gd name="T171" fmla="*/ 0 60000 65536"/>
                          <a:gd name="T172" fmla="*/ 0 60000 65536"/>
                          <a:gd name="T173" fmla="*/ 0 60000 65536"/>
                          <a:gd name="T174" fmla="*/ 0 60000 65536"/>
                          <a:gd name="T175" fmla="*/ 0 60000 65536"/>
                          <a:gd name="T176" fmla="*/ 0 60000 65536"/>
                          <a:gd name="T177" fmla="*/ 0 60000 65536"/>
                          <a:gd name="T178" fmla="*/ 0 60000 65536"/>
                          <a:gd name="T179" fmla="*/ 0 60000 65536"/>
                          <a:gd name="T180" fmla="*/ 0 60000 65536"/>
                          <a:gd name="T181" fmla="*/ 0 60000 65536"/>
                          <a:gd name="T182" fmla="*/ 0 60000 65536"/>
                          <a:gd name="T183" fmla="*/ 0 60000 65536"/>
                          <a:gd name="T184" fmla="*/ 0 60000 65536"/>
                          <a:gd name="T185" fmla="*/ 0 60000 65536"/>
                          <a:gd name="T186" fmla="*/ 0 60000 65536"/>
                          <a:gd name="T187" fmla="*/ 0 60000 65536"/>
                          <a:gd name="T188" fmla="*/ 0 60000 65536"/>
                          <a:gd name="T189" fmla="*/ 0 w 264"/>
                          <a:gd name="T190" fmla="*/ 0 h 234"/>
                          <a:gd name="T191" fmla="*/ 264 w 264"/>
                          <a:gd name="T192" fmla="*/ 234 h 234"/>
                        </a:gdLst>
                        <a:ahLst/>
                        <a:cxnLst>
                          <a:cxn ang="T126">
                            <a:pos x="T0" y="T1"/>
                          </a:cxn>
                          <a:cxn ang="T127">
                            <a:pos x="T2" y="T3"/>
                          </a:cxn>
                          <a:cxn ang="T128">
                            <a:pos x="T4" y="T5"/>
                          </a:cxn>
                          <a:cxn ang="T129">
                            <a:pos x="T6" y="T7"/>
                          </a:cxn>
                          <a:cxn ang="T130">
                            <a:pos x="T8" y="T9"/>
                          </a:cxn>
                          <a:cxn ang="T131">
                            <a:pos x="T10" y="T11"/>
                          </a:cxn>
                          <a:cxn ang="T132">
                            <a:pos x="T12" y="T13"/>
                          </a:cxn>
                          <a:cxn ang="T133">
                            <a:pos x="T14" y="T15"/>
                          </a:cxn>
                          <a:cxn ang="T134">
                            <a:pos x="T16" y="T17"/>
                          </a:cxn>
                          <a:cxn ang="T135">
                            <a:pos x="T18" y="T19"/>
                          </a:cxn>
                          <a:cxn ang="T136">
                            <a:pos x="T20" y="T21"/>
                          </a:cxn>
                          <a:cxn ang="T137">
                            <a:pos x="T22" y="T23"/>
                          </a:cxn>
                          <a:cxn ang="T138">
                            <a:pos x="T24" y="T25"/>
                          </a:cxn>
                          <a:cxn ang="T139">
                            <a:pos x="T26" y="T27"/>
                          </a:cxn>
                          <a:cxn ang="T140">
                            <a:pos x="T28" y="T29"/>
                          </a:cxn>
                          <a:cxn ang="T141">
                            <a:pos x="T30" y="T31"/>
                          </a:cxn>
                          <a:cxn ang="T142">
                            <a:pos x="T32" y="T33"/>
                          </a:cxn>
                          <a:cxn ang="T143">
                            <a:pos x="T34" y="T35"/>
                          </a:cxn>
                          <a:cxn ang="T144">
                            <a:pos x="T36" y="T37"/>
                          </a:cxn>
                          <a:cxn ang="T145">
                            <a:pos x="T38" y="T39"/>
                          </a:cxn>
                          <a:cxn ang="T146">
                            <a:pos x="T40" y="T41"/>
                          </a:cxn>
                          <a:cxn ang="T147">
                            <a:pos x="T42" y="T43"/>
                          </a:cxn>
                          <a:cxn ang="T148">
                            <a:pos x="T44" y="T45"/>
                          </a:cxn>
                          <a:cxn ang="T149">
                            <a:pos x="T46" y="T47"/>
                          </a:cxn>
                          <a:cxn ang="T150">
                            <a:pos x="T48" y="T49"/>
                          </a:cxn>
                          <a:cxn ang="T151">
                            <a:pos x="T50" y="T51"/>
                          </a:cxn>
                          <a:cxn ang="T152">
                            <a:pos x="T52" y="T53"/>
                          </a:cxn>
                          <a:cxn ang="T153">
                            <a:pos x="T54" y="T55"/>
                          </a:cxn>
                          <a:cxn ang="T154">
                            <a:pos x="T56" y="T57"/>
                          </a:cxn>
                          <a:cxn ang="T155">
                            <a:pos x="T58" y="T59"/>
                          </a:cxn>
                          <a:cxn ang="T156">
                            <a:pos x="T60" y="T61"/>
                          </a:cxn>
                          <a:cxn ang="T157">
                            <a:pos x="T62" y="T63"/>
                          </a:cxn>
                          <a:cxn ang="T158">
                            <a:pos x="T64" y="T65"/>
                          </a:cxn>
                          <a:cxn ang="T159">
                            <a:pos x="T66" y="T67"/>
                          </a:cxn>
                          <a:cxn ang="T160">
                            <a:pos x="T68" y="T69"/>
                          </a:cxn>
                          <a:cxn ang="T161">
                            <a:pos x="T70" y="T71"/>
                          </a:cxn>
                          <a:cxn ang="T162">
                            <a:pos x="T72" y="T73"/>
                          </a:cxn>
                          <a:cxn ang="T163">
                            <a:pos x="T74" y="T75"/>
                          </a:cxn>
                          <a:cxn ang="T164">
                            <a:pos x="T76" y="T77"/>
                          </a:cxn>
                          <a:cxn ang="T165">
                            <a:pos x="T78" y="T79"/>
                          </a:cxn>
                          <a:cxn ang="T166">
                            <a:pos x="T80" y="T81"/>
                          </a:cxn>
                          <a:cxn ang="T167">
                            <a:pos x="T82" y="T83"/>
                          </a:cxn>
                          <a:cxn ang="T168">
                            <a:pos x="T84" y="T85"/>
                          </a:cxn>
                          <a:cxn ang="T169">
                            <a:pos x="T86" y="T87"/>
                          </a:cxn>
                          <a:cxn ang="T170">
                            <a:pos x="T88" y="T89"/>
                          </a:cxn>
                          <a:cxn ang="T171">
                            <a:pos x="T90" y="T91"/>
                          </a:cxn>
                          <a:cxn ang="T172">
                            <a:pos x="T92" y="T93"/>
                          </a:cxn>
                          <a:cxn ang="T173">
                            <a:pos x="T94" y="T95"/>
                          </a:cxn>
                          <a:cxn ang="T174">
                            <a:pos x="T96" y="T97"/>
                          </a:cxn>
                          <a:cxn ang="T175">
                            <a:pos x="T98" y="T99"/>
                          </a:cxn>
                          <a:cxn ang="T176">
                            <a:pos x="T100" y="T101"/>
                          </a:cxn>
                          <a:cxn ang="T177">
                            <a:pos x="T102" y="T103"/>
                          </a:cxn>
                          <a:cxn ang="T178">
                            <a:pos x="T104" y="T105"/>
                          </a:cxn>
                          <a:cxn ang="T179">
                            <a:pos x="T106" y="T107"/>
                          </a:cxn>
                          <a:cxn ang="T180">
                            <a:pos x="T108" y="T109"/>
                          </a:cxn>
                          <a:cxn ang="T181">
                            <a:pos x="T110" y="T111"/>
                          </a:cxn>
                          <a:cxn ang="T182">
                            <a:pos x="T112" y="T113"/>
                          </a:cxn>
                          <a:cxn ang="T183">
                            <a:pos x="T114" y="T115"/>
                          </a:cxn>
                          <a:cxn ang="T184">
                            <a:pos x="T116" y="T117"/>
                          </a:cxn>
                          <a:cxn ang="T185">
                            <a:pos x="T118" y="T119"/>
                          </a:cxn>
                          <a:cxn ang="T186">
                            <a:pos x="T120" y="T121"/>
                          </a:cxn>
                          <a:cxn ang="T187">
                            <a:pos x="T122" y="T123"/>
                          </a:cxn>
                          <a:cxn ang="T188">
                            <a:pos x="T124" y="T125"/>
                          </a:cxn>
                        </a:cxnLst>
                        <a:rect l="T189" t="T190" r="T191" b="T192"/>
                        <a:pathLst>
                          <a:path w="264" h="234">
                            <a:moveTo>
                              <a:pt x="246" y="78"/>
                            </a:moveTo>
                            <a:lnTo>
                              <a:pt x="228" y="78"/>
                            </a:lnTo>
                            <a:lnTo>
                              <a:pt x="228" y="60"/>
                            </a:lnTo>
                            <a:lnTo>
                              <a:pt x="246" y="42"/>
                            </a:lnTo>
                            <a:lnTo>
                              <a:pt x="246" y="30"/>
                            </a:lnTo>
                            <a:lnTo>
                              <a:pt x="234" y="30"/>
                            </a:lnTo>
                            <a:lnTo>
                              <a:pt x="222" y="36"/>
                            </a:lnTo>
                            <a:lnTo>
                              <a:pt x="216" y="36"/>
                            </a:lnTo>
                            <a:lnTo>
                              <a:pt x="216" y="30"/>
                            </a:lnTo>
                            <a:lnTo>
                              <a:pt x="204" y="30"/>
                            </a:lnTo>
                            <a:lnTo>
                              <a:pt x="192" y="12"/>
                            </a:lnTo>
                            <a:lnTo>
                              <a:pt x="138" y="12"/>
                            </a:lnTo>
                            <a:lnTo>
                              <a:pt x="132" y="6"/>
                            </a:lnTo>
                            <a:lnTo>
                              <a:pt x="120" y="6"/>
                            </a:lnTo>
                            <a:lnTo>
                              <a:pt x="108" y="12"/>
                            </a:lnTo>
                            <a:lnTo>
                              <a:pt x="90" y="6"/>
                            </a:lnTo>
                            <a:lnTo>
                              <a:pt x="66" y="6"/>
                            </a:lnTo>
                            <a:lnTo>
                              <a:pt x="42" y="12"/>
                            </a:lnTo>
                            <a:lnTo>
                              <a:pt x="30" y="6"/>
                            </a:lnTo>
                            <a:lnTo>
                              <a:pt x="24" y="0"/>
                            </a:lnTo>
                            <a:lnTo>
                              <a:pt x="18" y="0"/>
                            </a:lnTo>
                            <a:lnTo>
                              <a:pt x="18" y="24"/>
                            </a:lnTo>
                            <a:lnTo>
                              <a:pt x="0" y="30"/>
                            </a:lnTo>
                            <a:lnTo>
                              <a:pt x="12" y="42"/>
                            </a:lnTo>
                            <a:lnTo>
                              <a:pt x="30" y="48"/>
                            </a:lnTo>
                            <a:lnTo>
                              <a:pt x="30" y="60"/>
                            </a:lnTo>
                            <a:lnTo>
                              <a:pt x="36" y="60"/>
                            </a:lnTo>
                            <a:lnTo>
                              <a:pt x="42" y="66"/>
                            </a:lnTo>
                            <a:lnTo>
                              <a:pt x="42" y="84"/>
                            </a:lnTo>
                            <a:lnTo>
                              <a:pt x="60" y="90"/>
                            </a:lnTo>
                            <a:lnTo>
                              <a:pt x="72" y="120"/>
                            </a:lnTo>
                            <a:lnTo>
                              <a:pt x="84" y="132"/>
                            </a:lnTo>
                            <a:lnTo>
                              <a:pt x="96" y="138"/>
                            </a:lnTo>
                            <a:lnTo>
                              <a:pt x="114" y="150"/>
                            </a:lnTo>
                            <a:lnTo>
                              <a:pt x="126" y="156"/>
                            </a:lnTo>
                            <a:lnTo>
                              <a:pt x="132" y="168"/>
                            </a:lnTo>
                            <a:lnTo>
                              <a:pt x="132" y="174"/>
                            </a:lnTo>
                            <a:lnTo>
                              <a:pt x="126" y="180"/>
                            </a:lnTo>
                            <a:lnTo>
                              <a:pt x="138" y="180"/>
                            </a:lnTo>
                            <a:lnTo>
                              <a:pt x="156" y="198"/>
                            </a:lnTo>
                            <a:lnTo>
                              <a:pt x="162" y="210"/>
                            </a:lnTo>
                            <a:lnTo>
                              <a:pt x="174" y="216"/>
                            </a:lnTo>
                            <a:lnTo>
                              <a:pt x="192" y="234"/>
                            </a:lnTo>
                            <a:lnTo>
                              <a:pt x="210" y="204"/>
                            </a:lnTo>
                            <a:lnTo>
                              <a:pt x="198" y="198"/>
                            </a:lnTo>
                            <a:lnTo>
                              <a:pt x="192" y="198"/>
                            </a:lnTo>
                            <a:lnTo>
                              <a:pt x="186" y="192"/>
                            </a:lnTo>
                            <a:lnTo>
                              <a:pt x="186" y="186"/>
                            </a:lnTo>
                            <a:lnTo>
                              <a:pt x="192" y="180"/>
                            </a:lnTo>
                            <a:lnTo>
                              <a:pt x="198" y="180"/>
                            </a:lnTo>
                            <a:lnTo>
                              <a:pt x="204" y="168"/>
                            </a:lnTo>
                            <a:lnTo>
                              <a:pt x="204" y="162"/>
                            </a:lnTo>
                            <a:lnTo>
                              <a:pt x="210" y="156"/>
                            </a:lnTo>
                            <a:lnTo>
                              <a:pt x="228" y="156"/>
                            </a:lnTo>
                            <a:lnTo>
                              <a:pt x="228" y="132"/>
                            </a:lnTo>
                            <a:lnTo>
                              <a:pt x="258" y="132"/>
                            </a:lnTo>
                            <a:lnTo>
                              <a:pt x="258" y="126"/>
                            </a:lnTo>
                            <a:lnTo>
                              <a:pt x="252" y="114"/>
                            </a:lnTo>
                            <a:lnTo>
                              <a:pt x="240" y="102"/>
                            </a:lnTo>
                            <a:lnTo>
                              <a:pt x="264" y="96"/>
                            </a:lnTo>
                            <a:lnTo>
                              <a:pt x="258" y="84"/>
                            </a:lnTo>
                            <a:lnTo>
                              <a:pt x="252" y="78"/>
                            </a:lnTo>
                            <a:lnTo>
                              <a:pt x="246" y="78"/>
                            </a:lnTo>
                            <a:close/>
                          </a:path>
                        </a:pathLst>
                      </a:custGeom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>
                          <a:spcBef>
                            <a:spcPct val="0"/>
                          </a:spcBef>
                          <a:defRPr/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endParaRPr>
                      </a:p>
                    </p:txBody>
                  </p:sp>
                  <p:sp>
                    <p:nvSpPr>
                      <p:cNvPr id="357" name="Belarus" descr="© INSCALE GmbH, 05.05.2010&#10;http://www.presentationload.com/"/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4824419" y="2270127"/>
                        <a:ext cx="230188" cy="149225"/>
                      </a:xfrm>
                      <a:custGeom>
                        <a:avLst/>
                        <a:gdLst>
                          <a:gd name="T0" fmla="*/ 2147483647 w 570"/>
                          <a:gd name="T1" fmla="*/ 2147483647 h 372"/>
                          <a:gd name="T2" fmla="*/ 2147483647 w 570"/>
                          <a:gd name="T3" fmla="*/ 2147483647 h 372"/>
                          <a:gd name="T4" fmla="*/ 2147483647 w 570"/>
                          <a:gd name="T5" fmla="*/ 2147483647 h 372"/>
                          <a:gd name="T6" fmla="*/ 2147483647 w 570"/>
                          <a:gd name="T7" fmla="*/ 2147483647 h 372"/>
                          <a:gd name="T8" fmla="*/ 2147483647 w 570"/>
                          <a:gd name="T9" fmla="*/ 2147483647 h 372"/>
                          <a:gd name="T10" fmla="*/ 2147483647 w 570"/>
                          <a:gd name="T11" fmla="*/ 2147483647 h 372"/>
                          <a:gd name="T12" fmla="*/ 2147483647 w 570"/>
                          <a:gd name="T13" fmla="*/ 2147483647 h 372"/>
                          <a:gd name="T14" fmla="*/ 2147483647 w 570"/>
                          <a:gd name="T15" fmla="*/ 2147483647 h 372"/>
                          <a:gd name="T16" fmla="*/ 2147483647 w 570"/>
                          <a:gd name="T17" fmla="*/ 2147483647 h 372"/>
                          <a:gd name="T18" fmla="*/ 2147483647 w 570"/>
                          <a:gd name="T19" fmla="*/ 2147483647 h 372"/>
                          <a:gd name="T20" fmla="*/ 2147483647 w 570"/>
                          <a:gd name="T21" fmla="*/ 2147483647 h 372"/>
                          <a:gd name="T22" fmla="*/ 2147483647 w 570"/>
                          <a:gd name="T23" fmla="*/ 2147483647 h 372"/>
                          <a:gd name="T24" fmla="*/ 2147483647 w 570"/>
                          <a:gd name="T25" fmla="*/ 2147483647 h 372"/>
                          <a:gd name="T26" fmla="*/ 2147483647 w 570"/>
                          <a:gd name="T27" fmla="*/ 2147483647 h 372"/>
                          <a:gd name="T28" fmla="*/ 2147483647 w 570"/>
                          <a:gd name="T29" fmla="*/ 2147483647 h 372"/>
                          <a:gd name="T30" fmla="*/ 2147483647 w 570"/>
                          <a:gd name="T31" fmla="*/ 2147483647 h 372"/>
                          <a:gd name="T32" fmla="*/ 2147483647 w 570"/>
                          <a:gd name="T33" fmla="*/ 2147483647 h 372"/>
                          <a:gd name="T34" fmla="*/ 2147483647 w 570"/>
                          <a:gd name="T35" fmla="*/ 2147483647 h 372"/>
                          <a:gd name="T36" fmla="*/ 2147483647 w 570"/>
                          <a:gd name="T37" fmla="*/ 2147483647 h 372"/>
                          <a:gd name="T38" fmla="*/ 2147483647 w 570"/>
                          <a:gd name="T39" fmla="*/ 2147483647 h 372"/>
                          <a:gd name="T40" fmla="*/ 2147483647 w 570"/>
                          <a:gd name="T41" fmla="*/ 2147483647 h 372"/>
                          <a:gd name="T42" fmla="*/ 2147483647 w 570"/>
                          <a:gd name="T43" fmla="*/ 2147483647 h 372"/>
                          <a:gd name="T44" fmla="*/ 2147483647 w 570"/>
                          <a:gd name="T45" fmla="*/ 2147483647 h 372"/>
                          <a:gd name="T46" fmla="*/ 2147483647 w 570"/>
                          <a:gd name="T47" fmla="*/ 2147483647 h 372"/>
                          <a:gd name="T48" fmla="*/ 2147483647 w 570"/>
                          <a:gd name="T49" fmla="*/ 2147483647 h 372"/>
                          <a:gd name="T50" fmla="*/ 2147483647 w 570"/>
                          <a:gd name="T51" fmla="*/ 2147483647 h 372"/>
                          <a:gd name="T52" fmla="*/ 2147483647 w 570"/>
                          <a:gd name="T53" fmla="*/ 2147483647 h 372"/>
                          <a:gd name="T54" fmla="*/ 2147483647 w 570"/>
                          <a:gd name="T55" fmla="*/ 2147483647 h 372"/>
                          <a:gd name="T56" fmla="*/ 2147483647 w 570"/>
                          <a:gd name="T57" fmla="*/ 0 h 372"/>
                          <a:gd name="T58" fmla="*/ 2147483647 w 570"/>
                          <a:gd name="T59" fmla="*/ 2147483647 h 372"/>
                          <a:gd name="T60" fmla="*/ 2147483647 w 570"/>
                          <a:gd name="T61" fmla="*/ 2147483647 h 372"/>
                          <a:gd name="T62" fmla="*/ 2147483647 w 570"/>
                          <a:gd name="T63" fmla="*/ 2147483647 h 372"/>
                          <a:gd name="T64" fmla="*/ 2147483647 w 570"/>
                          <a:gd name="T65" fmla="*/ 2147483647 h 372"/>
                          <a:gd name="T66" fmla="*/ 2147483647 w 570"/>
                          <a:gd name="T67" fmla="*/ 2147483647 h 372"/>
                          <a:gd name="T68" fmla="*/ 2147483647 w 570"/>
                          <a:gd name="T69" fmla="*/ 2147483647 h 372"/>
                          <a:gd name="T70" fmla="*/ 2147483647 w 570"/>
                          <a:gd name="T71" fmla="*/ 2147483647 h 372"/>
                          <a:gd name="T72" fmla="*/ 2147483647 w 570"/>
                          <a:gd name="T73" fmla="*/ 2147483647 h 372"/>
                          <a:gd name="T74" fmla="*/ 2147483647 w 570"/>
                          <a:gd name="T75" fmla="*/ 2147483647 h 372"/>
                          <a:gd name="T76" fmla="*/ 2147483647 w 570"/>
                          <a:gd name="T77" fmla="*/ 2147483647 h 372"/>
                          <a:gd name="T78" fmla="*/ 2147483647 w 570"/>
                          <a:gd name="T79" fmla="*/ 2147483647 h 372"/>
                          <a:gd name="T80" fmla="*/ 2147483647 w 570"/>
                          <a:gd name="T81" fmla="*/ 2147483647 h 372"/>
                          <a:gd name="T82" fmla="*/ 2147483647 w 570"/>
                          <a:gd name="T83" fmla="*/ 2147483647 h 372"/>
                          <a:gd name="T84" fmla="*/ 2147483647 w 570"/>
                          <a:gd name="T85" fmla="*/ 2147483647 h 372"/>
                          <a:gd name="T86" fmla="*/ 2147483647 w 570"/>
                          <a:gd name="T87" fmla="*/ 2147483647 h 372"/>
                          <a:gd name="T88" fmla="*/ 2147483647 w 570"/>
                          <a:gd name="T89" fmla="*/ 2147483647 h 372"/>
                          <a:gd name="T90" fmla="*/ 2147483647 w 570"/>
                          <a:gd name="T91" fmla="*/ 2147483647 h 372"/>
                          <a:gd name="T92" fmla="*/ 2147483647 w 570"/>
                          <a:gd name="T93" fmla="*/ 2147483647 h 372"/>
                          <a:gd name="T94" fmla="*/ 2147483647 w 570"/>
                          <a:gd name="T95" fmla="*/ 2147483647 h 372"/>
                          <a:gd name="T96" fmla="*/ 2147483647 w 570"/>
                          <a:gd name="T97" fmla="*/ 2147483647 h 372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w 570"/>
                          <a:gd name="T148" fmla="*/ 0 h 372"/>
                          <a:gd name="T149" fmla="*/ 570 w 570"/>
                          <a:gd name="T150" fmla="*/ 372 h 372"/>
                        </a:gdLst>
                        <a:ahLst/>
                        <a:cxnLst>
                          <a:cxn ang="T98">
                            <a:pos x="T0" y="T1"/>
                          </a:cxn>
                          <a:cxn ang="T99">
                            <a:pos x="T2" y="T3"/>
                          </a:cxn>
                          <a:cxn ang="T100">
                            <a:pos x="T4" y="T5"/>
                          </a:cxn>
                          <a:cxn ang="T101">
                            <a:pos x="T6" y="T7"/>
                          </a:cxn>
                          <a:cxn ang="T102">
                            <a:pos x="T8" y="T9"/>
                          </a:cxn>
                          <a:cxn ang="T103">
                            <a:pos x="T10" y="T11"/>
                          </a:cxn>
                          <a:cxn ang="T104">
                            <a:pos x="T12" y="T13"/>
                          </a:cxn>
                          <a:cxn ang="T105">
                            <a:pos x="T14" y="T15"/>
                          </a:cxn>
                          <a:cxn ang="T106">
                            <a:pos x="T16" y="T17"/>
                          </a:cxn>
                          <a:cxn ang="T107">
                            <a:pos x="T18" y="T19"/>
                          </a:cxn>
                          <a:cxn ang="T108">
                            <a:pos x="T20" y="T21"/>
                          </a:cxn>
                          <a:cxn ang="T109">
                            <a:pos x="T22" y="T23"/>
                          </a:cxn>
                          <a:cxn ang="T110">
                            <a:pos x="T24" y="T25"/>
                          </a:cxn>
                          <a:cxn ang="T111">
                            <a:pos x="T26" y="T27"/>
                          </a:cxn>
                          <a:cxn ang="T112">
                            <a:pos x="T28" y="T29"/>
                          </a:cxn>
                          <a:cxn ang="T113">
                            <a:pos x="T30" y="T31"/>
                          </a:cxn>
                          <a:cxn ang="T114">
                            <a:pos x="T32" y="T33"/>
                          </a:cxn>
                          <a:cxn ang="T115">
                            <a:pos x="T34" y="T35"/>
                          </a:cxn>
                          <a:cxn ang="T116">
                            <a:pos x="T36" y="T37"/>
                          </a:cxn>
                          <a:cxn ang="T117">
                            <a:pos x="T38" y="T39"/>
                          </a:cxn>
                          <a:cxn ang="T118">
                            <a:pos x="T40" y="T41"/>
                          </a:cxn>
                          <a:cxn ang="T119">
                            <a:pos x="T42" y="T43"/>
                          </a:cxn>
                          <a:cxn ang="T120">
                            <a:pos x="T44" y="T45"/>
                          </a:cxn>
                          <a:cxn ang="T121">
                            <a:pos x="T46" y="T47"/>
                          </a:cxn>
                          <a:cxn ang="T122">
                            <a:pos x="T48" y="T49"/>
                          </a:cxn>
                          <a:cxn ang="T123">
                            <a:pos x="T50" y="T51"/>
                          </a:cxn>
                          <a:cxn ang="T124">
                            <a:pos x="T52" y="T53"/>
                          </a:cxn>
                          <a:cxn ang="T125">
                            <a:pos x="T54" y="T55"/>
                          </a:cxn>
                          <a:cxn ang="T126">
                            <a:pos x="T56" y="T57"/>
                          </a:cxn>
                          <a:cxn ang="T127">
                            <a:pos x="T58" y="T59"/>
                          </a:cxn>
                          <a:cxn ang="T128">
                            <a:pos x="T60" y="T61"/>
                          </a:cxn>
                          <a:cxn ang="T129">
                            <a:pos x="T62" y="T63"/>
                          </a:cxn>
                          <a:cxn ang="T130">
                            <a:pos x="T64" y="T65"/>
                          </a:cxn>
                          <a:cxn ang="T131">
                            <a:pos x="T66" y="T67"/>
                          </a:cxn>
                          <a:cxn ang="T132">
                            <a:pos x="T68" y="T69"/>
                          </a:cxn>
                          <a:cxn ang="T133">
                            <a:pos x="T70" y="T71"/>
                          </a:cxn>
                          <a:cxn ang="T134">
                            <a:pos x="T72" y="T73"/>
                          </a:cxn>
                          <a:cxn ang="T135">
                            <a:pos x="T74" y="T75"/>
                          </a:cxn>
                          <a:cxn ang="T136">
                            <a:pos x="T76" y="T77"/>
                          </a:cxn>
                          <a:cxn ang="T137">
                            <a:pos x="T78" y="T79"/>
                          </a:cxn>
                          <a:cxn ang="T138">
                            <a:pos x="T80" y="T81"/>
                          </a:cxn>
                          <a:cxn ang="T139">
                            <a:pos x="T82" y="T83"/>
                          </a:cxn>
                          <a:cxn ang="T140">
                            <a:pos x="T84" y="T85"/>
                          </a:cxn>
                          <a:cxn ang="T141">
                            <a:pos x="T86" y="T87"/>
                          </a:cxn>
                          <a:cxn ang="T142">
                            <a:pos x="T88" y="T89"/>
                          </a:cxn>
                          <a:cxn ang="T143">
                            <a:pos x="T90" y="T91"/>
                          </a:cxn>
                          <a:cxn ang="T144">
                            <a:pos x="T92" y="T93"/>
                          </a:cxn>
                          <a:cxn ang="T145">
                            <a:pos x="T94" y="T95"/>
                          </a:cxn>
                          <a:cxn ang="T146">
                            <a:pos x="T96" y="T97"/>
                          </a:cxn>
                        </a:cxnLst>
                        <a:rect l="T147" t="T148" r="T149" b="T150"/>
                        <a:pathLst>
                          <a:path w="570" h="372">
                            <a:moveTo>
                              <a:pt x="24" y="312"/>
                            </a:moveTo>
                            <a:lnTo>
                              <a:pt x="24" y="342"/>
                            </a:lnTo>
                            <a:lnTo>
                              <a:pt x="30" y="354"/>
                            </a:lnTo>
                            <a:lnTo>
                              <a:pt x="36" y="360"/>
                            </a:lnTo>
                            <a:lnTo>
                              <a:pt x="48" y="360"/>
                            </a:lnTo>
                            <a:lnTo>
                              <a:pt x="60" y="354"/>
                            </a:lnTo>
                            <a:lnTo>
                              <a:pt x="72" y="342"/>
                            </a:lnTo>
                            <a:lnTo>
                              <a:pt x="72" y="336"/>
                            </a:lnTo>
                            <a:lnTo>
                              <a:pt x="108" y="336"/>
                            </a:lnTo>
                            <a:lnTo>
                              <a:pt x="120" y="330"/>
                            </a:lnTo>
                            <a:lnTo>
                              <a:pt x="126" y="324"/>
                            </a:lnTo>
                            <a:lnTo>
                              <a:pt x="174" y="324"/>
                            </a:lnTo>
                            <a:lnTo>
                              <a:pt x="174" y="330"/>
                            </a:lnTo>
                            <a:lnTo>
                              <a:pt x="180" y="336"/>
                            </a:lnTo>
                            <a:lnTo>
                              <a:pt x="216" y="336"/>
                            </a:lnTo>
                            <a:lnTo>
                              <a:pt x="240" y="342"/>
                            </a:lnTo>
                            <a:lnTo>
                              <a:pt x="258" y="354"/>
                            </a:lnTo>
                            <a:lnTo>
                              <a:pt x="264" y="348"/>
                            </a:lnTo>
                            <a:lnTo>
                              <a:pt x="282" y="360"/>
                            </a:lnTo>
                            <a:lnTo>
                              <a:pt x="294" y="348"/>
                            </a:lnTo>
                            <a:lnTo>
                              <a:pt x="300" y="360"/>
                            </a:lnTo>
                            <a:lnTo>
                              <a:pt x="318" y="354"/>
                            </a:lnTo>
                            <a:lnTo>
                              <a:pt x="324" y="360"/>
                            </a:lnTo>
                            <a:lnTo>
                              <a:pt x="336" y="354"/>
                            </a:lnTo>
                            <a:lnTo>
                              <a:pt x="348" y="366"/>
                            </a:lnTo>
                            <a:lnTo>
                              <a:pt x="348" y="360"/>
                            </a:lnTo>
                            <a:lnTo>
                              <a:pt x="354" y="354"/>
                            </a:lnTo>
                            <a:lnTo>
                              <a:pt x="372" y="354"/>
                            </a:lnTo>
                            <a:lnTo>
                              <a:pt x="378" y="360"/>
                            </a:lnTo>
                            <a:lnTo>
                              <a:pt x="378" y="372"/>
                            </a:lnTo>
                            <a:lnTo>
                              <a:pt x="384" y="372"/>
                            </a:lnTo>
                            <a:lnTo>
                              <a:pt x="396" y="366"/>
                            </a:lnTo>
                            <a:lnTo>
                              <a:pt x="420" y="366"/>
                            </a:lnTo>
                            <a:lnTo>
                              <a:pt x="426" y="372"/>
                            </a:lnTo>
                            <a:lnTo>
                              <a:pt x="444" y="372"/>
                            </a:lnTo>
                            <a:lnTo>
                              <a:pt x="450" y="366"/>
                            </a:lnTo>
                            <a:lnTo>
                              <a:pt x="450" y="354"/>
                            </a:lnTo>
                            <a:lnTo>
                              <a:pt x="444" y="348"/>
                            </a:lnTo>
                            <a:lnTo>
                              <a:pt x="450" y="336"/>
                            </a:lnTo>
                            <a:lnTo>
                              <a:pt x="456" y="330"/>
                            </a:lnTo>
                            <a:lnTo>
                              <a:pt x="468" y="324"/>
                            </a:lnTo>
                            <a:lnTo>
                              <a:pt x="474" y="312"/>
                            </a:lnTo>
                            <a:lnTo>
                              <a:pt x="498" y="312"/>
                            </a:lnTo>
                            <a:lnTo>
                              <a:pt x="516" y="318"/>
                            </a:lnTo>
                            <a:lnTo>
                              <a:pt x="516" y="300"/>
                            </a:lnTo>
                            <a:lnTo>
                              <a:pt x="510" y="288"/>
                            </a:lnTo>
                            <a:lnTo>
                              <a:pt x="504" y="282"/>
                            </a:lnTo>
                            <a:lnTo>
                              <a:pt x="504" y="264"/>
                            </a:lnTo>
                            <a:lnTo>
                              <a:pt x="480" y="240"/>
                            </a:lnTo>
                            <a:lnTo>
                              <a:pt x="480" y="234"/>
                            </a:lnTo>
                            <a:lnTo>
                              <a:pt x="486" y="228"/>
                            </a:lnTo>
                            <a:lnTo>
                              <a:pt x="510" y="228"/>
                            </a:lnTo>
                            <a:lnTo>
                              <a:pt x="510" y="234"/>
                            </a:lnTo>
                            <a:lnTo>
                              <a:pt x="516" y="234"/>
                            </a:lnTo>
                            <a:lnTo>
                              <a:pt x="522" y="240"/>
                            </a:lnTo>
                            <a:lnTo>
                              <a:pt x="528" y="240"/>
                            </a:lnTo>
                            <a:lnTo>
                              <a:pt x="552" y="228"/>
                            </a:lnTo>
                            <a:lnTo>
                              <a:pt x="558" y="216"/>
                            </a:lnTo>
                            <a:lnTo>
                              <a:pt x="570" y="210"/>
                            </a:lnTo>
                            <a:lnTo>
                              <a:pt x="546" y="198"/>
                            </a:lnTo>
                            <a:lnTo>
                              <a:pt x="552" y="192"/>
                            </a:lnTo>
                            <a:lnTo>
                              <a:pt x="552" y="186"/>
                            </a:lnTo>
                            <a:lnTo>
                              <a:pt x="546" y="186"/>
                            </a:lnTo>
                            <a:lnTo>
                              <a:pt x="540" y="180"/>
                            </a:lnTo>
                            <a:lnTo>
                              <a:pt x="504" y="180"/>
                            </a:lnTo>
                            <a:lnTo>
                              <a:pt x="504" y="156"/>
                            </a:lnTo>
                            <a:lnTo>
                              <a:pt x="474" y="144"/>
                            </a:lnTo>
                            <a:lnTo>
                              <a:pt x="474" y="132"/>
                            </a:lnTo>
                            <a:lnTo>
                              <a:pt x="456" y="114"/>
                            </a:lnTo>
                            <a:lnTo>
                              <a:pt x="444" y="108"/>
                            </a:lnTo>
                            <a:lnTo>
                              <a:pt x="438" y="102"/>
                            </a:lnTo>
                            <a:lnTo>
                              <a:pt x="444" y="84"/>
                            </a:lnTo>
                            <a:lnTo>
                              <a:pt x="432" y="66"/>
                            </a:lnTo>
                            <a:lnTo>
                              <a:pt x="438" y="60"/>
                            </a:lnTo>
                            <a:lnTo>
                              <a:pt x="438" y="48"/>
                            </a:lnTo>
                            <a:lnTo>
                              <a:pt x="432" y="42"/>
                            </a:lnTo>
                            <a:lnTo>
                              <a:pt x="396" y="24"/>
                            </a:lnTo>
                            <a:lnTo>
                              <a:pt x="390" y="18"/>
                            </a:lnTo>
                            <a:lnTo>
                              <a:pt x="384" y="18"/>
                            </a:lnTo>
                            <a:lnTo>
                              <a:pt x="354" y="36"/>
                            </a:lnTo>
                            <a:lnTo>
                              <a:pt x="348" y="18"/>
                            </a:lnTo>
                            <a:lnTo>
                              <a:pt x="312" y="12"/>
                            </a:lnTo>
                            <a:lnTo>
                              <a:pt x="300" y="18"/>
                            </a:lnTo>
                            <a:lnTo>
                              <a:pt x="300" y="12"/>
                            </a:lnTo>
                            <a:lnTo>
                              <a:pt x="294" y="6"/>
                            </a:lnTo>
                            <a:lnTo>
                              <a:pt x="276" y="6"/>
                            </a:lnTo>
                            <a:lnTo>
                              <a:pt x="270" y="0"/>
                            </a:lnTo>
                            <a:lnTo>
                              <a:pt x="258" y="0"/>
                            </a:lnTo>
                            <a:lnTo>
                              <a:pt x="252" y="6"/>
                            </a:lnTo>
                            <a:lnTo>
                              <a:pt x="246" y="18"/>
                            </a:lnTo>
                            <a:lnTo>
                              <a:pt x="240" y="24"/>
                            </a:lnTo>
                            <a:lnTo>
                              <a:pt x="234" y="24"/>
                            </a:lnTo>
                            <a:lnTo>
                              <a:pt x="228" y="30"/>
                            </a:lnTo>
                            <a:lnTo>
                              <a:pt x="222" y="24"/>
                            </a:lnTo>
                            <a:lnTo>
                              <a:pt x="198" y="24"/>
                            </a:lnTo>
                            <a:lnTo>
                              <a:pt x="192" y="30"/>
                            </a:lnTo>
                            <a:lnTo>
                              <a:pt x="180" y="36"/>
                            </a:lnTo>
                            <a:lnTo>
                              <a:pt x="174" y="42"/>
                            </a:lnTo>
                            <a:lnTo>
                              <a:pt x="174" y="54"/>
                            </a:lnTo>
                            <a:lnTo>
                              <a:pt x="192" y="72"/>
                            </a:lnTo>
                            <a:lnTo>
                              <a:pt x="186" y="78"/>
                            </a:lnTo>
                            <a:lnTo>
                              <a:pt x="168" y="78"/>
                            </a:lnTo>
                            <a:lnTo>
                              <a:pt x="162" y="72"/>
                            </a:lnTo>
                            <a:lnTo>
                              <a:pt x="156" y="72"/>
                            </a:lnTo>
                            <a:lnTo>
                              <a:pt x="162" y="90"/>
                            </a:lnTo>
                            <a:lnTo>
                              <a:pt x="144" y="90"/>
                            </a:lnTo>
                            <a:lnTo>
                              <a:pt x="138" y="96"/>
                            </a:lnTo>
                            <a:lnTo>
                              <a:pt x="138" y="102"/>
                            </a:lnTo>
                            <a:lnTo>
                              <a:pt x="144" y="114"/>
                            </a:lnTo>
                            <a:lnTo>
                              <a:pt x="144" y="120"/>
                            </a:lnTo>
                            <a:lnTo>
                              <a:pt x="132" y="120"/>
                            </a:lnTo>
                            <a:lnTo>
                              <a:pt x="132" y="126"/>
                            </a:lnTo>
                            <a:lnTo>
                              <a:pt x="138" y="132"/>
                            </a:lnTo>
                            <a:lnTo>
                              <a:pt x="138" y="144"/>
                            </a:lnTo>
                            <a:lnTo>
                              <a:pt x="144" y="150"/>
                            </a:lnTo>
                            <a:lnTo>
                              <a:pt x="144" y="156"/>
                            </a:lnTo>
                            <a:lnTo>
                              <a:pt x="132" y="156"/>
                            </a:lnTo>
                            <a:lnTo>
                              <a:pt x="138" y="150"/>
                            </a:lnTo>
                            <a:lnTo>
                              <a:pt x="138" y="144"/>
                            </a:lnTo>
                            <a:lnTo>
                              <a:pt x="120" y="144"/>
                            </a:lnTo>
                            <a:lnTo>
                              <a:pt x="108" y="150"/>
                            </a:lnTo>
                            <a:lnTo>
                              <a:pt x="102" y="156"/>
                            </a:lnTo>
                            <a:lnTo>
                              <a:pt x="96" y="168"/>
                            </a:lnTo>
                            <a:lnTo>
                              <a:pt x="84" y="156"/>
                            </a:lnTo>
                            <a:lnTo>
                              <a:pt x="84" y="174"/>
                            </a:lnTo>
                            <a:lnTo>
                              <a:pt x="54" y="174"/>
                            </a:lnTo>
                            <a:lnTo>
                              <a:pt x="54" y="168"/>
                            </a:lnTo>
                            <a:lnTo>
                              <a:pt x="48" y="162"/>
                            </a:lnTo>
                            <a:lnTo>
                              <a:pt x="42" y="162"/>
                            </a:lnTo>
                            <a:lnTo>
                              <a:pt x="30" y="168"/>
                            </a:lnTo>
                            <a:lnTo>
                              <a:pt x="18" y="168"/>
                            </a:lnTo>
                            <a:lnTo>
                              <a:pt x="12" y="174"/>
                            </a:lnTo>
                            <a:lnTo>
                              <a:pt x="6" y="174"/>
                            </a:lnTo>
                            <a:lnTo>
                              <a:pt x="12" y="186"/>
                            </a:lnTo>
                            <a:lnTo>
                              <a:pt x="18" y="192"/>
                            </a:lnTo>
                            <a:lnTo>
                              <a:pt x="18" y="204"/>
                            </a:lnTo>
                            <a:lnTo>
                              <a:pt x="24" y="210"/>
                            </a:lnTo>
                            <a:lnTo>
                              <a:pt x="36" y="234"/>
                            </a:lnTo>
                            <a:lnTo>
                              <a:pt x="42" y="240"/>
                            </a:lnTo>
                            <a:lnTo>
                              <a:pt x="42" y="246"/>
                            </a:lnTo>
                            <a:lnTo>
                              <a:pt x="36" y="252"/>
                            </a:lnTo>
                            <a:lnTo>
                              <a:pt x="36" y="264"/>
                            </a:lnTo>
                            <a:lnTo>
                              <a:pt x="12" y="270"/>
                            </a:lnTo>
                            <a:lnTo>
                              <a:pt x="12" y="288"/>
                            </a:lnTo>
                            <a:lnTo>
                              <a:pt x="0" y="288"/>
                            </a:lnTo>
                            <a:lnTo>
                              <a:pt x="0" y="294"/>
                            </a:lnTo>
                            <a:lnTo>
                              <a:pt x="6" y="300"/>
                            </a:lnTo>
                            <a:lnTo>
                              <a:pt x="12" y="300"/>
                            </a:lnTo>
                            <a:lnTo>
                              <a:pt x="24" y="312"/>
                            </a:lnTo>
                            <a:close/>
                          </a:path>
                        </a:pathLst>
                      </a:custGeom>
                      <a:solidFill>
                        <a:srgbClr val="DF3817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>
                          <a:spcBef>
                            <a:spcPct val="0"/>
                          </a:spcBef>
                          <a:defRPr/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endParaRPr>
                      </a:p>
                    </p:txBody>
                  </p:sp>
                  <p:sp>
                    <p:nvSpPr>
                      <p:cNvPr id="358" name="Austria" descr="© INSCALE GmbH, 05.05.2010&#10;http://www.presentationload.com/"/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4491043" y="2492377"/>
                        <a:ext cx="184150" cy="82550"/>
                      </a:xfrm>
                      <a:custGeom>
                        <a:avLst/>
                        <a:gdLst>
                          <a:gd name="T0" fmla="*/ 2147483647 w 456"/>
                          <a:gd name="T1" fmla="*/ 2147483647 h 204"/>
                          <a:gd name="T2" fmla="*/ 2147483647 w 456"/>
                          <a:gd name="T3" fmla="*/ 2147483647 h 204"/>
                          <a:gd name="T4" fmla="*/ 2147483647 w 456"/>
                          <a:gd name="T5" fmla="*/ 2147483647 h 204"/>
                          <a:gd name="T6" fmla="*/ 2147483647 w 456"/>
                          <a:gd name="T7" fmla="*/ 2147483647 h 204"/>
                          <a:gd name="T8" fmla="*/ 2147483647 w 456"/>
                          <a:gd name="T9" fmla="*/ 2147483647 h 204"/>
                          <a:gd name="T10" fmla="*/ 2147483647 w 456"/>
                          <a:gd name="T11" fmla="*/ 2147483647 h 204"/>
                          <a:gd name="T12" fmla="*/ 2147483647 w 456"/>
                          <a:gd name="T13" fmla="*/ 2147483647 h 204"/>
                          <a:gd name="T14" fmla="*/ 2147483647 w 456"/>
                          <a:gd name="T15" fmla="*/ 0 h 204"/>
                          <a:gd name="T16" fmla="*/ 2147483647 w 456"/>
                          <a:gd name="T17" fmla="*/ 2147483647 h 204"/>
                          <a:gd name="T18" fmla="*/ 2147483647 w 456"/>
                          <a:gd name="T19" fmla="*/ 2147483647 h 204"/>
                          <a:gd name="T20" fmla="*/ 2147483647 w 456"/>
                          <a:gd name="T21" fmla="*/ 2147483647 h 204"/>
                          <a:gd name="T22" fmla="*/ 2147483647 w 456"/>
                          <a:gd name="T23" fmla="*/ 2147483647 h 204"/>
                          <a:gd name="T24" fmla="*/ 2147483647 w 456"/>
                          <a:gd name="T25" fmla="*/ 2147483647 h 204"/>
                          <a:gd name="T26" fmla="*/ 2147483647 w 456"/>
                          <a:gd name="T27" fmla="*/ 2147483647 h 204"/>
                          <a:gd name="T28" fmla="*/ 2147483647 w 456"/>
                          <a:gd name="T29" fmla="*/ 2147483647 h 204"/>
                          <a:gd name="T30" fmla="*/ 2147483647 w 456"/>
                          <a:gd name="T31" fmla="*/ 2147483647 h 204"/>
                          <a:gd name="T32" fmla="*/ 2147483647 w 456"/>
                          <a:gd name="T33" fmla="*/ 2147483647 h 204"/>
                          <a:gd name="T34" fmla="*/ 2147483647 w 456"/>
                          <a:gd name="T35" fmla="*/ 2147483647 h 204"/>
                          <a:gd name="T36" fmla="*/ 2147483647 w 456"/>
                          <a:gd name="T37" fmla="*/ 2147483647 h 204"/>
                          <a:gd name="T38" fmla="*/ 2147483647 w 456"/>
                          <a:gd name="T39" fmla="*/ 2147483647 h 204"/>
                          <a:gd name="T40" fmla="*/ 2147483647 w 456"/>
                          <a:gd name="T41" fmla="*/ 2147483647 h 204"/>
                          <a:gd name="T42" fmla="*/ 2147483647 w 456"/>
                          <a:gd name="T43" fmla="*/ 2147483647 h 204"/>
                          <a:gd name="T44" fmla="*/ 2147483647 w 456"/>
                          <a:gd name="T45" fmla="*/ 2147483647 h 204"/>
                          <a:gd name="T46" fmla="*/ 2147483647 w 456"/>
                          <a:gd name="T47" fmla="*/ 2147483647 h 204"/>
                          <a:gd name="T48" fmla="*/ 2147483647 w 456"/>
                          <a:gd name="T49" fmla="*/ 2147483647 h 204"/>
                          <a:gd name="T50" fmla="*/ 2147483647 w 456"/>
                          <a:gd name="T51" fmla="*/ 2147483647 h 204"/>
                          <a:gd name="T52" fmla="*/ 2147483647 w 456"/>
                          <a:gd name="T53" fmla="*/ 2147483647 h 204"/>
                          <a:gd name="T54" fmla="*/ 0 w 456"/>
                          <a:gd name="T55" fmla="*/ 2147483647 h 204"/>
                          <a:gd name="T56" fmla="*/ 2147483647 w 456"/>
                          <a:gd name="T57" fmla="*/ 2147483647 h 204"/>
                          <a:gd name="T58" fmla="*/ 2147483647 w 456"/>
                          <a:gd name="T59" fmla="*/ 2147483647 h 204"/>
                          <a:gd name="T60" fmla="*/ 2147483647 w 456"/>
                          <a:gd name="T61" fmla="*/ 2147483647 h 204"/>
                          <a:gd name="T62" fmla="*/ 2147483647 w 456"/>
                          <a:gd name="T63" fmla="*/ 2147483647 h 204"/>
                          <a:gd name="T64" fmla="*/ 2147483647 w 456"/>
                          <a:gd name="T65" fmla="*/ 2147483647 h 204"/>
                          <a:gd name="T66" fmla="*/ 2147483647 w 456"/>
                          <a:gd name="T67" fmla="*/ 2147483647 h 204"/>
                          <a:gd name="T68" fmla="*/ 2147483647 w 456"/>
                          <a:gd name="T69" fmla="*/ 2147483647 h 204"/>
                          <a:gd name="T70" fmla="*/ 2147483647 w 456"/>
                          <a:gd name="T71" fmla="*/ 2147483647 h 204"/>
                          <a:gd name="T72" fmla="*/ 2147483647 w 456"/>
                          <a:gd name="T73" fmla="*/ 2147483647 h 204"/>
                          <a:gd name="T74" fmla="*/ 2147483647 w 456"/>
                          <a:gd name="T75" fmla="*/ 2147483647 h 204"/>
                          <a:gd name="T76" fmla="*/ 2147483647 w 456"/>
                          <a:gd name="T77" fmla="*/ 2147483647 h 204"/>
                          <a:gd name="T78" fmla="*/ 2147483647 w 456"/>
                          <a:gd name="T79" fmla="*/ 2147483647 h 204"/>
                          <a:gd name="T80" fmla="*/ 2147483647 w 456"/>
                          <a:gd name="T81" fmla="*/ 2147483647 h 204"/>
                          <a:gd name="T82" fmla="*/ 2147483647 w 456"/>
                          <a:gd name="T83" fmla="*/ 2147483647 h 204"/>
                          <a:gd name="T84" fmla="*/ 2147483647 w 456"/>
                          <a:gd name="T85" fmla="*/ 2147483647 h 204"/>
                          <a:gd name="T86" fmla="*/ 2147483647 w 456"/>
                          <a:gd name="T87" fmla="*/ 2147483647 h 204"/>
                          <a:gd name="T88" fmla="*/ 2147483647 w 456"/>
                          <a:gd name="T89" fmla="*/ 2147483647 h 204"/>
                          <a:gd name="T90" fmla="*/ 2147483647 w 456"/>
                          <a:gd name="T91" fmla="*/ 2147483647 h 204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w 456"/>
                          <a:gd name="T139" fmla="*/ 0 h 204"/>
                          <a:gd name="T140" fmla="*/ 456 w 456"/>
                          <a:gd name="T141" fmla="*/ 204 h 204"/>
                        </a:gdLst>
                        <a:ahLst/>
                        <a:cxnLst>
                          <a:cxn ang="T92">
                            <a:pos x="T0" y="T1"/>
                          </a:cxn>
                          <a:cxn ang="T93">
                            <a:pos x="T2" y="T3"/>
                          </a:cxn>
                          <a:cxn ang="T94">
                            <a:pos x="T4" y="T5"/>
                          </a:cxn>
                          <a:cxn ang="T95">
                            <a:pos x="T6" y="T7"/>
                          </a:cxn>
                          <a:cxn ang="T96">
                            <a:pos x="T8" y="T9"/>
                          </a:cxn>
                          <a:cxn ang="T97">
                            <a:pos x="T10" y="T11"/>
                          </a:cxn>
                          <a:cxn ang="T98">
                            <a:pos x="T12" y="T13"/>
                          </a:cxn>
                          <a:cxn ang="T99">
                            <a:pos x="T14" y="T15"/>
                          </a:cxn>
                          <a:cxn ang="T100">
                            <a:pos x="T16" y="T17"/>
                          </a:cxn>
                          <a:cxn ang="T101">
                            <a:pos x="T18" y="T19"/>
                          </a:cxn>
                          <a:cxn ang="T102">
                            <a:pos x="T20" y="T21"/>
                          </a:cxn>
                          <a:cxn ang="T103">
                            <a:pos x="T22" y="T23"/>
                          </a:cxn>
                          <a:cxn ang="T104">
                            <a:pos x="T24" y="T25"/>
                          </a:cxn>
                          <a:cxn ang="T105">
                            <a:pos x="T26" y="T27"/>
                          </a:cxn>
                          <a:cxn ang="T106">
                            <a:pos x="T28" y="T29"/>
                          </a:cxn>
                          <a:cxn ang="T107">
                            <a:pos x="T30" y="T31"/>
                          </a:cxn>
                          <a:cxn ang="T108">
                            <a:pos x="T32" y="T33"/>
                          </a:cxn>
                          <a:cxn ang="T109">
                            <a:pos x="T34" y="T35"/>
                          </a:cxn>
                          <a:cxn ang="T110">
                            <a:pos x="T36" y="T37"/>
                          </a:cxn>
                          <a:cxn ang="T111">
                            <a:pos x="T38" y="T39"/>
                          </a:cxn>
                          <a:cxn ang="T112">
                            <a:pos x="T40" y="T41"/>
                          </a:cxn>
                          <a:cxn ang="T113">
                            <a:pos x="T42" y="T43"/>
                          </a:cxn>
                          <a:cxn ang="T114">
                            <a:pos x="T44" y="T45"/>
                          </a:cxn>
                          <a:cxn ang="T115">
                            <a:pos x="T46" y="T47"/>
                          </a:cxn>
                          <a:cxn ang="T116">
                            <a:pos x="T48" y="T49"/>
                          </a:cxn>
                          <a:cxn ang="T117">
                            <a:pos x="T50" y="T51"/>
                          </a:cxn>
                          <a:cxn ang="T118">
                            <a:pos x="T52" y="T53"/>
                          </a:cxn>
                          <a:cxn ang="T119">
                            <a:pos x="T54" y="T55"/>
                          </a:cxn>
                          <a:cxn ang="T120">
                            <a:pos x="T56" y="T57"/>
                          </a:cxn>
                          <a:cxn ang="T121">
                            <a:pos x="T58" y="T59"/>
                          </a:cxn>
                          <a:cxn ang="T122">
                            <a:pos x="T60" y="T61"/>
                          </a:cxn>
                          <a:cxn ang="T123">
                            <a:pos x="T62" y="T63"/>
                          </a:cxn>
                          <a:cxn ang="T124">
                            <a:pos x="T64" y="T65"/>
                          </a:cxn>
                          <a:cxn ang="T125">
                            <a:pos x="T66" y="T67"/>
                          </a:cxn>
                          <a:cxn ang="T126">
                            <a:pos x="T68" y="T69"/>
                          </a:cxn>
                          <a:cxn ang="T127">
                            <a:pos x="T70" y="T71"/>
                          </a:cxn>
                          <a:cxn ang="T128">
                            <a:pos x="T72" y="T73"/>
                          </a:cxn>
                          <a:cxn ang="T129">
                            <a:pos x="T74" y="T75"/>
                          </a:cxn>
                          <a:cxn ang="T130">
                            <a:pos x="T76" y="T77"/>
                          </a:cxn>
                          <a:cxn ang="T131">
                            <a:pos x="T78" y="T79"/>
                          </a:cxn>
                          <a:cxn ang="T132">
                            <a:pos x="T80" y="T81"/>
                          </a:cxn>
                          <a:cxn ang="T133">
                            <a:pos x="T82" y="T83"/>
                          </a:cxn>
                          <a:cxn ang="T134">
                            <a:pos x="T84" y="T85"/>
                          </a:cxn>
                          <a:cxn ang="T135">
                            <a:pos x="T86" y="T87"/>
                          </a:cxn>
                          <a:cxn ang="T136">
                            <a:pos x="T88" y="T89"/>
                          </a:cxn>
                          <a:cxn ang="T137">
                            <a:pos x="T90" y="T91"/>
                          </a:cxn>
                        </a:cxnLst>
                        <a:rect l="T138" t="T139" r="T140" b="T141"/>
                        <a:pathLst>
                          <a:path w="456" h="204">
                            <a:moveTo>
                              <a:pt x="456" y="102"/>
                            </a:moveTo>
                            <a:lnTo>
                              <a:pt x="456" y="60"/>
                            </a:lnTo>
                            <a:lnTo>
                              <a:pt x="450" y="60"/>
                            </a:lnTo>
                            <a:lnTo>
                              <a:pt x="450" y="48"/>
                            </a:lnTo>
                            <a:lnTo>
                              <a:pt x="456" y="24"/>
                            </a:lnTo>
                            <a:lnTo>
                              <a:pt x="444" y="18"/>
                            </a:lnTo>
                            <a:lnTo>
                              <a:pt x="438" y="18"/>
                            </a:lnTo>
                            <a:lnTo>
                              <a:pt x="432" y="12"/>
                            </a:lnTo>
                            <a:lnTo>
                              <a:pt x="420" y="12"/>
                            </a:lnTo>
                            <a:lnTo>
                              <a:pt x="414" y="18"/>
                            </a:lnTo>
                            <a:lnTo>
                              <a:pt x="402" y="24"/>
                            </a:lnTo>
                            <a:lnTo>
                              <a:pt x="390" y="12"/>
                            </a:lnTo>
                            <a:lnTo>
                              <a:pt x="378" y="18"/>
                            </a:lnTo>
                            <a:lnTo>
                              <a:pt x="366" y="6"/>
                            </a:lnTo>
                            <a:lnTo>
                              <a:pt x="354" y="0"/>
                            </a:lnTo>
                            <a:lnTo>
                              <a:pt x="336" y="0"/>
                            </a:lnTo>
                            <a:lnTo>
                              <a:pt x="330" y="6"/>
                            </a:lnTo>
                            <a:lnTo>
                              <a:pt x="324" y="18"/>
                            </a:lnTo>
                            <a:lnTo>
                              <a:pt x="318" y="18"/>
                            </a:lnTo>
                            <a:lnTo>
                              <a:pt x="318" y="36"/>
                            </a:lnTo>
                            <a:lnTo>
                              <a:pt x="306" y="30"/>
                            </a:lnTo>
                            <a:lnTo>
                              <a:pt x="300" y="30"/>
                            </a:lnTo>
                            <a:lnTo>
                              <a:pt x="288" y="36"/>
                            </a:lnTo>
                            <a:lnTo>
                              <a:pt x="276" y="36"/>
                            </a:lnTo>
                            <a:lnTo>
                              <a:pt x="258" y="18"/>
                            </a:lnTo>
                            <a:lnTo>
                              <a:pt x="252" y="36"/>
                            </a:lnTo>
                            <a:lnTo>
                              <a:pt x="234" y="36"/>
                            </a:lnTo>
                            <a:lnTo>
                              <a:pt x="240" y="48"/>
                            </a:lnTo>
                            <a:lnTo>
                              <a:pt x="240" y="66"/>
                            </a:lnTo>
                            <a:lnTo>
                              <a:pt x="234" y="66"/>
                            </a:lnTo>
                            <a:lnTo>
                              <a:pt x="228" y="60"/>
                            </a:lnTo>
                            <a:lnTo>
                              <a:pt x="210" y="60"/>
                            </a:lnTo>
                            <a:lnTo>
                              <a:pt x="204" y="66"/>
                            </a:lnTo>
                            <a:lnTo>
                              <a:pt x="204" y="72"/>
                            </a:lnTo>
                            <a:lnTo>
                              <a:pt x="198" y="78"/>
                            </a:lnTo>
                            <a:lnTo>
                              <a:pt x="198" y="84"/>
                            </a:lnTo>
                            <a:lnTo>
                              <a:pt x="210" y="84"/>
                            </a:lnTo>
                            <a:lnTo>
                              <a:pt x="210" y="126"/>
                            </a:lnTo>
                            <a:lnTo>
                              <a:pt x="204" y="126"/>
                            </a:lnTo>
                            <a:lnTo>
                              <a:pt x="192" y="114"/>
                            </a:lnTo>
                            <a:lnTo>
                              <a:pt x="174" y="108"/>
                            </a:lnTo>
                            <a:lnTo>
                              <a:pt x="162" y="102"/>
                            </a:lnTo>
                            <a:lnTo>
                              <a:pt x="144" y="114"/>
                            </a:lnTo>
                            <a:lnTo>
                              <a:pt x="126" y="114"/>
                            </a:lnTo>
                            <a:lnTo>
                              <a:pt x="108" y="126"/>
                            </a:lnTo>
                            <a:lnTo>
                              <a:pt x="102" y="132"/>
                            </a:lnTo>
                            <a:lnTo>
                              <a:pt x="84" y="132"/>
                            </a:lnTo>
                            <a:lnTo>
                              <a:pt x="66" y="114"/>
                            </a:lnTo>
                            <a:lnTo>
                              <a:pt x="48" y="114"/>
                            </a:lnTo>
                            <a:lnTo>
                              <a:pt x="48" y="126"/>
                            </a:lnTo>
                            <a:lnTo>
                              <a:pt x="42" y="132"/>
                            </a:lnTo>
                            <a:lnTo>
                              <a:pt x="30" y="132"/>
                            </a:lnTo>
                            <a:lnTo>
                              <a:pt x="30" y="126"/>
                            </a:lnTo>
                            <a:lnTo>
                              <a:pt x="24" y="120"/>
                            </a:lnTo>
                            <a:lnTo>
                              <a:pt x="0" y="120"/>
                            </a:lnTo>
                            <a:lnTo>
                              <a:pt x="0" y="156"/>
                            </a:lnTo>
                            <a:lnTo>
                              <a:pt x="18" y="156"/>
                            </a:lnTo>
                            <a:lnTo>
                              <a:pt x="18" y="174"/>
                            </a:lnTo>
                            <a:lnTo>
                              <a:pt x="24" y="174"/>
                            </a:lnTo>
                            <a:lnTo>
                              <a:pt x="42" y="156"/>
                            </a:lnTo>
                            <a:lnTo>
                              <a:pt x="48" y="156"/>
                            </a:lnTo>
                            <a:lnTo>
                              <a:pt x="60" y="168"/>
                            </a:lnTo>
                            <a:lnTo>
                              <a:pt x="60" y="174"/>
                            </a:lnTo>
                            <a:lnTo>
                              <a:pt x="72" y="174"/>
                            </a:lnTo>
                            <a:lnTo>
                              <a:pt x="84" y="180"/>
                            </a:lnTo>
                            <a:lnTo>
                              <a:pt x="96" y="162"/>
                            </a:lnTo>
                            <a:lnTo>
                              <a:pt x="138" y="162"/>
                            </a:lnTo>
                            <a:lnTo>
                              <a:pt x="138" y="156"/>
                            </a:lnTo>
                            <a:lnTo>
                              <a:pt x="144" y="150"/>
                            </a:lnTo>
                            <a:lnTo>
                              <a:pt x="162" y="150"/>
                            </a:lnTo>
                            <a:lnTo>
                              <a:pt x="168" y="156"/>
                            </a:lnTo>
                            <a:lnTo>
                              <a:pt x="168" y="174"/>
                            </a:lnTo>
                            <a:lnTo>
                              <a:pt x="180" y="174"/>
                            </a:lnTo>
                            <a:lnTo>
                              <a:pt x="186" y="192"/>
                            </a:lnTo>
                            <a:lnTo>
                              <a:pt x="240" y="192"/>
                            </a:lnTo>
                            <a:lnTo>
                              <a:pt x="240" y="204"/>
                            </a:lnTo>
                            <a:lnTo>
                              <a:pt x="258" y="204"/>
                            </a:lnTo>
                            <a:lnTo>
                              <a:pt x="264" y="198"/>
                            </a:lnTo>
                            <a:lnTo>
                              <a:pt x="282" y="198"/>
                            </a:lnTo>
                            <a:lnTo>
                              <a:pt x="288" y="204"/>
                            </a:lnTo>
                            <a:lnTo>
                              <a:pt x="318" y="204"/>
                            </a:lnTo>
                            <a:lnTo>
                              <a:pt x="318" y="192"/>
                            </a:lnTo>
                            <a:lnTo>
                              <a:pt x="366" y="192"/>
                            </a:lnTo>
                            <a:lnTo>
                              <a:pt x="378" y="186"/>
                            </a:lnTo>
                            <a:lnTo>
                              <a:pt x="402" y="192"/>
                            </a:lnTo>
                            <a:lnTo>
                              <a:pt x="414" y="156"/>
                            </a:lnTo>
                            <a:lnTo>
                              <a:pt x="432" y="156"/>
                            </a:lnTo>
                            <a:lnTo>
                              <a:pt x="432" y="132"/>
                            </a:lnTo>
                            <a:lnTo>
                              <a:pt x="444" y="114"/>
                            </a:lnTo>
                            <a:lnTo>
                              <a:pt x="432" y="114"/>
                            </a:lnTo>
                            <a:lnTo>
                              <a:pt x="438" y="102"/>
                            </a:lnTo>
                            <a:lnTo>
                              <a:pt x="456" y="102"/>
                            </a:lnTo>
                            <a:close/>
                          </a:path>
                        </a:pathLst>
                      </a:custGeom>
                      <a:solidFill>
                        <a:srgbClr val="DF3817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>
                          <a:spcBef>
                            <a:spcPct val="0"/>
                          </a:spcBef>
                          <a:defRPr/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endParaRPr>
                      </a:p>
                    </p:txBody>
                  </p:sp>
                  <p:sp>
                    <p:nvSpPr>
                      <p:cNvPr id="359" name="Freeform 198" descr="© INSCALE GmbH, 05.05.2010&#10;http://www.presentationload.com/"/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4724406" y="2581277"/>
                        <a:ext cx="111125" cy="121836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464" y="374"/>
                          </a:cxn>
                          <a:cxn ang="0">
                            <a:pos x="453" y="310"/>
                          </a:cxn>
                          <a:cxn ang="0">
                            <a:pos x="453" y="235"/>
                          </a:cxn>
                          <a:cxn ang="0">
                            <a:pos x="378" y="224"/>
                          </a:cxn>
                          <a:cxn ang="0">
                            <a:pos x="302" y="171"/>
                          </a:cxn>
                          <a:cxn ang="0">
                            <a:pos x="291" y="118"/>
                          </a:cxn>
                          <a:cxn ang="0">
                            <a:pos x="259" y="128"/>
                          </a:cxn>
                          <a:cxn ang="0">
                            <a:pos x="216" y="53"/>
                          </a:cxn>
                          <a:cxn ang="0">
                            <a:pos x="87" y="0"/>
                          </a:cxn>
                          <a:cxn ang="0">
                            <a:pos x="0" y="43"/>
                          </a:cxn>
                          <a:cxn ang="0">
                            <a:pos x="32" y="96"/>
                          </a:cxn>
                          <a:cxn ang="0">
                            <a:pos x="65" y="139"/>
                          </a:cxn>
                          <a:cxn ang="0">
                            <a:pos x="54" y="150"/>
                          </a:cxn>
                          <a:cxn ang="0">
                            <a:pos x="32" y="181"/>
                          </a:cxn>
                          <a:cxn ang="0">
                            <a:pos x="32" y="192"/>
                          </a:cxn>
                          <a:cxn ang="0">
                            <a:pos x="76" y="203"/>
                          </a:cxn>
                          <a:cxn ang="0">
                            <a:pos x="87" y="267"/>
                          </a:cxn>
                          <a:cxn ang="0">
                            <a:pos x="65" y="310"/>
                          </a:cxn>
                          <a:cxn ang="0">
                            <a:pos x="98" y="363"/>
                          </a:cxn>
                          <a:cxn ang="0">
                            <a:pos x="119" y="395"/>
                          </a:cxn>
                          <a:cxn ang="0">
                            <a:pos x="157" y="442"/>
                          </a:cxn>
                          <a:cxn ang="0">
                            <a:pos x="173" y="438"/>
                          </a:cxn>
                          <a:cxn ang="0">
                            <a:pos x="180" y="444"/>
                          </a:cxn>
                          <a:cxn ang="0">
                            <a:pos x="230" y="446"/>
                          </a:cxn>
                          <a:cxn ang="0">
                            <a:pos x="237" y="431"/>
                          </a:cxn>
                          <a:cxn ang="0">
                            <a:pos x="258" y="416"/>
                          </a:cxn>
                          <a:cxn ang="0">
                            <a:pos x="266" y="418"/>
                          </a:cxn>
                          <a:cxn ang="0">
                            <a:pos x="268" y="407"/>
                          </a:cxn>
                          <a:cxn ang="0">
                            <a:pos x="267" y="399"/>
                          </a:cxn>
                          <a:cxn ang="0">
                            <a:pos x="254" y="388"/>
                          </a:cxn>
                          <a:cxn ang="0">
                            <a:pos x="262" y="387"/>
                          </a:cxn>
                          <a:cxn ang="0">
                            <a:pos x="279" y="380"/>
                          </a:cxn>
                          <a:cxn ang="0">
                            <a:pos x="288" y="372"/>
                          </a:cxn>
                          <a:cxn ang="0">
                            <a:pos x="298" y="389"/>
                          </a:cxn>
                          <a:cxn ang="0">
                            <a:pos x="292" y="399"/>
                          </a:cxn>
                          <a:cxn ang="0">
                            <a:pos x="309" y="402"/>
                          </a:cxn>
                          <a:cxn ang="0">
                            <a:pos x="321" y="404"/>
                          </a:cxn>
                          <a:cxn ang="0">
                            <a:pos x="326" y="408"/>
                          </a:cxn>
                          <a:cxn ang="0">
                            <a:pos x="328" y="433"/>
                          </a:cxn>
                          <a:cxn ang="0">
                            <a:pos x="334" y="429"/>
                          </a:cxn>
                          <a:cxn ang="0">
                            <a:pos x="335" y="448"/>
                          </a:cxn>
                          <a:cxn ang="0">
                            <a:pos x="348" y="452"/>
                          </a:cxn>
                          <a:cxn ang="0">
                            <a:pos x="356" y="467"/>
                          </a:cxn>
                          <a:cxn ang="0">
                            <a:pos x="354" y="478"/>
                          </a:cxn>
                          <a:cxn ang="0">
                            <a:pos x="356" y="482"/>
                          </a:cxn>
                          <a:cxn ang="0">
                            <a:pos x="369" y="485"/>
                          </a:cxn>
                          <a:cxn ang="0">
                            <a:pos x="381" y="492"/>
                          </a:cxn>
                          <a:cxn ang="0">
                            <a:pos x="390" y="496"/>
                          </a:cxn>
                          <a:cxn ang="0">
                            <a:pos x="399" y="501"/>
                          </a:cxn>
                          <a:cxn ang="0">
                            <a:pos x="392" y="513"/>
                          </a:cxn>
                          <a:cxn ang="0">
                            <a:pos x="384" y="528"/>
                          </a:cxn>
                          <a:cxn ang="0">
                            <a:pos x="376" y="542"/>
                          </a:cxn>
                          <a:cxn ang="0">
                            <a:pos x="453" y="492"/>
                          </a:cxn>
                          <a:cxn ang="0">
                            <a:pos x="486" y="470"/>
                          </a:cxn>
                          <a:cxn ang="0">
                            <a:pos x="486" y="406"/>
                          </a:cxn>
                        </a:cxnLst>
                        <a:rect l="0" t="0" r="r" b="b"/>
                        <a:pathLst>
                          <a:path w="496" h="542">
                            <a:moveTo>
                              <a:pt x="486" y="406"/>
                            </a:moveTo>
                            <a:cubicBezTo>
                              <a:pt x="453" y="395"/>
                              <a:pt x="453" y="395"/>
                              <a:pt x="453" y="395"/>
                            </a:cubicBezTo>
                            <a:cubicBezTo>
                              <a:pt x="464" y="374"/>
                              <a:pt x="464" y="374"/>
                              <a:pt x="464" y="374"/>
                            </a:cubicBezTo>
                            <a:cubicBezTo>
                              <a:pt x="432" y="363"/>
                              <a:pt x="432" y="363"/>
                              <a:pt x="432" y="363"/>
                            </a:cubicBezTo>
                            <a:cubicBezTo>
                              <a:pt x="432" y="331"/>
                              <a:pt x="432" y="331"/>
                              <a:pt x="432" y="331"/>
                            </a:cubicBezTo>
                            <a:cubicBezTo>
                              <a:pt x="453" y="310"/>
                              <a:pt x="453" y="310"/>
                              <a:pt x="453" y="310"/>
                            </a:cubicBezTo>
                            <a:cubicBezTo>
                              <a:pt x="453" y="267"/>
                              <a:pt x="453" y="267"/>
                              <a:pt x="453" y="267"/>
                            </a:cubicBezTo>
                            <a:cubicBezTo>
                              <a:pt x="442" y="256"/>
                              <a:pt x="442" y="256"/>
                              <a:pt x="442" y="256"/>
                            </a:cubicBezTo>
                            <a:cubicBezTo>
                              <a:pt x="453" y="235"/>
                              <a:pt x="453" y="235"/>
                              <a:pt x="453" y="235"/>
                            </a:cubicBezTo>
                            <a:cubicBezTo>
                              <a:pt x="464" y="224"/>
                              <a:pt x="464" y="224"/>
                              <a:pt x="464" y="224"/>
                            </a:cubicBezTo>
                            <a:cubicBezTo>
                              <a:pt x="421" y="213"/>
                              <a:pt x="421" y="213"/>
                              <a:pt x="421" y="213"/>
                            </a:cubicBezTo>
                            <a:cubicBezTo>
                              <a:pt x="378" y="224"/>
                              <a:pt x="378" y="224"/>
                              <a:pt x="378" y="224"/>
                            </a:cubicBezTo>
                            <a:cubicBezTo>
                              <a:pt x="367" y="213"/>
                              <a:pt x="367" y="213"/>
                              <a:pt x="367" y="213"/>
                            </a:cubicBezTo>
                            <a:cubicBezTo>
                              <a:pt x="324" y="203"/>
                              <a:pt x="324" y="203"/>
                              <a:pt x="324" y="203"/>
                            </a:cubicBezTo>
                            <a:cubicBezTo>
                              <a:pt x="302" y="171"/>
                              <a:pt x="302" y="171"/>
                              <a:pt x="302" y="171"/>
                            </a:cubicBezTo>
                            <a:cubicBezTo>
                              <a:pt x="313" y="160"/>
                              <a:pt x="313" y="160"/>
                              <a:pt x="313" y="160"/>
                            </a:cubicBezTo>
                            <a:cubicBezTo>
                              <a:pt x="313" y="128"/>
                              <a:pt x="313" y="128"/>
                              <a:pt x="313" y="128"/>
                            </a:cubicBezTo>
                            <a:cubicBezTo>
                              <a:pt x="291" y="118"/>
                              <a:pt x="291" y="118"/>
                              <a:pt x="291" y="118"/>
                            </a:cubicBezTo>
                            <a:cubicBezTo>
                              <a:pt x="280" y="118"/>
                              <a:pt x="280" y="118"/>
                              <a:pt x="280" y="118"/>
                            </a:cubicBezTo>
                            <a:cubicBezTo>
                              <a:pt x="270" y="128"/>
                              <a:pt x="270" y="128"/>
                              <a:pt x="270" y="128"/>
                            </a:cubicBezTo>
                            <a:cubicBezTo>
                              <a:pt x="259" y="128"/>
                              <a:pt x="259" y="128"/>
                              <a:pt x="259" y="128"/>
                            </a:cubicBezTo>
                            <a:cubicBezTo>
                              <a:pt x="249" y="118"/>
                              <a:pt x="249" y="118"/>
                              <a:pt x="249" y="118"/>
                            </a:cubicBezTo>
                            <a:cubicBezTo>
                              <a:pt x="227" y="53"/>
                              <a:pt x="227" y="53"/>
                              <a:pt x="227" y="53"/>
                            </a:cubicBezTo>
                            <a:cubicBezTo>
                              <a:pt x="216" y="53"/>
                              <a:pt x="216" y="53"/>
                              <a:pt x="216" y="53"/>
                            </a:cubicBezTo>
                            <a:cubicBezTo>
                              <a:pt x="173" y="21"/>
                              <a:pt x="173" y="21"/>
                              <a:pt x="173" y="21"/>
                            </a:cubicBezTo>
                            <a:cubicBezTo>
                              <a:pt x="129" y="0"/>
                              <a:pt x="129" y="0"/>
                              <a:pt x="129" y="0"/>
                            </a:cubicBezTo>
                            <a:cubicBezTo>
                              <a:pt x="87" y="0"/>
                              <a:pt x="87" y="0"/>
                              <a:pt x="87" y="0"/>
                            </a:cubicBezTo>
                            <a:cubicBezTo>
                              <a:pt x="54" y="32"/>
                              <a:pt x="54" y="32"/>
                              <a:pt x="54" y="32"/>
                            </a:cubicBezTo>
                            <a:cubicBezTo>
                              <a:pt x="11" y="32"/>
                              <a:pt x="11" y="32"/>
                              <a:pt x="11" y="32"/>
                            </a:cubicBezTo>
                            <a:cubicBezTo>
                              <a:pt x="0" y="43"/>
                              <a:pt x="0" y="43"/>
                              <a:pt x="0" y="43"/>
                            </a:cubicBezTo>
                            <a:cubicBezTo>
                              <a:pt x="11" y="43"/>
                              <a:pt x="11" y="43"/>
                              <a:pt x="11" y="43"/>
                            </a:cubicBezTo>
                            <a:cubicBezTo>
                              <a:pt x="22" y="96"/>
                              <a:pt x="22" y="96"/>
                              <a:pt x="22" y="96"/>
                            </a:cubicBezTo>
                            <a:cubicBezTo>
                              <a:pt x="32" y="96"/>
                              <a:pt x="32" y="96"/>
                              <a:pt x="32" y="96"/>
                            </a:cubicBezTo>
                            <a:cubicBezTo>
                              <a:pt x="22" y="128"/>
                              <a:pt x="22" y="128"/>
                              <a:pt x="22" y="128"/>
                            </a:cubicBezTo>
                            <a:cubicBezTo>
                              <a:pt x="43" y="128"/>
                              <a:pt x="43" y="128"/>
                              <a:pt x="43" y="128"/>
                            </a:cubicBezTo>
                            <a:cubicBezTo>
                              <a:pt x="65" y="139"/>
                              <a:pt x="65" y="139"/>
                              <a:pt x="65" y="139"/>
                            </a:cubicBezTo>
                            <a:cubicBezTo>
                              <a:pt x="76" y="139"/>
                              <a:pt x="76" y="139"/>
                              <a:pt x="76" y="139"/>
                            </a:cubicBezTo>
                            <a:cubicBezTo>
                              <a:pt x="65" y="150"/>
                              <a:pt x="65" y="150"/>
                              <a:pt x="65" y="150"/>
                            </a:cubicBezTo>
                            <a:cubicBezTo>
                              <a:pt x="54" y="150"/>
                              <a:pt x="54" y="150"/>
                              <a:pt x="54" y="150"/>
                            </a:cubicBezTo>
                            <a:cubicBezTo>
                              <a:pt x="43" y="160"/>
                              <a:pt x="43" y="160"/>
                              <a:pt x="43" y="160"/>
                            </a:cubicBezTo>
                            <a:cubicBezTo>
                              <a:pt x="32" y="160"/>
                              <a:pt x="32" y="160"/>
                              <a:pt x="32" y="160"/>
                            </a:cubicBezTo>
                            <a:cubicBezTo>
                              <a:pt x="32" y="181"/>
                              <a:pt x="32" y="181"/>
                              <a:pt x="32" y="181"/>
                            </a:cubicBezTo>
                            <a:cubicBezTo>
                              <a:pt x="22" y="181"/>
                              <a:pt x="22" y="181"/>
                              <a:pt x="22" y="181"/>
                            </a:cubicBezTo>
                            <a:cubicBezTo>
                              <a:pt x="22" y="192"/>
                              <a:pt x="22" y="192"/>
                              <a:pt x="22" y="192"/>
                            </a:cubicBezTo>
                            <a:cubicBezTo>
                              <a:pt x="32" y="192"/>
                              <a:pt x="32" y="192"/>
                              <a:pt x="32" y="192"/>
                            </a:cubicBezTo>
                            <a:cubicBezTo>
                              <a:pt x="54" y="181"/>
                              <a:pt x="54" y="181"/>
                              <a:pt x="54" y="181"/>
                            </a:cubicBezTo>
                            <a:cubicBezTo>
                              <a:pt x="76" y="181"/>
                              <a:pt x="76" y="181"/>
                              <a:pt x="76" y="181"/>
                            </a:cubicBezTo>
                            <a:cubicBezTo>
                              <a:pt x="76" y="203"/>
                              <a:pt x="76" y="203"/>
                              <a:pt x="76" y="203"/>
                            </a:cubicBezTo>
                            <a:cubicBezTo>
                              <a:pt x="43" y="235"/>
                              <a:pt x="43" y="235"/>
                              <a:pt x="43" y="235"/>
                            </a:cubicBezTo>
                            <a:cubicBezTo>
                              <a:pt x="43" y="267"/>
                              <a:pt x="43" y="267"/>
                              <a:pt x="43" y="267"/>
                            </a:cubicBezTo>
                            <a:cubicBezTo>
                              <a:pt x="87" y="267"/>
                              <a:pt x="87" y="267"/>
                              <a:pt x="87" y="267"/>
                            </a:cubicBezTo>
                            <a:cubicBezTo>
                              <a:pt x="98" y="278"/>
                              <a:pt x="98" y="278"/>
                              <a:pt x="98" y="278"/>
                            </a:cubicBezTo>
                            <a:cubicBezTo>
                              <a:pt x="108" y="299"/>
                              <a:pt x="108" y="299"/>
                              <a:pt x="108" y="299"/>
                            </a:cubicBezTo>
                            <a:cubicBezTo>
                              <a:pt x="65" y="310"/>
                              <a:pt x="65" y="310"/>
                              <a:pt x="65" y="310"/>
                            </a:cubicBezTo>
                            <a:cubicBezTo>
                              <a:pt x="87" y="331"/>
                              <a:pt x="87" y="331"/>
                              <a:pt x="87" y="331"/>
                            </a:cubicBezTo>
                            <a:cubicBezTo>
                              <a:pt x="98" y="353"/>
                              <a:pt x="98" y="353"/>
                              <a:pt x="98" y="353"/>
                            </a:cubicBezTo>
                            <a:cubicBezTo>
                              <a:pt x="98" y="363"/>
                              <a:pt x="98" y="363"/>
                              <a:pt x="98" y="363"/>
                            </a:cubicBezTo>
                            <a:cubicBezTo>
                              <a:pt x="87" y="363"/>
                              <a:pt x="87" y="363"/>
                              <a:pt x="87" y="363"/>
                            </a:cubicBezTo>
                            <a:cubicBezTo>
                              <a:pt x="87" y="374"/>
                              <a:pt x="87" y="374"/>
                              <a:pt x="87" y="374"/>
                            </a:cubicBezTo>
                            <a:cubicBezTo>
                              <a:pt x="119" y="395"/>
                              <a:pt x="119" y="395"/>
                              <a:pt x="119" y="395"/>
                            </a:cubicBezTo>
                            <a:cubicBezTo>
                              <a:pt x="140" y="417"/>
                              <a:pt x="140" y="417"/>
                              <a:pt x="140" y="417"/>
                            </a:cubicBezTo>
                            <a:cubicBezTo>
                              <a:pt x="157" y="442"/>
                              <a:pt x="157" y="442"/>
                              <a:pt x="157" y="442"/>
                            </a:cubicBezTo>
                            <a:cubicBezTo>
                              <a:pt x="157" y="442"/>
                              <a:pt x="157" y="442"/>
                              <a:pt x="157" y="442"/>
                            </a:cubicBezTo>
                            <a:cubicBezTo>
                              <a:pt x="159" y="442"/>
                              <a:pt x="161" y="443"/>
                              <a:pt x="166" y="444"/>
                            </a:cubicBezTo>
                            <a:cubicBezTo>
                              <a:pt x="166" y="444"/>
                              <a:pt x="166" y="444"/>
                              <a:pt x="167" y="444"/>
                            </a:cubicBezTo>
                            <a:cubicBezTo>
                              <a:pt x="173" y="438"/>
                              <a:pt x="173" y="438"/>
                              <a:pt x="173" y="438"/>
                            </a:cubicBezTo>
                            <a:cubicBezTo>
                              <a:pt x="173" y="447"/>
                              <a:pt x="173" y="447"/>
                              <a:pt x="173" y="447"/>
                            </a:cubicBezTo>
                            <a:cubicBezTo>
                              <a:pt x="174" y="448"/>
                              <a:pt x="175" y="448"/>
                              <a:pt x="176" y="449"/>
                            </a:cubicBezTo>
                            <a:cubicBezTo>
                              <a:pt x="176" y="449"/>
                              <a:pt x="176" y="449"/>
                              <a:pt x="180" y="444"/>
                            </a:cubicBezTo>
                            <a:cubicBezTo>
                              <a:pt x="180" y="444"/>
                              <a:pt x="180" y="444"/>
                              <a:pt x="199" y="447"/>
                            </a:cubicBezTo>
                            <a:cubicBezTo>
                              <a:pt x="199" y="447"/>
                              <a:pt x="199" y="447"/>
                              <a:pt x="212" y="446"/>
                            </a:cubicBezTo>
                            <a:cubicBezTo>
                              <a:pt x="212" y="446"/>
                              <a:pt x="212" y="446"/>
                              <a:pt x="230" y="446"/>
                            </a:cubicBezTo>
                            <a:cubicBezTo>
                              <a:pt x="230" y="446"/>
                              <a:pt x="230" y="446"/>
                              <a:pt x="240" y="443"/>
                            </a:cubicBezTo>
                            <a:cubicBezTo>
                              <a:pt x="240" y="443"/>
                              <a:pt x="240" y="443"/>
                              <a:pt x="239" y="437"/>
                            </a:cubicBezTo>
                            <a:cubicBezTo>
                              <a:pt x="239" y="437"/>
                              <a:pt x="239" y="437"/>
                              <a:pt x="237" y="431"/>
                            </a:cubicBezTo>
                            <a:cubicBezTo>
                              <a:pt x="237" y="431"/>
                              <a:pt x="237" y="431"/>
                              <a:pt x="245" y="425"/>
                            </a:cubicBezTo>
                            <a:cubicBezTo>
                              <a:pt x="245" y="425"/>
                              <a:pt x="245" y="425"/>
                              <a:pt x="255" y="417"/>
                            </a:cubicBezTo>
                            <a:cubicBezTo>
                              <a:pt x="255" y="417"/>
                              <a:pt x="255" y="417"/>
                              <a:pt x="258" y="416"/>
                            </a:cubicBezTo>
                            <a:cubicBezTo>
                              <a:pt x="258" y="416"/>
                              <a:pt x="258" y="416"/>
                              <a:pt x="258" y="421"/>
                            </a:cubicBezTo>
                            <a:cubicBezTo>
                              <a:pt x="258" y="421"/>
                              <a:pt x="258" y="421"/>
                              <a:pt x="262" y="419"/>
                            </a:cubicBezTo>
                            <a:cubicBezTo>
                              <a:pt x="262" y="419"/>
                              <a:pt x="262" y="419"/>
                              <a:pt x="266" y="418"/>
                            </a:cubicBezTo>
                            <a:cubicBezTo>
                              <a:pt x="266" y="418"/>
                              <a:pt x="266" y="418"/>
                              <a:pt x="263" y="414"/>
                            </a:cubicBezTo>
                            <a:cubicBezTo>
                              <a:pt x="263" y="414"/>
                              <a:pt x="263" y="414"/>
                              <a:pt x="267" y="412"/>
                            </a:cubicBezTo>
                            <a:cubicBezTo>
                              <a:pt x="267" y="412"/>
                              <a:pt x="267" y="412"/>
                              <a:pt x="268" y="407"/>
                            </a:cubicBezTo>
                            <a:cubicBezTo>
                              <a:pt x="268" y="407"/>
                              <a:pt x="268" y="407"/>
                              <a:pt x="264" y="405"/>
                            </a:cubicBezTo>
                            <a:cubicBezTo>
                              <a:pt x="264" y="405"/>
                              <a:pt x="264" y="405"/>
                              <a:pt x="264" y="402"/>
                            </a:cubicBezTo>
                            <a:cubicBezTo>
                              <a:pt x="264" y="402"/>
                              <a:pt x="264" y="402"/>
                              <a:pt x="267" y="399"/>
                            </a:cubicBezTo>
                            <a:cubicBezTo>
                              <a:pt x="267" y="399"/>
                              <a:pt x="267" y="399"/>
                              <a:pt x="266" y="396"/>
                            </a:cubicBezTo>
                            <a:cubicBezTo>
                              <a:pt x="266" y="396"/>
                              <a:pt x="266" y="396"/>
                              <a:pt x="258" y="394"/>
                            </a:cubicBezTo>
                            <a:cubicBezTo>
                              <a:pt x="258" y="394"/>
                              <a:pt x="258" y="394"/>
                              <a:pt x="254" y="388"/>
                            </a:cubicBezTo>
                            <a:cubicBezTo>
                              <a:pt x="254" y="388"/>
                              <a:pt x="254" y="388"/>
                              <a:pt x="256" y="385"/>
                            </a:cubicBezTo>
                            <a:cubicBezTo>
                              <a:pt x="256" y="385"/>
                              <a:pt x="256" y="385"/>
                              <a:pt x="259" y="389"/>
                            </a:cubicBezTo>
                            <a:cubicBezTo>
                              <a:pt x="259" y="389"/>
                              <a:pt x="259" y="389"/>
                              <a:pt x="262" y="387"/>
                            </a:cubicBezTo>
                            <a:cubicBezTo>
                              <a:pt x="262" y="387"/>
                              <a:pt x="262" y="387"/>
                              <a:pt x="267" y="388"/>
                            </a:cubicBezTo>
                            <a:cubicBezTo>
                              <a:pt x="267" y="388"/>
                              <a:pt x="267" y="388"/>
                              <a:pt x="271" y="385"/>
                            </a:cubicBezTo>
                            <a:cubicBezTo>
                              <a:pt x="271" y="385"/>
                              <a:pt x="271" y="385"/>
                              <a:pt x="279" y="380"/>
                            </a:cubicBezTo>
                            <a:cubicBezTo>
                              <a:pt x="279" y="380"/>
                              <a:pt x="279" y="380"/>
                              <a:pt x="282" y="378"/>
                            </a:cubicBezTo>
                            <a:cubicBezTo>
                              <a:pt x="282" y="378"/>
                              <a:pt x="282" y="378"/>
                              <a:pt x="283" y="374"/>
                            </a:cubicBezTo>
                            <a:cubicBezTo>
                              <a:pt x="283" y="374"/>
                              <a:pt x="283" y="374"/>
                              <a:pt x="288" y="372"/>
                            </a:cubicBezTo>
                            <a:cubicBezTo>
                              <a:pt x="288" y="372"/>
                              <a:pt x="288" y="372"/>
                              <a:pt x="293" y="377"/>
                            </a:cubicBezTo>
                            <a:cubicBezTo>
                              <a:pt x="293" y="377"/>
                              <a:pt x="293" y="377"/>
                              <a:pt x="297" y="384"/>
                            </a:cubicBezTo>
                            <a:cubicBezTo>
                              <a:pt x="297" y="384"/>
                              <a:pt x="297" y="384"/>
                              <a:pt x="298" y="389"/>
                            </a:cubicBezTo>
                            <a:cubicBezTo>
                              <a:pt x="298" y="389"/>
                              <a:pt x="298" y="389"/>
                              <a:pt x="298" y="392"/>
                            </a:cubicBezTo>
                            <a:cubicBezTo>
                              <a:pt x="298" y="392"/>
                              <a:pt x="298" y="392"/>
                              <a:pt x="291" y="396"/>
                            </a:cubicBezTo>
                            <a:cubicBezTo>
                              <a:pt x="291" y="396"/>
                              <a:pt x="291" y="396"/>
                              <a:pt x="292" y="399"/>
                            </a:cubicBezTo>
                            <a:cubicBezTo>
                              <a:pt x="292" y="399"/>
                              <a:pt x="292" y="399"/>
                              <a:pt x="299" y="400"/>
                            </a:cubicBezTo>
                            <a:cubicBezTo>
                              <a:pt x="299" y="400"/>
                              <a:pt x="299" y="400"/>
                              <a:pt x="303" y="404"/>
                            </a:cubicBezTo>
                            <a:cubicBezTo>
                              <a:pt x="303" y="404"/>
                              <a:pt x="303" y="404"/>
                              <a:pt x="309" y="402"/>
                            </a:cubicBezTo>
                            <a:cubicBezTo>
                              <a:pt x="309" y="402"/>
                              <a:pt x="309" y="402"/>
                              <a:pt x="314" y="404"/>
                            </a:cubicBezTo>
                            <a:cubicBezTo>
                              <a:pt x="314" y="404"/>
                              <a:pt x="314" y="404"/>
                              <a:pt x="319" y="401"/>
                            </a:cubicBezTo>
                            <a:cubicBezTo>
                              <a:pt x="319" y="401"/>
                              <a:pt x="319" y="401"/>
                              <a:pt x="321" y="404"/>
                            </a:cubicBezTo>
                            <a:cubicBezTo>
                              <a:pt x="321" y="404"/>
                              <a:pt x="321" y="404"/>
                              <a:pt x="318" y="408"/>
                            </a:cubicBezTo>
                            <a:cubicBezTo>
                              <a:pt x="318" y="408"/>
                              <a:pt x="318" y="408"/>
                              <a:pt x="324" y="407"/>
                            </a:cubicBezTo>
                            <a:cubicBezTo>
                              <a:pt x="324" y="407"/>
                              <a:pt x="324" y="407"/>
                              <a:pt x="326" y="408"/>
                            </a:cubicBezTo>
                            <a:cubicBezTo>
                              <a:pt x="326" y="408"/>
                              <a:pt x="326" y="408"/>
                              <a:pt x="324" y="425"/>
                            </a:cubicBezTo>
                            <a:cubicBezTo>
                              <a:pt x="324" y="425"/>
                              <a:pt x="324" y="425"/>
                              <a:pt x="324" y="432"/>
                            </a:cubicBezTo>
                            <a:cubicBezTo>
                              <a:pt x="324" y="432"/>
                              <a:pt x="324" y="432"/>
                              <a:pt x="328" y="433"/>
                            </a:cubicBezTo>
                            <a:cubicBezTo>
                              <a:pt x="328" y="433"/>
                              <a:pt x="328" y="433"/>
                              <a:pt x="330" y="431"/>
                            </a:cubicBezTo>
                            <a:cubicBezTo>
                              <a:pt x="330" y="431"/>
                              <a:pt x="330" y="431"/>
                              <a:pt x="331" y="428"/>
                            </a:cubicBezTo>
                            <a:cubicBezTo>
                              <a:pt x="331" y="428"/>
                              <a:pt x="331" y="428"/>
                              <a:pt x="334" y="429"/>
                            </a:cubicBezTo>
                            <a:cubicBezTo>
                              <a:pt x="334" y="429"/>
                              <a:pt x="334" y="429"/>
                              <a:pt x="336" y="433"/>
                            </a:cubicBezTo>
                            <a:cubicBezTo>
                              <a:pt x="336" y="433"/>
                              <a:pt x="336" y="433"/>
                              <a:pt x="336" y="443"/>
                            </a:cubicBezTo>
                            <a:cubicBezTo>
                              <a:pt x="336" y="443"/>
                              <a:pt x="336" y="443"/>
                              <a:pt x="335" y="448"/>
                            </a:cubicBezTo>
                            <a:cubicBezTo>
                              <a:pt x="335" y="448"/>
                              <a:pt x="335" y="448"/>
                              <a:pt x="339" y="450"/>
                            </a:cubicBezTo>
                            <a:cubicBezTo>
                              <a:pt x="339" y="450"/>
                              <a:pt x="339" y="450"/>
                              <a:pt x="344" y="450"/>
                            </a:cubicBezTo>
                            <a:cubicBezTo>
                              <a:pt x="344" y="450"/>
                              <a:pt x="344" y="450"/>
                              <a:pt x="348" y="452"/>
                            </a:cubicBezTo>
                            <a:cubicBezTo>
                              <a:pt x="348" y="452"/>
                              <a:pt x="348" y="452"/>
                              <a:pt x="353" y="456"/>
                            </a:cubicBezTo>
                            <a:cubicBezTo>
                              <a:pt x="353" y="456"/>
                              <a:pt x="353" y="456"/>
                              <a:pt x="357" y="457"/>
                            </a:cubicBezTo>
                            <a:cubicBezTo>
                              <a:pt x="357" y="457"/>
                              <a:pt x="357" y="457"/>
                              <a:pt x="356" y="467"/>
                            </a:cubicBezTo>
                            <a:cubicBezTo>
                              <a:pt x="356" y="467"/>
                              <a:pt x="356" y="467"/>
                              <a:pt x="356" y="472"/>
                            </a:cubicBezTo>
                            <a:cubicBezTo>
                              <a:pt x="356" y="472"/>
                              <a:pt x="356" y="472"/>
                              <a:pt x="352" y="473"/>
                            </a:cubicBezTo>
                            <a:cubicBezTo>
                              <a:pt x="352" y="473"/>
                              <a:pt x="352" y="473"/>
                              <a:pt x="354" y="478"/>
                            </a:cubicBezTo>
                            <a:cubicBezTo>
                              <a:pt x="354" y="478"/>
                              <a:pt x="354" y="478"/>
                              <a:pt x="351" y="482"/>
                            </a:cubicBezTo>
                            <a:cubicBezTo>
                              <a:pt x="351" y="482"/>
                              <a:pt x="351" y="482"/>
                              <a:pt x="353" y="483"/>
                            </a:cubicBezTo>
                            <a:cubicBezTo>
                              <a:pt x="353" y="483"/>
                              <a:pt x="353" y="483"/>
                              <a:pt x="356" y="482"/>
                            </a:cubicBezTo>
                            <a:cubicBezTo>
                              <a:pt x="356" y="482"/>
                              <a:pt x="356" y="482"/>
                              <a:pt x="361" y="485"/>
                            </a:cubicBezTo>
                            <a:cubicBezTo>
                              <a:pt x="361" y="485"/>
                              <a:pt x="361" y="485"/>
                              <a:pt x="364" y="483"/>
                            </a:cubicBezTo>
                            <a:cubicBezTo>
                              <a:pt x="364" y="483"/>
                              <a:pt x="364" y="483"/>
                              <a:pt x="369" y="485"/>
                            </a:cubicBezTo>
                            <a:cubicBezTo>
                              <a:pt x="369" y="485"/>
                              <a:pt x="369" y="485"/>
                              <a:pt x="372" y="485"/>
                            </a:cubicBezTo>
                            <a:cubicBezTo>
                              <a:pt x="372" y="485"/>
                              <a:pt x="372" y="485"/>
                              <a:pt x="377" y="489"/>
                            </a:cubicBezTo>
                            <a:cubicBezTo>
                              <a:pt x="377" y="489"/>
                              <a:pt x="377" y="489"/>
                              <a:pt x="381" y="492"/>
                            </a:cubicBezTo>
                            <a:cubicBezTo>
                              <a:pt x="381" y="492"/>
                              <a:pt x="381" y="492"/>
                              <a:pt x="383" y="496"/>
                            </a:cubicBezTo>
                            <a:cubicBezTo>
                              <a:pt x="383" y="496"/>
                              <a:pt x="383" y="496"/>
                              <a:pt x="385" y="499"/>
                            </a:cubicBezTo>
                            <a:cubicBezTo>
                              <a:pt x="385" y="499"/>
                              <a:pt x="385" y="499"/>
                              <a:pt x="390" y="496"/>
                            </a:cubicBezTo>
                            <a:cubicBezTo>
                              <a:pt x="390" y="496"/>
                              <a:pt x="390" y="496"/>
                              <a:pt x="394" y="494"/>
                            </a:cubicBezTo>
                            <a:cubicBezTo>
                              <a:pt x="394" y="494"/>
                              <a:pt x="394" y="494"/>
                              <a:pt x="398" y="496"/>
                            </a:cubicBezTo>
                            <a:cubicBezTo>
                              <a:pt x="398" y="496"/>
                              <a:pt x="398" y="496"/>
                              <a:pt x="399" y="501"/>
                            </a:cubicBezTo>
                            <a:cubicBezTo>
                              <a:pt x="399" y="501"/>
                              <a:pt x="399" y="501"/>
                              <a:pt x="395" y="505"/>
                            </a:cubicBezTo>
                            <a:cubicBezTo>
                              <a:pt x="395" y="505"/>
                              <a:pt x="395" y="505"/>
                              <a:pt x="395" y="509"/>
                            </a:cubicBezTo>
                            <a:cubicBezTo>
                              <a:pt x="395" y="509"/>
                              <a:pt x="395" y="509"/>
                              <a:pt x="392" y="513"/>
                            </a:cubicBezTo>
                            <a:cubicBezTo>
                              <a:pt x="392" y="513"/>
                              <a:pt x="392" y="513"/>
                              <a:pt x="392" y="516"/>
                            </a:cubicBezTo>
                            <a:cubicBezTo>
                              <a:pt x="392" y="516"/>
                              <a:pt x="392" y="516"/>
                              <a:pt x="386" y="519"/>
                            </a:cubicBezTo>
                            <a:cubicBezTo>
                              <a:pt x="386" y="519"/>
                              <a:pt x="386" y="519"/>
                              <a:pt x="384" y="528"/>
                            </a:cubicBezTo>
                            <a:cubicBezTo>
                              <a:pt x="384" y="528"/>
                              <a:pt x="384" y="528"/>
                              <a:pt x="379" y="531"/>
                            </a:cubicBezTo>
                            <a:cubicBezTo>
                              <a:pt x="379" y="531"/>
                              <a:pt x="379" y="531"/>
                              <a:pt x="376" y="535"/>
                            </a:cubicBezTo>
                            <a:cubicBezTo>
                              <a:pt x="376" y="535"/>
                              <a:pt x="376" y="535"/>
                              <a:pt x="376" y="542"/>
                            </a:cubicBezTo>
                            <a:cubicBezTo>
                              <a:pt x="432" y="535"/>
                              <a:pt x="432" y="535"/>
                              <a:pt x="432" y="535"/>
                            </a:cubicBezTo>
                            <a:cubicBezTo>
                              <a:pt x="453" y="535"/>
                              <a:pt x="453" y="535"/>
                              <a:pt x="453" y="535"/>
                            </a:cubicBezTo>
                            <a:cubicBezTo>
                              <a:pt x="453" y="492"/>
                              <a:pt x="453" y="492"/>
                              <a:pt x="453" y="492"/>
                            </a:cubicBezTo>
                            <a:cubicBezTo>
                              <a:pt x="442" y="481"/>
                              <a:pt x="442" y="481"/>
                              <a:pt x="442" y="481"/>
                            </a:cubicBezTo>
                            <a:cubicBezTo>
                              <a:pt x="442" y="470"/>
                              <a:pt x="442" y="470"/>
                              <a:pt x="442" y="470"/>
                            </a:cubicBezTo>
                            <a:cubicBezTo>
                              <a:pt x="486" y="470"/>
                              <a:pt x="486" y="470"/>
                              <a:pt x="486" y="470"/>
                            </a:cubicBezTo>
                            <a:cubicBezTo>
                              <a:pt x="496" y="460"/>
                              <a:pt x="496" y="460"/>
                              <a:pt x="496" y="460"/>
                            </a:cubicBezTo>
                            <a:cubicBezTo>
                              <a:pt x="496" y="417"/>
                              <a:pt x="496" y="417"/>
                              <a:pt x="496" y="417"/>
                            </a:cubicBezTo>
                            <a:lnTo>
                              <a:pt x="486" y="406"/>
                            </a:lnTo>
                            <a:close/>
                          </a:path>
                        </a:pathLst>
                      </a:custGeom>
                      <a:solidFill>
                        <a:srgbClr val="DF3817"/>
                      </a:solidFill>
                      <a:ln w="3175" cap="flat" cmpd="sng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/>
                      <a:lstStyle/>
                      <a:p>
                        <a:pPr defTabSz="685800">
                          <a:defRPr/>
                        </a:pPr>
                        <a:endParaRPr lang="en-US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endParaRPr>
                      </a:p>
                    </p:txBody>
                  </p:sp>
                </p:grpSp>
                <p:sp>
                  <p:nvSpPr>
                    <p:cNvPr id="351" name="Freeform 199" descr="© INSCALE GmbH, 05.05.2010&#10;http://www.presentationload.com/"/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4760727" y="2665093"/>
                      <a:ext cx="52320" cy="52709"/>
                    </a:xfrm>
                    <a:custGeom>
                      <a:avLst/>
                      <a:gdLst/>
                      <a:ahLst/>
                      <a:cxnLst>
                        <a:cxn ang="0">
                          <a:pos x="6" y="75"/>
                        </a:cxn>
                        <a:cxn ang="0">
                          <a:pos x="0" y="72"/>
                        </a:cxn>
                        <a:cxn ang="0">
                          <a:pos x="227" y="122"/>
                        </a:cxn>
                        <a:cxn ang="0">
                          <a:pos x="218" y="127"/>
                        </a:cxn>
                        <a:cxn ang="0">
                          <a:pos x="214" y="120"/>
                        </a:cxn>
                        <a:cxn ang="0">
                          <a:pos x="206" y="113"/>
                        </a:cxn>
                        <a:cxn ang="0">
                          <a:pos x="197" y="111"/>
                        </a:cxn>
                        <a:cxn ang="0">
                          <a:pos x="190" y="110"/>
                        </a:cxn>
                        <a:cxn ang="0">
                          <a:pos x="185" y="110"/>
                        </a:cxn>
                        <a:cxn ang="0">
                          <a:pos x="185" y="101"/>
                        </a:cxn>
                        <a:cxn ang="0">
                          <a:pos x="189" y="95"/>
                        </a:cxn>
                        <a:cxn ang="0">
                          <a:pos x="187" y="84"/>
                        </a:cxn>
                        <a:cxn ang="0">
                          <a:pos x="177" y="78"/>
                        </a:cxn>
                        <a:cxn ang="0">
                          <a:pos x="169" y="76"/>
                        </a:cxn>
                        <a:cxn ang="0">
                          <a:pos x="170" y="61"/>
                        </a:cxn>
                        <a:cxn ang="0">
                          <a:pos x="165" y="56"/>
                        </a:cxn>
                        <a:cxn ang="0">
                          <a:pos x="161" y="61"/>
                        </a:cxn>
                        <a:cxn ang="0">
                          <a:pos x="157" y="53"/>
                        </a:cxn>
                        <a:cxn ang="0">
                          <a:pos x="158" y="35"/>
                        </a:cxn>
                        <a:cxn ang="0">
                          <a:pos x="154" y="32"/>
                        </a:cxn>
                        <a:cxn ang="0">
                          <a:pos x="147" y="32"/>
                        </a:cxn>
                        <a:cxn ang="0">
                          <a:pos x="137" y="32"/>
                        </a:cxn>
                        <a:cxn ang="0">
                          <a:pos x="126" y="27"/>
                        </a:cxn>
                        <a:cxn ang="0">
                          <a:pos x="131" y="20"/>
                        </a:cxn>
                        <a:cxn ang="0">
                          <a:pos x="130" y="12"/>
                        </a:cxn>
                        <a:cxn ang="0">
                          <a:pos x="122" y="0"/>
                        </a:cxn>
                        <a:cxn ang="0">
                          <a:pos x="115" y="6"/>
                        </a:cxn>
                        <a:cxn ang="0">
                          <a:pos x="104" y="13"/>
                        </a:cxn>
                        <a:cxn ang="0">
                          <a:pos x="96" y="15"/>
                        </a:cxn>
                        <a:cxn ang="0">
                          <a:pos x="89" y="13"/>
                        </a:cxn>
                        <a:cxn ang="0">
                          <a:pos x="91" y="22"/>
                        </a:cxn>
                        <a:cxn ang="0">
                          <a:pos x="101" y="27"/>
                        </a:cxn>
                        <a:cxn ang="0">
                          <a:pos x="97" y="33"/>
                        </a:cxn>
                        <a:cxn ang="0">
                          <a:pos x="100" y="40"/>
                        </a:cxn>
                        <a:cxn ang="0">
                          <a:pos x="99" y="46"/>
                        </a:cxn>
                        <a:cxn ang="0">
                          <a:pos x="92" y="49"/>
                        </a:cxn>
                        <a:cxn ang="0">
                          <a:pos x="88" y="45"/>
                        </a:cxn>
                        <a:cxn ang="0">
                          <a:pos x="70" y="59"/>
                        </a:cxn>
                        <a:cxn ang="0">
                          <a:pos x="73" y="71"/>
                        </a:cxn>
                        <a:cxn ang="0">
                          <a:pos x="45" y="74"/>
                        </a:cxn>
                        <a:cxn ang="0">
                          <a:pos x="14" y="72"/>
                        </a:cxn>
                        <a:cxn ang="0">
                          <a:pos x="6" y="75"/>
                        </a:cxn>
                        <a:cxn ang="0">
                          <a:pos x="6" y="141"/>
                        </a:cxn>
                        <a:cxn ang="0">
                          <a:pos x="14" y="155"/>
                        </a:cxn>
                        <a:cxn ang="0">
                          <a:pos x="27" y="173"/>
                        </a:cxn>
                        <a:cxn ang="0">
                          <a:pos x="50" y="175"/>
                        </a:cxn>
                        <a:cxn ang="0">
                          <a:pos x="60" y="211"/>
                        </a:cxn>
                        <a:cxn ang="0">
                          <a:pos x="60" y="237"/>
                        </a:cxn>
                        <a:cxn ang="0">
                          <a:pos x="92" y="226"/>
                        </a:cxn>
                        <a:cxn ang="0">
                          <a:pos x="138" y="205"/>
                        </a:cxn>
                        <a:cxn ang="0">
                          <a:pos x="146" y="184"/>
                        </a:cxn>
                        <a:cxn ang="0">
                          <a:pos x="189" y="173"/>
                        </a:cxn>
                        <a:cxn ang="0">
                          <a:pos x="209" y="163"/>
                        </a:cxn>
                        <a:cxn ang="0">
                          <a:pos x="217" y="156"/>
                        </a:cxn>
                        <a:cxn ang="0">
                          <a:pos x="225" y="144"/>
                        </a:cxn>
                        <a:cxn ang="0">
                          <a:pos x="228" y="137"/>
                        </a:cxn>
                        <a:cxn ang="0">
                          <a:pos x="232" y="129"/>
                        </a:cxn>
                      </a:cxnLst>
                      <a:rect l="0" t="0" r="r" b="b"/>
                      <a:pathLst>
                        <a:path w="232" h="237">
                          <a:moveTo>
                            <a:pt x="0" y="72"/>
                          </a:moveTo>
                          <a:cubicBezTo>
                            <a:pt x="1" y="72"/>
                            <a:pt x="2" y="73"/>
                            <a:pt x="6" y="75"/>
                          </a:cubicBezTo>
                          <a:cubicBezTo>
                            <a:pt x="6" y="66"/>
                            <a:pt x="6" y="66"/>
                            <a:pt x="6" y="66"/>
                          </a:cubicBezTo>
                          <a:lnTo>
                            <a:pt x="0" y="72"/>
                          </a:lnTo>
                          <a:close/>
                          <a:moveTo>
                            <a:pt x="231" y="124"/>
                          </a:moveTo>
                          <a:cubicBezTo>
                            <a:pt x="227" y="122"/>
                            <a:pt x="227" y="122"/>
                            <a:pt x="227" y="122"/>
                          </a:cubicBezTo>
                          <a:cubicBezTo>
                            <a:pt x="223" y="124"/>
                            <a:pt x="223" y="124"/>
                            <a:pt x="223" y="124"/>
                          </a:cubicBezTo>
                          <a:cubicBezTo>
                            <a:pt x="218" y="127"/>
                            <a:pt x="218" y="127"/>
                            <a:pt x="218" y="127"/>
                          </a:cubicBezTo>
                          <a:cubicBezTo>
                            <a:pt x="216" y="124"/>
                            <a:pt x="216" y="124"/>
                            <a:pt x="216" y="124"/>
                          </a:cubicBezTo>
                          <a:cubicBezTo>
                            <a:pt x="214" y="120"/>
                            <a:pt x="214" y="120"/>
                            <a:pt x="214" y="120"/>
                          </a:cubicBezTo>
                          <a:cubicBezTo>
                            <a:pt x="210" y="117"/>
                            <a:pt x="210" y="117"/>
                            <a:pt x="210" y="117"/>
                          </a:cubicBezTo>
                          <a:cubicBezTo>
                            <a:pt x="206" y="113"/>
                            <a:pt x="206" y="113"/>
                            <a:pt x="206" y="113"/>
                          </a:cubicBezTo>
                          <a:cubicBezTo>
                            <a:pt x="202" y="113"/>
                            <a:pt x="202" y="113"/>
                            <a:pt x="202" y="113"/>
                          </a:cubicBezTo>
                          <a:cubicBezTo>
                            <a:pt x="197" y="111"/>
                            <a:pt x="197" y="111"/>
                            <a:pt x="197" y="111"/>
                          </a:cubicBezTo>
                          <a:cubicBezTo>
                            <a:pt x="195" y="113"/>
                            <a:pt x="195" y="113"/>
                            <a:pt x="195" y="113"/>
                          </a:cubicBezTo>
                          <a:cubicBezTo>
                            <a:pt x="190" y="110"/>
                            <a:pt x="190" y="110"/>
                            <a:pt x="190" y="110"/>
                          </a:cubicBezTo>
                          <a:cubicBezTo>
                            <a:pt x="186" y="111"/>
                            <a:pt x="186" y="111"/>
                            <a:pt x="186" y="111"/>
                          </a:cubicBezTo>
                          <a:cubicBezTo>
                            <a:pt x="185" y="110"/>
                            <a:pt x="185" y="110"/>
                            <a:pt x="185" y="110"/>
                          </a:cubicBezTo>
                          <a:cubicBezTo>
                            <a:pt x="187" y="106"/>
                            <a:pt x="187" y="106"/>
                            <a:pt x="187" y="106"/>
                          </a:cubicBezTo>
                          <a:cubicBezTo>
                            <a:pt x="185" y="101"/>
                            <a:pt x="185" y="101"/>
                            <a:pt x="185" y="101"/>
                          </a:cubicBezTo>
                          <a:cubicBezTo>
                            <a:pt x="189" y="100"/>
                            <a:pt x="189" y="100"/>
                            <a:pt x="189" y="100"/>
                          </a:cubicBezTo>
                          <a:cubicBezTo>
                            <a:pt x="189" y="95"/>
                            <a:pt x="189" y="95"/>
                            <a:pt x="189" y="95"/>
                          </a:cubicBezTo>
                          <a:cubicBezTo>
                            <a:pt x="191" y="85"/>
                            <a:pt x="191" y="85"/>
                            <a:pt x="191" y="85"/>
                          </a:cubicBezTo>
                          <a:cubicBezTo>
                            <a:pt x="187" y="84"/>
                            <a:pt x="187" y="84"/>
                            <a:pt x="187" y="84"/>
                          </a:cubicBezTo>
                          <a:cubicBezTo>
                            <a:pt x="182" y="80"/>
                            <a:pt x="182" y="80"/>
                            <a:pt x="182" y="80"/>
                          </a:cubicBezTo>
                          <a:cubicBezTo>
                            <a:pt x="177" y="78"/>
                            <a:pt x="177" y="78"/>
                            <a:pt x="177" y="78"/>
                          </a:cubicBezTo>
                          <a:cubicBezTo>
                            <a:pt x="172" y="78"/>
                            <a:pt x="172" y="78"/>
                            <a:pt x="172" y="78"/>
                          </a:cubicBezTo>
                          <a:cubicBezTo>
                            <a:pt x="169" y="76"/>
                            <a:pt x="169" y="76"/>
                            <a:pt x="169" y="76"/>
                          </a:cubicBezTo>
                          <a:cubicBezTo>
                            <a:pt x="169" y="71"/>
                            <a:pt x="169" y="71"/>
                            <a:pt x="169" y="71"/>
                          </a:cubicBezTo>
                          <a:cubicBezTo>
                            <a:pt x="170" y="61"/>
                            <a:pt x="170" y="61"/>
                            <a:pt x="170" y="61"/>
                          </a:cubicBezTo>
                          <a:cubicBezTo>
                            <a:pt x="167" y="57"/>
                            <a:pt x="167" y="57"/>
                            <a:pt x="167" y="57"/>
                          </a:cubicBezTo>
                          <a:cubicBezTo>
                            <a:pt x="165" y="56"/>
                            <a:pt x="165" y="56"/>
                            <a:pt x="165" y="56"/>
                          </a:cubicBezTo>
                          <a:cubicBezTo>
                            <a:pt x="163" y="59"/>
                            <a:pt x="163" y="59"/>
                            <a:pt x="163" y="59"/>
                          </a:cubicBezTo>
                          <a:cubicBezTo>
                            <a:pt x="161" y="61"/>
                            <a:pt x="161" y="61"/>
                            <a:pt x="161" y="61"/>
                          </a:cubicBezTo>
                          <a:cubicBezTo>
                            <a:pt x="158" y="60"/>
                            <a:pt x="158" y="60"/>
                            <a:pt x="158" y="60"/>
                          </a:cubicBezTo>
                          <a:cubicBezTo>
                            <a:pt x="157" y="53"/>
                            <a:pt x="157" y="53"/>
                            <a:pt x="157" y="53"/>
                          </a:cubicBezTo>
                          <a:cubicBezTo>
                            <a:pt x="159" y="36"/>
                            <a:pt x="159" y="36"/>
                            <a:pt x="159" y="36"/>
                          </a:cubicBezTo>
                          <a:cubicBezTo>
                            <a:pt x="158" y="35"/>
                            <a:pt x="158" y="35"/>
                            <a:pt x="158" y="35"/>
                          </a:cubicBezTo>
                          <a:cubicBezTo>
                            <a:pt x="151" y="36"/>
                            <a:pt x="151" y="36"/>
                            <a:pt x="151" y="36"/>
                          </a:cubicBezTo>
                          <a:cubicBezTo>
                            <a:pt x="154" y="32"/>
                            <a:pt x="154" y="32"/>
                            <a:pt x="154" y="32"/>
                          </a:cubicBezTo>
                          <a:cubicBezTo>
                            <a:pt x="152" y="29"/>
                            <a:pt x="152" y="29"/>
                            <a:pt x="152" y="29"/>
                          </a:cubicBezTo>
                          <a:cubicBezTo>
                            <a:pt x="147" y="32"/>
                            <a:pt x="147" y="32"/>
                            <a:pt x="147" y="32"/>
                          </a:cubicBezTo>
                          <a:cubicBezTo>
                            <a:pt x="142" y="30"/>
                            <a:pt x="142" y="30"/>
                            <a:pt x="142" y="30"/>
                          </a:cubicBezTo>
                          <a:cubicBezTo>
                            <a:pt x="137" y="32"/>
                            <a:pt x="137" y="32"/>
                            <a:pt x="137" y="32"/>
                          </a:cubicBezTo>
                          <a:cubicBezTo>
                            <a:pt x="132" y="28"/>
                            <a:pt x="132" y="28"/>
                            <a:pt x="132" y="28"/>
                          </a:cubicBezTo>
                          <a:cubicBezTo>
                            <a:pt x="126" y="27"/>
                            <a:pt x="126" y="27"/>
                            <a:pt x="126" y="27"/>
                          </a:cubicBezTo>
                          <a:cubicBezTo>
                            <a:pt x="125" y="24"/>
                            <a:pt x="125" y="24"/>
                            <a:pt x="125" y="24"/>
                          </a:cubicBezTo>
                          <a:cubicBezTo>
                            <a:pt x="131" y="20"/>
                            <a:pt x="131" y="20"/>
                            <a:pt x="131" y="20"/>
                          </a:cubicBezTo>
                          <a:cubicBezTo>
                            <a:pt x="131" y="17"/>
                            <a:pt x="131" y="17"/>
                            <a:pt x="131" y="17"/>
                          </a:cubicBezTo>
                          <a:cubicBezTo>
                            <a:pt x="130" y="12"/>
                            <a:pt x="130" y="12"/>
                            <a:pt x="130" y="12"/>
                          </a:cubicBezTo>
                          <a:cubicBezTo>
                            <a:pt x="126" y="5"/>
                            <a:pt x="126" y="5"/>
                            <a:pt x="126" y="5"/>
                          </a:cubicBezTo>
                          <a:cubicBezTo>
                            <a:pt x="122" y="0"/>
                            <a:pt x="122" y="0"/>
                            <a:pt x="122" y="0"/>
                          </a:cubicBezTo>
                          <a:cubicBezTo>
                            <a:pt x="116" y="2"/>
                            <a:pt x="116" y="2"/>
                            <a:pt x="116" y="2"/>
                          </a:cubicBezTo>
                          <a:cubicBezTo>
                            <a:pt x="115" y="6"/>
                            <a:pt x="115" y="6"/>
                            <a:pt x="115" y="6"/>
                          </a:cubicBezTo>
                          <a:cubicBezTo>
                            <a:pt x="112" y="8"/>
                            <a:pt x="112" y="8"/>
                            <a:pt x="112" y="8"/>
                          </a:cubicBezTo>
                          <a:cubicBezTo>
                            <a:pt x="104" y="13"/>
                            <a:pt x="104" y="13"/>
                            <a:pt x="104" y="13"/>
                          </a:cubicBezTo>
                          <a:cubicBezTo>
                            <a:pt x="100" y="16"/>
                            <a:pt x="100" y="16"/>
                            <a:pt x="100" y="16"/>
                          </a:cubicBezTo>
                          <a:cubicBezTo>
                            <a:pt x="96" y="15"/>
                            <a:pt x="96" y="15"/>
                            <a:pt x="96" y="15"/>
                          </a:cubicBezTo>
                          <a:cubicBezTo>
                            <a:pt x="92" y="17"/>
                            <a:pt x="92" y="17"/>
                            <a:pt x="92" y="17"/>
                          </a:cubicBezTo>
                          <a:cubicBezTo>
                            <a:pt x="89" y="13"/>
                            <a:pt x="89" y="13"/>
                            <a:pt x="89" y="13"/>
                          </a:cubicBezTo>
                          <a:cubicBezTo>
                            <a:pt x="88" y="16"/>
                            <a:pt x="88" y="16"/>
                            <a:pt x="88" y="16"/>
                          </a:cubicBezTo>
                          <a:cubicBezTo>
                            <a:pt x="91" y="22"/>
                            <a:pt x="91" y="22"/>
                            <a:pt x="91" y="22"/>
                          </a:cubicBezTo>
                          <a:cubicBezTo>
                            <a:pt x="99" y="24"/>
                            <a:pt x="99" y="24"/>
                            <a:pt x="99" y="24"/>
                          </a:cubicBezTo>
                          <a:cubicBezTo>
                            <a:pt x="101" y="27"/>
                            <a:pt x="101" y="27"/>
                            <a:pt x="101" y="27"/>
                          </a:cubicBezTo>
                          <a:cubicBezTo>
                            <a:pt x="97" y="30"/>
                            <a:pt x="97" y="30"/>
                            <a:pt x="97" y="30"/>
                          </a:cubicBezTo>
                          <a:cubicBezTo>
                            <a:pt x="97" y="33"/>
                            <a:pt x="97" y="33"/>
                            <a:pt x="97" y="33"/>
                          </a:cubicBezTo>
                          <a:cubicBezTo>
                            <a:pt x="101" y="35"/>
                            <a:pt x="101" y="35"/>
                            <a:pt x="101" y="35"/>
                          </a:cubicBezTo>
                          <a:cubicBezTo>
                            <a:pt x="100" y="40"/>
                            <a:pt x="100" y="40"/>
                            <a:pt x="100" y="40"/>
                          </a:cubicBezTo>
                          <a:cubicBezTo>
                            <a:pt x="97" y="42"/>
                            <a:pt x="97" y="42"/>
                            <a:pt x="97" y="42"/>
                          </a:cubicBezTo>
                          <a:cubicBezTo>
                            <a:pt x="99" y="46"/>
                            <a:pt x="99" y="46"/>
                            <a:pt x="99" y="46"/>
                          </a:cubicBezTo>
                          <a:cubicBezTo>
                            <a:pt x="96" y="47"/>
                            <a:pt x="96" y="47"/>
                            <a:pt x="96" y="47"/>
                          </a:cubicBezTo>
                          <a:cubicBezTo>
                            <a:pt x="92" y="49"/>
                            <a:pt x="92" y="49"/>
                            <a:pt x="92" y="49"/>
                          </a:cubicBezTo>
                          <a:cubicBezTo>
                            <a:pt x="91" y="44"/>
                            <a:pt x="91" y="44"/>
                            <a:pt x="91" y="44"/>
                          </a:cubicBezTo>
                          <a:cubicBezTo>
                            <a:pt x="88" y="45"/>
                            <a:pt x="88" y="45"/>
                            <a:pt x="88" y="45"/>
                          </a:cubicBezTo>
                          <a:cubicBezTo>
                            <a:pt x="78" y="53"/>
                            <a:pt x="78" y="53"/>
                            <a:pt x="78" y="53"/>
                          </a:cubicBezTo>
                          <a:cubicBezTo>
                            <a:pt x="70" y="59"/>
                            <a:pt x="70" y="59"/>
                            <a:pt x="70" y="59"/>
                          </a:cubicBezTo>
                          <a:cubicBezTo>
                            <a:pt x="72" y="65"/>
                            <a:pt x="72" y="65"/>
                            <a:pt x="72" y="65"/>
                          </a:cubicBezTo>
                          <a:cubicBezTo>
                            <a:pt x="73" y="71"/>
                            <a:pt x="73" y="71"/>
                            <a:pt x="73" y="71"/>
                          </a:cubicBezTo>
                          <a:cubicBezTo>
                            <a:pt x="63" y="74"/>
                            <a:pt x="63" y="74"/>
                            <a:pt x="63" y="74"/>
                          </a:cubicBezTo>
                          <a:cubicBezTo>
                            <a:pt x="45" y="74"/>
                            <a:pt x="45" y="74"/>
                            <a:pt x="45" y="74"/>
                          </a:cubicBezTo>
                          <a:cubicBezTo>
                            <a:pt x="32" y="75"/>
                            <a:pt x="32" y="75"/>
                            <a:pt x="32" y="75"/>
                          </a:cubicBezTo>
                          <a:cubicBezTo>
                            <a:pt x="14" y="72"/>
                            <a:pt x="14" y="72"/>
                            <a:pt x="14" y="72"/>
                          </a:cubicBezTo>
                          <a:cubicBezTo>
                            <a:pt x="9" y="77"/>
                            <a:pt x="9" y="77"/>
                            <a:pt x="9" y="77"/>
                          </a:cubicBezTo>
                          <a:cubicBezTo>
                            <a:pt x="8" y="76"/>
                            <a:pt x="7" y="76"/>
                            <a:pt x="6" y="75"/>
                          </a:cubicBezTo>
                          <a:cubicBezTo>
                            <a:pt x="6" y="116"/>
                            <a:pt x="6" y="116"/>
                            <a:pt x="6" y="116"/>
                          </a:cubicBezTo>
                          <a:cubicBezTo>
                            <a:pt x="6" y="141"/>
                            <a:pt x="6" y="141"/>
                            <a:pt x="6" y="141"/>
                          </a:cubicBezTo>
                          <a:cubicBezTo>
                            <a:pt x="14" y="153"/>
                            <a:pt x="14" y="153"/>
                            <a:pt x="14" y="153"/>
                          </a:cubicBezTo>
                          <a:cubicBezTo>
                            <a:pt x="14" y="154"/>
                            <a:pt x="14" y="155"/>
                            <a:pt x="14" y="155"/>
                          </a:cubicBezTo>
                          <a:cubicBezTo>
                            <a:pt x="14" y="155"/>
                            <a:pt x="15" y="155"/>
                            <a:pt x="16" y="156"/>
                          </a:cubicBezTo>
                          <a:cubicBezTo>
                            <a:pt x="27" y="173"/>
                            <a:pt x="27" y="173"/>
                            <a:pt x="27" y="173"/>
                          </a:cubicBezTo>
                          <a:cubicBezTo>
                            <a:pt x="48" y="173"/>
                            <a:pt x="48" y="173"/>
                            <a:pt x="48" y="173"/>
                          </a:cubicBezTo>
                          <a:cubicBezTo>
                            <a:pt x="48" y="173"/>
                            <a:pt x="49" y="174"/>
                            <a:pt x="50" y="175"/>
                          </a:cubicBezTo>
                          <a:cubicBezTo>
                            <a:pt x="59" y="201"/>
                            <a:pt x="59" y="201"/>
                            <a:pt x="59" y="201"/>
                          </a:cubicBezTo>
                          <a:cubicBezTo>
                            <a:pt x="59" y="205"/>
                            <a:pt x="60" y="208"/>
                            <a:pt x="60" y="211"/>
                          </a:cubicBezTo>
                          <a:cubicBezTo>
                            <a:pt x="60" y="229"/>
                            <a:pt x="60" y="229"/>
                            <a:pt x="60" y="229"/>
                          </a:cubicBezTo>
                          <a:cubicBezTo>
                            <a:pt x="60" y="237"/>
                            <a:pt x="60" y="237"/>
                            <a:pt x="60" y="237"/>
                          </a:cubicBezTo>
                          <a:cubicBezTo>
                            <a:pt x="76" y="232"/>
                            <a:pt x="76" y="232"/>
                            <a:pt x="76" y="232"/>
                          </a:cubicBezTo>
                          <a:cubicBezTo>
                            <a:pt x="92" y="226"/>
                            <a:pt x="92" y="226"/>
                            <a:pt x="92" y="226"/>
                          </a:cubicBezTo>
                          <a:cubicBezTo>
                            <a:pt x="103" y="205"/>
                            <a:pt x="103" y="205"/>
                            <a:pt x="103" y="205"/>
                          </a:cubicBezTo>
                          <a:cubicBezTo>
                            <a:pt x="138" y="205"/>
                            <a:pt x="138" y="205"/>
                            <a:pt x="138" y="205"/>
                          </a:cubicBezTo>
                          <a:cubicBezTo>
                            <a:pt x="146" y="205"/>
                            <a:pt x="146" y="205"/>
                            <a:pt x="146" y="205"/>
                          </a:cubicBezTo>
                          <a:cubicBezTo>
                            <a:pt x="146" y="184"/>
                            <a:pt x="146" y="184"/>
                            <a:pt x="146" y="184"/>
                          </a:cubicBezTo>
                          <a:cubicBezTo>
                            <a:pt x="178" y="184"/>
                            <a:pt x="178" y="184"/>
                            <a:pt x="178" y="184"/>
                          </a:cubicBezTo>
                          <a:cubicBezTo>
                            <a:pt x="189" y="173"/>
                            <a:pt x="189" y="173"/>
                            <a:pt x="189" y="173"/>
                          </a:cubicBezTo>
                          <a:cubicBezTo>
                            <a:pt x="210" y="170"/>
                            <a:pt x="210" y="170"/>
                            <a:pt x="210" y="170"/>
                          </a:cubicBezTo>
                          <a:cubicBezTo>
                            <a:pt x="209" y="163"/>
                            <a:pt x="209" y="163"/>
                            <a:pt x="209" y="163"/>
                          </a:cubicBezTo>
                          <a:cubicBezTo>
                            <a:pt x="213" y="159"/>
                            <a:pt x="213" y="159"/>
                            <a:pt x="213" y="159"/>
                          </a:cubicBezTo>
                          <a:cubicBezTo>
                            <a:pt x="217" y="156"/>
                            <a:pt x="217" y="156"/>
                            <a:pt x="217" y="156"/>
                          </a:cubicBezTo>
                          <a:cubicBezTo>
                            <a:pt x="219" y="147"/>
                            <a:pt x="219" y="147"/>
                            <a:pt x="219" y="147"/>
                          </a:cubicBezTo>
                          <a:cubicBezTo>
                            <a:pt x="225" y="144"/>
                            <a:pt x="225" y="144"/>
                            <a:pt x="225" y="144"/>
                          </a:cubicBezTo>
                          <a:cubicBezTo>
                            <a:pt x="225" y="141"/>
                            <a:pt x="225" y="141"/>
                            <a:pt x="225" y="141"/>
                          </a:cubicBezTo>
                          <a:cubicBezTo>
                            <a:pt x="228" y="137"/>
                            <a:pt x="228" y="137"/>
                            <a:pt x="228" y="137"/>
                          </a:cubicBezTo>
                          <a:cubicBezTo>
                            <a:pt x="229" y="133"/>
                            <a:pt x="229" y="133"/>
                            <a:pt x="229" y="133"/>
                          </a:cubicBezTo>
                          <a:cubicBezTo>
                            <a:pt x="232" y="129"/>
                            <a:pt x="232" y="129"/>
                            <a:pt x="232" y="129"/>
                          </a:cubicBezTo>
                          <a:cubicBezTo>
                            <a:pt x="231" y="124"/>
                            <a:pt x="231" y="124"/>
                            <a:pt x="231" y="124"/>
                          </a:cubicBezTo>
                          <a:close/>
                        </a:path>
                      </a:pathLst>
                    </a:custGeom>
                    <a:solidFill>
                      <a:schemeClr val="tx1">
                        <a:lumMod val="75000"/>
                        <a:lumOff val="25000"/>
                      </a:schemeClr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pPr defTabSz="685800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p:txBody>
                </p:sp>
              </p:grpSp>
            </p:grpSp>
          </p:grpSp>
          <p:sp>
            <p:nvSpPr>
              <p:cNvPr id="269" name="Freeform 8"/>
              <p:cNvSpPr>
                <a:spLocks/>
              </p:cNvSpPr>
              <p:nvPr/>
            </p:nvSpPr>
            <p:spPr bwMode="auto">
              <a:xfrm>
                <a:off x="4832268" y="3322737"/>
                <a:ext cx="485065" cy="475875"/>
              </a:xfrm>
              <a:custGeom>
                <a:avLst/>
                <a:gdLst/>
                <a:ahLst/>
                <a:cxnLst>
                  <a:cxn ang="0">
                    <a:pos x="442" y="199"/>
                  </a:cxn>
                  <a:cxn ang="0">
                    <a:pos x="446" y="187"/>
                  </a:cxn>
                  <a:cxn ang="0">
                    <a:pos x="475" y="170"/>
                  </a:cxn>
                  <a:cxn ang="0">
                    <a:pos x="458" y="149"/>
                  </a:cxn>
                  <a:cxn ang="0">
                    <a:pos x="439" y="137"/>
                  </a:cxn>
                  <a:cxn ang="0">
                    <a:pos x="434" y="114"/>
                  </a:cxn>
                  <a:cxn ang="0">
                    <a:pos x="430" y="90"/>
                  </a:cxn>
                  <a:cxn ang="0">
                    <a:pos x="423" y="55"/>
                  </a:cxn>
                  <a:cxn ang="0">
                    <a:pos x="413" y="29"/>
                  </a:cxn>
                  <a:cxn ang="0">
                    <a:pos x="387" y="0"/>
                  </a:cxn>
                  <a:cxn ang="0">
                    <a:pos x="361" y="26"/>
                  </a:cxn>
                  <a:cxn ang="0">
                    <a:pos x="345" y="31"/>
                  </a:cxn>
                  <a:cxn ang="0">
                    <a:pos x="326" y="47"/>
                  </a:cxn>
                  <a:cxn ang="0">
                    <a:pos x="269" y="36"/>
                  </a:cxn>
                  <a:cxn ang="0">
                    <a:pos x="87" y="36"/>
                  </a:cxn>
                  <a:cxn ang="0">
                    <a:pos x="54" y="241"/>
                  </a:cxn>
                  <a:cxn ang="0">
                    <a:pos x="30" y="246"/>
                  </a:cxn>
                  <a:cxn ang="0">
                    <a:pos x="30" y="258"/>
                  </a:cxn>
                  <a:cxn ang="0">
                    <a:pos x="16" y="272"/>
                  </a:cxn>
                  <a:cxn ang="0">
                    <a:pos x="7" y="300"/>
                  </a:cxn>
                  <a:cxn ang="0">
                    <a:pos x="9" y="322"/>
                  </a:cxn>
                  <a:cxn ang="0">
                    <a:pos x="4" y="338"/>
                  </a:cxn>
                  <a:cxn ang="0">
                    <a:pos x="19" y="338"/>
                  </a:cxn>
                  <a:cxn ang="0">
                    <a:pos x="21" y="373"/>
                  </a:cxn>
                  <a:cxn ang="0">
                    <a:pos x="35" y="385"/>
                  </a:cxn>
                  <a:cxn ang="0">
                    <a:pos x="42" y="409"/>
                  </a:cxn>
                  <a:cxn ang="0">
                    <a:pos x="54" y="430"/>
                  </a:cxn>
                  <a:cxn ang="0">
                    <a:pos x="47" y="451"/>
                  </a:cxn>
                  <a:cxn ang="0">
                    <a:pos x="49" y="463"/>
                  </a:cxn>
                  <a:cxn ang="0">
                    <a:pos x="73" y="456"/>
                  </a:cxn>
                  <a:cxn ang="0">
                    <a:pos x="78" y="447"/>
                  </a:cxn>
                  <a:cxn ang="0">
                    <a:pos x="89" y="418"/>
                  </a:cxn>
                  <a:cxn ang="0">
                    <a:pos x="115" y="416"/>
                  </a:cxn>
                  <a:cxn ang="0">
                    <a:pos x="125" y="430"/>
                  </a:cxn>
                  <a:cxn ang="0">
                    <a:pos x="170" y="433"/>
                  </a:cxn>
                  <a:cxn ang="0">
                    <a:pos x="196" y="442"/>
                  </a:cxn>
                  <a:cxn ang="0">
                    <a:pos x="234" y="411"/>
                  </a:cxn>
                  <a:cxn ang="0">
                    <a:pos x="290" y="409"/>
                  </a:cxn>
                  <a:cxn ang="0">
                    <a:pos x="307" y="364"/>
                  </a:cxn>
                  <a:cxn ang="0">
                    <a:pos x="331" y="347"/>
                  </a:cxn>
                  <a:cxn ang="0">
                    <a:pos x="328" y="378"/>
                  </a:cxn>
                  <a:cxn ang="0">
                    <a:pos x="335" y="399"/>
                  </a:cxn>
                  <a:cxn ang="0">
                    <a:pos x="357" y="423"/>
                  </a:cxn>
                  <a:cxn ang="0">
                    <a:pos x="359" y="409"/>
                  </a:cxn>
                  <a:cxn ang="0">
                    <a:pos x="368" y="399"/>
                  </a:cxn>
                  <a:cxn ang="0">
                    <a:pos x="380" y="385"/>
                  </a:cxn>
                  <a:cxn ang="0">
                    <a:pos x="382" y="364"/>
                  </a:cxn>
                  <a:cxn ang="0">
                    <a:pos x="392" y="343"/>
                  </a:cxn>
                  <a:cxn ang="0">
                    <a:pos x="411" y="333"/>
                  </a:cxn>
                  <a:cxn ang="0">
                    <a:pos x="418" y="303"/>
                  </a:cxn>
                  <a:cxn ang="0">
                    <a:pos x="416" y="262"/>
                  </a:cxn>
                  <a:cxn ang="0">
                    <a:pos x="423" y="239"/>
                  </a:cxn>
                  <a:cxn ang="0">
                    <a:pos x="430" y="215"/>
                  </a:cxn>
                </a:cxnLst>
                <a:rect l="0" t="0" r="r" b="b"/>
                <a:pathLst>
                  <a:path w="475" h="466">
                    <a:moveTo>
                      <a:pt x="432" y="208"/>
                    </a:moveTo>
                    <a:lnTo>
                      <a:pt x="434" y="206"/>
                    </a:lnTo>
                    <a:lnTo>
                      <a:pt x="434" y="199"/>
                    </a:lnTo>
                    <a:lnTo>
                      <a:pt x="442" y="199"/>
                    </a:lnTo>
                    <a:lnTo>
                      <a:pt x="444" y="196"/>
                    </a:lnTo>
                    <a:lnTo>
                      <a:pt x="444" y="194"/>
                    </a:lnTo>
                    <a:lnTo>
                      <a:pt x="446" y="192"/>
                    </a:lnTo>
                    <a:lnTo>
                      <a:pt x="446" y="187"/>
                    </a:lnTo>
                    <a:lnTo>
                      <a:pt x="451" y="187"/>
                    </a:lnTo>
                    <a:lnTo>
                      <a:pt x="460" y="184"/>
                    </a:lnTo>
                    <a:lnTo>
                      <a:pt x="470" y="180"/>
                    </a:lnTo>
                    <a:lnTo>
                      <a:pt x="475" y="170"/>
                    </a:lnTo>
                    <a:lnTo>
                      <a:pt x="475" y="166"/>
                    </a:lnTo>
                    <a:lnTo>
                      <a:pt x="460" y="154"/>
                    </a:lnTo>
                    <a:lnTo>
                      <a:pt x="460" y="151"/>
                    </a:lnTo>
                    <a:lnTo>
                      <a:pt x="458" y="149"/>
                    </a:lnTo>
                    <a:lnTo>
                      <a:pt x="458" y="144"/>
                    </a:lnTo>
                    <a:lnTo>
                      <a:pt x="453" y="142"/>
                    </a:lnTo>
                    <a:lnTo>
                      <a:pt x="444" y="142"/>
                    </a:lnTo>
                    <a:lnTo>
                      <a:pt x="439" y="137"/>
                    </a:lnTo>
                    <a:lnTo>
                      <a:pt x="439" y="132"/>
                    </a:lnTo>
                    <a:lnTo>
                      <a:pt x="437" y="125"/>
                    </a:lnTo>
                    <a:lnTo>
                      <a:pt x="437" y="118"/>
                    </a:lnTo>
                    <a:lnTo>
                      <a:pt x="434" y="114"/>
                    </a:lnTo>
                    <a:lnTo>
                      <a:pt x="434" y="107"/>
                    </a:lnTo>
                    <a:lnTo>
                      <a:pt x="432" y="107"/>
                    </a:lnTo>
                    <a:lnTo>
                      <a:pt x="432" y="97"/>
                    </a:lnTo>
                    <a:lnTo>
                      <a:pt x="430" y="90"/>
                    </a:lnTo>
                    <a:lnTo>
                      <a:pt x="430" y="73"/>
                    </a:lnTo>
                    <a:lnTo>
                      <a:pt x="427" y="69"/>
                    </a:lnTo>
                    <a:lnTo>
                      <a:pt x="434" y="66"/>
                    </a:lnTo>
                    <a:lnTo>
                      <a:pt x="423" y="55"/>
                    </a:lnTo>
                    <a:lnTo>
                      <a:pt x="423" y="38"/>
                    </a:lnTo>
                    <a:lnTo>
                      <a:pt x="420" y="33"/>
                    </a:lnTo>
                    <a:lnTo>
                      <a:pt x="418" y="31"/>
                    </a:lnTo>
                    <a:lnTo>
                      <a:pt x="413" y="29"/>
                    </a:lnTo>
                    <a:lnTo>
                      <a:pt x="401" y="17"/>
                    </a:lnTo>
                    <a:lnTo>
                      <a:pt x="397" y="17"/>
                    </a:lnTo>
                    <a:lnTo>
                      <a:pt x="390" y="10"/>
                    </a:lnTo>
                    <a:lnTo>
                      <a:pt x="387" y="0"/>
                    </a:lnTo>
                    <a:lnTo>
                      <a:pt x="378" y="12"/>
                    </a:lnTo>
                    <a:lnTo>
                      <a:pt x="364" y="12"/>
                    </a:lnTo>
                    <a:lnTo>
                      <a:pt x="364" y="21"/>
                    </a:lnTo>
                    <a:lnTo>
                      <a:pt x="361" y="26"/>
                    </a:lnTo>
                    <a:lnTo>
                      <a:pt x="359" y="29"/>
                    </a:lnTo>
                    <a:lnTo>
                      <a:pt x="352" y="29"/>
                    </a:lnTo>
                    <a:lnTo>
                      <a:pt x="349" y="31"/>
                    </a:lnTo>
                    <a:lnTo>
                      <a:pt x="345" y="31"/>
                    </a:lnTo>
                    <a:lnTo>
                      <a:pt x="340" y="36"/>
                    </a:lnTo>
                    <a:lnTo>
                      <a:pt x="335" y="45"/>
                    </a:lnTo>
                    <a:lnTo>
                      <a:pt x="333" y="47"/>
                    </a:lnTo>
                    <a:lnTo>
                      <a:pt x="326" y="47"/>
                    </a:lnTo>
                    <a:lnTo>
                      <a:pt x="323" y="45"/>
                    </a:lnTo>
                    <a:lnTo>
                      <a:pt x="321" y="40"/>
                    </a:lnTo>
                    <a:lnTo>
                      <a:pt x="319" y="38"/>
                    </a:lnTo>
                    <a:lnTo>
                      <a:pt x="269" y="36"/>
                    </a:lnTo>
                    <a:lnTo>
                      <a:pt x="269" y="31"/>
                    </a:lnTo>
                    <a:lnTo>
                      <a:pt x="267" y="31"/>
                    </a:lnTo>
                    <a:lnTo>
                      <a:pt x="260" y="38"/>
                    </a:lnTo>
                    <a:lnTo>
                      <a:pt x="87" y="36"/>
                    </a:lnTo>
                    <a:lnTo>
                      <a:pt x="87" y="99"/>
                    </a:lnTo>
                    <a:lnTo>
                      <a:pt x="56" y="99"/>
                    </a:lnTo>
                    <a:lnTo>
                      <a:pt x="59" y="241"/>
                    </a:lnTo>
                    <a:lnTo>
                      <a:pt x="54" y="241"/>
                    </a:lnTo>
                    <a:lnTo>
                      <a:pt x="49" y="239"/>
                    </a:lnTo>
                    <a:lnTo>
                      <a:pt x="33" y="239"/>
                    </a:lnTo>
                    <a:lnTo>
                      <a:pt x="28" y="244"/>
                    </a:lnTo>
                    <a:lnTo>
                      <a:pt x="30" y="246"/>
                    </a:lnTo>
                    <a:lnTo>
                      <a:pt x="30" y="251"/>
                    </a:lnTo>
                    <a:lnTo>
                      <a:pt x="33" y="253"/>
                    </a:lnTo>
                    <a:lnTo>
                      <a:pt x="33" y="255"/>
                    </a:lnTo>
                    <a:lnTo>
                      <a:pt x="30" y="258"/>
                    </a:lnTo>
                    <a:lnTo>
                      <a:pt x="26" y="260"/>
                    </a:lnTo>
                    <a:lnTo>
                      <a:pt x="21" y="265"/>
                    </a:lnTo>
                    <a:lnTo>
                      <a:pt x="21" y="272"/>
                    </a:lnTo>
                    <a:lnTo>
                      <a:pt x="16" y="272"/>
                    </a:lnTo>
                    <a:lnTo>
                      <a:pt x="19" y="281"/>
                    </a:lnTo>
                    <a:lnTo>
                      <a:pt x="21" y="288"/>
                    </a:lnTo>
                    <a:lnTo>
                      <a:pt x="14" y="293"/>
                    </a:lnTo>
                    <a:lnTo>
                      <a:pt x="7" y="300"/>
                    </a:lnTo>
                    <a:lnTo>
                      <a:pt x="9" y="303"/>
                    </a:lnTo>
                    <a:lnTo>
                      <a:pt x="14" y="312"/>
                    </a:lnTo>
                    <a:lnTo>
                      <a:pt x="14" y="317"/>
                    </a:lnTo>
                    <a:lnTo>
                      <a:pt x="9" y="322"/>
                    </a:lnTo>
                    <a:lnTo>
                      <a:pt x="4" y="324"/>
                    </a:lnTo>
                    <a:lnTo>
                      <a:pt x="0" y="329"/>
                    </a:lnTo>
                    <a:lnTo>
                      <a:pt x="0" y="336"/>
                    </a:lnTo>
                    <a:lnTo>
                      <a:pt x="4" y="338"/>
                    </a:lnTo>
                    <a:lnTo>
                      <a:pt x="9" y="338"/>
                    </a:lnTo>
                    <a:lnTo>
                      <a:pt x="12" y="336"/>
                    </a:lnTo>
                    <a:lnTo>
                      <a:pt x="16" y="336"/>
                    </a:lnTo>
                    <a:lnTo>
                      <a:pt x="19" y="338"/>
                    </a:lnTo>
                    <a:lnTo>
                      <a:pt x="19" y="355"/>
                    </a:lnTo>
                    <a:lnTo>
                      <a:pt x="26" y="362"/>
                    </a:lnTo>
                    <a:lnTo>
                      <a:pt x="19" y="364"/>
                    </a:lnTo>
                    <a:lnTo>
                      <a:pt x="21" y="373"/>
                    </a:lnTo>
                    <a:lnTo>
                      <a:pt x="23" y="373"/>
                    </a:lnTo>
                    <a:lnTo>
                      <a:pt x="28" y="376"/>
                    </a:lnTo>
                    <a:lnTo>
                      <a:pt x="33" y="383"/>
                    </a:lnTo>
                    <a:lnTo>
                      <a:pt x="35" y="385"/>
                    </a:lnTo>
                    <a:lnTo>
                      <a:pt x="35" y="388"/>
                    </a:lnTo>
                    <a:lnTo>
                      <a:pt x="30" y="388"/>
                    </a:lnTo>
                    <a:lnTo>
                      <a:pt x="30" y="397"/>
                    </a:lnTo>
                    <a:lnTo>
                      <a:pt x="42" y="409"/>
                    </a:lnTo>
                    <a:lnTo>
                      <a:pt x="45" y="414"/>
                    </a:lnTo>
                    <a:lnTo>
                      <a:pt x="49" y="418"/>
                    </a:lnTo>
                    <a:lnTo>
                      <a:pt x="52" y="425"/>
                    </a:lnTo>
                    <a:lnTo>
                      <a:pt x="54" y="430"/>
                    </a:lnTo>
                    <a:lnTo>
                      <a:pt x="54" y="442"/>
                    </a:lnTo>
                    <a:lnTo>
                      <a:pt x="52" y="444"/>
                    </a:lnTo>
                    <a:lnTo>
                      <a:pt x="49" y="449"/>
                    </a:lnTo>
                    <a:lnTo>
                      <a:pt x="47" y="451"/>
                    </a:lnTo>
                    <a:lnTo>
                      <a:pt x="47" y="454"/>
                    </a:lnTo>
                    <a:lnTo>
                      <a:pt x="49" y="456"/>
                    </a:lnTo>
                    <a:lnTo>
                      <a:pt x="52" y="456"/>
                    </a:lnTo>
                    <a:lnTo>
                      <a:pt x="49" y="463"/>
                    </a:lnTo>
                    <a:lnTo>
                      <a:pt x="66" y="466"/>
                    </a:lnTo>
                    <a:lnTo>
                      <a:pt x="66" y="461"/>
                    </a:lnTo>
                    <a:lnTo>
                      <a:pt x="68" y="459"/>
                    </a:lnTo>
                    <a:lnTo>
                      <a:pt x="73" y="456"/>
                    </a:lnTo>
                    <a:lnTo>
                      <a:pt x="73" y="456"/>
                    </a:lnTo>
                    <a:lnTo>
                      <a:pt x="73" y="454"/>
                    </a:lnTo>
                    <a:lnTo>
                      <a:pt x="73" y="451"/>
                    </a:lnTo>
                    <a:lnTo>
                      <a:pt x="78" y="447"/>
                    </a:lnTo>
                    <a:lnTo>
                      <a:pt x="78" y="437"/>
                    </a:lnTo>
                    <a:lnTo>
                      <a:pt x="82" y="437"/>
                    </a:lnTo>
                    <a:lnTo>
                      <a:pt x="82" y="428"/>
                    </a:lnTo>
                    <a:lnTo>
                      <a:pt x="89" y="418"/>
                    </a:lnTo>
                    <a:lnTo>
                      <a:pt x="92" y="411"/>
                    </a:lnTo>
                    <a:lnTo>
                      <a:pt x="101" y="409"/>
                    </a:lnTo>
                    <a:lnTo>
                      <a:pt x="113" y="407"/>
                    </a:lnTo>
                    <a:lnTo>
                      <a:pt x="115" y="416"/>
                    </a:lnTo>
                    <a:lnTo>
                      <a:pt x="118" y="418"/>
                    </a:lnTo>
                    <a:lnTo>
                      <a:pt x="123" y="421"/>
                    </a:lnTo>
                    <a:lnTo>
                      <a:pt x="123" y="423"/>
                    </a:lnTo>
                    <a:lnTo>
                      <a:pt x="125" y="430"/>
                    </a:lnTo>
                    <a:lnTo>
                      <a:pt x="127" y="433"/>
                    </a:lnTo>
                    <a:lnTo>
                      <a:pt x="137" y="440"/>
                    </a:lnTo>
                    <a:lnTo>
                      <a:pt x="146" y="435"/>
                    </a:lnTo>
                    <a:lnTo>
                      <a:pt x="170" y="433"/>
                    </a:lnTo>
                    <a:lnTo>
                      <a:pt x="175" y="435"/>
                    </a:lnTo>
                    <a:lnTo>
                      <a:pt x="177" y="442"/>
                    </a:lnTo>
                    <a:lnTo>
                      <a:pt x="177" y="442"/>
                    </a:lnTo>
                    <a:lnTo>
                      <a:pt x="196" y="442"/>
                    </a:lnTo>
                    <a:lnTo>
                      <a:pt x="205" y="430"/>
                    </a:lnTo>
                    <a:lnTo>
                      <a:pt x="219" y="430"/>
                    </a:lnTo>
                    <a:lnTo>
                      <a:pt x="222" y="418"/>
                    </a:lnTo>
                    <a:lnTo>
                      <a:pt x="234" y="411"/>
                    </a:lnTo>
                    <a:lnTo>
                      <a:pt x="250" y="421"/>
                    </a:lnTo>
                    <a:lnTo>
                      <a:pt x="260" y="430"/>
                    </a:lnTo>
                    <a:lnTo>
                      <a:pt x="274" y="430"/>
                    </a:lnTo>
                    <a:lnTo>
                      <a:pt x="290" y="409"/>
                    </a:lnTo>
                    <a:lnTo>
                      <a:pt x="295" y="397"/>
                    </a:lnTo>
                    <a:lnTo>
                      <a:pt x="309" y="388"/>
                    </a:lnTo>
                    <a:lnTo>
                      <a:pt x="307" y="381"/>
                    </a:lnTo>
                    <a:lnTo>
                      <a:pt x="307" y="364"/>
                    </a:lnTo>
                    <a:lnTo>
                      <a:pt x="300" y="357"/>
                    </a:lnTo>
                    <a:lnTo>
                      <a:pt x="319" y="357"/>
                    </a:lnTo>
                    <a:lnTo>
                      <a:pt x="319" y="350"/>
                    </a:lnTo>
                    <a:lnTo>
                      <a:pt x="331" y="347"/>
                    </a:lnTo>
                    <a:lnTo>
                      <a:pt x="328" y="357"/>
                    </a:lnTo>
                    <a:lnTo>
                      <a:pt x="328" y="366"/>
                    </a:lnTo>
                    <a:lnTo>
                      <a:pt x="326" y="369"/>
                    </a:lnTo>
                    <a:lnTo>
                      <a:pt x="328" y="378"/>
                    </a:lnTo>
                    <a:lnTo>
                      <a:pt x="331" y="385"/>
                    </a:lnTo>
                    <a:lnTo>
                      <a:pt x="331" y="390"/>
                    </a:lnTo>
                    <a:lnTo>
                      <a:pt x="328" y="395"/>
                    </a:lnTo>
                    <a:lnTo>
                      <a:pt x="335" y="399"/>
                    </a:lnTo>
                    <a:lnTo>
                      <a:pt x="345" y="407"/>
                    </a:lnTo>
                    <a:lnTo>
                      <a:pt x="352" y="414"/>
                    </a:lnTo>
                    <a:lnTo>
                      <a:pt x="354" y="418"/>
                    </a:lnTo>
                    <a:lnTo>
                      <a:pt x="357" y="423"/>
                    </a:lnTo>
                    <a:lnTo>
                      <a:pt x="359" y="423"/>
                    </a:lnTo>
                    <a:lnTo>
                      <a:pt x="361" y="421"/>
                    </a:lnTo>
                    <a:lnTo>
                      <a:pt x="361" y="414"/>
                    </a:lnTo>
                    <a:lnTo>
                      <a:pt x="359" y="409"/>
                    </a:lnTo>
                    <a:lnTo>
                      <a:pt x="359" y="402"/>
                    </a:lnTo>
                    <a:lnTo>
                      <a:pt x="366" y="395"/>
                    </a:lnTo>
                    <a:lnTo>
                      <a:pt x="368" y="395"/>
                    </a:lnTo>
                    <a:lnTo>
                      <a:pt x="368" y="399"/>
                    </a:lnTo>
                    <a:lnTo>
                      <a:pt x="371" y="402"/>
                    </a:lnTo>
                    <a:lnTo>
                      <a:pt x="378" y="402"/>
                    </a:lnTo>
                    <a:lnTo>
                      <a:pt x="380" y="399"/>
                    </a:lnTo>
                    <a:lnTo>
                      <a:pt x="380" y="385"/>
                    </a:lnTo>
                    <a:lnTo>
                      <a:pt x="378" y="383"/>
                    </a:lnTo>
                    <a:lnTo>
                      <a:pt x="378" y="381"/>
                    </a:lnTo>
                    <a:lnTo>
                      <a:pt x="382" y="373"/>
                    </a:lnTo>
                    <a:lnTo>
                      <a:pt x="382" y="364"/>
                    </a:lnTo>
                    <a:lnTo>
                      <a:pt x="385" y="362"/>
                    </a:lnTo>
                    <a:lnTo>
                      <a:pt x="390" y="362"/>
                    </a:lnTo>
                    <a:lnTo>
                      <a:pt x="392" y="357"/>
                    </a:lnTo>
                    <a:lnTo>
                      <a:pt x="392" y="343"/>
                    </a:lnTo>
                    <a:lnTo>
                      <a:pt x="394" y="340"/>
                    </a:lnTo>
                    <a:lnTo>
                      <a:pt x="397" y="336"/>
                    </a:lnTo>
                    <a:lnTo>
                      <a:pt x="399" y="333"/>
                    </a:lnTo>
                    <a:lnTo>
                      <a:pt x="411" y="333"/>
                    </a:lnTo>
                    <a:lnTo>
                      <a:pt x="411" y="314"/>
                    </a:lnTo>
                    <a:lnTo>
                      <a:pt x="413" y="310"/>
                    </a:lnTo>
                    <a:lnTo>
                      <a:pt x="416" y="307"/>
                    </a:lnTo>
                    <a:lnTo>
                      <a:pt x="418" y="303"/>
                    </a:lnTo>
                    <a:lnTo>
                      <a:pt x="420" y="300"/>
                    </a:lnTo>
                    <a:lnTo>
                      <a:pt x="420" y="284"/>
                    </a:lnTo>
                    <a:lnTo>
                      <a:pt x="418" y="265"/>
                    </a:lnTo>
                    <a:lnTo>
                      <a:pt x="416" y="262"/>
                    </a:lnTo>
                    <a:lnTo>
                      <a:pt x="416" y="255"/>
                    </a:lnTo>
                    <a:lnTo>
                      <a:pt x="420" y="253"/>
                    </a:lnTo>
                    <a:lnTo>
                      <a:pt x="423" y="253"/>
                    </a:lnTo>
                    <a:lnTo>
                      <a:pt x="423" y="239"/>
                    </a:lnTo>
                    <a:lnTo>
                      <a:pt x="425" y="239"/>
                    </a:lnTo>
                    <a:lnTo>
                      <a:pt x="427" y="236"/>
                    </a:lnTo>
                    <a:lnTo>
                      <a:pt x="430" y="232"/>
                    </a:lnTo>
                    <a:lnTo>
                      <a:pt x="430" y="215"/>
                    </a:lnTo>
                    <a:lnTo>
                      <a:pt x="427" y="213"/>
                    </a:lnTo>
                    <a:lnTo>
                      <a:pt x="427" y="208"/>
                    </a:lnTo>
                    <a:lnTo>
                      <a:pt x="432" y="208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70" name="Freeform 9"/>
              <p:cNvSpPr>
                <a:spLocks/>
              </p:cNvSpPr>
              <p:nvPr/>
            </p:nvSpPr>
            <p:spPr bwMode="auto">
              <a:xfrm>
                <a:off x="4899666" y="3677091"/>
                <a:ext cx="349247" cy="292061"/>
              </a:xfrm>
              <a:custGeom>
                <a:avLst/>
                <a:gdLst/>
                <a:ahLst/>
                <a:cxnLst>
                  <a:cxn ang="0">
                    <a:pos x="269" y="52"/>
                  </a:cxn>
                  <a:cxn ang="0">
                    <a:pos x="265" y="38"/>
                  </a:cxn>
                  <a:cxn ang="0">
                    <a:pos x="262" y="19"/>
                  </a:cxn>
                  <a:cxn ang="0">
                    <a:pos x="253" y="3"/>
                  </a:cxn>
                  <a:cxn ang="0">
                    <a:pos x="241" y="17"/>
                  </a:cxn>
                  <a:cxn ang="0">
                    <a:pos x="229" y="50"/>
                  </a:cxn>
                  <a:cxn ang="0">
                    <a:pos x="194" y="83"/>
                  </a:cxn>
                  <a:cxn ang="0">
                    <a:pos x="156" y="71"/>
                  </a:cxn>
                  <a:cxn ang="0">
                    <a:pos x="130" y="95"/>
                  </a:cxn>
                  <a:cxn ang="0">
                    <a:pos x="109" y="88"/>
                  </a:cxn>
                  <a:cxn ang="0">
                    <a:pos x="71" y="93"/>
                  </a:cxn>
                  <a:cxn ang="0">
                    <a:pos x="57" y="76"/>
                  </a:cxn>
                  <a:cxn ang="0">
                    <a:pos x="49" y="69"/>
                  </a:cxn>
                  <a:cxn ang="0">
                    <a:pos x="26" y="64"/>
                  </a:cxn>
                  <a:cxn ang="0">
                    <a:pos x="16" y="90"/>
                  </a:cxn>
                  <a:cxn ang="0">
                    <a:pos x="7" y="104"/>
                  </a:cxn>
                  <a:cxn ang="0">
                    <a:pos x="7" y="109"/>
                  </a:cxn>
                  <a:cxn ang="0">
                    <a:pos x="0" y="119"/>
                  </a:cxn>
                  <a:cxn ang="0">
                    <a:pos x="12" y="135"/>
                  </a:cxn>
                  <a:cxn ang="0">
                    <a:pos x="28" y="142"/>
                  </a:cxn>
                  <a:cxn ang="0">
                    <a:pos x="38" y="152"/>
                  </a:cxn>
                  <a:cxn ang="0">
                    <a:pos x="33" y="154"/>
                  </a:cxn>
                  <a:cxn ang="0">
                    <a:pos x="42" y="164"/>
                  </a:cxn>
                  <a:cxn ang="0">
                    <a:pos x="54" y="173"/>
                  </a:cxn>
                  <a:cxn ang="0">
                    <a:pos x="59" y="182"/>
                  </a:cxn>
                  <a:cxn ang="0">
                    <a:pos x="68" y="190"/>
                  </a:cxn>
                  <a:cxn ang="0">
                    <a:pos x="68" y="197"/>
                  </a:cxn>
                  <a:cxn ang="0">
                    <a:pos x="83" y="208"/>
                  </a:cxn>
                  <a:cxn ang="0">
                    <a:pos x="92" y="218"/>
                  </a:cxn>
                  <a:cxn ang="0">
                    <a:pos x="106" y="241"/>
                  </a:cxn>
                  <a:cxn ang="0">
                    <a:pos x="127" y="258"/>
                  </a:cxn>
                  <a:cxn ang="0">
                    <a:pos x="137" y="251"/>
                  </a:cxn>
                  <a:cxn ang="0">
                    <a:pos x="146" y="258"/>
                  </a:cxn>
                  <a:cxn ang="0">
                    <a:pos x="156" y="251"/>
                  </a:cxn>
                  <a:cxn ang="0">
                    <a:pos x="168" y="251"/>
                  </a:cxn>
                  <a:cxn ang="0">
                    <a:pos x="177" y="267"/>
                  </a:cxn>
                  <a:cxn ang="0">
                    <a:pos x="187" y="272"/>
                  </a:cxn>
                  <a:cxn ang="0">
                    <a:pos x="203" y="275"/>
                  </a:cxn>
                  <a:cxn ang="0">
                    <a:pos x="215" y="279"/>
                  </a:cxn>
                  <a:cxn ang="0">
                    <a:pos x="222" y="275"/>
                  </a:cxn>
                  <a:cxn ang="0">
                    <a:pos x="243" y="277"/>
                  </a:cxn>
                  <a:cxn ang="0">
                    <a:pos x="262" y="272"/>
                  </a:cxn>
                  <a:cxn ang="0">
                    <a:pos x="274" y="277"/>
                  </a:cxn>
                  <a:cxn ang="0">
                    <a:pos x="283" y="265"/>
                  </a:cxn>
                  <a:cxn ang="0">
                    <a:pos x="295" y="251"/>
                  </a:cxn>
                  <a:cxn ang="0">
                    <a:pos x="340" y="239"/>
                  </a:cxn>
                  <a:cxn ang="0">
                    <a:pos x="335" y="225"/>
                  </a:cxn>
                  <a:cxn ang="0">
                    <a:pos x="316" y="208"/>
                  </a:cxn>
                  <a:cxn ang="0">
                    <a:pos x="312" y="185"/>
                  </a:cxn>
                  <a:cxn ang="0">
                    <a:pos x="293" y="175"/>
                  </a:cxn>
                  <a:cxn ang="0">
                    <a:pos x="286" y="159"/>
                  </a:cxn>
                  <a:cxn ang="0">
                    <a:pos x="276" y="149"/>
                  </a:cxn>
                  <a:cxn ang="0">
                    <a:pos x="260" y="147"/>
                  </a:cxn>
                  <a:cxn ang="0">
                    <a:pos x="265" y="135"/>
                  </a:cxn>
                  <a:cxn ang="0">
                    <a:pos x="279" y="128"/>
                  </a:cxn>
                  <a:cxn ang="0">
                    <a:pos x="288" y="123"/>
                  </a:cxn>
                  <a:cxn ang="0">
                    <a:pos x="291" y="100"/>
                  </a:cxn>
                  <a:cxn ang="0">
                    <a:pos x="286" y="88"/>
                  </a:cxn>
                  <a:cxn ang="0">
                    <a:pos x="291" y="76"/>
                  </a:cxn>
                </a:cxnLst>
                <a:rect l="0" t="0" r="r" b="b"/>
                <a:pathLst>
                  <a:path w="342" h="286">
                    <a:moveTo>
                      <a:pt x="286" y="67"/>
                    </a:moveTo>
                    <a:lnTo>
                      <a:pt x="279" y="60"/>
                    </a:lnTo>
                    <a:lnTo>
                      <a:pt x="269" y="52"/>
                    </a:lnTo>
                    <a:lnTo>
                      <a:pt x="262" y="48"/>
                    </a:lnTo>
                    <a:lnTo>
                      <a:pt x="265" y="43"/>
                    </a:lnTo>
                    <a:lnTo>
                      <a:pt x="265" y="38"/>
                    </a:lnTo>
                    <a:lnTo>
                      <a:pt x="262" y="31"/>
                    </a:lnTo>
                    <a:lnTo>
                      <a:pt x="260" y="22"/>
                    </a:lnTo>
                    <a:lnTo>
                      <a:pt x="262" y="19"/>
                    </a:lnTo>
                    <a:lnTo>
                      <a:pt x="262" y="10"/>
                    </a:lnTo>
                    <a:lnTo>
                      <a:pt x="265" y="0"/>
                    </a:lnTo>
                    <a:lnTo>
                      <a:pt x="253" y="3"/>
                    </a:lnTo>
                    <a:lnTo>
                      <a:pt x="253" y="10"/>
                    </a:lnTo>
                    <a:lnTo>
                      <a:pt x="234" y="10"/>
                    </a:lnTo>
                    <a:lnTo>
                      <a:pt x="241" y="17"/>
                    </a:lnTo>
                    <a:lnTo>
                      <a:pt x="241" y="34"/>
                    </a:lnTo>
                    <a:lnTo>
                      <a:pt x="243" y="41"/>
                    </a:lnTo>
                    <a:lnTo>
                      <a:pt x="229" y="50"/>
                    </a:lnTo>
                    <a:lnTo>
                      <a:pt x="224" y="62"/>
                    </a:lnTo>
                    <a:lnTo>
                      <a:pt x="208" y="83"/>
                    </a:lnTo>
                    <a:lnTo>
                      <a:pt x="194" y="83"/>
                    </a:lnTo>
                    <a:lnTo>
                      <a:pt x="184" y="74"/>
                    </a:lnTo>
                    <a:lnTo>
                      <a:pt x="168" y="64"/>
                    </a:lnTo>
                    <a:lnTo>
                      <a:pt x="156" y="71"/>
                    </a:lnTo>
                    <a:lnTo>
                      <a:pt x="153" y="83"/>
                    </a:lnTo>
                    <a:lnTo>
                      <a:pt x="139" y="83"/>
                    </a:lnTo>
                    <a:lnTo>
                      <a:pt x="130" y="95"/>
                    </a:lnTo>
                    <a:lnTo>
                      <a:pt x="111" y="95"/>
                    </a:lnTo>
                    <a:lnTo>
                      <a:pt x="111" y="95"/>
                    </a:lnTo>
                    <a:lnTo>
                      <a:pt x="109" y="88"/>
                    </a:lnTo>
                    <a:lnTo>
                      <a:pt x="104" y="86"/>
                    </a:lnTo>
                    <a:lnTo>
                      <a:pt x="80" y="88"/>
                    </a:lnTo>
                    <a:lnTo>
                      <a:pt x="71" y="93"/>
                    </a:lnTo>
                    <a:lnTo>
                      <a:pt x="61" y="86"/>
                    </a:lnTo>
                    <a:lnTo>
                      <a:pt x="59" y="83"/>
                    </a:lnTo>
                    <a:lnTo>
                      <a:pt x="57" y="76"/>
                    </a:lnTo>
                    <a:lnTo>
                      <a:pt x="57" y="74"/>
                    </a:lnTo>
                    <a:lnTo>
                      <a:pt x="52" y="71"/>
                    </a:lnTo>
                    <a:lnTo>
                      <a:pt x="49" y="69"/>
                    </a:lnTo>
                    <a:lnTo>
                      <a:pt x="47" y="60"/>
                    </a:lnTo>
                    <a:lnTo>
                      <a:pt x="35" y="62"/>
                    </a:lnTo>
                    <a:lnTo>
                      <a:pt x="26" y="64"/>
                    </a:lnTo>
                    <a:lnTo>
                      <a:pt x="23" y="71"/>
                    </a:lnTo>
                    <a:lnTo>
                      <a:pt x="16" y="81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100"/>
                    </a:lnTo>
                    <a:lnTo>
                      <a:pt x="7" y="104"/>
                    </a:lnTo>
                    <a:lnTo>
                      <a:pt x="7" y="107"/>
                    </a:lnTo>
                    <a:lnTo>
                      <a:pt x="7" y="109"/>
                    </a:lnTo>
                    <a:lnTo>
                      <a:pt x="7" y="109"/>
                    </a:lnTo>
                    <a:lnTo>
                      <a:pt x="2" y="112"/>
                    </a:lnTo>
                    <a:lnTo>
                      <a:pt x="0" y="114"/>
                    </a:lnTo>
                    <a:lnTo>
                      <a:pt x="0" y="119"/>
                    </a:lnTo>
                    <a:lnTo>
                      <a:pt x="2" y="119"/>
                    </a:lnTo>
                    <a:lnTo>
                      <a:pt x="2" y="130"/>
                    </a:lnTo>
                    <a:lnTo>
                      <a:pt x="12" y="135"/>
                    </a:lnTo>
                    <a:lnTo>
                      <a:pt x="26" y="135"/>
                    </a:lnTo>
                    <a:lnTo>
                      <a:pt x="26" y="142"/>
                    </a:lnTo>
                    <a:lnTo>
                      <a:pt x="28" y="142"/>
                    </a:lnTo>
                    <a:lnTo>
                      <a:pt x="33" y="145"/>
                    </a:lnTo>
                    <a:lnTo>
                      <a:pt x="38" y="149"/>
                    </a:lnTo>
                    <a:lnTo>
                      <a:pt x="38" y="152"/>
                    </a:lnTo>
                    <a:lnTo>
                      <a:pt x="35" y="152"/>
                    </a:lnTo>
                    <a:lnTo>
                      <a:pt x="35" y="154"/>
                    </a:lnTo>
                    <a:lnTo>
                      <a:pt x="33" y="154"/>
                    </a:lnTo>
                    <a:lnTo>
                      <a:pt x="33" y="156"/>
                    </a:lnTo>
                    <a:lnTo>
                      <a:pt x="38" y="161"/>
                    </a:lnTo>
                    <a:lnTo>
                      <a:pt x="42" y="164"/>
                    </a:lnTo>
                    <a:lnTo>
                      <a:pt x="45" y="164"/>
                    </a:lnTo>
                    <a:lnTo>
                      <a:pt x="49" y="166"/>
                    </a:lnTo>
                    <a:lnTo>
                      <a:pt x="54" y="173"/>
                    </a:lnTo>
                    <a:lnTo>
                      <a:pt x="57" y="178"/>
                    </a:lnTo>
                    <a:lnTo>
                      <a:pt x="59" y="180"/>
                    </a:lnTo>
                    <a:lnTo>
                      <a:pt x="59" y="182"/>
                    </a:lnTo>
                    <a:lnTo>
                      <a:pt x="66" y="182"/>
                    </a:lnTo>
                    <a:lnTo>
                      <a:pt x="68" y="185"/>
                    </a:lnTo>
                    <a:lnTo>
                      <a:pt x="68" y="190"/>
                    </a:lnTo>
                    <a:lnTo>
                      <a:pt x="64" y="190"/>
                    </a:lnTo>
                    <a:lnTo>
                      <a:pt x="64" y="192"/>
                    </a:lnTo>
                    <a:lnTo>
                      <a:pt x="68" y="197"/>
                    </a:lnTo>
                    <a:lnTo>
                      <a:pt x="68" y="204"/>
                    </a:lnTo>
                    <a:lnTo>
                      <a:pt x="80" y="206"/>
                    </a:lnTo>
                    <a:lnTo>
                      <a:pt x="83" y="208"/>
                    </a:lnTo>
                    <a:lnTo>
                      <a:pt x="87" y="211"/>
                    </a:lnTo>
                    <a:lnTo>
                      <a:pt x="90" y="213"/>
                    </a:lnTo>
                    <a:lnTo>
                      <a:pt x="92" y="218"/>
                    </a:lnTo>
                    <a:lnTo>
                      <a:pt x="92" y="227"/>
                    </a:lnTo>
                    <a:lnTo>
                      <a:pt x="94" y="232"/>
                    </a:lnTo>
                    <a:lnTo>
                      <a:pt x="106" y="241"/>
                    </a:lnTo>
                    <a:lnTo>
                      <a:pt x="106" y="251"/>
                    </a:lnTo>
                    <a:lnTo>
                      <a:pt x="125" y="260"/>
                    </a:lnTo>
                    <a:lnTo>
                      <a:pt x="127" y="258"/>
                    </a:lnTo>
                    <a:lnTo>
                      <a:pt x="130" y="253"/>
                    </a:lnTo>
                    <a:lnTo>
                      <a:pt x="132" y="251"/>
                    </a:lnTo>
                    <a:lnTo>
                      <a:pt x="137" y="251"/>
                    </a:lnTo>
                    <a:lnTo>
                      <a:pt x="142" y="253"/>
                    </a:lnTo>
                    <a:lnTo>
                      <a:pt x="142" y="256"/>
                    </a:lnTo>
                    <a:lnTo>
                      <a:pt x="146" y="258"/>
                    </a:lnTo>
                    <a:lnTo>
                      <a:pt x="149" y="258"/>
                    </a:lnTo>
                    <a:lnTo>
                      <a:pt x="156" y="253"/>
                    </a:lnTo>
                    <a:lnTo>
                      <a:pt x="156" y="251"/>
                    </a:lnTo>
                    <a:lnTo>
                      <a:pt x="161" y="246"/>
                    </a:lnTo>
                    <a:lnTo>
                      <a:pt x="163" y="249"/>
                    </a:lnTo>
                    <a:lnTo>
                      <a:pt x="168" y="251"/>
                    </a:lnTo>
                    <a:lnTo>
                      <a:pt x="170" y="258"/>
                    </a:lnTo>
                    <a:lnTo>
                      <a:pt x="172" y="263"/>
                    </a:lnTo>
                    <a:lnTo>
                      <a:pt x="177" y="267"/>
                    </a:lnTo>
                    <a:lnTo>
                      <a:pt x="182" y="270"/>
                    </a:lnTo>
                    <a:lnTo>
                      <a:pt x="184" y="272"/>
                    </a:lnTo>
                    <a:lnTo>
                      <a:pt x="187" y="272"/>
                    </a:lnTo>
                    <a:lnTo>
                      <a:pt x="189" y="282"/>
                    </a:lnTo>
                    <a:lnTo>
                      <a:pt x="196" y="282"/>
                    </a:lnTo>
                    <a:lnTo>
                      <a:pt x="203" y="275"/>
                    </a:lnTo>
                    <a:lnTo>
                      <a:pt x="208" y="275"/>
                    </a:lnTo>
                    <a:lnTo>
                      <a:pt x="210" y="277"/>
                    </a:lnTo>
                    <a:lnTo>
                      <a:pt x="215" y="279"/>
                    </a:lnTo>
                    <a:lnTo>
                      <a:pt x="220" y="279"/>
                    </a:lnTo>
                    <a:lnTo>
                      <a:pt x="220" y="277"/>
                    </a:lnTo>
                    <a:lnTo>
                      <a:pt x="222" y="275"/>
                    </a:lnTo>
                    <a:lnTo>
                      <a:pt x="224" y="275"/>
                    </a:lnTo>
                    <a:lnTo>
                      <a:pt x="236" y="286"/>
                    </a:lnTo>
                    <a:lnTo>
                      <a:pt x="243" y="277"/>
                    </a:lnTo>
                    <a:lnTo>
                      <a:pt x="253" y="277"/>
                    </a:lnTo>
                    <a:lnTo>
                      <a:pt x="257" y="272"/>
                    </a:lnTo>
                    <a:lnTo>
                      <a:pt x="262" y="272"/>
                    </a:lnTo>
                    <a:lnTo>
                      <a:pt x="262" y="275"/>
                    </a:lnTo>
                    <a:lnTo>
                      <a:pt x="265" y="277"/>
                    </a:lnTo>
                    <a:lnTo>
                      <a:pt x="274" y="277"/>
                    </a:lnTo>
                    <a:lnTo>
                      <a:pt x="281" y="270"/>
                    </a:lnTo>
                    <a:lnTo>
                      <a:pt x="281" y="267"/>
                    </a:lnTo>
                    <a:lnTo>
                      <a:pt x="283" y="265"/>
                    </a:lnTo>
                    <a:lnTo>
                      <a:pt x="283" y="263"/>
                    </a:lnTo>
                    <a:lnTo>
                      <a:pt x="288" y="263"/>
                    </a:lnTo>
                    <a:lnTo>
                      <a:pt x="295" y="251"/>
                    </a:lnTo>
                    <a:lnTo>
                      <a:pt x="333" y="251"/>
                    </a:lnTo>
                    <a:lnTo>
                      <a:pt x="342" y="246"/>
                    </a:lnTo>
                    <a:lnTo>
                      <a:pt x="340" y="239"/>
                    </a:lnTo>
                    <a:lnTo>
                      <a:pt x="340" y="232"/>
                    </a:lnTo>
                    <a:lnTo>
                      <a:pt x="338" y="227"/>
                    </a:lnTo>
                    <a:lnTo>
                      <a:pt x="335" y="225"/>
                    </a:lnTo>
                    <a:lnTo>
                      <a:pt x="328" y="225"/>
                    </a:lnTo>
                    <a:lnTo>
                      <a:pt x="324" y="223"/>
                    </a:lnTo>
                    <a:lnTo>
                      <a:pt x="316" y="208"/>
                    </a:lnTo>
                    <a:lnTo>
                      <a:pt x="316" y="201"/>
                    </a:lnTo>
                    <a:lnTo>
                      <a:pt x="312" y="199"/>
                    </a:lnTo>
                    <a:lnTo>
                      <a:pt x="312" y="185"/>
                    </a:lnTo>
                    <a:lnTo>
                      <a:pt x="305" y="185"/>
                    </a:lnTo>
                    <a:lnTo>
                      <a:pt x="302" y="175"/>
                    </a:lnTo>
                    <a:lnTo>
                      <a:pt x="293" y="175"/>
                    </a:lnTo>
                    <a:lnTo>
                      <a:pt x="291" y="168"/>
                    </a:lnTo>
                    <a:lnTo>
                      <a:pt x="291" y="161"/>
                    </a:lnTo>
                    <a:lnTo>
                      <a:pt x="286" y="159"/>
                    </a:lnTo>
                    <a:lnTo>
                      <a:pt x="283" y="154"/>
                    </a:lnTo>
                    <a:lnTo>
                      <a:pt x="279" y="152"/>
                    </a:lnTo>
                    <a:lnTo>
                      <a:pt x="276" y="149"/>
                    </a:lnTo>
                    <a:lnTo>
                      <a:pt x="267" y="149"/>
                    </a:lnTo>
                    <a:lnTo>
                      <a:pt x="262" y="147"/>
                    </a:lnTo>
                    <a:lnTo>
                      <a:pt x="260" y="147"/>
                    </a:lnTo>
                    <a:lnTo>
                      <a:pt x="260" y="142"/>
                    </a:lnTo>
                    <a:lnTo>
                      <a:pt x="262" y="138"/>
                    </a:lnTo>
                    <a:lnTo>
                      <a:pt x="265" y="135"/>
                    </a:lnTo>
                    <a:lnTo>
                      <a:pt x="262" y="126"/>
                    </a:lnTo>
                    <a:lnTo>
                      <a:pt x="276" y="126"/>
                    </a:lnTo>
                    <a:lnTo>
                      <a:pt x="279" y="128"/>
                    </a:lnTo>
                    <a:lnTo>
                      <a:pt x="281" y="126"/>
                    </a:lnTo>
                    <a:lnTo>
                      <a:pt x="286" y="126"/>
                    </a:lnTo>
                    <a:lnTo>
                      <a:pt x="288" y="123"/>
                    </a:lnTo>
                    <a:lnTo>
                      <a:pt x="288" y="119"/>
                    </a:lnTo>
                    <a:lnTo>
                      <a:pt x="291" y="114"/>
                    </a:lnTo>
                    <a:lnTo>
                      <a:pt x="291" y="100"/>
                    </a:lnTo>
                    <a:lnTo>
                      <a:pt x="288" y="97"/>
                    </a:lnTo>
                    <a:lnTo>
                      <a:pt x="288" y="93"/>
                    </a:lnTo>
                    <a:lnTo>
                      <a:pt x="286" y="88"/>
                    </a:lnTo>
                    <a:lnTo>
                      <a:pt x="286" y="83"/>
                    </a:lnTo>
                    <a:lnTo>
                      <a:pt x="288" y="78"/>
                    </a:lnTo>
                    <a:lnTo>
                      <a:pt x="291" y="76"/>
                    </a:lnTo>
                    <a:lnTo>
                      <a:pt x="288" y="71"/>
                    </a:lnTo>
                    <a:lnTo>
                      <a:pt x="286" y="67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71" name="Newfoundland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2751138" y="2414590"/>
                <a:ext cx="171450" cy="155575"/>
              </a:xfrm>
              <a:custGeom>
                <a:avLst/>
                <a:gdLst>
                  <a:gd name="T0" fmla="*/ 2147483647 w 426"/>
                  <a:gd name="T1" fmla="*/ 2147483647 h 384"/>
                  <a:gd name="T2" fmla="*/ 2147483647 w 426"/>
                  <a:gd name="T3" fmla="*/ 2147483647 h 384"/>
                  <a:gd name="T4" fmla="*/ 2147483647 w 426"/>
                  <a:gd name="T5" fmla="*/ 0 h 384"/>
                  <a:gd name="T6" fmla="*/ 2147483647 w 426"/>
                  <a:gd name="T7" fmla="*/ 2147483647 h 384"/>
                  <a:gd name="T8" fmla="*/ 2147483647 w 426"/>
                  <a:gd name="T9" fmla="*/ 2147483647 h 384"/>
                  <a:gd name="T10" fmla="*/ 2147483647 w 426"/>
                  <a:gd name="T11" fmla="*/ 2147483647 h 384"/>
                  <a:gd name="T12" fmla="*/ 2147483647 w 426"/>
                  <a:gd name="T13" fmla="*/ 2147483647 h 384"/>
                  <a:gd name="T14" fmla="*/ 2147483647 w 426"/>
                  <a:gd name="T15" fmla="*/ 2147483647 h 384"/>
                  <a:gd name="T16" fmla="*/ 2147483647 w 426"/>
                  <a:gd name="T17" fmla="*/ 2147483647 h 384"/>
                  <a:gd name="T18" fmla="*/ 2147483647 w 426"/>
                  <a:gd name="T19" fmla="*/ 2147483647 h 384"/>
                  <a:gd name="T20" fmla="*/ 2147483647 w 426"/>
                  <a:gd name="T21" fmla="*/ 2147483647 h 384"/>
                  <a:gd name="T22" fmla="*/ 2147483647 w 426"/>
                  <a:gd name="T23" fmla="*/ 2147483647 h 384"/>
                  <a:gd name="T24" fmla="*/ 2147483647 w 426"/>
                  <a:gd name="T25" fmla="*/ 2147483647 h 384"/>
                  <a:gd name="T26" fmla="*/ 2147483647 w 426"/>
                  <a:gd name="T27" fmla="*/ 2147483647 h 384"/>
                  <a:gd name="T28" fmla="*/ 2147483647 w 426"/>
                  <a:gd name="T29" fmla="*/ 2147483647 h 384"/>
                  <a:gd name="T30" fmla="*/ 2147483647 w 426"/>
                  <a:gd name="T31" fmla="*/ 2147483647 h 384"/>
                  <a:gd name="T32" fmla="*/ 2147483647 w 426"/>
                  <a:gd name="T33" fmla="*/ 2147483647 h 384"/>
                  <a:gd name="T34" fmla="*/ 2147483647 w 426"/>
                  <a:gd name="T35" fmla="*/ 2147483647 h 384"/>
                  <a:gd name="T36" fmla="*/ 2147483647 w 426"/>
                  <a:gd name="T37" fmla="*/ 2147483647 h 384"/>
                  <a:gd name="T38" fmla="*/ 2147483647 w 426"/>
                  <a:gd name="T39" fmla="*/ 2147483647 h 384"/>
                  <a:gd name="T40" fmla="*/ 2147483647 w 426"/>
                  <a:gd name="T41" fmla="*/ 2147483647 h 384"/>
                  <a:gd name="T42" fmla="*/ 2147483647 w 426"/>
                  <a:gd name="T43" fmla="*/ 2147483647 h 384"/>
                  <a:gd name="T44" fmla="*/ 2147483647 w 426"/>
                  <a:gd name="T45" fmla="*/ 2147483647 h 384"/>
                  <a:gd name="T46" fmla="*/ 2147483647 w 426"/>
                  <a:gd name="T47" fmla="*/ 2147483647 h 384"/>
                  <a:gd name="T48" fmla="*/ 2147483647 w 426"/>
                  <a:gd name="T49" fmla="*/ 2147483647 h 384"/>
                  <a:gd name="T50" fmla="*/ 2147483647 w 426"/>
                  <a:gd name="T51" fmla="*/ 2147483647 h 384"/>
                  <a:gd name="T52" fmla="*/ 2147483647 w 426"/>
                  <a:gd name="T53" fmla="*/ 2147483647 h 384"/>
                  <a:gd name="T54" fmla="*/ 2147483647 w 426"/>
                  <a:gd name="T55" fmla="*/ 2147483647 h 384"/>
                  <a:gd name="T56" fmla="*/ 2147483647 w 426"/>
                  <a:gd name="T57" fmla="*/ 2147483647 h 384"/>
                  <a:gd name="T58" fmla="*/ 2147483647 w 426"/>
                  <a:gd name="T59" fmla="*/ 2147483647 h 384"/>
                  <a:gd name="T60" fmla="*/ 2147483647 w 426"/>
                  <a:gd name="T61" fmla="*/ 2147483647 h 384"/>
                  <a:gd name="T62" fmla="*/ 2147483647 w 426"/>
                  <a:gd name="T63" fmla="*/ 2147483647 h 384"/>
                  <a:gd name="T64" fmla="*/ 2147483647 w 426"/>
                  <a:gd name="T65" fmla="*/ 2147483647 h 384"/>
                  <a:gd name="T66" fmla="*/ 2147483647 w 426"/>
                  <a:gd name="T67" fmla="*/ 2147483647 h 384"/>
                  <a:gd name="T68" fmla="*/ 2147483647 w 426"/>
                  <a:gd name="T69" fmla="*/ 2147483647 h 384"/>
                  <a:gd name="T70" fmla="*/ 2147483647 w 426"/>
                  <a:gd name="T71" fmla="*/ 2147483647 h 384"/>
                  <a:gd name="T72" fmla="*/ 2147483647 w 426"/>
                  <a:gd name="T73" fmla="*/ 2147483647 h 384"/>
                  <a:gd name="T74" fmla="*/ 2147483647 w 426"/>
                  <a:gd name="T75" fmla="*/ 2147483647 h 384"/>
                  <a:gd name="T76" fmla="*/ 2147483647 w 426"/>
                  <a:gd name="T77" fmla="*/ 2147483647 h 384"/>
                  <a:gd name="T78" fmla="*/ 2147483647 w 426"/>
                  <a:gd name="T79" fmla="*/ 2147483647 h 384"/>
                  <a:gd name="T80" fmla="*/ 2147483647 w 426"/>
                  <a:gd name="T81" fmla="*/ 2147483647 h 384"/>
                  <a:gd name="T82" fmla="*/ 2147483647 w 426"/>
                  <a:gd name="T83" fmla="*/ 2147483647 h 38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26"/>
                  <a:gd name="T127" fmla="*/ 0 h 384"/>
                  <a:gd name="T128" fmla="*/ 426 w 426"/>
                  <a:gd name="T129" fmla="*/ 384 h 38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26" h="384">
                    <a:moveTo>
                      <a:pt x="258" y="18"/>
                    </a:moveTo>
                    <a:lnTo>
                      <a:pt x="270" y="12"/>
                    </a:lnTo>
                    <a:lnTo>
                      <a:pt x="276" y="12"/>
                    </a:lnTo>
                    <a:lnTo>
                      <a:pt x="294" y="6"/>
                    </a:lnTo>
                    <a:lnTo>
                      <a:pt x="306" y="0"/>
                    </a:lnTo>
                    <a:lnTo>
                      <a:pt x="330" y="0"/>
                    </a:lnTo>
                    <a:lnTo>
                      <a:pt x="342" y="6"/>
                    </a:lnTo>
                    <a:lnTo>
                      <a:pt x="342" y="18"/>
                    </a:lnTo>
                    <a:lnTo>
                      <a:pt x="336" y="24"/>
                    </a:lnTo>
                    <a:lnTo>
                      <a:pt x="312" y="42"/>
                    </a:lnTo>
                    <a:lnTo>
                      <a:pt x="312" y="48"/>
                    </a:lnTo>
                    <a:lnTo>
                      <a:pt x="306" y="54"/>
                    </a:lnTo>
                    <a:lnTo>
                      <a:pt x="300" y="72"/>
                    </a:lnTo>
                    <a:lnTo>
                      <a:pt x="276" y="96"/>
                    </a:lnTo>
                    <a:lnTo>
                      <a:pt x="258" y="102"/>
                    </a:lnTo>
                    <a:lnTo>
                      <a:pt x="246" y="102"/>
                    </a:lnTo>
                    <a:lnTo>
                      <a:pt x="210" y="150"/>
                    </a:lnTo>
                    <a:lnTo>
                      <a:pt x="210" y="174"/>
                    </a:lnTo>
                    <a:lnTo>
                      <a:pt x="234" y="156"/>
                    </a:lnTo>
                    <a:lnTo>
                      <a:pt x="264" y="108"/>
                    </a:lnTo>
                    <a:lnTo>
                      <a:pt x="282" y="126"/>
                    </a:lnTo>
                    <a:lnTo>
                      <a:pt x="306" y="138"/>
                    </a:lnTo>
                    <a:lnTo>
                      <a:pt x="294" y="168"/>
                    </a:lnTo>
                    <a:lnTo>
                      <a:pt x="324" y="168"/>
                    </a:lnTo>
                    <a:lnTo>
                      <a:pt x="330" y="192"/>
                    </a:lnTo>
                    <a:lnTo>
                      <a:pt x="384" y="162"/>
                    </a:lnTo>
                    <a:lnTo>
                      <a:pt x="402" y="174"/>
                    </a:lnTo>
                    <a:lnTo>
                      <a:pt x="396" y="180"/>
                    </a:lnTo>
                    <a:lnTo>
                      <a:pt x="390" y="192"/>
                    </a:lnTo>
                    <a:lnTo>
                      <a:pt x="378" y="204"/>
                    </a:lnTo>
                    <a:lnTo>
                      <a:pt x="372" y="204"/>
                    </a:lnTo>
                    <a:lnTo>
                      <a:pt x="384" y="204"/>
                    </a:lnTo>
                    <a:lnTo>
                      <a:pt x="396" y="210"/>
                    </a:lnTo>
                    <a:lnTo>
                      <a:pt x="408" y="210"/>
                    </a:lnTo>
                    <a:lnTo>
                      <a:pt x="408" y="216"/>
                    </a:lnTo>
                    <a:lnTo>
                      <a:pt x="396" y="240"/>
                    </a:lnTo>
                    <a:lnTo>
                      <a:pt x="384" y="252"/>
                    </a:lnTo>
                    <a:lnTo>
                      <a:pt x="378" y="264"/>
                    </a:lnTo>
                    <a:lnTo>
                      <a:pt x="366" y="276"/>
                    </a:lnTo>
                    <a:lnTo>
                      <a:pt x="360" y="288"/>
                    </a:lnTo>
                    <a:lnTo>
                      <a:pt x="354" y="294"/>
                    </a:lnTo>
                    <a:lnTo>
                      <a:pt x="390" y="294"/>
                    </a:lnTo>
                    <a:lnTo>
                      <a:pt x="354" y="312"/>
                    </a:lnTo>
                    <a:lnTo>
                      <a:pt x="384" y="312"/>
                    </a:lnTo>
                    <a:lnTo>
                      <a:pt x="420" y="300"/>
                    </a:lnTo>
                    <a:lnTo>
                      <a:pt x="426" y="324"/>
                    </a:lnTo>
                    <a:lnTo>
                      <a:pt x="360" y="384"/>
                    </a:lnTo>
                    <a:lnTo>
                      <a:pt x="318" y="378"/>
                    </a:lnTo>
                    <a:lnTo>
                      <a:pt x="336" y="354"/>
                    </a:lnTo>
                    <a:lnTo>
                      <a:pt x="306" y="360"/>
                    </a:lnTo>
                    <a:lnTo>
                      <a:pt x="300" y="348"/>
                    </a:lnTo>
                    <a:lnTo>
                      <a:pt x="228" y="360"/>
                    </a:lnTo>
                    <a:lnTo>
                      <a:pt x="192" y="354"/>
                    </a:lnTo>
                    <a:lnTo>
                      <a:pt x="186" y="348"/>
                    </a:lnTo>
                    <a:lnTo>
                      <a:pt x="228" y="336"/>
                    </a:lnTo>
                    <a:lnTo>
                      <a:pt x="234" y="330"/>
                    </a:lnTo>
                    <a:lnTo>
                      <a:pt x="234" y="324"/>
                    </a:lnTo>
                    <a:lnTo>
                      <a:pt x="228" y="324"/>
                    </a:lnTo>
                    <a:lnTo>
                      <a:pt x="222" y="318"/>
                    </a:lnTo>
                    <a:lnTo>
                      <a:pt x="198" y="318"/>
                    </a:lnTo>
                    <a:lnTo>
                      <a:pt x="162" y="312"/>
                    </a:lnTo>
                    <a:lnTo>
                      <a:pt x="126" y="300"/>
                    </a:lnTo>
                    <a:lnTo>
                      <a:pt x="96" y="294"/>
                    </a:lnTo>
                    <a:lnTo>
                      <a:pt x="78" y="294"/>
                    </a:lnTo>
                    <a:lnTo>
                      <a:pt x="72" y="300"/>
                    </a:lnTo>
                    <a:lnTo>
                      <a:pt x="48" y="300"/>
                    </a:lnTo>
                    <a:lnTo>
                      <a:pt x="36" y="306"/>
                    </a:lnTo>
                    <a:lnTo>
                      <a:pt x="24" y="306"/>
                    </a:lnTo>
                    <a:lnTo>
                      <a:pt x="12" y="300"/>
                    </a:lnTo>
                    <a:lnTo>
                      <a:pt x="6" y="294"/>
                    </a:lnTo>
                    <a:lnTo>
                      <a:pt x="18" y="282"/>
                    </a:lnTo>
                    <a:lnTo>
                      <a:pt x="24" y="282"/>
                    </a:lnTo>
                    <a:lnTo>
                      <a:pt x="30" y="276"/>
                    </a:lnTo>
                    <a:lnTo>
                      <a:pt x="42" y="276"/>
                    </a:lnTo>
                    <a:lnTo>
                      <a:pt x="30" y="276"/>
                    </a:lnTo>
                    <a:lnTo>
                      <a:pt x="12" y="270"/>
                    </a:lnTo>
                    <a:lnTo>
                      <a:pt x="0" y="258"/>
                    </a:lnTo>
                    <a:lnTo>
                      <a:pt x="6" y="252"/>
                    </a:lnTo>
                    <a:lnTo>
                      <a:pt x="18" y="252"/>
                    </a:lnTo>
                    <a:lnTo>
                      <a:pt x="54" y="234"/>
                    </a:lnTo>
                    <a:lnTo>
                      <a:pt x="60" y="228"/>
                    </a:lnTo>
                    <a:lnTo>
                      <a:pt x="66" y="228"/>
                    </a:lnTo>
                    <a:lnTo>
                      <a:pt x="204" y="90"/>
                    </a:lnTo>
                    <a:lnTo>
                      <a:pt x="258" y="18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72" name="Guinea-Bissau"/>
              <p:cNvSpPr>
                <a:spLocks/>
              </p:cNvSpPr>
              <p:nvPr/>
            </p:nvSpPr>
            <p:spPr bwMode="gray">
              <a:xfrm>
                <a:off x="3752856" y="3663954"/>
                <a:ext cx="74613" cy="61913"/>
              </a:xfrm>
              <a:custGeom>
                <a:avLst/>
                <a:gdLst>
                  <a:gd name="T0" fmla="*/ 2147483647 w 186"/>
                  <a:gd name="T1" fmla="*/ 2147483647 h 156"/>
                  <a:gd name="T2" fmla="*/ 2147483647 w 186"/>
                  <a:gd name="T3" fmla="*/ 2147483647 h 156"/>
                  <a:gd name="T4" fmla="*/ 2147483647 w 186"/>
                  <a:gd name="T5" fmla="*/ 2147483647 h 156"/>
                  <a:gd name="T6" fmla="*/ 2147483647 w 186"/>
                  <a:gd name="T7" fmla="*/ 2147483647 h 156"/>
                  <a:gd name="T8" fmla="*/ 2147483647 w 186"/>
                  <a:gd name="T9" fmla="*/ 2147483647 h 156"/>
                  <a:gd name="T10" fmla="*/ 2147483647 w 186"/>
                  <a:gd name="T11" fmla="*/ 2147483647 h 156"/>
                  <a:gd name="T12" fmla="*/ 2147483647 w 186"/>
                  <a:gd name="T13" fmla="*/ 2147483647 h 156"/>
                  <a:gd name="T14" fmla="*/ 2147483647 w 186"/>
                  <a:gd name="T15" fmla="*/ 2147483647 h 156"/>
                  <a:gd name="T16" fmla="*/ 2147483647 w 186"/>
                  <a:gd name="T17" fmla="*/ 2147483647 h 156"/>
                  <a:gd name="T18" fmla="*/ 2147483647 w 186"/>
                  <a:gd name="T19" fmla="*/ 2147483647 h 156"/>
                  <a:gd name="T20" fmla="*/ 2147483647 w 186"/>
                  <a:gd name="T21" fmla="*/ 2147483647 h 156"/>
                  <a:gd name="T22" fmla="*/ 2147483647 w 186"/>
                  <a:gd name="T23" fmla="*/ 2147483647 h 156"/>
                  <a:gd name="T24" fmla="*/ 2147483647 w 186"/>
                  <a:gd name="T25" fmla="*/ 2147483647 h 156"/>
                  <a:gd name="T26" fmla="*/ 2147483647 w 186"/>
                  <a:gd name="T27" fmla="*/ 2147483647 h 156"/>
                  <a:gd name="T28" fmla="*/ 2147483647 w 186"/>
                  <a:gd name="T29" fmla="*/ 0 h 156"/>
                  <a:gd name="T30" fmla="*/ 2147483647 w 186"/>
                  <a:gd name="T31" fmla="*/ 2147483647 h 156"/>
                  <a:gd name="T32" fmla="*/ 2147483647 w 186"/>
                  <a:gd name="T33" fmla="*/ 2147483647 h 156"/>
                  <a:gd name="T34" fmla="*/ 2147483647 w 186"/>
                  <a:gd name="T35" fmla="*/ 2147483647 h 156"/>
                  <a:gd name="T36" fmla="*/ 0 w 186"/>
                  <a:gd name="T37" fmla="*/ 2147483647 h 156"/>
                  <a:gd name="T38" fmla="*/ 2147483647 w 186"/>
                  <a:gd name="T39" fmla="*/ 2147483647 h 156"/>
                  <a:gd name="T40" fmla="*/ 2147483647 w 186"/>
                  <a:gd name="T41" fmla="*/ 2147483647 h 156"/>
                  <a:gd name="T42" fmla="*/ 2147483647 w 186"/>
                  <a:gd name="T43" fmla="*/ 2147483647 h 156"/>
                  <a:gd name="T44" fmla="*/ 2147483647 w 186"/>
                  <a:gd name="T45" fmla="*/ 2147483647 h 156"/>
                  <a:gd name="T46" fmla="*/ 2147483647 w 186"/>
                  <a:gd name="T47" fmla="*/ 2147483647 h 156"/>
                  <a:gd name="T48" fmla="*/ 2147483647 w 186"/>
                  <a:gd name="T49" fmla="*/ 2147483647 h 156"/>
                  <a:gd name="T50" fmla="*/ 2147483647 w 186"/>
                  <a:gd name="T51" fmla="*/ 2147483647 h 156"/>
                  <a:gd name="T52" fmla="*/ 2147483647 w 186"/>
                  <a:gd name="T53" fmla="*/ 2147483647 h 156"/>
                  <a:gd name="T54" fmla="*/ 2147483647 w 186"/>
                  <a:gd name="T55" fmla="*/ 2147483647 h 156"/>
                  <a:gd name="T56" fmla="*/ 2147483647 w 186"/>
                  <a:gd name="T57" fmla="*/ 2147483647 h 156"/>
                  <a:gd name="T58" fmla="*/ 2147483647 w 186"/>
                  <a:gd name="T59" fmla="*/ 2147483647 h 156"/>
                  <a:gd name="T60" fmla="*/ 2147483647 w 186"/>
                  <a:gd name="T61" fmla="*/ 2147483647 h 156"/>
                  <a:gd name="T62" fmla="*/ 2147483647 w 186"/>
                  <a:gd name="T63" fmla="*/ 2147483647 h 156"/>
                  <a:gd name="T64" fmla="*/ 2147483647 w 186"/>
                  <a:gd name="T65" fmla="*/ 2147483647 h 156"/>
                  <a:gd name="T66" fmla="*/ 2147483647 w 186"/>
                  <a:gd name="T67" fmla="*/ 2147483647 h 156"/>
                  <a:gd name="T68" fmla="*/ 2147483647 w 186"/>
                  <a:gd name="T69" fmla="*/ 2147483647 h 156"/>
                  <a:gd name="T70" fmla="*/ 2147483647 w 186"/>
                  <a:gd name="T71" fmla="*/ 2147483647 h 156"/>
                  <a:gd name="T72" fmla="*/ 2147483647 w 186"/>
                  <a:gd name="T73" fmla="*/ 2147483647 h 15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86"/>
                  <a:gd name="T112" fmla="*/ 0 h 156"/>
                  <a:gd name="T113" fmla="*/ 186 w 186"/>
                  <a:gd name="T114" fmla="*/ 156 h 15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86" h="156">
                    <a:moveTo>
                      <a:pt x="126" y="102"/>
                    </a:moveTo>
                    <a:lnTo>
                      <a:pt x="132" y="96"/>
                    </a:lnTo>
                    <a:lnTo>
                      <a:pt x="144" y="90"/>
                    </a:lnTo>
                    <a:lnTo>
                      <a:pt x="174" y="90"/>
                    </a:lnTo>
                    <a:lnTo>
                      <a:pt x="180" y="84"/>
                    </a:lnTo>
                    <a:lnTo>
                      <a:pt x="186" y="72"/>
                    </a:lnTo>
                    <a:lnTo>
                      <a:pt x="186" y="66"/>
                    </a:lnTo>
                    <a:lnTo>
                      <a:pt x="180" y="60"/>
                    </a:lnTo>
                    <a:lnTo>
                      <a:pt x="168" y="54"/>
                    </a:lnTo>
                    <a:lnTo>
                      <a:pt x="162" y="48"/>
                    </a:lnTo>
                    <a:lnTo>
                      <a:pt x="162" y="36"/>
                    </a:lnTo>
                    <a:lnTo>
                      <a:pt x="168" y="30"/>
                    </a:lnTo>
                    <a:lnTo>
                      <a:pt x="186" y="30"/>
                    </a:lnTo>
                    <a:lnTo>
                      <a:pt x="186" y="6"/>
                    </a:lnTo>
                    <a:lnTo>
                      <a:pt x="84" y="0"/>
                    </a:lnTo>
                    <a:lnTo>
                      <a:pt x="54" y="24"/>
                    </a:lnTo>
                    <a:lnTo>
                      <a:pt x="18" y="24"/>
                    </a:lnTo>
                    <a:lnTo>
                      <a:pt x="6" y="36"/>
                    </a:lnTo>
                    <a:lnTo>
                      <a:pt x="0" y="72"/>
                    </a:lnTo>
                    <a:lnTo>
                      <a:pt x="6" y="78"/>
                    </a:lnTo>
                    <a:lnTo>
                      <a:pt x="18" y="78"/>
                    </a:lnTo>
                    <a:lnTo>
                      <a:pt x="42" y="66"/>
                    </a:lnTo>
                    <a:lnTo>
                      <a:pt x="66" y="66"/>
                    </a:lnTo>
                    <a:lnTo>
                      <a:pt x="90" y="60"/>
                    </a:lnTo>
                    <a:lnTo>
                      <a:pt x="90" y="84"/>
                    </a:lnTo>
                    <a:lnTo>
                      <a:pt x="78" y="78"/>
                    </a:lnTo>
                    <a:lnTo>
                      <a:pt x="72" y="78"/>
                    </a:lnTo>
                    <a:lnTo>
                      <a:pt x="66" y="72"/>
                    </a:lnTo>
                    <a:lnTo>
                      <a:pt x="54" y="72"/>
                    </a:lnTo>
                    <a:lnTo>
                      <a:pt x="54" y="96"/>
                    </a:lnTo>
                    <a:lnTo>
                      <a:pt x="60" y="102"/>
                    </a:lnTo>
                    <a:lnTo>
                      <a:pt x="90" y="96"/>
                    </a:lnTo>
                    <a:lnTo>
                      <a:pt x="54" y="114"/>
                    </a:lnTo>
                    <a:lnTo>
                      <a:pt x="84" y="156"/>
                    </a:lnTo>
                    <a:lnTo>
                      <a:pt x="90" y="132"/>
                    </a:lnTo>
                    <a:lnTo>
                      <a:pt x="108" y="102"/>
                    </a:lnTo>
                    <a:lnTo>
                      <a:pt x="126" y="102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73" name="The Gambia"/>
              <p:cNvSpPr>
                <a:spLocks/>
              </p:cNvSpPr>
              <p:nvPr/>
            </p:nvSpPr>
            <p:spPr bwMode="gray">
              <a:xfrm>
                <a:off x="3738569" y="3630615"/>
                <a:ext cx="87313" cy="20639"/>
              </a:xfrm>
              <a:custGeom>
                <a:avLst/>
                <a:gdLst>
                  <a:gd name="T0" fmla="*/ 2147483647 w 216"/>
                  <a:gd name="T1" fmla="*/ 2147483647 h 54"/>
                  <a:gd name="T2" fmla="*/ 2147483647 w 216"/>
                  <a:gd name="T3" fmla="*/ 2147483647 h 54"/>
                  <a:gd name="T4" fmla="*/ 2147483647 w 216"/>
                  <a:gd name="T5" fmla="*/ 2147483647 h 54"/>
                  <a:gd name="T6" fmla="*/ 2147483647 w 216"/>
                  <a:gd name="T7" fmla="*/ 2147483647 h 54"/>
                  <a:gd name="T8" fmla="*/ 0 w 216"/>
                  <a:gd name="T9" fmla="*/ 2147483647 h 54"/>
                  <a:gd name="T10" fmla="*/ 0 w 216"/>
                  <a:gd name="T11" fmla="*/ 2147483647 h 54"/>
                  <a:gd name="T12" fmla="*/ 2147483647 w 216"/>
                  <a:gd name="T13" fmla="*/ 2147483647 h 54"/>
                  <a:gd name="T14" fmla="*/ 2147483647 w 216"/>
                  <a:gd name="T15" fmla="*/ 2147483647 h 54"/>
                  <a:gd name="T16" fmla="*/ 2147483647 w 216"/>
                  <a:gd name="T17" fmla="*/ 2147483647 h 54"/>
                  <a:gd name="T18" fmla="*/ 2147483647 w 216"/>
                  <a:gd name="T19" fmla="*/ 2147483647 h 54"/>
                  <a:gd name="T20" fmla="*/ 2147483647 w 216"/>
                  <a:gd name="T21" fmla="*/ 2147483647 h 54"/>
                  <a:gd name="T22" fmla="*/ 2147483647 w 216"/>
                  <a:gd name="T23" fmla="*/ 2147483647 h 54"/>
                  <a:gd name="T24" fmla="*/ 2147483647 w 216"/>
                  <a:gd name="T25" fmla="*/ 2147483647 h 54"/>
                  <a:gd name="T26" fmla="*/ 2147483647 w 216"/>
                  <a:gd name="T27" fmla="*/ 2147483647 h 54"/>
                  <a:gd name="T28" fmla="*/ 2147483647 w 216"/>
                  <a:gd name="T29" fmla="*/ 2147483647 h 54"/>
                  <a:gd name="T30" fmla="*/ 2147483647 w 216"/>
                  <a:gd name="T31" fmla="*/ 2147483647 h 54"/>
                  <a:gd name="T32" fmla="*/ 2147483647 w 216"/>
                  <a:gd name="T33" fmla="*/ 2147483647 h 54"/>
                  <a:gd name="T34" fmla="*/ 2147483647 w 216"/>
                  <a:gd name="T35" fmla="*/ 2147483647 h 54"/>
                  <a:gd name="T36" fmla="*/ 2147483647 w 216"/>
                  <a:gd name="T37" fmla="*/ 2147483647 h 54"/>
                  <a:gd name="T38" fmla="*/ 2147483647 w 216"/>
                  <a:gd name="T39" fmla="*/ 2147483647 h 54"/>
                  <a:gd name="T40" fmla="*/ 2147483647 w 216"/>
                  <a:gd name="T41" fmla="*/ 2147483647 h 54"/>
                  <a:gd name="T42" fmla="*/ 2147483647 w 216"/>
                  <a:gd name="T43" fmla="*/ 2147483647 h 54"/>
                  <a:gd name="T44" fmla="*/ 2147483647 w 216"/>
                  <a:gd name="T45" fmla="*/ 2147483647 h 54"/>
                  <a:gd name="T46" fmla="*/ 2147483647 w 216"/>
                  <a:gd name="T47" fmla="*/ 2147483647 h 54"/>
                  <a:gd name="T48" fmla="*/ 2147483647 w 216"/>
                  <a:gd name="T49" fmla="*/ 2147483647 h 54"/>
                  <a:gd name="T50" fmla="*/ 2147483647 w 216"/>
                  <a:gd name="T51" fmla="*/ 2147483647 h 54"/>
                  <a:gd name="T52" fmla="*/ 2147483647 w 216"/>
                  <a:gd name="T53" fmla="*/ 2147483647 h 54"/>
                  <a:gd name="T54" fmla="*/ 2147483647 w 216"/>
                  <a:gd name="T55" fmla="*/ 2147483647 h 54"/>
                  <a:gd name="T56" fmla="*/ 2147483647 w 216"/>
                  <a:gd name="T57" fmla="*/ 2147483647 h 54"/>
                  <a:gd name="T58" fmla="*/ 2147483647 w 216"/>
                  <a:gd name="T59" fmla="*/ 0 h 54"/>
                  <a:gd name="T60" fmla="*/ 2147483647 w 216"/>
                  <a:gd name="T61" fmla="*/ 0 h 54"/>
                  <a:gd name="T62" fmla="*/ 2147483647 w 216"/>
                  <a:gd name="T63" fmla="*/ 2147483647 h 54"/>
                  <a:gd name="T64" fmla="*/ 2147483647 w 216"/>
                  <a:gd name="T65" fmla="*/ 2147483647 h 54"/>
                  <a:gd name="T66" fmla="*/ 2147483647 w 216"/>
                  <a:gd name="T67" fmla="*/ 2147483647 h 5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16"/>
                  <a:gd name="T103" fmla="*/ 0 h 54"/>
                  <a:gd name="T104" fmla="*/ 216 w 216"/>
                  <a:gd name="T105" fmla="*/ 54 h 5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16" h="54">
                    <a:moveTo>
                      <a:pt x="18" y="18"/>
                    </a:moveTo>
                    <a:lnTo>
                      <a:pt x="12" y="24"/>
                    </a:lnTo>
                    <a:lnTo>
                      <a:pt x="6" y="36"/>
                    </a:lnTo>
                    <a:lnTo>
                      <a:pt x="6" y="42"/>
                    </a:lnTo>
                    <a:lnTo>
                      <a:pt x="0" y="48"/>
                    </a:lnTo>
                    <a:lnTo>
                      <a:pt x="0" y="54"/>
                    </a:lnTo>
                    <a:lnTo>
                      <a:pt x="72" y="54"/>
                    </a:lnTo>
                    <a:lnTo>
                      <a:pt x="72" y="42"/>
                    </a:lnTo>
                    <a:lnTo>
                      <a:pt x="84" y="42"/>
                    </a:lnTo>
                    <a:lnTo>
                      <a:pt x="90" y="36"/>
                    </a:lnTo>
                    <a:lnTo>
                      <a:pt x="114" y="36"/>
                    </a:lnTo>
                    <a:lnTo>
                      <a:pt x="120" y="24"/>
                    </a:lnTo>
                    <a:lnTo>
                      <a:pt x="126" y="18"/>
                    </a:lnTo>
                    <a:lnTo>
                      <a:pt x="132" y="24"/>
                    </a:lnTo>
                    <a:lnTo>
                      <a:pt x="144" y="30"/>
                    </a:lnTo>
                    <a:lnTo>
                      <a:pt x="150" y="42"/>
                    </a:lnTo>
                    <a:lnTo>
                      <a:pt x="168" y="48"/>
                    </a:lnTo>
                    <a:lnTo>
                      <a:pt x="192" y="48"/>
                    </a:lnTo>
                    <a:lnTo>
                      <a:pt x="198" y="42"/>
                    </a:lnTo>
                    <a:lnTo>
                      <a:pt x="210" y="36"/>
                    </a:lnTo>
                    <a:lnTo>
                      <a:pt x="216" y="30"/>
                    </a:lnTo>
                    <a:lnTo>
                      <a:pt x="216" y="24"/>
                    </a:lnTo>
                    <a:lnTo>
                      <a:pt x="210" y="18"/>
                    </a:lnTo>
                    <a:lnTo>
                      <a:pt x="186" y="18"/>
                    </a:lnTo>
                    <a:lnTo>
                      <a:pt x="180" y="24"/>
                    </a:lnTo>
                    <a:lnTo>
                      <a:pt x="168" y="24"/>
                    </a:lnTo>
                    <a:lnTo>
                      <a:pt x="162" y="12"/>
                    </a:lnTo>
                    <a:lnTo>
                      <a:pt x="156" y="6"/>
                    </a:lnTo>
                    <a:lnTo>
                      <a:pt x="144" y="12"/>
                    </a:lnTo>
                    <a:lnTo>
                      <a:pt x="144" y="0"/>
                    </a:lnTo>
                    <a:lnTo>
                      <a:pt x="90" y="0"/>
                    </a:lnTo>
                    <a:lnTo>
                      <a:pt x="90" y="12"/>
                    </a:lnTo>
                    <a:lnTo>
                      <a:pt x="18" y="12"/>
                    </a:lnTo>
                    <a:lnTo>
                      <a:pt x="18" y="18"/>
                    </a:lnTo>
                    <a:close/>
                  </a:path>
                </a:pathLst>
              </a:custGeom>
              <a:gradFill>
                <a:gsLst>
                  <a:gs pos="0">
                    <a:srgbClr val="D1D1D1"/>
                  </a:gs>
                  <a:gs pos="100000">
                    <a:schemeClr val="bg1">
                      <a:lumMod val="65000"/>
                    </a:schemeClr>
                  </a:gs>
                </a:gsLst>
                <a:path path="circle">
                  <a:fillToRect r="100000" b="100000"/>
                </a:path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74" name="USA (Alaska)" descr="© INSCALE GmbH, 05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142876" y="1835151"/>
                <a:ext cx="1236663" cy="536575"/>
              </a:xfrm>
              <a:custGeom>
                <a:avLst/>
                <a:gdLst>
                  <a:gd name="T0" fmla="*/ 2147483647 w 3072"/>
                  <a:gd name="T1" fmla="*/ 2147483647 h 1332"/>
                  <a:gd name="T2" fmla="*/ 2147483647 w 3072"/>
                  <a:gd name="T3" fmla="*/ 2147483647 h 1332"/>
                  <a:gd name="T4" fmla="*/ 2147483647 w 3072"/>
                  <a:gd name="T5" fmla="*/ 2147483647 h 1332"/>
                  <a:gd name="T6" fmla="*/ 2147483647 w 3072"/>
                  <a:gd name="T7" fmla="*/ 2147483647 h 1332"/>
                  <a:gd name="T8" fmla="*/ 2147483647 w 3072"/>
                  <a:gd name="T9" fmla="*/ 2147483647 h 1332"/>
                  <a:gd name="T10" fmla="*/ 2147483647 w 3072"/>
                  <a:gd name="T11" fmla="*/ 2147483647 h 1332"/>
                  <a:gd name="T12" fmla="*/ 2147483647 w 3072"/>
                  <a:gd name="T13" fmla="*/ 2147483647 h 1332"/>
                  <a:gd name="T14" fmla="*/ 2147483647 w 3072"/>
                  <a:gd name="T15" fmla="*/ 2147483647 h 1332"/>
                  <a:gd name="T16" fmla="*/ 2147483647 w 3072"/>
                  <a:gd name="T17" fmla="*/ 2147483647 h 1332"/>
                  <a:gd name="T18" fmla="*/ 2147483647 w 3072"/>
                  <a:gd name="T19" fmla="*/ 2147483647 h 1332"/>
                  <a:gd name="T20" fmla="*/ 2147483647 w 3072"/>
                  <a:gd name="T21" fmla="*/ 2147483647 h 1332"/>
                  <a:gd name="T22" fmla="*/ 2147483647 w 3072"/>
                  <a:gd name="T23" fmla="*/ 0 h 1332"/>
                  <a:gd name="T24" fmla="*/ 2147483647 w 3072"/>
                  <a:gd name="T25" fmla="*/ 2147483647 h 1332"/>
                  <a:gd name="T26" fmla="*/ 2147483647 w 3072"/>
                  <a:gd name="T27" fmla="*/ 2147483647 h 1332"/>
                  <a:gd name="T28" fmla="*/ 2147483647 w 3072"/>
                  <a:gd name="T29" fmla="*/ 2147483647 h 1332"/>
                  <a:gd name="T30" fmla="*/ 2147483647 w 3072"/>
                  <a:gd name="T31" fmla="*/ 2147483647 h 1332"/>
                  <a:gd name="T32" fmla="*/ 2147483647 w 3072"/>
                  <a:gd name="T33" fmla="*/ 2147483647 h 1332"/>
                  <a:gd name="T34" fmla="*/ 2147483647 w 3072"/>
                  <a:gd name="T35" fmla="*/ 2147483647 h 1332"/>
                  <a:gd name="T36" fmla="*/ 2147483647 w 3072"/>
                  <a:gd name="T37" fmla="*/ 2147483647 h 1332"/>
                  <a:gd name="T38" fmla="*/ 2147483647 w 3072"/>
                  <a:gd name="T39" fmla="*/ 2147483647 h 1332"/>
                  <a:gd name="T40" fmla="*/ 2147483647 w 3072"/>
                  <a:gd name="T41" fmla="*/ 2147483647 h 1332"/>
                  <a:gd name="T42" fmla="*/ 2147483647 w 3072"/>
                  <a:gd name="T43" fmla="*/ 2147483647 h 1332"/>
                  <a:gd name="T44" fmla="*/ 2147483647 w 3072"/>
                  <a:gd name="T45" fmla="*/ 2147483647 h 1332"/>
                  <a:gd name="T46" fmla="*/ 2147483647 w 3072"/>
                  <a:gd name="T47" fmla="*/ 2147483647 h 1332"/>
                  <a:gd name="T48" fmla="*/ 2147483647 w 3072"/>
                  <a:gd name="T49" fmla="*/ 2147483647 h 1332"/>
                  <a:gd name="T50" fmla="*/ 2147483647 w 3072"/>
                  <a:gd name="T51" fmla="*/ 2147483647 h 1332"/>
                  <a:gd name="T52" fmla="*/ 2147483647 w 3072"/>
                  <a:gd name="T53" fmla="*/ 2147483647 h 1332"/>
                  <a:gd name="T54" fmla="*/ 2147483647 w 3072"/>
                  <a:gd name="T55" fmla="*/ 2147483647 h 1332"/>
                  <a:gd name="T56" fmla="*/ 2147483647 w 3072"/>
                  <a:gd name="T57" fmla="*/ 2147483647 h 1332"/>
                  <a:gd name="T58" fmla="*/ 2147483647 w 3072"/>
                  <a:gd name="T59" fmla="*/ 2147483647 h 1332"/>
                  <a:gd name="T60" fmla="*/ 2147483647 w 3072"/>
                  <a:gd name="T61" fmla="*/ 2147483647 h 1332"/>
                  <a:gd name="T62" fmla="*/ 2147483647 w 3072"/>
                  <a:gd name="T63" fmla="*/ 2147483647 h 1332"/>
                  <a:gd name="T64" fmla="*/ 2147483647 w 3072"/>
                  <a:gd name="T65" fmla="*/ 2147483647 h 1332"/>
                  <a:gd name="T66" fmla="*/ 2147483647 w 3072"/>
                  <a:gd name="T67" fmla="*/ 2147483647 h 1332"/>
                  <a:gd name="T68" fmla="*/ 2147483647 w 3072"/>
                  <a:gd name="T69" fmla="*/ 2147483647 h 1332"/>
                  <a:gd name="T70" fmla="*/ 2147483647 w 3072"/>
                  <a:gd name="T71" fmla="*/ 2147483647 h 1332"/>
                  <a:gd name="T72" fmla="*/ 2147483647 w 3072"/>
                  <a:gd name="T73" fmla="*/ 2147483647 h 1332"/>
                  <a:gd name="T74" fmla="*/ 2147483647 w 3072"/>
                  <a:gd name="T75" fmla="*/ 2147483647 h 1332"/>
                  <a:gd name="T76" fmla="*/ 2147483647 w 3072"/>
                  <a:gd name="T77" fmla="*/ 2147483647 h 1332"/>
                  <a:gd name="T78" fmla="*/ 2147483647 w 3072"/>
                  <a:gd name="T79" fmla="*/ 2147483647 h 1332"/>
                  <a:gd name="T80" fmla="*/ 2147483647 w 3072"/>
                  <a:gd name="T81" fmla="*/ 2147483647 h 1332"/>
                  <a:gd name="T82" fmla="*/ 2147483647 w 3072"/>
                  <a:gd name="T83" fmla="*/ 2147483647 h 1332"/>
                  <a:gd name="T84" fmla="*/ 2147483647 w 3072"/>
                  <a:gd name="T85" fmla="*/ 2147483647 h 1332"/>
                  <a:gd name="T86" fmla="*/ 2147483647 w 3072"/>
                  <a:gd name="T87" fmla="*/ 2147483647 h 1332"/>
                  <a:gd name="T88" fmla="*/ 2147483647 w 3072"/>
                  <a:gd name="T89" fmla="*/ 2147483647 h 1332"/>
                  <a:gd name="T90" fmla="*/ 2147483647 w 3072"/>
                  <a:gd name="T91" fmla="*/ 2147483647 h 1332"/>
                  <a:gd name="T92" fmla="*/ 2147483647 w 3072"/>
                  <a:gd name="T93" fmla="*/ 2147483647 h 1332"/>
                  <a:gd name="T94" fmla="*/ 2147483647 w 3072"/>
                  <a:gd name="T95" fmla="*/ 2147483647 h 1332"/>
                  <a:gd name="T96" fmla="*/ 2147483647 w 3072"/>
                  <a:gd name="T97" fmla="*/ 2147483647 h 1332"/>
                  <a:gd name="T98" fmla="*/ 2147483647 w 3072"/>
                  <a:gd name="T99" fmla="*/ 2147483647 h 1332"/>
                  <a:gd name="T100" fmla="*/ 2147483647 w 3072"/>
                  <a:gd name="T101" fmla="*/ 2147483647 h 1332"/>
                  <a:gd name="T102" fmla="*/ 2147483647 w 3072"/>
                  <a:gd name="T103" fmla="*/ 2147483647 h 1332"/>
                  <a:gd name="T104" fmla="*/ 2147483647 w 3072"/>
                  <a:gd name="T105" fmla="*/ 2147483647 h 1332"/>
                  <a:gd name="T106" fmla="*/ 2147483647 w 3072"/>
                  <a:gd name="T107" fmla="*/ 2147483647 h 1332"/>
                  <a:gd name="T108" fmla="*/ 2147483647 w 3072"/>
                  <a:gd name="T109" fmla="*/ 2147483647 h 1332"/>
                  <a:gd name="T110" fmla="*/ 2147483647 w 3072"/>
                  <a:gd name="T111" fmla="*/ 2147483647 h 1332"/>
                  <a:gd name="T112" fmla="*/ 2147483647 w 3072"/>
                  <a:gd name="T113" fmla="*/ 2147483647 h 1332"/>
                  <a:gd name="T114" fmla="*/ 2147483647 w 3072"/>
                  <a:gd name="T115" fmla="*/ 2147483647 h 1332"/>
                  <a:gd name="T116" fmla="*/ 2147483647 w 3072"/>
                  <a:gd name="T117" fmla="*/ 2147483647 h 1332"/>
                  <a:gd name="T118" fmla="*/ 2147483647 w 3072"/>
                  <a:gd name="T119" fmla="*/ 2147483647 h 1332"/>
                  <a:gd name="T120" fmla="*/ 2147483647 w 3072"/>
                  <a:gd name="T121" fmla="*/ 2147483647 h 133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072"/>
                  <a:gd name="T184" fmla="*/ 0 h 1332"/>
                  <a:gd name="T185" fmla="*/ 3072 w 3072"/>
                  <a:gd name="T186" fmla="*/ 1332 h 133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072" h="1332">
                    <a:moveTo>
                      <a:pt x="2454" y="930"/>
                    </a:moveTo>
                    <a:lnTo>
                      <a:pt x="2418" y="966"/>
                    </a:lnTo>
                    <a:lnTo>
                      <a:pt x="2400" y="1002"/>
                    </a:lnTo>
                    <a:lnTo>
                      <a:pt x="2412" y="1002"/>
                    </a:lnTo>
                    <a:lnTo>
                      <a:pt x="2448" y="984"/>
                    </a:lnTo>
                    <a:lnTo>
                      <a:pt x="2460" y="972"/>
                    </a:lnTo>
                    <a:lnTo>
                      <a:pt x="2460" y="954"/>
                    </a:lnTo>
                    <a:lnTo>
                      <a:pt x="2472" y="942"/>
                    </a:lnTo>
                    <a:lnTo>
                      <a:pt x="2460" y="930"/>
                    </a:lnTo>
                    <a:lnTo>
                      <a:pt x="2454" y="930"/>
                    </a:lnTo>
                    <a:close/>
                    <a:moveTo>
                      <a:pt x="2400" y="930"/>
                    </a:moveTo>
                    <a:lnTo>
                      <a:pt x="2388" y="930"/>
                    </a:lnTo>
                    <a:lnTo>
                      <a:pt x="2376" y="936"/>
                    </a:lnTo>
                    <a:lnTo>
                      <a:pt x="2364" y="948"/>
                    </a:lnTo>
                    <a:lnTo>
                      <a:pt x="2364" y="954"/>
                    </a:lnTo>
                    <a:lnTo>
                      <a:pt x="2370" y="966"/>
                    </a:lnTo>
                    <a:lnTo>
                      <a:pt x="2376" y="972"/>
                    </a:lnTo>
                    <a:lnTo>
                      <a:pt x="2406" y="972"/>
                    </a:lnTo>
                    <a:lnTo>
                      <a:pt x="2412" y="960"/>
                    </a:lnTo>
                    <a:lnTo>
                      <a:pt x="2418" y="954"/>
                    </a:lnTo>
                    <a:lnTo>
                      <a:pt x="2418" y="942"/>
                    </a:lnTo>
                    <a:lnTo>
                      <a:pt x="2406" y="936"/>
                    </a:lnTo>
                    <a:lnTo>
                      <a:pt x="2400" y="930"/>
                    </a:lnTo>
                    <a:close/>
                    <a:moveTo>
                      <a:pt x="2316" y="1188"/>
                    </a:moveTo>
                    <a:lnTo>
                      <a:pt x="2328" y="1188"/>
                    </a:lnTo>
                    <a:lnTo>
                      <a:pt x="2340" y="1152"/>
                    </a:lnTo>
                    <a:lnTo>
                      <a:pt x="2322" y="1158"/>
                    </a:lnTo>
                    <a:lnTo>
                      <a:pt x="2316" y="1188"/>
                    </a:lnTo>
                    <a:close/>
                    <a:moveTo>
                      <a:pt x="2388" y="1074"/>
                    </a:moveTo>
                    <a:lnTo>
                      <a:pt x="2370" y="1086"/>
                    </a:lnTo>
                    <a:lnTo>
                      <a:pt x="2382" y="1098"/>
                    </a:lnTo>
                    <a:lnTo>
                      <a:pt x="2388" y="1098"/>
                    </a:lnTo>
                    <a:lnTo>
                      <a:pt x="2382" y="1104"/>
                    </a:lnTo>
                    <a:lnTo>
                      <a:pt x="2376" y="1104"/>
                    </a:lnTo>
                    <a:lnTo>
                      <a:pt x="2364" y="1116"/>
                    </a:lnTo>
                    <a:lnTo>
                      <a:pt x="2358" y="1116"/>
                    </a:lnTo>
                    <a:lnTo>
                      <a:pt x="2352" y="1122"/>
                    </a:lnTo>
                    <a:lnTo>
                      <a:pt x="2352" y="1152"/>
                    </a:lnTo>
                    <a:lnTo>
                      <a:pt x="2358" y="1164"/>
                    </a:lnTo>
                    <a:lnTo>
                      <a:pt x="2358" y="1188"/>
                    </a:lnTo>
                    <a:lnTo>
                      <a:pt x="2370" y="1182"/>
                    </a:lnTo>
                    <a:lnTo>
                      <a:pt x="2376" y="1170"/>
                    </a:lnTo>
                    <a:lnTo>
                      <a:pt x="2388" y="1164"/>
                    </a:lnTo>
                    <a:lnTo>
                      <a:pt x="2394" y="1158"/>
                    </a:lnTo>
                    <a:lnTo>
                      <a:pt x="2394" y="1146"/>
                    </a:lnTo>
                    <a:lnTo>
                      <a:pt x="2382" y="1134"/>
                    </a:lnTo>
                    <a:lnTo>
                      <a:pt x="2394" y="1134"/>
                    </a:lnTo>
                    <a:lnTo>
                      <a:pt x="2412" y="1116"/>
                    </a:lnTo>
                    <a:lnTo>
                      <a:pt x="2412" y="1098"/>
                    </a:lnTo>
                    <a:lnTo>
                      <a:pt x="2388" y="1074"/>
                    </a:lnTo>
                    <a:close/>
                    <a:moveTo>
                      <a:pt x="2562" y="1080"/>
                    </a:moveTo>
                    <a:lnTo>
                      <a:pt x="2550" y="1080"/>
                    </a:lnTo>
                    <a:lnTo>
                      <a:pt x="2550" y="1074"/>
                    </a:lnTo>
                    <a:lnTo>
                      <a:pt x="2544" y="1068"/>
                    </a:lnTo>
                    <a:lnTo>
                      <a:pt x="2538" y="1068"/>
                    </a:lnTo>
                    <a:lnTo>
                      <a:pt x="2532" y="1062"/>
                    </a:lnTo>
                    <a:lnTo>
                      <a:pt x="2520" y="1056"/>
                    </a:lnTo>
                    <a:lnTo>
                      <a:pt x="2514" y="1050"/>
                    </a:lnTo>
                    <a:lnTo>
                      <a:pt x="2514" y="1044"/>
                    </a:lnTo>
                    <a:lnTo>
                      <a:pt x="2520" y="1032"/>
                    </a:lnTo>
                    <a:lnTo>
                      <a:pt x="2520" y="1020"/>
                    </a:lnTo>
                    <a:lnTo>
                      <a:pt x="2526" y="1008"/>
                    </a:lnTo>
                    <a:lnTo>
                      <a:pt x="2532" y="1002"/>
                    </a:lnTo>
                    <a:lnTo>
                      <a:pt x="2532" y="960"/>
                    </a:lnTo>
                    <a:lnTo>
                      <a:pt x="2550" y="924"/>
                    </a:lnTo>
                    <a:lnTo>
                      <a:pt x="2550" y="906"/>
                    </a:lnTo>
                    <a:lnTo>
                      <a:pt x="2544" y="894"/>
                    </a:lnTo>
                    <a:lnTo>
                      <a:pt x="2526" y="876"/>
                    </a:lnTo>
                    <a:lnTo>
                      <a:pt x="2538" y="864"/>
                    </a:lnTo>
                    <a:lnTo>
                      <a:pt x="2538" y="834"/>
                    </a:lnTo>
                    <a:lnTo>
                      <a:pt x="2544" y="828"/>
                    </a:lnTo>
                    <a:lnTo>
                      <a:pt x="2550" y="828"/>
                    </a:lnTo>
                    <a:lnTo>
                      <a:pt x="2556" y="822"/>
                    </a:lnTo>
                    <a:lnTo>
                      <a:pt x="2550" y="816"/>
                    </a:lnTo>
                    <a:lnTo>
                      <a:pt x="2532" y="810"/>
                    </a:lnTo>
                    <a:lnTo>
                      <a:pt x="2520" y="810"/>
                    </a:lnTo>
                    <a:lnTo>
                      <a:pt x="2502" y="816"/>
                    </a:lnTo>
                    <a:lnTo>
                      <a:pt x="2490" y="816"/>
                    </a:lnTo>
                    <a:lnTo>
                      <a:pt x="2484" y="822"/>
                    </a:lnTo>
                    <a:lnTo>
                      <a:pt x="2478" y="822"/>
                    </a:lnTo>
                    <a:lnTo>
                      <a:pt x="2478" y="834"/>
                    </a:lnTo>
                    <a:lnTo>
                      <a:pt x="2460" y="834"/>
                    </a:lnTo>
                    <a:lnTo>
                      <a:pt x="2454" y="840"/>
                    </a:lnTo>
                    <a:lnTo>
                      <a:pt x="2442" y="846"/>
                    </a:lnTo>
                    <a:lnTo>
                      <a:pt x="2430" y="846"/>
                    </a:lnTo>
                    <a:lnTo>
                      <a:pt x="2418" y="852"/>
                    </a:lnTo>
                    <a:lnTo>
                      <a:pt x="2406" y="852"/>
                    </a:lnTo>
                    <a:lnTo>
                      <a:pt x="2400" y="858"/>
                    </a:lnTo>
                    <a:lnTo>
                      <a:pt x="2394" y="858"/>
                    </a:lnTo>
                    <a:lnTo>
                      <a:pt x="2388" y="864"/>
                    </a:lnTo>
                    <a:lnTo>
                      <a:pt x="2376" y="870"/>
                    </a:lnTo>
                    <a:lnTo>
                      <a:pt x="2370" y="876"/>
                    </a:lnTo>
                    <a:lnTo>
                      <a:pt x="2364" y="876"/>
                    </a:lnTo>
                    <a:lnTo>
                      <a:pt x="2364" y="864"/>
                    </a:lnTo>
                    <a:lnTo>
                      <a:pt x="2382" y="846"/>
                    </a:lnTo>
                    <a:lnTo>
                      <a:pt x="2376" y="840"/>
                    </a:lnTo>
                    <a:lnTo>
                      <a:pt x="2364" y="834"/>
                    </a:lnTo>
                    <a:lnTo>
                      <a:pt x="2358" y="828"/>
                    </a:lnTo>
                    <a:lnTo>
                      <a:pt x="2358" y="810"/>
                    </a:lnTo>
                    <a:lnTo>
                      <a:pt x="2352" y="798"/>
                    </a:lnTo>
                    <a:lnTo>
                      <a:pt x="2352" y="792"/>
                    </a:lnTo>
                    <a:lnTo>
                      <a:pt x="2376" y="768"/>
                    </a:lnTo>
                    <a:lnTo>
                      <a:pt x="2340" y="768"/>
                    </a:lnTo>
                    <a:lnTo>
                      <a:pt x="2328" y="780"/>
                    </a:lnTo>
                    <a:lnTo>
                      <a:pt x="2274" y="780"/>
                    </a:lnTo>
                    <a:lnTo>
                      <a:pt x="2274" y="768"/>
                    </a:lnTo>
                    <a:lnTo>
                      <a:pt x="2280" y="756"/>
                    </a:lnTo>
                    <a:lnTo>
                      <a:pt x="2292" y="750"/>
                    </a:lnTo>
                    <a:lnTo>
                      <a:pt x="2298" y="744"/>
                    </a:lnTo>
                    <a:lnTo>
                      <a:pt x="3072" y="108"/>
                    </a:lnTo>
                    <a:lnTo>
                      <a:pt x="3054" y="108"/>
                    </a:lnTo>
                    <a:lnTo>
                      <a:pt x="3054" y="102"/>
                    </a:lnTo>
                    <a:lnTo>
                      <a:pt x="3048" y="90"/>
                    </a:lnTo>
                    <a:lnTo>
                      <a:pt x="3036" y="84"/>
                    </a:lnTo>
                    <a:lnTo>
                      <a:pt x="3030" y="78"/>
                    </a:lnTo>
                    <a:lnTo>
                      <a:pt x="3012" y="78"/>
                    </a:lnTo>
                    <a:lnTo>
                      <a:pt x="2988" y="84"/>
                    </a:lnTo>
                    <a:lnTo>
                      <a:pt x="2964" y="84"/>
                    </a:lnTo>
                    <a:lnTo>
                      <a:pt x="2928" y="96"/>
                    </a:lnTo>
                    <a:lnTo>
                      <a:pt x="2916" y="96"/>
                    </a:lnTo>
                    <a:lnTo>
                      <a:pt x="2892" y="84"/>
                    </a:lnTo>
                    <a:lnTo>
                      <a:pt x="2886" y="78"/>
                    </a:lnTo>
                    <a:lnTo>
                      <a:pt x="2874" y="72"/>
                    </a:lnTo>
                    <a:lnTo>
                      <a:pt x="2784" y="72"/>
                    </a:lnTo>
                    <a:lnTo>
                      <a:pt x="2772" y="66"/>
                    </a:lnTo>
                    <a:lnTo>
                      <a:pt x="2766" y="60"/>
                    </a:lnTo>
                    <a:lnTo>
                      <a:pt x="2748" y="60"/>
                    </a:lnTo>
                    <a:lnTo>
                      <a:pt x="2736" y="54"/>
                    </a:lnTo>
                    <a:lnTo>
                      <a:pt x="2598" y="54"/>
                    </a:lnTo>
                    <a:lnTo>
                      <a:pt x="2598" y="42"/>
                    </a:lnTo>
                    <a:lnTo>
                      <a:pt x="2604" y="36"/>
                    </a:lnTo>
                    <a:lnTo>
                      <a:pt x="2592" y="36"/>
                    </a:lnTo>
                    <a:lnTo>
                      <a:pt x="2574" y="30"/>
                    </a:lnTo>
                    <a:lnTo>
                      <a:pt x="2562" y="30"/>
                    </a:lnTo>
                    <a:lnTo>
                      <a:pt x="2550" y="24"/>
                    </a:lnTo>
                    <a:lnTo>
                      <a:pt x="2532" y="24"/>
                    </a:lnTo>
                    <a:lnTo>
                      <a:pt x="2520" y="30"/>
                    </a:lnTo>
                    <a:lnTo>
                      <a:pt x="2496" y="30"/>
                    </a:lnTo>
                    <a:lnTo>
                      <a:pt x="2490" y="36"/>
                    </a:lnTo>
                    <a:lnTo>
                      <a:pt x="2484" y="36"/>
                    </a:lnTo>
                    <a:lnTo>
                      <a:pt x="2514" y="0"/>
                    </a:lnTo>
                    <a:lnTo>
                      <a:pt x="2430" y="36"/>
                    </a:lnTo>
                    <a:lnTo>
                      <a:pt x="2460" y="0"/>
                    </a:lnTo>
                    <a:lnTo>
                      <a:pt x="2430" y="0"/>
                    </a:lnTo>
                    <a:lnTo>
                      <a:pt x="2418" y="6"/>
                    </a:lnTo>
                    <a:lnTo>
                      <a:pt x="2412" y="12"/>
                    </a:lnTo>
                    <a:lnTo>
                      <a:pt x="2358" y="30"/>
                    </a:lnTo>
                    <a:lnTo>
                      <a:pt x="2232" y="30"/>
                    </a:lnTo>
                    <a:lnTo>
                      <a:pt x="2214" y="36"/>
                    </a:lnTo>
                    <a:lnTo>
                      <a:pt x="2208" y="42"/>
                    </a:lnTo>
                    <a:lnTo>
                      <a:pt x="2184" y="54"/>
                    </a:lnTo>
                    <a:lnTo>
                      <a:pt x="2172" y="54"/>
                    </a:lnTo>
                    <a:lnTo>
                      <a:pt x="2166" y="60"/>
                    </a:lnTo>
                    <a:lnTo>
                      <a:pt x="2046" y="60"/>
                    </a:lnTo>
                    <a:lnTo>
                      <a:pt x="2004" y="72"/>
                    </a:lnTo>
                    <a:lnTo>
                      <a:pt x="1956" y="102"/>
                    </a:lnTo>
                    <a:lnTo>
                      <a:pt x="1902" y="132"/>
                    </a:lnTo>
                    <a:lnTo>
                      <a:pt x="1854" y="144"/>
                    </a:lnTo>
                    <a:lnTo>
                      <a:pt x="1758" y="156"/>
                    </a:lnTo>
                    <a:lnTo>
                      <a:pt x="1722" y="162"/>
                    </a:lnTo>
                    <a:lnTo>
                      <a:pt x="1704" y="162"/>
                    </a:lnTo>
                    <a:lnTo>
                      <a:pt x="1698" y="168"/>
                    </a:lnTo>
                    <a:lnTo>
                      <a:pt x="1644" y="186"/>
                    </a:lnTo>
                    <a:lnTo>
                      <a:pt x="1632" y="192"/>
                    </a:lnTo>
                    <a:lnTo>
                      <a:pt x="1620" y="192"/>
                    </a:lnTo>
                    <a:lnTo>
                      <a:pt x="1620" y="198"/>
                    </a:lnTo>
                    <a:lnTo>
                      <a:pt x="1626" y="204"/>
                    </a:lnTo>
                    <a:lnTo>
                      <a:pt x="1638" y="210"/>
                    </a:lnTo>
                    <a:lnTo>
                      <a:pt x="1650" y="222"/>
                    </a:lnTo>
                    <a:lnTo>
                      <a:pt x="1656" y="222"/>
                    </a:lnTo>
                    <a:lnTo>
                      <a:pt x="1662" y="234"/>
                    </a:lnTo>
                    <a:lnTo>
                      <a:pt x="1662" y="240"/>
                    </a:lnTo>
                    <a:lnTo>
                      <a:pt x="1668" y="252"/>
                    </a:lnTo>
                    <a:lnTo>
                      <a:pt x="1668" y="264"/>
                    </a:lnTo>
                    <a:lnTo>
                      <a:pt x="1662" y="264"/>
                    </a:lnTo>
                    <a:lnTo>
                      <a:pt x="1650" y="270"/>
                    </a:lnTo>
                    <a:lnTo>
                      <a:pt x="1644" y="282"/>
                    </a:lnTo>
                    <a:lnTo>
                      <a:pt x="1734" y="282"/>
                    </a:lnTo>
                    <a:lnTo>
                      <a:pt x="1704" y="318"/>
                    </a:lnTo>
                    <a:lnTo>
                      <a:pt x="1770" y="318"/>
                    </a:lnTo>
                    <a:lnTo>
                      <a:pt x="1764" y="336"/>
                    </a:lnTo>
                    <a:lnTo>
                      <a:pt x="1710" y="336"/>
                    </a:lnTo>
                    <a:lnTo>
                      <a:pt x="1698" y="348"/>
                    </a:lnTo>
                    <a:lnTo>
                      <a:pt x="1632" y="348"/>
                    </a:lnTo>
                    <a:lnTo>
                      <a:pt x="1614" y="354"/>
                    </a:lnTo>
                    <a:lnTo>
                      <a:pt x="1560" y="354"/>
                    </a:lnTo>
                    <a:lnTo>
                      <a:pt x="1554" y="348"/>
                    </a:lnTo>
                    <a:lnTo>
                      <a:pt x="1548" y="348"/>
                    </a:lnTo>
                    <a:lnTo>
                      <a:pt x="1554" y="342"/>
                    </a:lnTo>
                    <a:lnTo>
                      <a:pt x="1560" y="342"/>
                    </a:lnTo>
                    <a:lnTo>
                      <a:pt x="1572" y="330"/>
                    </a:lnTo>
                    <a:lnTo>
                      <a:pt x="1566" y="324"/>
                    </a:lnTo>
                    <a:lnTo>
                      <a:pt x="1458" y="324"/>
                    </a:lnTo>
                    <a:lnTo>
                      <a:pt x="1452" y="330"/>
                    </a:lnTo>
                    <a:lnTo>
                      <a:pt x="1452" y="348"/>
                    </a:lnTo>
                    <a:lnTo>
                      <a:pt x="1434" y="348"/>
                    </a:lnTo>
                    <a:lnTo>
                      <a:pt x="1422" y="354"/>
                    </a:lnTo>
                    <a:lnTo>
                      <a:pt x="1404" y="354"/>
                    </a:lnTo>
                    <a:lnTo>
                      <a:pt x="1386" y="360"/>
                    </a:lnTo>
                    <a:lnTo>
                      <a:pt x="1338" y="360"/>
                    </a:lnTo>
                    <a:lnTo>
                      <a:pt x="1308" y="366"/>
                    </a:lnTo>
                    <a:lnTo>
                      <a:pt x="1254" y="384"/>
                    </a:lnTo>
                    <a:lnTo>
                      <a:pt x="1254" y="390"/>
                    </a:lnTo>
                    <a:lnTo>
                      <a:pt x="1272" y="396"/>
                    </a:lnTo>
                    <a:lnTo>
                      <a:pt x="1284" y="402"/>
                    </a:lnTo>
                    <a:lnTo>
                      <a:pt x="1314" y="402"/>
                    </a:lnTo>
                    <a:lnTo>
                      <a:pt x="1272" y="420"/>
                    </a:lnTo>
                    <a:lnTo>
                      <a:pt x="1260" y="462"/>
                    </a:lnTo>
                    <a:lnTo>
                      <a:pt x="1272" y="462"/>
                    </a:lnTo>
                    <a:lnTo>
                      <a:pt x="1290" y="468"/>
                    </a:lnTo>
                    <a:lnTo>
                      <a:pt x="1338" y="468"/>
                    </a:lnTo>
                    <a:lnTo>
                      <a:pt x="1350" y="462"/>
                    </a:lnTo>
                    <a:lnTo>
                      <a:pt x="1362" y="462"/>
                    </a:lnTo>
                    <a:lnTo>
                      <a:pt x="1410" y="474"/>
                    </a:lnTo>
                    <a:lnTo>
                      <a:pt x="1422" y="456"/>
                    </a:lnTo>
                    <a:lnTo>
                      <a:pt x="1434" y="474"/>
                    </a:lnTo>
                    <a:lnTo>
                      <a:pt x="1446" y="468"/>
                    </a:lnTo>
                    <a:lnTo>
                      <a:pt x="1452" y="462"/>
                    </a:lnTo>
                    <a:lnTo>
                      <a:pt x="1476" y="450"/>
                    </a:lnTo>
                    <a:lnTo>
                      <a:pt x="1482" y="444"/>
                    </a:lnTo>
                    <a:lnTo>
                      <a:pt x="1494" y="444"/>
                    </a:lnTo>
                    <a:lnTo>
                      <a:pt x="1506" y="450"/>
                    </a:lnTo>
                    <a:lnTo>
                      <a:pt x="1524" y="450"/>
                    </a:lnTo>
                    <a:lnTo>
                      <a:pt x="1536" y="444"/>
                    </a:lnTo>
                    <a:lnTo>
                      <a:pt x="1542" y="438"/>
                    </a:lnTo>
                    <a:lnTo>
                      <a:pt x="1554" y="432"/>
                    </a:lnTo>
                    <a:lnTo>
                      <a:pt x="1560" y="432"/>
                    </a:lnTo>
                    <a:lnTo>
                      <a:pt x="1566" y="426"/>
                    </a:lnTo>
                    <a:lnTo>
                      <a:pt x="1566" y="450"/>
                    </a:lnTo>
                    <a:lnTo>
                      <a:pt x="1560" y="462"/>
                    </a:lnTo>
                    <a:lnTo>
                      <a:pt x="1554" y="468"/>
                    </a:lnTo>
                    <a:lnTo>
                      <a:pt x="1500" y="468"/>
                    </a:lnTo>
                    <a:lnTo>
                      <a:pt x="1506" y="498"/>
                    </a:lnTo>
                    <a:lnTo>
                      <a:pt x="1494" y="504"/>
                    </a:lnTo>
                    <a:lnTo>
                      <a:pt x="1488" y="516"/>
                    </a:lnTo>
                    <a:lnTo>
                      <a:pt x="1476" y="522"/>
                    </a:lnTo>
                    <a:lnTo>
                      <a:pt x="1464" y="534"/>
                    </a:lnTo>
                    <a:lnTo>
                      <a:pt x="1446" y="540"/>
                    </a:lnTo>
                    <a:lnTo>
                      <a:pt x="1380" y="540"/>
                    </a:lnTo>
                    <a:lnTo>
                      <a:pt x="1362" y="522"/>
                    </a:lnTo>
                    <a:lnTo>
                      <a:pt x="1344" y="534"/>
                    </a:lnTo>
                    <a:lnTo>
                      <a:pt x="1344" y="546"/>
                    </a:lnTo>
                    <a:lnTo>
                      <a:pt x="1338" y="546"/>
                    </a:lnTo>
                    <a:lnTo>
                      <a:pt x="1332" y="552"/>
                    </a:lnTo>
                    <a:lnTo>
                      <a:pt x="1320" y="558"/>
                    </a:lnTo>
                    <a:lnTo>
                      <a:pt x="1302" y="564"/>
                    </a:lnTo>
                    <a:lnTo>
                      <a:pt x="1290" y="570"/>
                    </a:lnTo>
                    <a:lnTo>
                      <a:pt x="1266" y="570"/>
                    </a:lnTo>
                    <a:lnTo>
                      <a:pt x="1242" y="558"/>
                    </a:lnTo>
                    <a:lnTo>
                      <a:pt x="1236" y="558"/>
                    </a:lnTo>
                    <a:lnTo>
                      <a:pt x="1140" y="606"/>
                    </a:lnTo>
                    <a:lnTo>
                      <a:pt x="1122" y="624"/>
                    </a:lnTo>
                    <a:lnTo>
                      <a:pt x="1116" y="606"/>
                    </a:lnTo>
                    <a:lnTo>
                      <a:pt x="1080" y="624"/>
                    </a:lnTo>
                    <a:lnTo>
                      <a:pt x="1068" y="624"/>
                    </a:lnTo>
                    <a:lnTo>
                      <a:pt x="1044" y="636"/>
                    </a:lnTo>
                    <a:lnTo>
                      <a:pt x="1020" y="660"/>
                    </a:lnTo>
                    <a:lnTo>
                      <a:pt x="990" y="648"/>
                    </a:lnTo>
                    <a:lnTo>
                      <a:pt x="990" y="672"/>
                    </a:lnTo>
                    <a:lnTo>
                      <a:pt x="984" y="666"/>
                    </a:lnTo>
                    <a:lnTo>
                      <a:pt x="972" y="666"/>
                    </a:lnTo>
                    <a:lnTo>
                      <a:pt x="966" y="672"/>
                    </a:lnTo>
                    <a:lnTo>
                      <a:pt x="966" y="690"/>
                    </a:lnTo>
                    <a:lnTo>
                      <a:pt x="954" y="708"/>
                    </a:lnTo>
                    <a:lnTo>
                      <a:pt x="1014" y="684"/>
                    </a:lnTo>
                    <a:lnTo>
                      <a:pt x="990" y="702"/>
                    </a:lnTo>
                    <a:lnTo>
                      <a:pt x="990" y="714"/>
                    </a:lnTo>
                    <a:lnTo>
                      <a:pt x="972" y="726"/>
                    </a:lnTo>
                    <a:lnTo>
                      <a:pt x="1026" y="726"/>
                    </a:lnTo>
                    <a:lnTo>
                      <a:pt x="1032" y="732"/>
                    </a:lnTo>
                    <a:lnTo>
                      <a:pt x="1032" y="738"/>
                    </a:lnTo>
                    <a:lnTo>
                      <a:pt x="1020" y="744"/>
                    </a:lnTo>
                    <a:lnTo>
                      <a:pt x="984" y="744"/>
                    </a:lnTo>
                    <a:lnTo>
                      <a:pt x="960" y="750"/>
                    </a:lnTo>
                    <a:lnTo>
                      <a:pt x="972" y="738"/>
                    </a:lnTo>
                    <a:lnTo>
                      <a:pt x="960" y="732"/>
                    </a:lnTo>
                    <a:lnTo>
                      <a:pt x="954" y="732"/>
                    </a:lnTo>
                    <a:lnTo>
                      <a:pt x="948" y="738"/>
                    </a:lnTo>
                    <a:lnTo>
                      <a:pt x="936" y="744"/>
                    </a:lnTo>
                    <a:lnTo>
                      <a:pt x="930" y="750"/>
                    </a:lnTo>
                    <a:lnTo>
                      <a:pt x="924" y="750"/>
                    </a:lnTo>
                    <a:lnTo>
                      <a:pt x="918" y="756"/>
                    </a:lnTo>
                    <a:lnTo>
                      <a:pt x="924" y="756"/>
                    </a:lnTo>
                    <a:lnTo>
                      <a:pt x="930" y="762"/>
                    </a:lnTo>
                    <a:lnTo>
                      <a:pt x="930" y="768"/>
                    </a:lnTo>
                    <a:lnTo>
                      <a:pt x="924" y="774"/>
                    </a:lnTo>
                    <a:lnTo>
                      <a:pt x="924" y="780"/>
                    </a:lnTo>
                    <a:lnTo>
                      <a:pt x="918" y="792"/>
                    </a:lnTo>
                    <a:lnTo>
                      <a:pt x="918" y="804"/>
                    </a:lnTo>
                    <a:lnTo>
                      <a:pt x="990" y="804"/>
                    </a:lnTo>
                    <a:lnTo>
                      <a:pt x="1038" y="774"/>
                    </a:lnTo>
                    <a:lnTo>
                      <a:pt x="1104" y="750"/>
                    </a:lnTo>
                    <a:lnTo>
                      <a:pt x="1098" y="750"/>
                    </a:lnTo>
                    <a:lnTo>
                      <a:pt x="1092" y="756"/>
                    </a:lnTo>
                    <a:lnTo>
                      <a:pt x="1080" y="762"/>
                    </a:lnTo>
                    <a:lnTo>
                      <a:pt x="1062" y="768"/>
                    </a:lnTo>
                    <a:lnTo>
                      <a:pt x="1050" y="780"/>
                    </a:lnTo>
                    <a:lnTo>
                      <a:pt x="1038" y="786"/>
                    </a:lnTo>
                    <a:lnTo>
                      <a:pt x="1026" y="798"/>
                    </a:lnTo>
                    <a:lnTo>
                      <a:pt x="1026" y="816"/>
                    </a:lnTo>
                    <a:lnTo>
                      <a:pt x="1020" y="828"/>
                    </a:lnTo>
                    <a:lnTo>
                      <a:pt x="990" y="828"/>
                    </a:lnTo>
                    <a:lnTo>
                      <a:pt x="978" y="834"/>
                    </a:lnTo>
                    <a:lnTo>
                      <a:pt x="972" y="852"/>
                    </a:lnTo>
                    <a:lnTo>
                      <a:pt x="966" y="864"/>
                    </a:lnTo>
                    <a:lnTo>
                      <a:pt x="954" y="870"/>
                    </a:lnTo>
                    <a:lnTo>
                      <a:pt x="942" y="882"/>
                    </a:lnTo>
                    <a:lnTo>
                      <a:pt x="930" y="888"/>
                    </a:lnTo>
                    <a:lnTo>
                      <a:pt x="924" y="894"/>
                    </a:lnTo>
                    <a:lnTo>
                      <a:pt x="978" y="888"/>
                    </a:lnTo>
                    <a:lnTo>
                      <a:pt x="972" y="906"/>
                    </a:lnTo>
                    <a:lnTo>
                      <a:pt x="978" y="894"/>
                    </a:lnTo>
                    <a:lnTo>
                      <a:pt x="990" y="888"/>
                    </a:lnTo>
                    <a:lnTo>
                      <a:pt x="1002" y="876"/>
                    </a:lnTo>
                    <a:lnTo>
                      <a:pt x="1026" y="864"/>
                    </a:lnTo>
                    <a:lnTo>
                      <a:pt x="1038" y="864"/>
                    </a:lnTo>
                    <a:lnTo>
                      <a:pt x="1050" y="870"/>
                    </a:lnTo>
                    <a:lnTo>
                      <a:pt x="1056" y="870"/>
                    </a:lnTo>
                    <a:lnTo>
                      <a:pt x="1056" y="876"/>
                    </a:lnTo>
                    <a:lnTo>
                      <a:pt x="1050" y="876"/>
                    </a:lnTo>
                    <a:lnTo>
                      <a:pt x="1074" y="870"/>
                    </a:lnTo>
                    <a:lnTo>
                      <a:pt x="1068" y="876"/>
                    </a:lnTo>
                    <a:lnTo>
                      <a:pt x="1068" y="906"/>
                    </a:lnTo>
                    <a:lnTo>
                      <a:pt x="1074" y="912"/>
                    </a:lnTo>
                    <a:lnTo>
                      <a:pt x="1092" y="912"/>
                    </a:lnTo>
                    <a:lnTo>
                      <a:pt x="1098" y="900"/>
                    </a:lnTo>
                    <a:lnTo>
                      <a:pt x="1110" y="894"/>
                    </a:lnTo>
                    <a:lnTo>
                      <a:pt x="1116" y="888"/>
                    </a:lnTo>
                    <a:lnTo>
                      <a:pt x="1122" y="876"/>
                    </a:lnTo>
                    <a:lnTo>
                      <a:pt x="1164" y="858"/>
                    </a:lnTo>
                    <a:lnTo>
                      <a:pt x="1176" y="870"/>
                    </a:lnTo>
                    <a:lnTo>
                      <a:pt x="1146" y="870"/>
                    </a:lnTo>
                    <a:lnTo>
                      <a:pt x="1140" y="876"/>
                    </a:lnTo>
                    <a:lnTo>
                      <a:pt x="1140" y="882"/>
                    </a:lnTo>
                    <a:lnTo>
                      <a:pt x="1134" y="888"/>
                    </a:lnTo>
                    <a:lnTo>
                      <a:pt x="1134" y="894"/>
                    </a:lnTo>
                    <a:lnTo>
                      <a:pt x="1152" y="894"/>
                    </a:lnTo>
                    <a:lnTo>
                      <a:pt x="1164" y="888"/>
                    </a:lnTo>
                    <a:lnTo>
                      <a:pt x="1182" y="888"/>
                    </a:lnTo>
                    <a:lnTo>
                      <a:pt x="1200" y="882"/>
                    </a:lnTo>
                    <a:lnTo>
                      <a:pt x="1218" y="882"/>
                    </a:lnTo>
                    <a:lnTo>
                      <a:pt x="1224" y="876"/>
                    </a:lnTo>
                    <a:lnTo>
                      <a:pt x="1230" y="876"/>
                    </a:lnTo>
                    <a:lnTo>
                      <a:pt x="1272" y="858"/>
                    </a:lnTo>
                    <a:lnTo>
                      <a:pt x="1224" y="882"/>
                    </a:lnTo>
                    <a:lnTo>
                      <a:pt x="1224" y="894"/>
                    </a:lnTo>
                    <a:lnTo>
                      <a:pt x="1212" y="894"/>
                    </a:lnTo>
                    <a:lnTo>
                      <a:pt x="1200" y="900"/>
                    </a:lnTo>
                    <a:lnTo>
                      <a:pt x="1188" y="900"/>
                    </a:lnTo>
                    <a:lnTo>
                      <a:pt x="1176" y="906"/>
                    </a:lnTo>
                    <a:lnTo>
                      <a:pt x="1170" y="912"/>
                    </a:lnTo>
                    <a:lnTo>
                      <a:pt x="1158" y="918"/>
                    </a:lnTo>
                    <a:lnTo>
                      <a:pt x="1152" y="930"/>
                    </a:lnTo>
                    <a:lnTo>
                      <a:pt x="1122" y="930"/>
                    </a:lnTo>
                    <a:lnTo>
                      <a:pt x="1086" y="960"/>
                    </a:lnTo>
                    <a:lnTo>
                      <a:pt x="1086" y="978"/>
                    </a:lnTo>
                    <a:lnTo>
                      <a:pt x="1038" y="978"/>
                    </a:lnTo>
                    <a:lnTo>
                      <a:pt x="1032" y="984"/>
                    </a:lnTo>
                    <a:lnTo>
                      <a:pt x="1020" y="984"/>
                    </a:lnTo>
                    <a:lnTo>
                      <a:pt x="1002" y="990"/>
                    </a:lnTo>
                    <a:lnTo>
                      <a:pt x="990" y="996"/>
                    </a:lnTo>
                    <a:lnTo>
                      <a:pt x="978" y="996"/>
                    </a:lnTo>
                    <a:lnTo>
                      <a:pt x="966" y="1008"/>
                    </a:lnTo>
                    <a:lnTo>
                      <a:pt x="966" y="1020"/>
                    </a:lnTo>
                    <a:lnTo>
                      <a:pt x="960" y="1026"/>
                    </a:lnTo>
                    <a:lnTo>
                      <a:pt x="960" y="1038"/>
                    </a:lnTo>
                    <a:lnTo>
                      <a:pt x="876" y="1038"/>
                    </a:lnTo>
                    <a:lnTo>
                      <a:pt x="858" y="1044"/>
                    </a:lnTo>
                    <a:lnTo>
                      <a:pt x="828" y="1062"/>
                    </a:lnTo>
                    <a:lnTo>
                      <a:pt x="804" y="1080"/>
                    </a:lnTo>
                    <a:lnTo>
                      <a:pt x="780" y="1092"/>
                    </a:lnTo>
                    <a:lnTo>
                      <a:pt x="774" y="1098"/>
                    </a:lnTo>
                    <a:lnTo>
                      <a:pt x="750" y="1104"/>
                    </a:lnTo>
                    <a:lnTo>
                      <a:pt x="738" y="1122"/>
                    </a:lnTo>
                    <a:lnTo>
                      <a:pt x="732" y="1104"/>
                    </a:lnTo>
                    <a:lnTo>
                      <a:pt x="672" y="1104"/>
                    </a:lnTo>
                    <a:lnTo>
                      <a:pt x="648" y="1116"/>
                    </a:lnTo>
                    <a:lnTo>
                      <a:pt x="630" y="1122"/>
                    </a:lnTo>
                    <a:lnTo>
                      <a:pt x="624" y="1128"/>
                    </a:lnTo>
                    <a:lnTo>
                      <a:pt x="606" y="1128"/>
                    </a:lnTo>
                    <a:lnTo>
                      <a:pt x="606" y="1140"/>
                    </a:lnTo>
                    <a:lnTo>
                      <a:pt x="576" y="1146"/>
                    </a:lnTo>
                    <a:lnTo>
                      <a:pt x="564" y="1152"/>
                    </a:lnTo>
                    <a:lnTo>
                      <a:pt x="540" y="1152"/>
                    </a:lnTo>
                    <a:lnTo>
                      <a:pt x="516" y="1170"/>
                    </a:lnTo>
                    <a:lnTo>
                      <a:pt x="522" y="1182"/>
                    </a:lnTo>
                    <a:lnTo>
                      <a:pt x="540" y="1164"/>
                    </a:lnTo>
                    <a:lnTo>
                      <a:pt x="558" y="1176"/>
                    </a:lnTo>
                    <a:lnTo>
                      <a:pt x="582" y="1158"/>
                    </a:lnTo>
                    <a:lnTo>
                      <a:pt x="582" y="1170"/>
                    </a:lnTo>
                    <a:lnTo>
                      <a:pt x="594" y="1170"/>
                    </a:lnTo>
                    <a:lnTo>
                      <a:pt x="606" y="1164"/>
                    </a:lnTo>
                    <a:lnTo>
                      <a:pt x="618" y="1164"/>
                    </a:lnTo>
                    <a:lnTo>
                      <a:pt x="642" y="1140"/>
                    </a:lnTo>
                    <a:lnTo>
                      <a:pt x="654" y="1134"/>
                    </a:lnTo>
                    <a:lnTo>
                      <a:pt x="666" y="1122"/>
                    </a:lnTo>
                    <a:lnTo>
                      <a:pt x="684" y="1122"/>
                    </a:lnTo>
                    <a:lnTo>
                      <a:pt x="684" y="1134"/>
                    </a:lnTo>
                    <a:lnTo>
                      <a:pt x="690" y="1140"/>
                    </a:lnTo>
                    <a:lnTo>
                      <a:pt x="708" y="1140"/>
                    </a:lnTo>
                    <a:lnTo>
                      <a:pt x="732" y="1128"/>
                    </a:lnTo>
                    <a:lnTo>
                      <a:pt x="744" y="1128"/>
                    </a:lnTo>
                    <a:lnTo>
                      <a:pt x="756" y="1122"/>
                    </a:lnTo>
                    <a:lnTo>
                      <a:pt x="762" y="1116"/>
                    </a:lnTo>
                    <a:lnTo>
                      <a:pt x="768" y="1116"/>
                    </a:lnTo>
                    <a:lnTo>
                      <a:pt x="804" y="1128"/>
                    </a:lnTo>
                    <a:lnTo>
                      <a:pt x="822" y="1110"/>
                    </a:lnTo>
                    <a:lnTo>
                      <a:pt x="834" y="1110"/>
                    </a:lnTo>
                    <a:lnTo>
                      <a:pt x="852" y="1104"/>
                    </a:lnTo>
                    <a:lnTo>
                      <a:pt x="870" y="1104"/>
                    </a:lnTo>
                    <a:lnTo>
                      <a:pt x="894" y="1092"/>
                    </a:lnTo>
                    <a:lnTo>
                      <a:pt x="918" y="1068"/>
                    </a:lnTo>
                    <a:lnTo>
                      <a:pt x="942" y="1056"/>
                    </a:lnTo>
                    <a:lnTo>
                      <a:pt x="972" y="1056"/>
                    </a:lnTo>
                    <a:lnTo>
                      <a:pt x="978" y="1044"/>
                    </a:lnTo>
                    <a:lnTo>
                      <a:pt x="1014" y="1044"/>
                    </a:lnTo>
                    <a:lnTo>
                      <a:pt x="1026" y="1038"/>
                    </a:lnTo>
                    <a:lnTo>
                      <a:pt x="1032" y="1038"/>
                    </a:lnTo>
                    <a:lnTo>
                      <a:pt x="1038" y="1032"/>
                    </a:lnTo>
                    <a:lnTo>
                      <a:pt x="1050" y="1032"/>
                    </a:lnTo>
                    <a:lnTo>
                      <a:pt x="1086" y="1020"/>
                    </a:lnTo>
                    <a:lnTo>
                      <a:pt x="1110" y="1008"/>
                    </a:lnTo>
                    <a:lnTo>
                      <a:pt x="1122" y="996"/>
                    </a:lnTo>
                    <a:lnTo>
                      <a:pt x="1134" y="990"/>
                    </a:lnTo>
                    <a:lnTo>
                      <a:pt x="1140" y="984"/>
                    </a:lnTo>
                    <a:lnTo>
                      <a:pt x="1206" y="972"/>
                    </a:lnTo>
                    <a:lnTo>
                      <a:pt x="1260" y="942"/>
                    </a:lnTo>
                    <a:lnTo>
                      <a:pt x="1296" y="942"/>
                    </a:lnTo>
                    <a:lnTo>
                      <a:pt x="1314" y="936"/>
                    </a:lnTo>
                    <a:lnTo>
                      <a:pt x="1326" y="936"/>
                    </a:lnTo>
                    <a:lnTo>
                      <a:pt x="1338" y="930"/>
                    </a:lnTo>
                    <a:lnTo>
                      <a:pt x="1368" y="900"/>
                    </a:lnTo>
                    <a:lnTo>
                      <a:pt x="1380" y="900"/>
                    </a:lnTo>
                    <a:lnTo>
                      <a:pt x="1404" y="888"/>
                    </a:lnTo>
                    <a:lnTo>
                      <a:pt x="1416" y="888"/>
                    </a:lnTo>
                    <a:lnTo>
                      <a:pt x="1428" y="882"/>
                    </a:lnTo>
                    <a:lnTo>
                      <a:pt x="1434" y="876"/>
                    </a:lnTo>
                    <a:lnTo>
                      <a:pt x="1434" y="864"/>
                    </a:lnTo>
                    <a:lnTo>
                      <a:pt x="1422" y="864"/>
                    </a:lnTo>
                    <a:lnTo>
                      <a:pt x="1428" y="858"/>
                    </a:lnTo>
                    <a:lnTo>
                      <a:pt x="1452" y="846"/>
                    </a:lnTo>
                    <a:lnTo>
                      <a:pt x="1458" y="840"/>
                    </a:lnTo>
                    <a:lnTo>
                      <a:pt x="1470" y="834"/>
                    </a:lnTo>
                    <a:lnTo>
                      <a:pt x="1476" y="828"/>
                    </a:lnTo>
                    <a:lnTo>
                      <a:pt x="1488" y="828"/>
                    </a:lnTo>
                    <a:lnTo>
                      <a:pt x="1500" y="822"/>
                    </a:lnTo>
                    <a:lnTo>
                      <a:pt x="1512" y="822"/>
                    </a:lnTo>
                    <a:lnTo>
                      <a:pt x="1518" y="816"/>
                    </a:lnTo>
                    <a:lnTo>
                      <a:pt x="1524" y="816"/>
                    </a:lnTo>
                    <a:lnTo>
                      <a:pt x="1596" y="786"/>
                    </a:lnTo>
                    <a:lnTo>
                      <a:pt x="1590" y="768"/>
                    </a:lnTo>
                    <a:lnTo>
                      <a:pt x="1602" y="768"/>
                    </a:lnTo>
                    <a:lnTo>
                      <a:pt x="1608" y="774"/>
                    </a:lnTo>
                    <a:lnTo>
                      <a:pt x="1626" y="774"/>
                    </a:lnTo>
                    <a:lnTo>
                      <a:pt x="1638" y="762"/>
                    </a:lnTo>
                    <a:lnTo>
                      <a:pt x="1650" y="762"/>
                    </a:lnTo>
                    <a:lnTo>
                      <a:pt x="1674" y="750"/>
                    </a:lnTo>
                    <a:lnTo>
                      <a:pt x="1680" y="744"/>
                    </a:lnTo>
                    <a:lnTo>
                      <a:pt x="1704" y="732"/>
                    </a:lnTo>
                    <a:lnTo>
                      <a:pt x="1740" y="720"/>
                    </a:lnTo>
                    <a:lnTo>
                      <a:pt x="1770" y="708"/>
                    </a:lnTo>
                    <a:lnTo>
                      <a:pt x="1794" y="702"/>
                    </a:lnTo>
                    <a:lnTo>
                      <a:pt x="1812" y="702"/>
                    </a:lnTo>
                    <a:lnTo>
                      <a:pt x="1818" y="708"/>
                    </a:lnTo>
                    <a:lnTo>
                      <a:pt x="1842" y="720"/>
                    </a:lnTo>
                    <a:lnTo>
                      <a:pt x="1848" y="726"/>
                    </a:lnTo>
                    <a:lnTo>
                      <a:pt x="1812" y="726"/>
                    </a:lnTo>
                    <a:lnTo>
                      <a:pt x="1794" y="714"/>
                    </a:lnTo>
                    <a:lnTo>
                      <a:pt x="1758" y="738"/>
                    </a:lnTo>
                    <a:lnTo>
                      <a:pt x="1728" y="738"/>
                    </a:lnTo>
                    <a:lnTo>
                      <a:pt x="1722" y="744"/>
                    </a:lnTo>
                    <a:lnTo>
                      <a:pt x="1710" y="750"/>
                    </a:lnTo>
                    <a:lnTo>
                      <a:pt x="1704" y="762"/>
                    </a:lnTo>
                    <a:lnTo>
                      <a:pt x="1692" y="768"/>
                    </a:lnTo>
                    <a:lnTo>
                      <a:pt x="1686" y="774"/>
                    </a:lnTo>
                    <a:lnTo>
                      <a:pt x="1680" y="774"/>
                    </a:lnTo>
                    <a:lnTo>
                      <a:pt x="1668" y="780"/>
                    </a:lnTo>
                    <a:lnTo>
                      <a:pt x="1656" y="780"/>
                    </a:lnTo>
                    <a:lnTo>
                      <a:pt x="1638" y="786"/>
                    </a:lnTo>
                    <a:lnTo>
                      <a:pt x="1614" y="798"/>
                    </a:lnTo>
                    <a:lnTo>
                      <a:pt x="1614" y="804"/>
                    </a:lnTo>
                    <a:lnTo>
                      <a:pt x="1620" y="810"/>
                    </a:lnTo>
                    <a:lnTo>
                      <a:pt x="1632" y="816"/>
                    </a:lnTo>
                    <a:lnTo>
                      <a:pt x="1650" y="816"/>
                    </a:lnTo>
                    <a:lnTo>
                      <a:pt x="1644" y="816"/>
                    </a:lnTo>
                    <a:lnTo>
                      <a:pt x="1638" y="822"/>
                    </a:lnTo>
                    <a:lnTo>
                      <a:pt x="1632" y="822"/>
                    </a:lnTo>
                    <a:lnTo>
                      <a:pt x="1620" y="828"/>
                    </a:lnTo>
                    <a:lnTo>
                      <a:pt x="1572" y="828"/>
                    </a:lnTo>
                    <a:lnTo>
                      <a:pt x="1566" y="834"/>
                    </a:lnTo>
                    <a:lnTo>
                      <a:pt x="1560" y="834"/>
                    </a:lnTo>
                    <a:lnTo>
                      <a:pt x="1560" y="846"/>
                    </a:lnTo>
                    <a:lnTo>
                      <a:pt x="1572" y="858"/>
                    </a:lnTo>
                    <a:lnTo>
                      <a:pt x="1584" y="858"/>
                    </a:lnTo>
                    <a:lnTo>
                      <a:pt x="1596" y="852"/>
                    </a:lnTo>
                    <a:lnTo>
                      <a:pt x="1638" y="834"/>
                    </a:lnTo>
                    <a:lnTo>
                      <a:pt x="1680" y="810"/>
                    </a:lnTo>
                    <a:lnTo>
                      <a:pt x="1722" y="798"/>
                    </a:lnTo>
                    <a:lnTo>
                      <a:pt x="1788" y="798"/>
                    </a:lnTo>
                    <a:lnTo>
                      <a:pt x="1818" y="792"/>
                    </a:lnTo>
                    <a:lnTo>
                      <a:pt x="1824" y="786"/>
                    </a:lnTo>
                    <a:lnTo>
                      <a:pt x="1848" y="774"/>
                    </a:lnTo>
                    <a:lnTo>
                      <a:pt x="1854" y="762"/>
                    </a:lnTo>
                    <a:lnTo>
                      <a:pt x="1866" y="756"/>
                    </a:lnTo>
                    <a:lnTo>
                      <a:pt x="1872" y="750"/>
                    </a:lnTo>
                    <a:lnTo>
                      <a:pt x="1866" y="738"/>
                    </a:lnTo>
                    <a:lnTo>
                      <a:pt x="1878" y="732"/>
                    </a:lnTo>
                    <a:lnTo>
                      <a:pt x="1908" y="720"/>
                    </a:lnTo>
                    <a:lnTo>
                      <a:pt x="1944" y="714"/>
                    </a:lnTo>
                    <a:lnTo>
                      <a:pt x="1962" y="708"/>
                    </a:lnTo>
                    <a:lnTo>
                      <a:pt x="1968" y="708"/>
                    </a:lnTo>
                    <a:lnTo>
                      <a:pt x="1980" y="720"/>
                    </a:lnTo>
                    <a:lnTo>
                      <a:pt x="1980" y="726"/>
                    </a:lnTo>
                    <a:lnTo>
                      <a:pt x="2046" y="702"/>
                    </a:lnTo>
                    <a:lnTo>
                      <a:pt x="2004" y="738"/>
                    </a:lnTo>
                    <a:lnTo>
                      <a:pt x="2022" y="744"/>
                    </a:lnTo>
                    <a:lnTo>
                      <a:pt x="2022" y="762"/>
                    </a:lnTo>
                    <a:lnTo>
                      <a:pt x="2028" y="762"/>
                    </a:lnTo>
                    <a:lnTo>
                      <a:pt x="2034" y="756"/>
                    </a:lnTo>
                    <a:lnTo>
                      <a:pt x="2094" y="726"/>
                    </a:lnTo>
                    <a:lnTo>
                      <a:pt x="2082" y="732"/>
                    </a:lnTo>
                    <a:lnTo>
                      <a:pt x="2076" y="744"/>
                    </a:lnTo>
                    <a:lnTo>
                      <a:pt x="2064" y="750"/>
                    </a:lnTo>
                    <a:lnTo>
                      <a:pt x="2058" y="762"/>
                    </a:lnTo>
                    <a:lnTo>
                      <a:pt x="2046" y="774"/>
                    </a:lnTo>
                    <a:lnTo>
                      <a:pt x="2052" y="780"/>
                    </a:lnTo>
                    <a:lnTo>
                      <a:pt x="2064" y="780"/>
                    </a:lnTo>
                    <a:lnTo>
                      <a:pt x="2076" y="786"/>
                    </a:lnTo>
                    <a:lnTo>
                      <a:pt x="2106" y="786"/>
                    </a:lnTo>
                    <a:lnTo>
                      <a:pt x="2208" y="798"/>
                    </a:lnTo>
                    <a:lnTo>
                      <a:pt x="2238" y="780"/>
                    </a:lnTo>
                    <a:lnTo>
                      <a:pt x="2232" y="786"/>
                    </a:lnTo>
                    <a:lnTo>
                      <a:pt x="2232" y="810"/>
                    </a:lnTo>
                    <a:lnTo>
                      <a:pt x="2298" y="810"/>
                    </a:lnTo>
                    <a:lnTo>
                      <a:pt x="2334" y="804"/>
                    </a:lnTo>
                    <a:lnTo>
                      <a:pt x="2328" y="804"/>
                    </a:lnTo>
                    <a:lnTo>
                      <a:pt x="2322" y="810"/>
                    </a:lnTo>
                    <a:lnTo>
                      <a:pt x="2310" y="810"/>
                    </a:lnTo>
                    <a:lnTo>
                      <a:pt x="2286" y="822"/>
                    </a:lnTo>
                    <a:lnTo>
                      <a:pt x="2280" y="828"/>
                    </a:lnTo>
                    <a:lnTo>
                      <a:pt x="2280" y="834"/>
                    </a:lnTo>
                    <a:lnTo>
                      <a:pt x="2292" y="846"/>
                    </a:lnTo>
                    <a:lnTo>
                      <a:pt x="2304" y="852"/>
                    </a:lnTo>
                    <a:lnTo>
                      <a:pt x="2310" y="858"/>
                    </a:lnTo>
                    <a:lnTo>
                      <a:pt x="2310" y="882"/>
                    </a:lnTo>
                    <a:lnTo>
                      <a:pt x="2316" y="888"/>
                    </a:lnTo>
                    <a:lnTo>
                      <a:pt x="2316" y="900"/>
                    </a:lnTo>
                    <a:lnTo>
                      <a:pt x="2322" y="912"/>
                    </a:lnTo>
                    <a:lnTo>
                      <a:pt x="2358" y="912"/>
                    </a:lnTo>
                    <a:lnTo>
                      <a:pt x="2370" y="906"/>
                    </a:lnTo>
                    <a:lnTo>
                      <a:pt x="2388" y="906"/>
                    </a:lnTo>
                    <a:lnTo>
                      <a:pt x="2382" y="876"/>
                    </a:lnTo>
                    <a:lnTo>
                      <a:pt x="2400" y="870"/>
                    </a:lnTo>
                    <a:lnTo>
                      <a:pt x="2412" y="888"/>
                    </a:lnTo>
                    <a:lnTo>
                      <a:pt x="2442" y="876"/>
                    </a:lnTo>
                    <a:lnTo>
                      <a:pt x="2430" y="888"/>
                    </a:lnTo>
                    <a:lnTo>
                      <a:pt x="2430" y="900"/>
                    </a:lnTo>
                    <a:lnTo>
                      <a:pt x="2424" y="906"/>
                    </a:lnTo>
                    <a:lnTo>
                      <a:pt x="2424" y="912"/>
                    </a:lnTo>
                    <a:lnTo>
                      <a:pt x="2430" y="918"/>
                    </a:lnTo>
                    <a:lnTo>
                      <a:pt x="2436" y="918"/>
                    </a:lnTo>
                    <a:lnTo>
                      <a:pt x="2448" y="912"/>
                    </a:lnTo>
                    <a:lnTo>
                      <a:pt x="2454" y="906"/>
                    </a:lnTo>
                    <a:lnTo>
                      <a:pt x="2460" y="894"/>
                    </a:lnTo>
                    <a:lnTo>
                      <a:pt x="2466" y="888"/>
                    </a:lnTo>
                    <a:lnTo>
                      <a:pt x="2472" y="876"/>
                    </a:lnTo>
                    <a:lnTo>
                      <a:pt x="2502" y="834"/>
                    </a:lnTo>
                    <a:lnTo>
                      <a:pt x="2478" y="900"/>
                    </a:lnTo>
                    <a:lnTo>
                      <a:pt x="2484" y="924"/>
                    </a:lnTo>
                    <a:lnTo>
                      <a:pt x="2520" y="912"/>
                    </a:lnTo>
                    <a:lnTo>
                      <a:pt x="2496" y="936"/>
                    </a:lnTo>
                    <a:lnTo>
                      <a:pt x="2520" y="954"/>
                    </a:lnTo>
                    <a:lnTo>
                      <a:pt x="2502" y="954"/>
                    </a:lnTo>
                    <a:lnTo>
                      <a:pt x="2502" y="972"/>
                    </a:lnTo>
                    <a:lnTo>
                      <a:pt x="2472" y="990"/>
                    </a:lnTo>
                    <a:lnTo>
                      <a:pt x="2454" y="1002"/>
                    </a:lnTo>
                    <a:lnTo>
                      <a:pt x="2484" y="1020"/>
                    </a:lnTo>
                    <a:lnTo>
                      <a:pt x="2478" y="1050"/>
                    </a:lnTo>
                    <a:lnTo>
                      <a:pt x="2460" y="1068"/>
                    </a:lnTo>
                    <a:lnTo>
                      <a:pt x="2478" y="1080"/>
                    </a:lnTo>
                    <a:lnTo>
                      <a:pt x="2460" y="1098"/>
                    </a:lnTo>
                    <a:lnTo>
                      <a:pt x="2490" y="1098"/>
                    </a:lnTo>
                    <a:lnTo>
                      <a:pt x="2526" y="1086"/>
                    </a:lnTo>
                    <a:lnTo>
                      <a:pt x="2496" y="1122"/>
                    </a:lnTo>
                    <a:lnTo>
                      <a:pt x="2478" y="1140"/>
                    </a:lnTo>
                    <a:lnTo>
                      <a:pt x="2502" y="1146"/>
                    </a:lnTo>
                    <a:lnTo>
                      <a:pt x="2454" y="1164"/>
                    </a:lnTo>
                    <a:lnTo>
                      <a:pt x="2436" y="1176"/>
                    </a:lnTo>
                    <a:lnTo>
                      <a:pt x="2454" y="1188"/>
                    </a:lnTo>
                    <a:lnTo>
                      <a:pt x="2454" y="1200"/>
                    </a:lnTo>
                    <a:lnTo>
                      <a:pt x="2472" y="1188"/>
                    </a:lnTo>
                    <a:lnTo>
                      <a:pt x="2490" y="1182"/>
                    </a:lnTo>
                    <a:lnTo>
                      <a:pt x="2502" y="1170"/>
                    </a:lnTo>
                    <a:lnTo>
                      <a:pt x="2514" y="1164"/>
                    </a:lnTo>
                    <a:lnTo>
                      <a:pt x="2532" y="1146"/>
                    </a:lnTo>
                    <a:lnTo>
                      <a:pt x="2538" y="1134"/>
                    </a:lnTo>
                    <a:lnTo>
                      <a:pt x="2538" y="1122"/>
                    </a:lnTo>
                    <a:lnTo>
                      <a:pt x="2550" y="1116"/>
                    </a:lnTo>
                    <a:lnTo>
                      <a:pt x="2562" y="1104"/>
                    </a:lnTo>
                    <a:lnTo>
                      <a:pt x="2574" y="1098"/>
                    </a:lnTo>
                    <a:lnTo>
                      <a:pt x="2574" y="1086"/>
                    </a:lnTo>
                    <a:lnTo>
                      <a:pt x="2568" y="1080"/>
                    </a:lnTo>
                    <a:lnTo>
                      <a:pt x="2562" y="1080"/>
                    </a:lnTo>
                    <a:close/>
                    <a:moveTo>
                      <a:pt x="2394" y="1056"/>
                    </a:moveTo>
                    <a:lnTo>
                      <a:pt x="2400" y="1062"/>
                    </a:lnTo>
                    <a:lnTo>
                      <a:pt x="2418" y="1062"/>
                    </a:lnTo>
                    <a:lnTo>
                      <a:pt x="2436" y="1044"/>
                    </a:lnTo>
                    <a:lnTo>
                      <a:pt x="2460" y="1038"/>
                    </a:lnTo>
                    <a:lnTo>
                      <a:pt x="2454" y="1020"/>
                    </a:lnTo>
                    <a:lnTo>
                      <a:pt x="2430" y="1020"/>
                    </a:lnTo>
                    <a:lnTo>
                      <a:pt x="2418" y="1026"/>
                    </a:lnTo>
                    <a:lnTo>
                      <a:pt x="2412" y="1032"/>
                    </a:lnTo>
                    <a:lnTo>
                      <a:pt x="2406" y="1044"/>
                    </a:lnTo>
                    <a:lnTo>
                      <a:pt x="2394" y="1050"/>
                    </a:lnTo>
                    <a:lnTo>
                      <a:pt x="2394" y="1056"/>
                    </a:lnTo>
                    <a:close/>
                    <a:moveTo>
                      <a:pt x="2376" y="984"/>
                    </a:moveTo>
                    <a:lnTo>
                      <a:pt x="2358" y="984"/>
                    </a:lnTo>
                    <a:lnTo>
                      <a:pt x="2346" y="990"/>
                    </a:lnTo>
                    <a:lnTo>
                      <a:pt x="2334" y="1002"/>
                    </a:lnTo>
                    <a:lnTo>
                      <a:pt x="2334" y="1014"/>
                    </a:lnTo>
                    <a:lnTo>
                      <a:pt x="2322" y="1026"/>
                    </a:lnTo>
                    <a:lnTo>
                      <a:pt x="2322" y="1044"/>
                    </a:lnTo>
                    <a:lnTo>
                      <a:pt x="2310" y="1056"/>
                    </a:lnTo>
                    <a:lnTo>
                      <a:pt x="2310" y="1074"/>
                    </a:lnTo>
                    <a:lnTo>
                      <a:pt x="2316" y="1080"/>
                    </a:lnTo>
                    <a:lnTo>
                      <a:pt x="2322" y="1074"/>
                    </a:lnTo>
                    <a:lnTo>
                      <a:pt x="2328" y="1062"/>
                    </a:lnTo>
                    <a:lnTo>
                      <a:pt x="2340" y="1050"/>
                    </a:lnTo>
                    <a:lnTo>
                      <a:pt x="2352" y="1044"/>
                    </a:lnTo>
                    <a:lnTo>
                      <a:pt x="2376" y="1020"/>
                    </a:lnTo>
                    <a:lnTo>
                      <a:pt x="2382" y="1008"/>
                    </a:lnTo>
                    <a:lnTo>
                      <a:pt x="2382" y="990"/>
                    </a:lnTo>
                    <a:lnTo>
                      <a:pt x="2376" y="984"/>
                    </a:lnTo>
                    <a:close/>
                    <a:moveTo>
                      <a:pt x="786" y="810"/>
                    </a:moveTo>
                    <a:lnTo>
                      <a:pt x="798" y="810"/>
                    </a:lnTo>
                    <a:lnTo>
                      <a:pt x="834" y="798"/>
                    </a:lnTo>
                    <a:lnTo>
                      <a:pt x="858" y="786"/>
                    </a:lnTo>
                    <a:lnTo>
                      <a:pt x="864" y="780"/>
                    </a:lnTo>
                    <a:lnTo>
                      <a:pt x="870" y="780"/>
                    </a:lnTo>
                    <a:lnTo>
                      <a:pt x="864" y="774"/>
                    </a:lnTo>
                    <a:lnTo>
                      <a:pt x="828" y="762"/>
                    </a:lnTo>
                    <a:lnTo>
                      <a:pt x="810" y="762"/>
                    </a:lnTo>
                    <a:lnTo>
                      <a:pt x="798" y="768"/>
                    </a:lnTo>
                    <a:lnTo>
                      <a:pt x="792" y="774"/>
                    </a:lnTo>
                    <a:lnTo>
                      <a:pt x="786" y="768"/>
                    </a:lnTo>
                    <a:lnTo>
                      <a:pt x="774" y="768"/>
                    </a:lnTo>
                    <a:lnTo>
                      <a:pt x="768" y="774"/>
                    </a:lnTo>
                    <a:lnTo>
                      <a:pt x="768" y="804"/>
                    </a:lnTo>
                    <a:lnTo>
                      <a:pt x="774" y="810"/>
                    </a:lnTo>
                    <a:lnTo>
                      <a:pt x="786" y="810"/>
                    </a:lnTo>
                    <a:close/>
                    <a:moveTo>
                      <a:pt x="0" y="1332"/>
                    </a:moveTo>
                    <a:lnTo>
                      <a:pt x="60" y="1320"/>
                    </a:lnTo>
                    <a:lnTo>
                      <a:pt x="72" y="1302"/>
                    </a:lnTo>
                    <a:lnTo>
                      <a:pt x="132" y="1296"/>
                    </a:lnTo>
                    <a:lnTo>
                      <a:pt x="114" y="1272"/>
                    </a:lnTo>
                    <a:lnTo>
                      <a:pt x="0" y="1332"/>
                    </a:lnTo>
                    <a:close/>
                    <a:moveTo>
                      <a:pt x="1362" y="954"/>
                    </a:moveTo>
                    <a:lnTo>
                      <a:pt x="1350" y="954"/>
                    </a:lnTo>
                    <a:lnTo>
                      <a:pt x="1338" y="960"/>
                    </a:lnTo>
                    <a:lnTo>
                      <a:pt x="1332" y="954"/>
                    </a:lnTo>
                    <a:lnTo>
                      <a:pt x="1314" y="954"/>
                    </a:lnTo>
                    <a:lnTo>
                      <a:pt x="1314" y="978"/>
                    </a:lnTo>
                    <a:lnTo>
                      <a:pt x="1290" y="996"/>
                    </a:lnTo>
                    <a:lnTo>
                      <a:pt x="1290" y="972"/>
                    </a:lnTo>
                    <a:lnTo>
                      <a:pt x="1278" y="966"/>
                    </a:lnTo>
                    <a:lnTo>
                      <a:pt x="1272" y="966"/>
                    </a:lnTo>
                    <a:lnTo>
                      <a:pt x="1248" y="978"/>
                    </a:lnTo>
                    <a:lnTo>
                      <a:pt x="1242" y="978"/>
                    </a:lnTo>
                    <a:lnTo>
                      <a:pt x="1230" y="990"/>
                    </a:lnTo>
                    <a:lnTo>
                      <a:pt x="1224" y="1002"/>
                    </a:lnTo>
                    <a:lnTo>
                      <a:pt x="1218" y="1008"/>
                    </a:lnTo>
                    <a:lnTo>
                      <a:pt x="1218" y="1014"/>
                    </a:lnTo>
                    <a:lnTo>
                      <a:pt x="1224" y="1014"/>
                    </a:lnTo>
                    <a:lnTo>
                      <a:pt x="1230" y="1020"/>
                    </a:lnTo>
                    <a:lnTo>
                      <a:pt x="1278" y="1020"/>
                    </a:lnTo>
                    <a:lnTo>
                      <a:pt x="1296" y="1014"/>
                    </a:lnTo>
                    <a:lnTo>
                      <a:pt x="1308" y="1014"/>
                    </a:lnTo>
                    <a:lnTo>
                      <a:pt x="1320" y="1008"/>
                    </a:lnTo>
                    <a:lnTo>
                      <a:pt x="1320" y="996"/>
                    </a:lnTo>
                    <a:lnTo>
                      <a:pt x="1350" y="990"/>
                    </a:lnTo>
                    <a:lnTo>
                      <a:pt x="1350" y="984"/>
                    </a:lnTo>
                    <a:lnTo>
                      <a:pt x="1386" y="978"/>
                    </a:lnTo>
                    <a:lnTo>
                      <a:pt x="1398" y="954"/>
                    </a:lnTo>
                    <a:lnTo>
                      <a:pt x="1380" y="960"/>
                    </a:lnTo>
                    <a:lnTo>
                      <a:pt x="1374" y="954"/>
                    </a:lnTo>
                    <a:lnTo>
                      <a:pt x="1362" y="954"/>
                    </a:lnTo>
                    <a:close/>
                    <a:moveTo>
                      <a:pt x="162" y="1290"/>
                    </a:moveTo>
                    <a:lnTo>
                      <a:pt x="204" y="1290"/>
                    </a:lnTo>
                    <a:lnTo>
                      <a:pt x="240" y="1260"/>
                    </a:lnTo>
                    <a:lnTo>
                      <a:pt x="228" y="1242"/>
                    </a:lnTo>
                    <a:lnTo>
                      <a:pt x="162" y="1290"/>
                    </a:lnTo>
                    <a:close/>
                    <a:moveTo>
                      <a:pt x="2466" y="1140"/>
                    </a:moveTo>
                    <a:lnTo>
                      <a:pt x="2472" y="1128"/>
                    </a:lnTo>
                    <a:lnTo>
                      <a:pt x="2454" y="1110"/>
                    </a:lnTo>
                    <a:lnTo>
                      <a:pt x="2448" y="1110"/>
                    </a:lnTo>
                    <a:lnTo>
                      <a:pt x="2436" y="1122"/>
                    </a:lnTo>
                    <a:lnTo>
                      <a:pt x="2430" y="1134"/>
                    </a:lnTo>
                    <a:lnTo>
                      <a:pt x="2424" y="1152"/>
                    </a:lnTo>
                    <a:lnTo>
                      <a:pt x="2418" y="1164"/>
                    </a:lnTo>
                    <a:lnTo>
                      <a:pt x="2418" y="1176"/>
                    </a:lnTo>
                    <a:lnTo>
                      <a:pt x="2436" y="1158"/>
                    </a:lnTo>
                    <a:lnTo>
                      <a:pt x="2454" y="1158"/>
                    </a:lnTo>
                    <a:lnTo>
                      <a:pt x="2460" y="1152"/>
                    </a:lnTo>
                    <a:lnTo>
                      <a:pt x="2466" y="1140"/>
                    </a:lnTo>
                    <a:close/>
                    <a:moveTo>
                      <a:pt x="1428" y="912"/>
                    </a:moveTo>
                    <a:lnTo>
                      <a:pt x="1404" y="924"/>
                    </a:lnTo>
                    <a:lnTo>
                      <a:pt x="1386" y="942"/>
                    </a:lnTo>
                    <a:lnTo>
                      <a:pt x="1386" y="948"/>
                    </a:lnTo>
                    <a:lnTo>
                      <a:pt x="1398" y="954"/>
                    </a:lnTo>
                    <a:lnTo>
                      <a:pt x="1410" y="954"/>
                    </a:lnTo>
                    <a:lnTo>
                      <a:pt x="1422" y="948"/>
                    </a:lnTo>
                    <a:lnTo>
                      <a:pt x="1428" y="948"/>
                    </a:lnTo>
                    <a:lnTo>
                      <a:pt x="1440" y="942"/>
                    </a:lnTo>
                    <a:lnTo>
                      <a:pt x="1446" y="930"/>
                    </a:lnTo>
                    <a:lnTo>
                      <a:pt x="1470" y="930"/>
                    </a:lnTo>
                    <a:lnTo>
                      <a:pt x="1470" y="924"/>
                    </a:lnTo>
                    <a:lnTo>
                      <a:pt x="1458" y="912"/>
                    </a:lnTo>
                    <a:lnTo>
                      <a:pt x="1452" y="912"/>
                    </a:lnTo>
                    <a:lnTo>
                      <a:pt x="1440" y="906"/>
                    </a:lnTo>
                    <a:lnTo>
                      <a:pt x="1428" y="912"/>
                    </a:lnTo>
                    <a:close/>
                    <a:moveTo>
                      <a:pt x="498" y="1164"/>
                    </a:moveTo>
                    <a:lnTo>
                      <a:pt x="486" y="1164"/>
                    </a:lnTo>
                    <a:lnTo>
                      <a:pt x="474" y="1170"/>
                    </a:lnTo>
                    <a:lnTo>
                      <a:pt x="462" y="1170"/>
                    </a:lnTo>
                    <a:lnTo>
                      <a:pt x="450" y="1176"/>
                    </a:lnTo>
                    <a:lnTo>
                      <a:pt x="444" y="1182"/>
                    </a:lnTo>
                    <a:lnTo>
                      <a:pt x="432" y="1182"/>
                    </a:lnTo>
                    <a:lnTo>
                      <a:pt x="426" y="1188"/>
                    </a:lnTo>
                    <a:lnTo>
                      <a:pt x="414" y="1188"/>
                    </a:lnTo>
                    <a:lnTo>
                      <a:pt x="390" y="1200"/>
                    </a:lnTo>
                    <a:lnTo>
                      <a:pt x="384" y="1206"/>
                    </a:lnTo>
                    <a:lnTo>
                      <a:pt x="384" y="1218"/>
                    </a:lnTo>
                    <a:lnTo>
                      <a:pt x="402" y="1218"/>
                    </a:lnTo>
                    <a:lnTo>
                      <a:pt x="420" y="1212"/>
                    </a:lnTo>
                    <a:lnTo>
                      <a:pt x="432" y="1206"/>
                    </a:lnTo>
                    <a:lnTo>
                      <a:pt x="504" y="1206"/>
                    </a:lnTo>
                    <a:lnTo>
                      <a:pt x="510" y="1200"/>
                    </a:lnTo>
                    <a:lnTo>
                      <a:pt x="510" y="1176"/>
                    </a:lnTo>
                    <a:lnTo>
                      <a:pt x="498" y="1164"/>
                    </a:lnTo>
                    <a:close/>
                    <a:moveTo>
                      <a:pt x="330" y="1242"/>
                    </a:moveTo>
                    <a:lnTo>
                      <a:pt x="330" y="1224"/>
                    </a:lnTo>
                    <a:lnTo>
                      <a:pt x="276" y="1242"/>
                    </a:lnTo>
                    <a:lnTo>
                      <a:pt x="330" y="1242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spcBef>
                    <a:spcPct val="0"/>
                  </a:spcBef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grpSp>
            <p:nvGrpSpPr>
              <p:cNvPr id="275" name="Gruppieren 484"/>
              <p:cNvGrpSpPr>
                <a:grpSpLocks/>
              </p:cNvGrpSpPr>
              <p:nvPr/>
            </p:nvGrpSpPr>
            <p:grpSpPr bwMode="auto">
              <a:xfrm>
                <a:off x="952500" y="2479677"/>
                <a:ext cx="2268538" cy="3389313"/>
                <a:chOff x="952499" y="2479677"/>
                <a:chExt cx="2268541" cy="3389315"/>
              </a:xfrm>
            </p:grpSpPr>
            <p:sp>
              <p:nvSpPr>
                <p:cNvPr id="288" name="Belize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1687513" y="3478213"/>
                  <a:ext cx="44450" cy="84137"/>
                </a:xfrm>
                <a:custGeom>
                  <a:avLst/>
                  <a:gdLst>
                    <a:gd name="T0" fmla="*/ 2147483647 w 108"/>
                    <a:gd name="T1" fmla="*/ 2147483647 h 210"/>
                    <a:gd name="T2" fmla="*/ 2147483647 w 108"/>
                    <a:gd name="T3" fmla="*/ 2147483647 h 210"/>
                    <a:gd name="T4" fmla="*/ 2147483647 w 108"/>
                    <a:gd name="T5" fmla="*/ 2147483647 h 210"/>
                    <a:gd name="T6" fmla="*/ 2147483647 w 108"/>
                    <a:gd name="T7" fmla="*/ 2147483647 h 210"/>
                    <a:gd name="T8" fmla="*/ 2147483647 w 108"/>
                    <a:gd name="T9" fmla="*/ 2147483647 h 210"/>
                    <a:gd name="T10" fmla="*/ 2147483647 w 108"/>
                    <a:gd name="T11" fmla="*/ 0 h 210"/>
                    <a:gd name="T12" fmla="*/ 2147483647 w 108"/>
                    <a:gd name="T13" fmla="*/ 2147483647 h 210"/>
                    <a:gd name="T14" fmla="*/ 2147483647 w 108"/>
                    <a:gd name="T15" fmla="*/ 2147483647 h 210"/>
                    <a:gd name="T16" fmla="*/ 2147483647 w 108"/>
                    <a:gd name="T17" fmla="*/ 2147483647 h 210"/>
                    <a:gd name="T18" fmla="*/ 2147483647 w 108"/>
                    <a:gd name="T19" fmla="*/ 2147483647 h 210"/>
                    <a:gd name="T20" fmla="*/ 2147483647 w 108"/>
                    <a:gd name="T21" fmla="*/ 2147483647 h 210"/>
                    <a:gd name="T22" fmla="*/ 2147483647 w 108"/>
                    <a:gd name="T23" fmla="*/ 2147483647 h 210"/>
                    <a:gd name="T24" fmla="*/ 2147483647 w 108"/>
                    <a:gd name="T25" fmla="*/ 2147483647 h 210"/>
                    <a:gd name="T26" fmla="*/ 2147483647 w 108"/>
                    <a:gd name="T27" fmla="*/ 2147483647 h 210"/>
                    <a:gd name="T28" fmla="*/ 2147483647 w 108"/>
                    <a:gd name="T29" fmla="*/ 2147483647 h 210"/>
                    <a:gd name="T30" fmla="*/ 2147483647 w 108"/>
                    <a:gd name="T31" fmla="*/ 2147483647 h 210"/>
                    <a:gd name="T32" fmla="*/ 2147483647 w 108"/>
                    <a:gd name="T33" fmla="*/ 2147483647 h 210"/>
                    <a:gd name="T34" fmla="*/ 2147483647 w 108"/>
                    <a:gd name="T35" fmla="*/ 2147483647 h 210"/>
                    <a:gd name="T36" fmla="*/ 0 w 108"/>
                    <a:gd name="T37" fmla="*/ 2147483647 h 210"/>
                    <a:gd name="T38" fmla="*/ 2147483647 w 108"/>
                    <a:gd name="T39" fmla="*/ 2147483647 h 210"/>
                    <a:gd name="T40" fmla="*/ 2147483647 w 108"/>
                    <a:gd name="T41" fmla="*/ 2147483647 h 210"/>
                    <a:gd name="T42" fmla="*/ 2147483647 w 108"/>
                    <a:gd name="T43" fmla="*/ 2147483647 h 210"/>
                    <a:gd name="T44" fmla="*/ 2147483647 w 108"/>
                    <a:gd name="T45" fmla="*/ 2147483647 h 210"/>
                    <a:gd name="T46" fmla="*/ 2147483647 w 108"/>
                    <a:gd name="T47" fmla="*/ 2147483647 h 210"/>
                    <a:gd name="T48" fmla="*/ 2147483647 w 108"/>
                    <a:gd name="T49" fmla="*/ 2147483647 h 210"/>
                    <a:gd name="T50" fmla="*/ 2147483647 w 108"/>
                    <a:gd name="T51" fmla="*/ 2147483647 h 210"/>
                    <a:gd name="T52" fmla="*/ 2147483647 w 108"/>
                    <a:gd name="T53" fmla="*/ 2147483647 h 210"/>
                    <a:gd name="T54" fmla="*/ 2147483647 w 108"/>
                    <a:gd name="T55" fmla="*/ 2147483647 h 210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08"/>
                    <a:gd name="T85" fmla="*/ 0 h 210"/>
                    <a:gd name="T86" fmla="*/ 108 w 108"/>
                    <a:gd name="T87" fmla="*/ 210 h 210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08" h="210">
                      <a:moveTo>
                        <a:pt x="108" y="30"/>
                      </a:moveTo>
                      <a:lnTo>
                        <a:pt x="108" y="24"/>
                      </a:lnTo>
                      <a:lnTo>
                        <a:pt x="102" y="24"/>
                      </a:lnTo>
                      <a:lnTo>
                        <a:pt x="90" y="18"/>
                      </a:lnTo>
                      <a:lnTo>
                        <a:pt x="84" y="12"/>
                      </a:lnTo>
                      <a:lnTo>
                        <a:pt x="78" y="0"/>
                      </a:lnTo>
                      <a:lnTo>
                        <a:pt x="78" y="6"/>
                      </a:lnTo>
                      <a:lnTo>
                        <a:pt x="72" y="12"/>
                      </a:lnTo>
                      <a:lnTo>
                        <a:pt x="72" y="24"/>
                      </a:lnTo>
                      <a:lnTo>
                        <a:pt x="66" y="36"/>
                      </a:lnTo>
                      <a:lnTo>
                        <a:pt x="54" y="42"/>
                      </a:lnTo>
                      <a:lnTo>
                        <a:pt x="48" y="48"/>
                      </a:lnTo>
                      <a:lnTo>
                        <a:pt x="42" y="48"/>
                      </a:lnTo>
                      <a:lnTo>
                        <a:pt x="42" y="42"/>
                      </a:lnTo>
                      <a:lnTo>
                        <a:pt x="36" y="36"/>
                      </a:lnTo>
                      <a:lnTo>
                        <a:pt x="30" y="36"/>
                      </a:lnTo>
                      <a:lnTo>
                        <a:pt x="30" y="42"/>
                      </a:lnTo>
                      <a:lnTo>
                        <a:pt x="24" y="54"/>
                      </a:lnTo>
                      <a:lnTo>
                        <a:pt x="0" y="210"/>
                      </a:lnTo>
                      <a:lnTo>
                        <a:pt x="30" y="210"/>
                      </a:lnTo>
                      <a:lnTo>
                        <a:pt x="42" y="168"/>
                      </a:lnTo>
                      <a:lnTo>
                        <a:pt x="60" y="174"/>
                      </a:lnTo>
                      <a:lnTo>
                        <a:pt x="84" y="150"/>
                      </a:lnTo>
                      <a:lnTo>
                        <a:pt x="84" y="90"/>
                      </a:lnTo>
                      <a:lnTo>
                        <a:pt x="90" y="78"/>
                      </a:lnTo>
                      <a:lnTo>
                        <a:pt x="96" y="60"/>
                      </a:lnTo>
                      <a:lnTo>
                        <a:pt x="108" y="36"/>
                      </a:lnTo>
                      <a:lnTo>
                        <a:pt x="108" y="30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89" name="Venezuela" descr="© INSCALE GmbH, 05.05.2010&#10;http://www.presentationload.com/"/>
                <p:cNvSpPr>
                  <a:spLocks noEditPoints="1"/>
                </p:cNvSpPr>
                <p:nvPr/>
              </p:nvSpPr>
              <p:spPr bwMode="gray">
                <a:xfrm>
                  <a:off x="2122489" y="3683003"/>
                  <a:ext cx="384176" cy="374650"/>
                </a:xfrm>
                <a:custGeom>
                  <a:avLst/>
                  <a:gdLst>
                    <a:gd name="T0" fmla="*/ 2147483647 w 954"/>
                    <a:gd name="T1" fmla="*/ 2147483647 h 930"/>
                    <a:gd name="T2" fmla="*/ 2147483647 w 954"/>
                    <a:gd name="T3" fmla="*/ 2147483647 h 930"/>
                    <a:gd name="T4" fmla="*/ 2147483647 w 954"/>
                    <a:gd name="T5" fmla="*/ 2147483647 h 930"/>
                    <a:gd name="T6" fmla="*/ 2147483647 w 954"/>
                    <a:gd name="T7" fmla="*/ 2147483647 h 930"/>
                    <a:gd name="T8" fmla="*/ 2147483647 w 954"/>
                    <a:gd name="T9" fmla="*/ 2147483647 h 930"/>
                    <a:gd name="T10" fmla="*/ 2147483647 w 954"/>
                    <a:gd name="T11" fmla="*/ 2147483647 h 930"/>
                    <a:gd name="T12" fmla="*/ 2147483647 w 954"/>
                    <a:gd name="T13" fmla="*/ 2147483647 h 930"/>
                    <a:gd name="T14" fmla="*/ 2147483647 w 954"/>
                    <a:gd name="T15" fmla="*/ 2147483647 h 930"/>
                    <a:gd name="T16" fmla="*/ 2147483647 w 954"/>
                    <a:gd name="T17" fmla="*/ 2147483647 h 930"/>
                    <a:gd name="T18" fmla="*/ 2147483647 w 954"/>
                    <a:gd name="T19" fmla="*/ 2147483647 h 930"/>
                    <a:gd name="T20" fmla="*/ 2147483647 w 954"/>
                    <a:gd name="T21" fmla="*/ 2147483647 h 930"/>
                    <a:gd name="T22" fmla="*/ 2147483647 w 954"/>
                    <a:gd name="T23" fmla="*/ 2147483647 h 930"/>
                    <a:gd name="T24" fmla="*/ 2147483647 w 954"/>
                    <a:gd name="T25" fmla="*/ 2147483647 h 930"/>
                    <a:gd name="T26" fmla="*/ 2147483647 w 954"/>
                    <a:gd name="T27" fmla="*/ 2147483647 h 930"/>
                    <a:gd name="T28" fmla="*/ 2147483647 w 954"/>
                    <a:gd name="T29" fmla="*/ 2147483647 h 930"/>
                    <a:gd name="T30" fmla="*/ 2147483647 w 954"/>
                    <a:gd name="T31" fmla="*/ 2147483647 h 930"/>
                    <a:gd name="T32" fmla="*/ 2147483647 w 954"/>
                    <a:gd name="T33" fmla="*/ 2147483647 h 930"/>
                    <a:gd name="T34" fmla="*/ 2147483647 w 954"/>
                    <a:gd name="T35" fmla="*/ 2147483647 h 930"/>
                    <a:gd name="T36" fmla="*/ 2147483647 w 954"/>
                    <a:gd name="T37" fmla="*/ 2147483647 h 930"/>
                    <a:gd name="T38" fmla="*/ 2147483647 w 954"/>
                    <a:gd name="T39" fmla="*/ 2147483647 h 930"/>
                    <a:gd name="T40" fmla="*/ 2147483647 w 954"/>
                    <a:gd name="T41" fmla="*/ 2147483647 h 930"/>
                    <a:gd name="T42" fmla="*/ 2147483647 w 954"/>
                    <a:gd name="T43" fmla="*/ 2147483647 h 930"/>
                    <a:gd name="T44" fmla="*/ 2147483647 w 954"/>
                    <a:gd name="T45" fmla="*/ 2147483647 h 930"/>
                    <a:gd name="T46" fmla="*/ 2147483647 w 954"/>
                    <a:gd name="T47" fmla="*/ 2147483647 h 930"/>
                    <a:gd name="T48" fmla="*/ 2147483647 w 954"/>
                    <a:gd name="T49" fmla="*/ 2147483647 h 930"/>
                    <a:gd name="T50" fmla="*/ 0 w 954"/>
                    <a:gd name="T51" fmla="*/ 2147483647 h 930"/>
                    <a:gd name="T52" fmla="*/ 2147483647 w 954"/>
                    <a:gd name="T53" fmla="*/ 2147483647 h 930"/>
                    <a:gd name="T54" fmla="*/ 2147483647 w 954"/>
                    <a:gd name="T55" fmla="*/ 2147483647 h 930"/>
                    <a:gd name="T56" fmla="*/ 2147483647 w 954"/>
                    <a:gd name="T57" fmla="*/ 2147483647 h 930"/>
                    <a:gd name="T58" fmla="*/ 2147483647 w 954"/>
                    <a:gd name="T59" fmla="*/ 2147483647 h 930"/>
                    <a:gd name="T60" fmla="*/ 2147483647 w 954"/>
                    <a:gd name="T61" fmla="*/ 2147483647 h 930"/>
                    <a:gd name="T62" fmla="*/ 2147483647 w 954"/>
                    <a:gd name="T63" fmla="*/ 2147483647 h 930"/>
                    <a:gd name="T64" fmla="*/ 2147483647 w 954"/>
                    <a:gd name="T65" fmla="*/ 2147483647 h 930"/>
                    <a:gd name="T66" fmla="*/ 2147483647 w 954"/>
                    <a:gd name="T67" fmla="*/ 2147483647 h 930"/>
                    <a:gd name="T68" fmla="*/ 2147483647 w 954"/>
                    <a:gd name="T69" fmla="*/ 2147483647 h 930"/>
                    <a:gd name="T70" fmla="*/ 2147483647 w 954"/>
                    <a:gd name="T71" fmla="*/ 2147483647 h 930"/>
                    <a:gd name="T72" fmla="*/ 2147483647 w 954"/>
                    <a:gd name="T73" fmla="*/ 2147483647 h 930"/>
                    <a:gd name="T74" fmla="*/ 2147483647 w 954"/>
                    <a:gd name="T75" fmla="*/ 2147483647 h 930"/>
                    <a:gd name="T76" fmla="*/ 2147483647 w 954"/>
                    <a:gd name="T77" fmla="*/ 2147483647 h 930"/>
                    <a:gd name="T78" fmla="*/ 2147483647 w 954"/>
                    <a:gd name="T79" fmla="*/ 2147483647 h 930"/>
                    <a:gd name="T80" fmla="*/ 2147483647 w 954"/>
                    <a:gd name="T81" fmla="*/ 2147483647 h 930"/>
                    <a:gd name="T82" fmla="*/ 2147483647 w 954"/>
                    <a:gd name="T83" fmla="*/ 2147483647 h 930"/>
                    <a:gd name="T84" fmla="*/ 2147483647 w 954"/>
                    <a:gd name="T85" fmla="*/ 2147483647 h 930"/>
                    <a:gd name="T86" fmla="*/ 2147483647 w 954"/>
                    <a:gd name="T87" fmla="*/ 2147483647 h 930"/>
                    <a:gd name="T88" fmla="*/ 2147483647 w 954"/>
                    <a:gd name="T89" fmla="*/ 2147483647 h 930"/>
                    <a:gd name="T90" fmla="*/ 2147483647 w 954"/>
                    <a:gd name="T91" fmla="*/ 2147483647 h 930"/>
                    <a:gd name="T92" fmla="*/ 2147483647 w 954"/>
                    <a:gd name="T93" fmla="*/ 2147483647 h 930"/>
                    <a:gd name="T94" fmla="*/ 2147483647 w 954"/>
                    <a:gd name="T95" fmla="*/ 2147483647 h 930"/>
                    <a:gd name="T96" fmla="*/ 2147483647 w 954"/>
                    <a:gd name="T97" fmla="*/ 2147483647 h 930"/>
                    <a:gd name="T98" fmla="*/ 2147483647 w 954"/>
                    <a:gd name="T99" fmla="*/ 2147483647 h 930"/>
                    <a:gd name="T100" fmla="*/ 2147483647 w 954"/>
                    <a:gd name="T101" fmla="*/ 2147483647 h 930"/>
                    <a:gd name="T102" fmla="*/ 2147483647 w 954"/>
                    <a:gd name="T103" fmla="*/ 2147483647 h 930"/>
                    <a:gd name="T104" fmla="*/ 2147483647 w 954"/>
                    <a:gd name="T105" fmla="*/ 2147483647 h 930"/>
                    <a:gd name="T106" fmla="*/ 2147483647 w 954"/>
                    <a:gd name="T107" fmla="*/ 2147483647 h 930"/>
                    <a:gd name="T108" fmla="*/ 2147483647 w 954"/>
                    <a:gd name="T109" fmla="*/ 2147483647 h 930"/>
                    <a:gd name="T110" fmla="*/ 2147483647 w 954"/>
                    <a:gd name="T111" fmla="*/ 2147483647 h 930"/>
                    <a:gd name="T112" fmla="*/ 2147483647 w 954"/>
                    <a:gd name="T113" fmla="*/ 2147483647 h 930"/>
                    <a:gd name="T114" fmla="*/ 2147483647 w 954"/>
                    <a:gd name="T115" fmla="*/ 2147483647 h 930"/>
                    <a:gd name="T116" fmla="*/ 2147483647 w 954"/>
                    <a:gd name="T117" fmla="*/ 2147483647 h 930"/>
                    <a:gd name="T118" fmla="*/ 2147483647 w 954"/>
                    <a:gd name="T119" fmla="*/ 2147483647 h 93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54"/>
                    <a:gd name="T181" fmla="*/ 0 h 930"/>
                    <a:gd name="T182" fmla="*/ 954 w 954"/>
                    <a:gd name="T183" fmla="*/ 930 h 93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54" h="930">
                      <a:moveTo>
                        <a:pt x="264" y="42"/>
                      </a:moveTo>
                      <a:lnTo>
                        <a:pt x="264" y="12"/>
                      </a:lnTo>
                      <a:lnTo>
                        <a:pt x="252" y="0"/>
                      </a:lnTo>
                      <a:lnTo>
                        <a:pt x="234" y="0"/>
                      </a:lnTo>
                      <a:lnTo>
                        <a:pt x="228" y="6"/>
                      </a:lnTo>
                      <a:lnTo>
                        <a:pt x="228" y="18"/>
                      </a:lnTo>
                      <a:lnTo>
                        <a:pt x="234" y="24"/>
                      </a:lnTo>
                      <a:lnTo>
                        <a:pt x="234" y="36"/>
                      </a:lnTo>
                      <a:lnTo>
                        <a:pt x="240" y="42"/>
                      </a:lnTo>
                      <a:lnTo>
                        <a:pt x="264" y="42"/>
                      </a:lnTo>
                      <a:close/>
                      <a:moveTo>
                        <a:pt x="936" y="276"/>
                      </a:moveTo>
                      <a:lnTo>
                        <a:pt x="930" y="276"/>
                      </a:lnTo>
                      <a:lnTo>
                        <a:pt x="924" y="282"/>
                      </a:lnTo>
                      <a:lnTo>
                        <a:pt x="912" y="288"/>
                      </a:lnTo>
                      <a:lnTo>
                        <a:pt x="906" y="294"/>
                      </a:lnTo>
                      <a:lnTo>
                        <a:pt x="900" y="288"/>
                      </a:lnTo>
                      <a:lnTo>
                        <a:pt x="888" y="288"/>
                      </a:lnTo>
                      <a:lnTo>
                        <a:pt x="882" y="282"/>
                      </a:lnTo>
                      <a:lnTo>
                        <a:pt x="876" y="282"/>
                      </a:lnTo>
                      <a:lnTo>
                        <a:pt x="852" y="306"/>
                      </a:lnTo>
                      <a:lnTo>
                        <a:pt x="822" y="282"/>
                      </a:lnTo>
                      <a:lnTo>
                        <a:pt x="846" y="282"/>
                      </a:lnTo>
                      <a:lnTo>
                        <a:pt x="858" y="276"/>
                      </a:lnTo>
                      <a:lnTo>
                        <a:pt x="864" y="276"/>
                      </a:lnTo>
                      <a:lnTo>
                        <a:pt x="870" y="264"/>
                      </a:lnTo>
                      <a:lnTo>
                        <a:pt x="870" y="246"/>
                      </a:lnTo>
                      <a:lnTo>
                        <a:pt x="882" y="234"/>
                      </a:lnTo>
                      <a:lnTo>
                        <a:pt x="888" y="222"/>
                      </a:lnTo>
                      <a:lnTo>
                        <a:pt x="876" y="210"/>
                      </a:lnTo>
                      <a:lnTo>
                        <a:pt x="846" y="210"/>
                      </a:lnTo>
                      <a:lnTo>
                        <a:pt x="846" y="204"/>
                      </a:lnTo>
                      <a:lnTo>
                        <a:pt x="840" y="198"/>
                      </a:lnTo>
                      <a:lnTo>
                        <a:pt x="840" y="192"/>
                      </a:lnTo>
                      <a:lnTo>
                        <a:pt x="834" y="186"/>
                      </a:lnTo>
                      <a:lnTo>
                        <a:pt x="828" y="186"/>
                      </a:lnTo>
                      <a:lnTo>
                        <a:pt x="822" y="192"/>
                      </a:lnTo>
                      <a:lnTo>
                        <a:pt x="822" y="210"/>
                      </a:lnTo>
                      <a:lnTo>
                        <a:pt x="816" y="198"/>
                      </a:lnTo>
                      <a:lnTo>
                        <a:pt x="816" y="180"/>
                      </a:lnTo>
                      <a:lnTo>
                        <a:pt x="792" y="180"/>
                      </a:lnTo>
                      <a:lnTo>
                        <a:pt x="786" y="210"/>
                      </a:lnTo>
                      <a:lnTo>
                        <a:pt x="780" y="204"/>
                      </a:lnTo>
                      <a:lnTo>
                        <a:pt x="774" y="192"/>
                      </a:lnTo>
                      <a:lnTo>
                        <a:pt x="774" y="186"/>
                      </a:lnTo>
                      <a:lnTo>
                        <a:pt x="768" y="180"/>
                      </a:lnTo>
                      <a:lnTo>
                        <a:pt x="768" y="156"/>
                      </a:lnTo>
                      <a:lnTo>
                        <a:pt x="738" y="168"/>
                      </a:lnTo>
                      <a:lnTo>
                        <a:pt x="744" y="162"/>
                      </a:lnTo>
                      <a:lnTo>
                        <a:pt x="756" y="156"/>
                      </a:lnTo>
                      <a:lnTo>
                        <a:pt x="762" y="156"/>
                      </a:lnTo>
                      <a:lnTo>
                        <a:pt x="762" y="144"/>
                      </a:lnTo>
                      <a:lnTo>
                        <a:pt x="750" y="138"/>
                      </a:lnTo>
                      <a:lnTo>
                        <a:pt x="744" y="138"/>
                      </a:lnTo>
                      <a:lnTo>
                        <a:pt x="744" y="132"/>
                      </a:lnTo>
                      <a:lnTo>
                        <a:pt x="750" y="132"/>
                      </a:lnTo>
                      <a:lnTo>
                        <a:pt x="762" y="126"/>
                      </a:lnTo>
                      <a:lnTo>
                        <a:pt x="774" y="126"/>
                      </a:lnTo>
                      <a:lnTo>
                        <a:pt x="792" y="120"/>
                      </a:lnTo>
                      <a:lnTo>
                        <a:pt x="804" y="120"/>
                      </a:lnTo>
                      <a:lnTo>
                        <a:pt x="810" y="114"/>
                      </a:lnTo>
                      <a:lnTo>
                        <a:pt x="726" y="114"/>
                      </a:lnTo>
                      <a:lnTo>
                        <a:pt x="690" y="120"/>
                      </a:lnTo>
                      <a:lnTo>
                        <a:pt x="678" y="120"/>
                      </a:lnTo>
                      <a:lnTo>
                        <a:pt x="690" y="132"/>
                      </a:lnTo>
                      <a:lnTo>
                        <a:pt x="678" y="132"/>
                      </a:lnTo>
                      <a:lnTo>
                        <a:pt x="666" y="138"/>
                      </a:lnTo>
                      <a:lnTo>
                        <a:pt x="654" y="138"/>
                      </a:lnTo>
                      <a:lnTo>
                        <a:pt x="642" y="144"/>
                      </a:lnTo>
                      <a:lnTo>
                        <a:pt x="636" y="144"/>
                      </a:lnTo>
                      <a:lnTo>
                        <a:pt x="624" y="150"/>
                      </a:lnTo>
                      <a:lnTo>
                        <a:pt x="606" y="168"/>
                      </a:lnTo>
                      <a:lnTo>
                        <a:pt x="594" y="174"/>
                      </a:lnTo>
                      <a:lnTo>
                        <a:pt x="576" y="174"/>
                      </a:lnTo>
                      <a:lnTo>
                        <a:pt x="564" y="162"/>
                      </a:lnTo>
                      <a:lnTo>
                        <a:pt x="546" y="156"/>
                      </a:lnTo>
                      <a:lnTo>
                        <a:pt x="534" y="144"/>
                      </a:lnTo>
                      <a:lnTo>
                        <a:pt x="522" y="138"/>
                      </a:lnTo>
                      <a:lnTo>
                        <a:pt x="510" y="126"/>
                      </a:lnTo>
                      <a:lnTo>
                        <a:pt x="492" y="126"/>
                      </a:lnTo>
                      <a:lnTo>
                        <a:pt x="450" y="132"/>
                      </a:lnTo>
                      <a:lnTo>
                        <a:pt x="372" y="132"/>
                      </a:lnTo>
                      <a:lnTo>
                        <a:pt x="360" y="120"/>
                      </a:lnTo>
                      <a:lnTo>
                        <a:pt x="354" y="108"/>
                      </a:lnTo>
                      <a:lnTo>
                        <a:pt x="354" y="84"/>
                      </a:lnTo>
                      <a:lnTo>
                        <a:pt x="348" y="72"/>
                      </a:lnTo>
                      <a:lnTo>
                        <a:pt x="336" y="60"/>
                      </a:lnTo>
                      <a:lnTo>
                        <a:pt x="324" y="54"/>
                      </a:lnTo>
                      <a:lnTo>
                        <a:pt x="276" y="54"/>
                      </a:lnTo>
                      <a:lnTo>
                        <a:pt x="240" y="60"/>
                      </a:lnTo>
                      <a:lnTo>
                        <a:pt x="222" y="72"/>
                      </a:lnTo>
                      <a:lnTo>
                        <a:pt x="210" y="78"/>
                      </a:lnTo>
                      <a:lnTo>
                        <a:pt x="204" y="78"/>
                      </a:lnTo>
                      <a:lnTo>
                        <a:pt x="180" y="90"/>
                      </a:lnTo>
                      <a:lnTo>
                        <a:pt x="162" y="96"/>
                      </a:lnTo>
                      <a:lnTo>
                        <a:pt x="144" y="108"/>
                      </a:lnTo>
                      <a:lnTo>
                        <a:pt x="138" y="120"/>
                      </a:lnTo>
                      <a:lnTo>
                        <a:pt x="138" y="144"/>
                      </a:lnTo>
                      <a:lnTo>
                        <a:pt x="150" y="168"/>
                      </a:lnTo>
                      <a:lnTo>
                        <a:pt x="156" y="186"/>
                      </a:lnTo>
                      <a:lnTo>
                        <a:pt x="162" y="198"/>
                      </a:lnTo>
                      <a:lnTo>
                        <a:pt x="156" y="210"/>
                      </a:lnTo>
                      <a:lnTo>
                        <a:pt x="150" y="228"/>
                      </a:lnTo>
                      <a:lnTo>
                        <a:pt x="138" y="234"/>
                      </a:lnTo>
                      <a:lnTo>
                        <a:pt x="132" y="246"/>
                      </a:lnTo>
                      <a:lnTo>
                        <a:pt x="126" y="252"/>
                      </a:lnTo>
                      <a:lnTo>
                        <a:pt x="120" y="252"/>
                      </a:lnTo>
                      <a:lnTo>
                        <a:pt x="126" y="222"/>
                      </a:lnTo>
                      <a:lnTo>
                        <a:pt x="114" y="222"/>
                      </a:lnTo>
                      <a:lnTo>
                        <a:pt x="108" y="216"/>
                      </a:lnTo>
                      <a:lnTo>
                        <a:pt x="96" y="210"/>
                      </a:lnTo>
                      <a:lnTo>
                        <a:pt x="90" y="204"/>
                      </a:lnTo>
                      <a:lnTo>
                        <a:pt x="84" y="192"/>
                      </a:lnTo>
                      <a:lnTo>
                        <a:pt x="96" y="168"/>
                      </a:lnTo>
                      <a:lnTo>
                        <a:pt x="108" y="156"/>
                      </a:lnTo>
                      <a:lnTo>
                        <a:pt x="120" y="132"/>
                      </a:lnTo>
                      <a:lnTo>
                        <a:pt x="120" y="78"/>
                      </a:lnTo>
                      <a:lnTo>
                        <a:pt x="114" y="66"/>
                      </a:lnTo>
                      <a:lnTo>
                        <a:pt x="114" y="54"/>
                      </a:lnTo>
                      <a:lnTo>
                        <a:pt x="108" y="48"/>
                      </a:lnTo>
                      <a:lnTo>
                        <a:pt x="108" y="54"/>
                      </a:lnTo>
                      <a:lnTo>
                        <a:pt x="102" y="66"/>
                      </a:lnTo>
                      <a:lnTo>
                        <a:pt x="90" y="78"/>
                      </a:lnTo>
                      <a:lnTo>
                        <a:pt x="72" y="84"/>
                      </a:lnTo>
                      <a:lnTo>
                        <a:pt x="48" y="108"/>
                      </a:lnTo>
                      <a:lnTo>
                        <a:pt x="36" y="144"/>
                      </a:lnTo>
                      <a:lnTo>
                        <a:pt x="36" y="162"/>
                      </a:lnTo>
                      <a:lnTo>
                        <a:pt x="30" y="168"/>
                      </a:lnTo>
                      <a:lnTo>
                        <a:pt x="30" y="192"/>
                      </a:lnTo>
                      <a:lnTo>
                        <a:pt x="6" y="216"/>
                      </a:lnTo>
                      <a:lnTo>
                        <a:pt x="0" y="228"/>
                      </a:lnTo>
                      <a:lnTo>
                        <a:pt x="0" y="240"/>
                      </a:lnTo>
                      <a:lnTo>
                        <a:pt x="6" y="246"/>
                      </a:lnTo>
                      <a:lnTo>
                        <a:pt x="6" y="240"/>
                      </a:lnTo>
                      <a:lnTo>
                        <a:pt x="18" y="228"/>
                      </a:lnTo>
                      <a:lnTo>
                        <a:pt x="24" y="228"/>
                      </a:lnTo>
                      <a:lnTo>
                        <a:pt x="36" y="240"/>
                      </a:lnTo>
                      <a:lnTo>
                        <a:pt x="42" y="252"/>
                      </a:lnTo>
                      <a:lnTo>
                        <a:pt x="42" y="288"/>
                      </a:lnTo>
                      <a:lnTo>
                        <a:pt x="48" y="294"/>
                      </a:lnTo>
                      <a:lnTo>
                        <a:pt x="60" y="300"/>
                      </a:lnTo>
                      <a:lnTo>
                        <a:pt x="66" y="306"/>
                      </a:lnTo>
                      <a:lnTo>
                        <a:pt x="66" y="318"/>
                      </a:lnTo>
                      <a:lnTo>
                        <a:pt x="54" y="342"/>
                      </a:lnTo>
                      <a:lnTo>
                        <a:pt x="54" y="384"/>
                      </a:lnTo>
                      <a:lnTo>
                        <a:pt x="66" y="384"/>
                      </a:lnTo>
                      <a:lnTo>
                        <a:pt x="66" y="396"/>
                      </a:lnTo>
                      <a:lnTo>
                        <a:pt x="72" y="408"/>
                      </a:lnTo>
                      <a:lnTo>
                        <a:pt x="78" y="414"/>
                      </a:lnTo>
                      <a:lnTo>
                        <a:pt x="102" y="414"/>
                      </a:lnTo>
                      <a:lnTo>
                        <a:pt x="108" y="408"/>
                      </a:lnTo>
                      <a:lnTo>
                        <a:pt x="120" y="408"/>
                      </a:lnTo>
                      <a:lnTo>
                        <a:pt x="132" y="414"/>
                      </a:lnTo>
                      <a:lnTo>
                        <a:pt x="138" y="414"/>
                      </a:lnTo>
                      <a:lnTo>
                        <a:pt x="150" y="420"/>
                      </a:lnTo>
                      <a:lnTo>
                        <a:pt x="162" y="420"/>
                      </a:lnTo>
                      <a:lnTo>
                        <a:pt x="168" y="414"/>
                      </a:lnTo>
                      <a:lnTo>
                        <a:pt x="168" y="408"/>
                      </a:lnTo>
                      <a:lnTo>
                        <a:pt x="180" y="408"/>
                      </a:lnTo>
                      <a:lnTo>
                        <a:pt x="186" y="414"/>
                      </a:lnTo>
                      <a:lnTo>
                        <a:pt x="198" y="420"/>
                      </a:lnTo>
                      <a:lnTo>
                        <a:pt x="222" y="420"/>
                      </a:lnTo>
                      <a:lnTo>
                        <a:pt x="222" y="426"/>
                      </a:lnTo>
                      <a:lnTo>
                        <a:pt x="228" y="432"/>
                      </a:lnTo>
                      <a:lnTo>
                        <a:pt x="234" y="444"/>
                      </a:lnTo>
                      <a:lnTo>
                        <a:pt x="240" y="462"/>
                      </a:lnTo>
                      <a:lnTo>
                        <a:pt x="264" y="486"/>
                      </a:lnTo>
                      <a:lnTo>
                        <a:pt x="288" y="486"/>
                      </a:lnTo>
                      <a:lnTo>
                        <a:pt x="288" y="480"/>
                      </a:lnTo>
                      <a:lnTo>
                        <a:pt x="306" y="480"/>
                      </a:lnTo>
                      <a:lnTo>
                        <a:pt x="312" y="486"/>
                      </a:lnTo>
                      <a:lnTo>
                        <a:pt x="336" y="486"/>
                      </a:lnTo>
                      <a:lnTo>
                        <a:pt x="342" y="480"/>
                      </a:lnTo>
                      <a:lnTo>
                        <a:pt x="366" y="486"/>
                      </a:lnTo>
                      <a:lnTo>
                        <a:pt x="372" y="480"/>
                      </a:lnTo>
                      <a:lnTo>
                        <a:pt x="384" y="474"/>
                      </a:lnTo>
                      <a:lnTo>
                        <a:pt x="402" y="474"/>
                      </a:lnTo>
                      <a:lnTo>
                        <a:pt x="408" y="480"/>
                      </a:lnTo>
                      <a:lnTo>
                        <a:pt x="408" y="492"/>
                      </a:lnTo>
                      <a:lnTo>
                        <a:pt x="390" y="510"/>
                      </a:lnTo>
                      <a:lnTo>
                        <a:pt x="390" y="534"/>
                      </a:lnTo>
                      <a:lnTo>
                        <a:pt x="384" y="540"/>
                      </a:lnTo>
                      <a:lnTo>
                        <a:pt x="378" y="540"/>
                      </a:lnTo>
                      <a:lnTo>
                        <a:pt x="366" y="552"/>
                      </a:lnTo>
                      <a:lnTo>
                        <a:pt x="366" y="576"/>
                      </a:lnTo>
                      <a:lnTo>
                        <a:pt x="372" y="588"/>
                      </a:lnTo>
                      <a:lnTo>
                        <a:pt x="372" y="618"/>
                      </a:lnTo>
                      <a:lnTo>
                        <a:pt x="366" y="630"/>
                      </a:lnTo>
                      <a:lnTo>
                        <a:pt x="366" y="642"/>
                      </a:lnTo>
                      <a:lnTo>
                        <a:pt x="372" y="648"/>
                      </a:lnTo>
                      <a:lnTo>
                        <a:pt x="384" y="648"/>
                      </a:lnTo>
                      <a:lnTo>
                        <a:pt x="384" y="672"/>
                      </a:lnTo>
                      <a:lnTo>
                        <a:pt x="390" y="684"/>
                      </a:lnTo>
                      <a:lnTo>
                        <a:pt x="402" y="690"/>
                      </a:lnTo>
                      <a:lnTo>
                        <a:pt x="408" y="702"/>
                      </a:lnTo>
                      <a:lnTo>
                        <a:pt x="408" y="708"/>
                      </a:lnTo>
                      <a:lnTo>
                        <a:pt x="402" y="720"/>
                      </a:lnTo>
                      <a:lnTo>
                        <a:pt x="372" y="750"/>
                      </a:lnTo>
                      <a:lnTo>
                        <a:pt x="366" y="750"/>
                      </a:lnTo>
                      <a:lnTo>
                        <a:pt x="390" y="762"/>
                      </a:lnTo>
                      <a:lnTo>
                        <a:pt x="402" y="774"/>
                      </a:lnTo>
                      <a:lnTo>
                        <a:pt x="414" y="774"/>
                      </a:lnTo>
                      <a:lnTo>
                        <a:pt x="414" y="798"/>
                      </a:lnTo>
                      <a:lnTo>
                        <a:pt x="420" y="804"/>
                      </a:lnTo>
                      <a:lnTo>
                        <a:pt x="420" y="822"/>
                      </a:lnTo>
                      <a:lnTo>
                        <a:pt x="426" y="828"/>
                      </a:lnTo>
                      <a:lnTo>
                        <a:pt x="426" y="846"/>
                      </a:lnTo>
                      <a:lnTo>
                        <a:pt x="432" y="858"/>
                      </a:lnTo>
                      <a:lnTo>
                        <a:pt x="432" y="876"/>
                      </a:lnTo>
                      <a:lnTo>
                        <a:pt x="444" y="888"/>
                      </a:lnTo>
                      <a:lnTo>
                        <a:pt x="450" y="900"/>
                      </a:lnTo>
                      <a:lnTo>
                        <a:pt x="450" y="906"/>
                      </a:lnTo>
                      <a:lnTo>
                        <a:pt x="462" y="918"/>
                      </a:lnTo>
                      <a:lnTo>
                        <a:pt x="468" y="918"/>
                      </a:lnTo>
                      <a:lnTo>
                        <a:pt x="480" y="924"/>
                      </a:lnTo>
                      <a:lnTo>
                        <a:pt x="486" y="924"/>
                      </a:lnTo>
                      <a:lnTo>
                        <a:pt x="498" y="918"/>
                      </a:lnTo>
                      <a:lnTo>
                        <a:pt x="504" y="912"/>
                      </a:lnTo>
                      <a:lnTo>
                        <a:pt x="516" y="906"/>
                      </a:lnTo>
                      <a:lnTo>
                        <a:pt x="522" y="900"/>
                      </a:lnTo>
                      <a:lnTo>
                        <a:pt x="528" y="906"/>
                      </a:lnTo>
                      <a:lnTo>
                        <a:pt x="528" y="930"/>
                      </a:lnTo>
                      <a:lnTo>
                        <a:pt x="534" y="930"/>
                      </a:lnTo>
                      <a:lnTo>
                        <a:pt x="546" y="918"/>
                      </a:lnTo>
                      <a:lnTo>
                        <a:pt x="558" y="894"/>
                      </a:lnTo>
                      <a:lnTo>
                        <a:pt x="570" y="882"/>
                      </a:lnTo>
                      <a:lnTo>
                        <a:pt x="588" y="882"/>
                      </a:lnTo>
                      <a:lnTo>
                        <a:pt x="594" y="876"/>
                      </a:lnTo>
                      <a:lnTo>
                        <a:pt x="630" y="858"/>
                      </a:lnTo>
                      <a:lnTo>
                        <a:pt x="636" y="846"/>
                      </a:lnTo>
                      <a:lnTo>
                        <a:pt x="636" y="816"/>
                      </a:lnTo>
                      <a:lnTo>
                        <a:pt x="678" y="816"/>
                      </a:lnTo>
                      <a:lnTo>
                        <a:pt x="684" y="810"/>
                      </a:lnTo>
                      <a:lnTo>
                        <a:pt x="690" y="798"/>
                      </a:lnTo>
                      <a:lnTo>
                        <a:pt x="690" y="792"/>
                      </a:lnTo>
                      <a:lnTo>
                        <a:pt x="684" y="786"/>
                      </a:lnTo>
                      <a:lnTo>
                        <a:pt x="636" y="780"/>
                      </a:lnTo>
                      <a:lnTo>
                        <a:pt x="636" y="750"/>
                      </a:lnTo>
                      <a:lnTo>
                        <a:pt x="630" y="738"/>
                      </a:lnTo>
                      <a:lnTo>
                        <a:pt x="618" y="726"/>
                      </a:lnTo>
                      <a:lnTo>
                        <a:pt x="624" y="720"/>
                      </a:lnTo>
                      <a:lnTo>
                        <a:pt x="624" y="690"/>
                      </a:lnTo>
                      <a:lnTo>
                        <a:pt x="618" y="684"/>
                      </a:lnTo>
                      <a:lnTo>
                        <a:pt x="606" y="678"/>
                      </a:lnTo>
                      <a:lnTo>
                        <a:pt x="588" y="660"/>
                      </a:lnTo>
                      <a:lnTo>
                        <a:pt x="588" y="630"/>
                      </a:lnTo>
                      <a:lnTo>
                        <a:pt x="594" y="636"/>
                      </a:lnTo>
                      <a:lnTo>
                        <a:pt x="594" y="642"/>
                      </a:lnTo>
                      <a:lnTo>
                        <a:pt x="636" y="642"/>
                      </a:lnTo>
                      <a:lnTo>
                        <a:pt x="642" y="648"/>
                      </a:lnTo>
                      <a:lnTo>
                        <a:pt x="642" y="666"/>
                      </a:lnTo>
                      <a:lnTo>
                        <a:pt x="654" y="666"/>
                      </a:lnTo>
                      <a:lnTo>
                        <a:pt x="666" y="660"/>
                      </a:lnTo>
                      <a:lnTo>
                        <a:pt x="678" y="666"/>
                      </a:lnTo>
                      <a:lnTo>
                        <a:pt x="684" y="660"/>
                      </a:lnTo>
                      <a:lnTo>
                        <a:pt x="696" y="660"/>
                      </a:lnTo>
                      <a:lnTo>
                        <a:pt x="702" y="666"/>
                      </a:lnTo>
                      <a:lnTo>
                        <a:pt x="708" y="678"/>
                      </a:lnTo>
                      <a:lnTo>
                        <a:pt x="720" y="690"/>
                      </a:lnTo>
                      <a:lnTo>
                        <a:pt x="732" y="696"/>
                      </a:lnTo>
                      <a:lnTo>
                        <a:pt x="738" y="690"/>
                      </a:lnTo>
                      <a:lnTo>
                        <a:pt x="738" y="672"/>
                      </a:lnTo>
                      <a:lnTo>
                        <a:pt x="744" y="660"/>
                      </a:lnTo>
                      <a:lnTo>
                        <a:pt x="744" y="648"/>
                      </a:lnTo>
                      <a:lnTo>
                        <a:pt x="750" y="642"/>
                      </a:lnTo>
                      <a:lnTo>
                        <a:pt x="768" y="642"/>
                      </a:lnTo>
                      <a:lnTo>
                        <a:pt x="774" y="648"/>
                      </a:lnTo>
                      <a:lnTo>
                        <a:pt x="792" y="648"/>
                      </a:lnTo>
                      <a:lnTo>
                        <a:pt x="804" y="642"/>
                      </a:lnTo>
                      <a:lnTo>
                        <a:pt x="828" y="618"/>
                      </a:lnTo>
                      <a:lnTo>
                        <a:pt x="840" y="612"/>
                      </a:lnTo>
                      <a:lnTo>
                        <a:pt x="864" y="612"/>
                      </a:lnTo>
                      <a:lnTo>
                        <a:pt x="864" y="600"/>
                      </a:lnTo>
                      <a:lnTo>
                        <a:pt x="876" y="600"/>
                      </a:lnTo>
                      <a:lnTo>
                        <a:pt x="882" y="594"/>
                      </a:lnTo>
                      <a:lnTo>
                        <a:pt x="882" y="558"/>
                      </a:lnTo>
                      <a:lnTo>
                        <a:pt x="846" y="522"/>
                      </a:lnTo>
                      <a:lnTo>
                        <a:pt x="840" y="510"/>
                      </a:lnTo>
                      <a:lnTo>
                        <a:pt x="834" y="504"/>
                      </a:lnTo>
                      <a:lnTo>
                        <a:pt x="834" y="492"/>
                      </a:lnTo>
                      <a:lnTo>
                        <a:pt x="846" y="486"/>
                      </a:lnTo>
                      <a:lnTo>
                        <a:pt x="852" y="486"/>
                      </a:lnTo>
                      <a:lnTo>
                        <a:pt x="864" y="480"/>
                      </a:lnTo>
                      <a:lnTo>
                        <a:pt x="864" y="462"/>
                      </a:lnTo>
                      <a:lnTo>
                        <a:pt x="846" y="444"/>
                      </a:lnTo>
                      <a:lnTo>
                        <a:pt x="846" y="438"/>
                      </a:lnTo>
                      <a:lnTo>
                        <a:pt x="876" y="438"/>
                      </a:lnTo>
                      <a:lnTo>
                        <a:pt x="888" y="432"/>
                      </a:lnTo>
                      <a:lnTo>
                        <a:pt x="900" y="432"/>
                      </a:lnTo>
                      <a:lnTo>
                        <a:pt x="912" y="426"/>
                      </a:lnTo>
                      <a:lnTo>
                        <a:pt x="918" y="420"/>
                      </a:lnTo>
                      <a:lnTo>
                        <a:pt x="918" y="402"/>
                      </a:lnTo>
                      <a:lnTo>
                        <a:pt x="894" y="402"/>
                      </a:lnTo>
                      <a:lnTo>
                        <a:pt x="894" y="360"/>
                      </a:lnTo>
                      <a:lnTo>
                        <a:pt x="906" y="348"/>
                      </a:lnTo>
                      <a:lnTo>
                        <a:pt x="918" y="348"/>
                      </a:lnTo>
                      <a:lnTo>
                        <a:pt x="924" y="342"/>
                      </a:lnTo>
                      <a:lnTo>
                        <a:pt x="930" y="342"/>
                      </a:lnTo>
                      <a:lnTo>
                        <a:pt x="936" y="336"/>
                      </a:lnTo>
                      <a:lnTo>
                        <a:pt x="954" y="300"/>
                      </a:lnTo>
                      <a:lnTo>
                        <a:pt x="948" y="294"/>
                      </a:lnTo>
                      <a:lnTo>
                        <a:pt x="942" y="282"/>
                      </a:lnTo>
                      <a:lnTo>
                        <a:pt x="936" y="276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spcBef>
                      <a:spcPct val="0"/>
                    </a:spcBef>
                    <a:defRPr/>
                  </a:pPr>
                  <a:endParaRPr lang="en-US" dirty="0">
                    <a:solidFill>
                      <a:srgbClr val="000000"/>
                    </a:solidFill>
                    <a:latin typeface="Calibri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290" name="Uruguay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2633664" y="5054604"/>
                  <a:ext cx="147638" cy="155575"/>
                </a:xfrm>
                <a:custGeom>
                  <a:avLst/>
                  <a:gdLst>
                    <a:gd name="T0" fmla="*/ 2147483647 w 366"/>
                    <a:gd name="T1" fmla="*/ 2147483647 h 384"/>
                    <a:gd name="T2" fmla="*/ 2147483647 w 366"/>
                    <a:gd name="T3" fmla="*/ 2147483647 h 384"/>
                    <a:gd name="T4" fmla="*/ 2147483647 w 366"/>
                    <a:gd name="T5" fmla="*/ 2147483647 h 384"/>
                    <a:gd name="T6" fmla="*/ 2147483647 w 366"/>
                    <a:gd name="T7" fmla="*/ 2147483647 h 384"/>
                    <a:gd name="T8" fmla="*/ 2147483647 w 366"/>
                    <a:gd name="T9" fmla="*/ 2147483647 h 384"/>
                    <a:gd name="T10" fmla="*/ 2147483647 w 366"/>
                    <a:gd name="T11" fmla="*/ 2147483647 h 384"/>
                    <a:gd name="T12" fmla="*/ 2147483647 w 366"/>
                    <a:gd name="T13" fmla="*/ 2147483647 h 384"/>
                    <a:gd name="T14" fmla="*/ 2147483647 w 366"/>
                    <a:gd name="T15" fmla="*/ 2147483647 h 384"/>
                    <a:gd name="T16" fmla="*/ 2147483647 w 366"/>
                    <a:gd name="T17" fmla="*/ 2147483647 h 384"/>
                    <a:gd name="T18" fmla="*/ 2147483647 w 366"/>
                    <a:gd name="T19" fmla="*/ 2147483647 h 384"/>
                    <a:gd name="T20" fmla="*/ 2147483647 w 366"/>
                    <a:gd name="T21" fmla="*/ 2147483647 h 384"/>
                    <a:gd name="T22" fmla="*/ 2147483647 w 366"/>
                    <a:gd name="T23" fmla="*/ 2147483647 h 384"/>
                    <a:gd name="T24" fmla="*/ 2147483647 w 366"/>
                    <a:gd name="T25" fmla="*/ 2147483647 h 384"/>
                    <a:gd name="T26" fmla="*/ 2147483647 w 366"/>
                    <a:gd name="T27" fmla="*/ 2147483647 h 384"/>
                    <a:gd name="T28" fmla="*/ 2147483647 w 366"/>
                    <a:gd name="T29" fmla="*/ 2147483647 h 384"/>
                    <a:gd name="T30" fmla="*/ 2147483647 w 366"/>
                    <a:gd name="T31" fmla="*/ 2147483647 h 384"/>
                    <a:gd name="T32" fmla="*/ 2147483647 w 366"/>
                    <a:gd name="T33" fmla="*/ 2147483647 h 384"/>
                    <a:gd name="T34" fmla="*/ 2147483647 w 366"/>
                    <a:gd name="T35" fmla="*/ 2147483647 h 384"/>
                    <a:gd name="T36" fmla="*/ 2147483647 w 366"/>
                    <a:gd name="T37" fmla="*/ 2147483647 h 384"/>
                    <a:gd name="T38" fmla="*/ 2147483647 w 366"/>
                    <a:gd name="T39" fmla="*/ 2147483647 h 384"/>
                    <a:gd name="T40" fmla="*/ 2147483647 w 366"/>
                    <a:gd name="T41" fmla="*/ 2147483647 h 384"/>
                    <a:gd name="T42" fmla="*/ 2147483647 w 366"/>
                    <a:gd name="T43" fmla="*/ 2147483647 h 384"/>
                    <a:gd name="T44" fmla="*/ 2147483647 w 366"/>
                    <a:gd name="T45" fmla="*/ 0 h 384"/>
                    <a:gd name="T46" fmla="*/ 2147483647 w 366"/>
                    <a:gd name="T47" fmla="*/ 2147483647 h 384"/>
                    <a:gd name="T48" fmla="*/ 2147483647 w 366"/>
                    <a:gd name="T49" fmla="*/ 2147483647 h 384"/>
                    <a:gd name="T50" fmla="*/ 0 w 366"/>
                    <a:gd name="T51" fmla="*/ 2147483647 h 384"/>
                    <a:gd name="T52" fmla="*/ 2147483647 w 366"/>
                    <a:gd name="T53" fmla="*/ 2147483647 h 384"/>
                    <a:gd name="T54" fmla="*/ 2147483647 w 366"/>
                    <a:gd name="T55" fmla="*/ 2147483647 h 384"/>
                    <a:gd name="T56" fmla="*/ 2147483647 w 366"/>
                    <a:gd name="T57" fmla="*/ 2147483647 h 384"/>
                    <a:gd name="T58" fmla="*/ 2147483647 w 366"/>
                    <a:gd name="T59" fmla="*/ 2147483647 h 384"/>
                    <a:gd name="T60" fmla="*/ 2147483647 w 366"/>
                    <a:gd name="T61" fmla="*/ 2147483647 h 384"/>
                    <a:gd name="T62" fmla="*/ 2147483647 w 366"/>
                    <a:gd name="T63" fmla="*/ 2147483647 h 384"/>
                    <a:gd name="T64" fmla="*/ 2147483647 w 366"/>
                    <a:gd name="T65" fmla="*/ 2147483647 h 384"/>
                    <a:gd name="T66" fmla="*/ 2147483647 w 366"/>
                    <a:gd name="T67" fmla="*/ 2147483647 h 384"/>
                    <a:gd name="T68" fmla="*/ 2147483647 w 366"/>
                    <a:gd name="T69" fmla="*/ 2147483647 h 384"/>
                    <a:gd name="T70" fmla="*/ 2147483647 w 366"/>
                    <a:gd name="T71" fmla="*/ 2147483647 h 384"/>
                    <a:gd name="T72" fmla="*/ 2147483647 w 366"/>
                    <a:gd name="T73" fmla="*/ 2147483647 h 384"/>
                    <a:gd name="T74" fmla="*/ 2147483647 w 366"/>
                    <a:gd name="T75" fmla="*/ 2147483647 h 384"/>
                    <a:gd name="T76" fmla="*/ 2147483647 w 366"/>
                    <a:gd name="T77" fmla="*/ 2147483647 h 38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366"/>
                    <a:gd name="T118" fmla="*/ 0 h 384"/>
                    <a:gd name="T119" fmla="*/ 366 w 366"/>
                    <a:gd name="T120" fmla="*/ 384 h 38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366" h="384">
                      <a:moveTo>
                        <a:pt x="138" y="372"/>
                      </a:moveTo>
                      <a:lnTo>
                        <a:pt x="174" y="372"/>
                      </a:lnTo>
                      <a:lnTo>
                        <a:pt x="198" y="378"/>
                      </a:lnTo>
                      <a:lnTo>
                        <a:pt x="228" y="378"/>
                      </a:lnTo>
                      <a:lnTo>
                        <a:pt x="288" y="384"/>
                      </a:lnTo>
                      <a:lnTo>
                        <a:pt x="330" y="366"/>
                      </a:lnTo>
                      <a:lnTo>
                        <a:pt x="342" y="354"/>
                      </a:lnTo>
                      <a:lnTo>
                        <a:pt x="360" y="300"/>
                      </a:lnTo>
                      <a:lnTo>
                        <a:pt x="366" y="294"/>
                      </a:lnTo>
                      <a:lnTo>
                        <a:pt x="348" y="294"/>
                      </a:lnTo>
                      <a:lnTo>
                        <a:pt x="348" y="264"/>
                      </a:lnTo>
                      <a:lnTo>
                        <a:pt x="342" y="264"/>
                      </a:lnTo>
                      <a:lnTo>
                        <a:pt x="342" y="240"/>
                      </a:lnTo>
                      <a:lnTo>
                        <a:pt x="348" y="234"/>
                      </a:lnTo>
                      <a:lnTo>
                        <a:pt x="360" y="210"/>
                      </a:lnTo>
                      <a:lnTo>
                        <a:pt x="360" y="198"/>
                      </a:lnTo>
                      <a:lnTo>
                        <a:pt x="354" y="198"/>
                      </a:lnTo>
                      <a:lnTo>
                        <a:pt x="342" y="192"/>
                      </a:lnTo>
                      <a:lnTo>
                        <a:pt x="336" y="192"/>
                      </a:lnTo>
                      <a:lnTo>
                        <a:pt x="318" y="174"/>
                      </a:lnTo>
                      <a:lnTo>
                        <a:pt x="312" y="162"/>
                      </a:lnTo>
                      <a:lnTo>
                        <a:pt x="306" y="156"/>
                      </a:lnTo>
                      <a:lnTo>
                        <a:pt x="300" y="144"/>
                      </a:lnTo>
                      <a:lnTo>
                        <a:pt x="288" y="144"/>
                      </a:lnTo>
                      <a:lnTo>
                        <a:pt x="270" y="138"/>
                      </a:lnTo>
                      <a:lnTo>
                        <a:pt x="258" y="132"/>
                      </a:lnTo>
                      <a:lnTo>
                        <a:pt x="252" y="126"/>
                      </a:lnTo>
                      <a:lnTo>
                        <a:pt x="252" y="114"/>
                      </a:lnTo>
                      <a:lnTo>
                        <a:pt x="246" y="114"/>
                      </a:lnTo>
                      <a:lnTo>
                        <a:pt x="228" y="96"/>
                      </a:lnTo>
                      <a:lnTo>
                        <a:pt x="210" y="96"/>
                      </a:lnTo>
                      <a:lnTo>
                        <a:pt x="192" y="78"/>
                      </a:lnTo>
                      <a:lnTo>
                        <a:pt x="186" y="66"/>
                      </a:lnTo>
                      <a:lnTo>
                        <a:pt x="174" y="60"/>
                      </a:lnTo>
                      <a:lnTo>
                        <a:pt x="168" y="60"/>
                      </a:lnTo>
                      <a:lnTo>
                        <a:pt x="156" y="72"/>
                      </a:lnTo>
                      <a:lnTo>
                        <a:pt x="156" y="78"/>
                      </a:lnTo>
                      <a:lnTo>
                        <a:pt x="144" y="78"/>
                      </a:lnTo>
                      <a:lnTo>
                        <a:pt x="144" y="66"/>
                      </a:lnTo>
                      <a:lnTo>
                        <a:pt x="132" y="54"/>
                      </a:lnTo>
                      <a:lnTo>
                        <a:pt x="126" y="42"/>
                      </a:lnTo>
                      <a:lnTo>
                        <a:pt x="120" y="36"/>
                      </a:lnTo>
                      <a:lnTo>
                        <a:pt x="108" y="30"/>
                      </a:lnTo>
                      <a:lnTo>
                        <a:pt x="102" y="18"/>
                      </a:lnTo>
                      <a:lnTo>
                        <a:pt x="78" y="6"/>
                      </a:lnTo>
                      <a:lnTo>
                        <a:pt x="72" y="0"/>
                      </a:lnTo>
                      <a:lnTo>
                        <a:pt x="60" y="0"/>
                      </a:lnTo>
                      <a:lnTo>
                        <a:pt x="48" y="6"/>
                      </a:lnTo>
                      <a:lnTo>
                        <a:pt x="42" y="12"/>
                      </a:lnTo>
                      <a:lnTo>
                        <a:pt x="18" y="12"/>
                      </a:lnTo>
                      <a:lnTo>
                        <a:pt x="0" y="30"/>
                      </a:lnTo>
                      <a:lnTo>
                        <a:pt x="0" y="36"/>
                      </a:lnTo>
                      <a:lnTo>
                        <a:pt x="24" y="60"/>
                      </a:lnTo>
                      <a:lnTo>
                        <a:pt x="30" y="60"/>
                      </a:lnTo>
                      <a:lnTo>
                        <a:pt x="6" y="72"/>
                      </a:lnTo>
                      <a:lnTo>
                        <a:pt x="6" y="108"/>
                      </a:lnTo>
                      <a:lnTo>
                        <a:pt x="30" y="126"/>
                      </a:lnTo>
                      <a:lnTo>
                        <a:pt x="12" y="126"/>
                      </a:lnTo>
                      <a:lnTo>
                        <a:pt x="0" y="138"/>
                      </a:lnTo>
                      <a:lnTo>
                        <a:pt x="6" y="144"/>
                      </a:lnTo>
                      <a:lnTo>
                        <a:pt x="12" y="156"/>
                      </a:lnTo>
                      <a:lnTo>
                        <a:pt x="24" y="168"/>
                      </a:lnTo>
                      <a:lnTo>
                        <a:pt x="12" y="186"/>
                      </a:lnTo>
                      <a:lnTo>
                        <a:pt x="18" y="192"/>
                      </a:lnTo>
                      <a:lnTo>
                        <a:pt x="24" y="204"/>
                      </a:lnTo>
                      <a:lnTo>
                        <a:pt x="36" y="210"/>
                      </a:lnTo>
                      <a:lnTo>
                        <a:pt x="42" y="222"/>
                      </a:lnTo>
                      <a:lnTo>
                        <a:pt x="42" y="228"/>
                      </a:lnTo>
                      <a:lnTo>
                        <a:pt x="36" y="228"/>
                      </a:lnTo>
                      <a:lnTo>
                        <a:pt x="30" y="234"/>
                      </a:lnTo>
                      <a:lnTo>
                        <a:pt x="6" y="234"/>
                      </a:lnTo>
                      <a:lnTo>
                        <a:pt x="6" y="282"/>
                      </a:lnTo>
                      <a:lnTo>
                        <a:pt x="36" y="318"/>
                      </a:lnTo>
                      <a:lnTo>
                        <a:pt x="42" y="318"/>
                      </a:lnTo>
                      <a:lnTo>
                        <a:pt x="54" y="324"/>
                      </a:lnTo>
                      <a:lnTo>
                        <a:pt x="78" y="348"/>
                      </a:lnTo>
                      <a:lnTo>
                        <a:pt x="90" y="354"/>
                      </a:lnTo>
                      <a:lnTo>
                        <a:pt x="126" y="354"/>
                      </a:lnTo>
                      <a:lnTo>
                        <a:pt x="138" y="372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91" name="Suriname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2552701" y="3884616"/>
                  <a:ext cx="117475" cy="134937"/>
                </a:xfrm>
                <a:custGeom>
                  <a:avLst/>
                  <a:gdLst>
                    <a:gd name="T0" fmla="*/ 2147483647 w 294"/>
                    <a:gd name="T1" fmla="*/ 2147483647 h 336"/>
                    <a:gd name="T2" fmla="*/ 2147483647 w 294"/>
                    <a:gd name="T3" fmla="*/ 2147483647 h 336"/>
                    <a:gd name="T4" fmla="*/ 2147483647 w 294"/>
                    <a:gd name="T5" fmla="*/ 2147483647 h 336"/>
                    <a:gd name="T6" fmla="*/ 0 w 294"/>
                    <a:gd name="T7" fmla="*/ 2147483647 h 336"/>
                    <a:gd name="T8" fmla="*/ 2147483647 w 294"/>
                    <a:gd name="T9" fmla="*/ 2147483647 h 336"/>
                    <a:gd name="T10" fmla="*/ 2147483647 w 294"/>
                    <a:gd name="T11" fmla="*/ 2147483647 h 336"/>
                    <a:gd name="T12" fmla="*/ 2147483647 w 294"/>
                    <a:gd name="T13" fmla="*/ 2147483647 h 336"/>
                    <a:gd name="T14" fmla="*/ 2147483647 w 294"/>
                    <a:gd name="T15" fmla="*/ 2147483647 h 336"/>
                    <a:gd name="T16" fmla="*/ 2147483647 w 294"/>
                    <a:gd name="T17" fmla="*/ 2147483647 h 336"/>
                    <a:gd name="T18" fmla="*/ 2147483647 w 294"/>
                    <a:gd name="T19" fmla="*/ 2147483647 h 336"/>
                    <a:gd name="T20" fmla="*/ 2147483647 w 294"/>
                    <a:gd name="T21" fmla="*/ 2147483647 h 336"/>
                    <a:gd name="T22" fmla="*/ 2147483647 w 294"/>
                    <a:gd name="T23" fmla="*/ 2147483647 h 336"/>
                    <a:gd name="T24" fmla="*/ 2147483647 w 294"/>
                    <a:gd name="T25" fmla="*/ 2147483647 h 336"/>
                    <a:gd name="T26" fmla="*/ 2147483647 w 294"/>
                    <a:gd name="T27" fmla="*/ 2147483647 h 336"/>
                    <a:gd name="T28" fmla="*/ 2147483647 w 294"/>
                    <a:gd name="T29" fmla="*/ 2147483647 h 336"/>
                    <a:gd name="T30" fmla="*/ 2147483647 w 294"/>
                    <a:gd name="T31" fmla="*/ 2147483647 h 336"/>
                    <a:gd name="T32" fmla="*/ 2147483647 w 294"/>
                    <a:gd name="T33" fmla="*/ 2147483647 h 336"/>
                    <a:gd name="T34" fmla="*/ 2147483647 w 294"/>
                    <a:gd name="T35" fmla="*/ 2147483647 h 336"/>
                    <a:gd name="T36" fmla="*/ 2147483647 w 294"/>
                    <a:gd name="T37" fmla="*/ 2147483647 h 336"/>
                    <a:gd name="T38" fmla="*/ 2147483647 w 294"/>
                    <a:gd name="T39" fmla="*/ 2147483647 h 336"/>
                    <a:gd name="T40" fmla="*/ 2147483647 w 294"/>
                    <a:gd name="T41" fmla="*/ 2147483647 h 336"/>
                    <a:gd name="T42" fmla="*/ 2147483647 w 294"/>
                    <a:gd name="T43" fmla="*/ 2147483647 h 336"/>
                    <a:gd name="T44" fmla="*/ 2147483647 w 294"/>
                    <a:gd name="T45" fmla="*/ 2147483647 h 336"/>
                    <a:gd name="T46" fmla="*/ 2147483647 w 294"/>
                    <a:gd name="T47" fmla="*/ 2147483647 h 336"/>
                    <a:gd name="T48" fmla="*/ 2147483647 w 294"/>
                    <a:gd name="T49" fmla="*/ 2147483647 h 336"/>
                    <a:gd name="T50" fmla="*/ 2147483647 w 294"/>
                    <a:gd name="T51" fmla="*/ 2147483647 h 336"/>
                    <a:gd name="T52" fmla="*/ 2147483647 w 294"/>
                    <a:gd name="T53" fmla="*/ 2147483647 h 336"/>
                    <a:gd name="T54" fmla="*/ 2147483647 w 294"/>
                    <a:gd name="T55" fmla="*/ 2147483647 h 336"/>
                    <a:gd name="T56" fmla="*/ 2147483647 w 294"/>
                    <a:gd name="T57" fmla="*/ 2147483647 h 336"/>
                    <a:gd name="T58" fmla="*/ 2147483647 w 294"/>
                    <a:gd name="T59" fmla="*/ 2147483647 h 336"/>
                    <a:gd name="T60" fmla="*/ 2147483647 w 294"/>
                    <a:gd name="T61" fmla="*/ 2147483647 h 336"/>
                    <a:gd name="T62" fmla="*/ 2147483647 w 294"/>
                    <a:gd name="T63" fmla="*/ 2147483647 h 336"/>
                    <a:gd name="T64" fmla="*/ 2147483647 w 294"/>
                    <a:gd name="T65" fmla="*/ 2147483647 h 336"/>
                    <a:gd name="T66" fmla="*/ 2147483647 w 294"/>
                    <a:gd name="T67" fmla="*/ 2147483647 h 336"/>
                    <a:gd name="T68" fmla="*/ 2147483647 w 294"/>
                    <a:gd name="T69" fmla="*/ 2147483647 h 336"/>
                    <a:gd name="T70" fmla="*/ 2147483647 w 294"/>
                    <a:gd name="T71" fmla="*/ 0 h 336"/>
                    <a:gd name="T72" fmla="*/ 2147483647 w 294"/>
                    <a:gd name="T73" fmla="*/ 2147483647 h 336"/>
                    <a:gd name="T74" fmla="*/ 2147483647 w 294"/>
                    <a:gd name="T75" fmla="*/ 2147483647 h 336"/>
                    <a:gd name="T76" fmla="*/ 2147483647 w 294"/>
                    <a:gd name="T77" fmla="*/ 2147483647 h 336"/>
                    <a:gd name="T78" fmla="*/ 2147483647 w 294"/>
                    <a:gd name="T79" fmla="*/ 2147483647 h 336"/>
                    <a:gd name="T80" fmla="*/ 2147483647 w 294"/>
                    <a:gd name="T81" fmla="*/ 2147483647 h 336"/>
                    <a:gd name="T82" fmla="*/ 2147483647 w 294"/>
                    <a:gd name="T83" fmla="*/ 2147483647 h 3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94"/>
                    <a:gd name="T127" fmla="*/ 0 h 336"/>
                    <a:gd name="T128" fmla="*/ 294 w 294"/>
                    <a:gd name="T129" fmla="*/ 336 h 33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94" h="336">
                      <a:moveTo>
                        <a:pt x="60" y="78"/>
                      </a:moveTo>
                      <a:lnTo>
                        <a:pt x="30" y="78"/>
                      </a:lnTo>
                      <a:lnTo>
                        <a:pt x="18" y="84"/>
                      </a:lnTo>
                      <a:lnTo>
                        <a:pt x="12" y="90"/>
                      </a:lnTo>
                      <a:lnTo>
                        <a:pt x="12" y="132"/>
                      </a:lnTo>
                      <a:lnTo>
                        <a:pt x="6" y="138"/>
                      </a:lnTo>
                      <a:lnTo>
                        <a:pt x="0" y="150"/>
                      </a:lnTo>
                      <a:lnTo>
                        <a:pt x="0" y="162"/>
                      </a:lnTo>
                      <a:lnTo>
                        <a:pt x="6" y="168"/>
                      </a:lnTo>
                      <a:lnTo>
                        <a:pt x="6" y="174"/>
                      </a:lnTo>
                      <a:lnTo>
                        <a:pt x="12" y="174"/>
                      </a:lnTo>
                      <a:lnTo>
                        <a:pt x="12" y="186"/>
                      </a:lnTo>
                      <a:lnTo>
                        <a:pt x="18" y="198"/>
                      </a:lnTo>
                      <a:lnTo>
                        <a:pt x="24" y="204"/>
                      </a:lnTo>
                      <a:lnTo>
                        <a:pt x="30" y="216"/>
                      </a:lnTo>
                      <a:lnTo>
                        <a:pt x="42" y="216"/>
                      </a:lnTo>
                      <a:lnTo>
                        <a:pt x="42" y="210"/>
                      </a:lnTo>
                      <a:lnTo>
                        <a:pt x="54" y="198"/>
                      </a:lnTo>
                      <a:lnTo>
                        <a:pt x="54" y="216"/>
                      </a:lnTo>
                      <a:lnTo>
                        <a:pt x="48" y="222"/>
                      </a:lnTo>
                      <a:lnTo>
                        <a:pt x="48" y="246"/>
                      </a:lnTo>
                      <a:lnTo>
                        <a:pt x="54" y="258"/>
                      </a:lnTo>
                      <a:lnTo>
                        <a:pt x="72" y="276"/>
                      </a:lnTo>
                      <a:lnTo>
                        <a:pt x="78" y="294"/>
                      </a:lnTo>
                      <a:lnTo>
                        <a:pt x="84" y="306"/>
                      </a:lnTo>
                      <a:lnTo>
                        <a:pt x="90" y="312"/>
                      </a:lnTo>
                      <a:lnTo>
                        <a:pt x="90" y="318"/>
                      </a:lnTo>
                      <a:lnTo>
                        <a:pt x="102" y="324"/>
                      </a:lnTo>
                      <a:lnTo>
                        <a:pt x="108" y="324"/>
                      </a:lnTo>
                      <a:lnTo>
                        <a:pt x="132" y="336"/>
                      </a:lnTo>
                      <a:lnTo>
                        <a:pt x="150" y="336"/>
                      </a:lnTo>
                      <a:lnTo>
                        <a:pt x="156" y="330"/>
                      </a:lnTo>
                      <a:lnTo>
                        <a:pt x="150" y="324"/>
                      </a:lnTo>
                      <a:lnTo>
                        <a:pt x="150" y="318"/>
                      </a:lnTo>
                      <a:lnTo>
                        <a:pt x="138" y="306"/>
                      </a:lnTo>
                      <a:lnTo>
                        <a:pt x="138" y="282"/>
                      </a:lnTo>
                      <a:lnTo>
                        <a:pt x="150" y="276"/>
                      </a:lnTo>
                      <a:lnTo>
                        <a:pt x="156" y="276"/>
                      </a:lnTo>
                      <a:lnTo>
                        <a:pt x="156" y="288"/>
                      </a:lnTo>
                      <a:lnTo>
                        <a:pt x="180" y="288"/>
                      </a:lnTo>
                      <a:lnTo>
                        <a:pt x="192" y="282"/>
                      </a:lnTo>
                      <a:lnTo>
                        <a:pt x="198" y="276"/>
                      </a:lnTo>
                      <a:lnTo>
                        <a:pt x="210" y="270"/>
                      </a:lnTo>
                      <a:lnTo>
                        <a:pt x="216" y="270"/>
                      </a:lnTo>
                      <a:lnTo>
                        <a:pt x="222" y="282"/>
                      </a:lnTo>
                      <a:lnTo>
                        <a:pt x="228" y="288"/>
                      </a:lnTo>
                      <a:lnTo>
                        <a:pt x="246" y="294"/>
                      </a:lnTo>
                      <a:lnTo>
                        <a:pt x="252" y="282"/>
                      </a:lnTo>
                      <a:lnTo>
                        <a:pt x="258" y="276"/>
                      </a:lnTo>
                      <a:lnTo>
                        <a:pt x="258" y="264"/>
                      </a:lnTo>
                      <a:lnTo>
                        <a:pt x="264" y="264"/>
                      </a:lnTo>
                      <a:lnTo>
                        <a:pt x="276" y="258"/>
                      </a:lnTo>
                      <a:lnTo>
                        <a:pt x="270" y="222"/>
                      </a:lnTo>
                      <a:lnTo>
                        <a:pt x="288" y="204"/>
                      </a:lnTo>
                      <a:lnTo>
                        <a:pt x="288" y="198"/>
                      </a:lnTo>
                      <a:lnTo>
                        <a:pt x="282" y="186"/>
                      </a:lnTo>
                      <a:lnTo>
                        <a:pt x="264" y="168"/>
                      </a:lnTo>
                      <a:lnTo>
                        <a:pt x="258" y="156"/>
                      </a:lnTo>
                      <a:lnTo>
                        <a:pt x="258" y="144"/>
                      </a:lnTo>
                      <a:lnTo>
                        <a:pt x="252" y="126"/>
                      </a:lnTo>
                      <a:lnTo>
                        <a:pt x="252" y="96"/>
                      </a:lnTo>
                      <a:lnTo>
                        <a:pt x="258" y="78"/>
                      </a:lnTo>
                      <a:lnTo>
                        <a:pt x="264" y="66"/>
                      </a:lnTo>
                      <a:lnTo>
                        <a:pt x="276" y="60"/>
                      </a:lnTo>
                      <a:lnTo>
                        <a:pt x="282" y="54"/>
                      </a:lnTo>
                      <a:lnTo>
                        <a:pt x="288" y="54"/>
                      </a:lnTo>
                      <a:lnTo>
                        <a:pt x="288" y="30"/>
                      </a:lnTo>
                      <a:lnTo>
                        <a:pt x="294" y="12"/>
                      </a:lnTo>
                      <a:lnTo>
                        <a:pt x="288" y="12"/>
                      </a:lnTo>
                      <a:lnTo>
                        <a:pt x="282" y="6"/>
                      </a:lnTo>
                      <a:lnTo>
                        <a:pt x="270" y="6"/>
                      </a:lnTo>
                      <a:lnTo>
                        <a:pt x="252" y="0"/>
                      </a:lnTo>
                      <a:lnTo>
                        <a:pt x="210" y="0"/>
                      </a:lnTo>
                      <a:lnTo>
                        <a:pt x="204" y="12"/>
                      </a:lnTo>
                      <a:lnTo>
                        <a:pt x="156" y="6"/>
                      </a:lnTo>
                      <a:lnTo>
                        <a:pt x="156" y="18"/>
                      </a:lnTo>
                      <a:lnTo>
                        <a:pt x="96" y="0"/>
                      </a:lnTo>
                      <a:lnTo>
                        <a:pt x="72" y="6"/>
                      </a:lnTo>
                      <a:lnTo>
                        <a:pt x="66" y="18"/>
                      </a:lnTo>
                      <a:lnTo>
                        <a:pt x="60" y="24"/>
                      </a:lnTo>
                      <a:lnTo>
                        <a:pt x="54" y="36"/>
                      </a:lnTo>
                      <a:lnTo>
                        <a:pt x="54" y="48"/>
                      </a:lnTo>
                      <a:lnTo>
                        <a:pt x="66" y="60"/>
                      </a:lnTo>
                      <a:lnTo>
                        <a:pt x="66" y="72"/>
                      </a:lnTo>
                      <a:lnTo>
                        <a:pt x="60" y="7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spcBef>
                      <a:spcPct val="0"/>
                    </a:spcBef>
                    <a:defRPr/>
                  </a:pPr>
                  <a:endParaRPr lang="en-US" dirty="0">
                    <a:solidFill>
                      <a:srgbClr val="000000"/>
                    </a:solidFill>
                    <a:latin typeface="Calibri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292" name="Puerto Rico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2324101" y="3481390"/>
                  <a:ext cx="55563" cy="23813"/>
                </a:xfrm>
                <a:custGeom>
                  <a:avLst/>
                  <a:gdLst>
                    <a:gd name="T0" fmla="*/ 2147483647 w 138"/>
                    <a:gd name="T1" fmla="*/ 2147483647 h 60"/>
                    <a:gd name="T2" fmla="*/ 2147483647 w 138"/>
                    <a:gd name="T3" fmla="*/ 2147483647 h 60"/>
                    <a:gd name="T4" fmla="*/ 2147483647 w 138"/>
                    <a:gd name="T5" fmla="*/ 0 h 60"/>
                    <a:gd name="T6" fmla="*/ 2147483647 w 138"/>
                    <a:gd name="T7" fmla="*/ 0 h 60"/>
                    <a:gd name="T8" fmla="*/ 2147483647 w 138"/>
                    <a:gd name="T9" fmla="*/ 2147483647 h 60"/>
                    <a:gd name="T10" fmla="*/ 0 w 138"/>
                    <a:gd name="T11" fmla="*/ 2147483647 h 60"/>
                    <a:gd name="T12" fmla="*/ 0 w 138"/>
                    <a:gd name="T13" fmla="*/ 2147483647 h 60"/>
                    <a:gd name="T14" fmla="*/ 2147483647 w 138"/>
                    <a:gd name="T15" fmla="*/ 2147483647 h 60"/>
                    <a:gd name="T16" fmla="*/ 2147483647 w 138"/>
                    <a:gd name="T17" fmla="*/ 2147483647 h 60"/>
                    <a:gd name="T18" fmla="*/ 2147483647 w 138"/>
                    <a:gd name="T19" fmla="*/ 2147483647 h 60"/>
                    <a:gd name="T20" fmla="*/ 2147483647 w 138"/>
                    <a:gd name="T21" fmla="*/ 2147483647 h 60"/>
                    <a:gd name="T22" fmla="*/ 2147483647 w 138"/>
                    <a:gd name="T23" fmla="*/ 2147483647 h 60"/>
                    <a:gd name="T24" fmla="*/ 2147483647 w 138"/>
                    <a:gd name="T25" fmla="*/ 2147483647 h 60"/>
                    <a:gd name="T26" fmla="*/ 2147483647 w 138"/>
                    <a:gd name="T27" fmla="*/ 2147483647 h 60"/>
                    <a:gd name="T28" fmla="*/ 2147483647 w 138"/>
                    <a:gd name="T29" fmla="*/ 2147483647 h 60"/>
                    <a:gd name="T30" fmla="*/ 2147483647 w 138"/>
                    <a:gd name="T31" fmla="*/ 2147483647 h 60"/>
                    <a:gd name="T32" fmla="*/ 2147483647 w 138"/>
                    <a:gd name="T33" fmla="*/ 2147483647 h 60"/>
                    <a:gd name="T34" fmla="*/ 2147483647 w 138"/>
                    <a:gd name="T35" fmla="*/ 2147483647 h 6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8"/>
                    <a:gd name="T55" fmla="*/ 0 h 60"/>
                    <a:gd name="T56" fmla="*/ 138 w 138"/>
                    <a:gd name="T57" fmla="*/ 60 h 6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8" h="60">
                      <a:moveTo>
                        <a:pt x="84" y="12"/>
                      </a:moveTo>
                      <a:lnTo>
                        <a:pt x="72" y="12"/>
                      </a:lnTo>
                      <a:lnTo>
                        <a:pt x="36" y="0"/>
                      </a:lnTo>
                      <a:lnTo>
                        <a:pt x="12" y="0"/>
                      </a:lnTo>
                      <a:lnTo>
                        <a:pt x="6" y="12"/>
                      </a:lnTo>
                      <a:lnTo>
                        <a:pt x="0" y="18"/>
                      </a:lnTo>
                      <a:lnTo>
                        <a:pt x="0" y="48"/>
                      </a:lnTo>
                      <a:lnTo>
                        <a:pt x="36" y="60"/>
                      </a:lnTo>
                      <a:lnTo>
                        <a:pt x="48" y="48"/>
                      </a:lnTo>
                      <a:lnTo>
                        <a:pt x="102" y="48"/>
                      </a:lnTo>
                      <a:lnTo>
                        <a:pt x="120" y="36"/>
                      </a:lnTo>
                      <a:lnTo>
                        <a:pt x="132" y="30"/>
                      </a:lnTo>
                      <a:lnTo>
                        <a:pt x="138" y="18"/>
                      </a:lnTo>
                      <a:lnTo>
                        <a:pt x="138" y="12"/>
                      </a:lnTo>
                      <a:lnTo>
                        <a:pt x="132" y="6"/>
                      </a:lnTo>
                      <a:lnTo>
                        <a:pt x="114" y="6"/>
                      </a:lnTo>
                      <a:lnTo>
                        <a:pt x="102" y="12"/>
                      </a:lnTo>
                      <a:lnTo>
                        <a:pt x="84" y="12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93" name="Peru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1885950" y="4076703"/>
                  <a:ext cx="379413" cy="598488"/>
                </a:xfrm>
                <a:custGeom>
                  <a:avLst/>
                  <a:gdLst>
                    <a:gd name="T0" fmla="*/ 2147483647 w 942"/>
                    <a:gd name="T1" fmla="*/ 2147483647 h 1488"/>
                    <a:gd name="T2" fmla="*/ 2147483647 w 942"/>
                    <a:gd name="T3" fmla="*/ 2147483647 h 1488"/>
                    <a:gd name="T4" fmla="*/ 2147483647 w 942"/>
                    <a:gd name="T5" fmla="*/ 2147483647 h 1488"/>
                    <a:gd name="T6" fmla="*/ 2147483647 w 942"/>
                    <a:gd name="T7" fmla="*/ 2147483647 h 1488"/>
                    <a:gd name="T8" fmla="*/ 2147483647 w 942"/>
                    <a:gd name="T9" fmla="*/ 2147483647 h 1488"/>
                    <a:gd name="T10" fmla="*/ 2147483647 w 942"/>
                    <a:gd name="T11" fmla="*/ 2147483647 h 1488"/>
                    <a:gd name="T12" fmla="*/ 2147483647 w 942"/>
                    <a:gd name="T13" fmla="*/ 2147483647 h 1488"/>
                    <a:gd name="T14" fmla="*/ 2147483647 w 942"/>
                    <a:gd name="T15" fmla="*/ 2147483647 h 1488"/>
                    <a:gd name="T16" fmla="*/ 2147483647 w 942"/>
                    <a:gd name="T17" fmla="*/ 2147483647 h 1488"/>
                    <a:gd name="T18" fmla="*/ 2147483647 w 942"/>
                    <a:gd name="T19" fmla="*/ 2147483647 h 1488"/>
                    <a:gd name="T20" fmla="*/ 2147483647 w 942"/>
                    <a:gd name="T21" fmla="*/ 2147483647 h 1488"/>
                    <a:gd name="T22" fmla="*/ 2147483647 w 942"/>
                    <a:gd name="T23" fmla="*/ 2147483647 h 1488"/>
                    <a:gd name="T24" fmla="*/ 2147483647 w 942"/>
                    <a:gd name="T25" fmla="*/ 2147483647 h 1488"/>
                    <a:gd name="T26" fmla="*/ 2147483647 w 942"/>
                    <a:gd name="T27" fmla="*/ 2147483647 h 1488"/>
                    <a:gd name="T28" fmla="*/ 2147483647 w 942"/>
                    <a:gd name="T29" fmla="*/ 2147483647 h 1488"/>
                    <a:gd name="T30" fmla="*/ 2147483647 w 942"/>
                    <a:gd name="T31" fmla="*/ 2147483647 h 1488"/>
                    <a:gd name="T32" fmla="*/ 2147483647 w 942"/>
                    <a:gd name="T33" fmla="*/ 2147483647 h 1488"/>
                    <a:gd name="T34" fmla="*/ 2147483647 w 942"/>
                    <a:gd name="T35" fmla="*/ 2147483647 h 1488"/>
                    <a:gd name="T36" fmla="*/ 2147483647 w 942"/>
                    <a:gd name="T37" fmla="*/ 2147483647 h 1488"/>
                    <a:gd name="T38" fmla="*/ 2147483647 w 942"/>
                    <a:gd name="T39" fmla="*/ 2147483647 h 1488"/>
                    <a:gd name="T40" fmla="*/ 2147483647 w 942"/>
                    <a:gd name="T41" fmla="*/ 2147483647 h 1488"/>
                    <a:gd name="T42" fmla="*/ 2147483647 w 942"/>
                    <a:gd name="T43" fmla="*/ 2147483647 h 1488"/>
                    <a:gd name="T44" fmla="*/ 2147483647 w 942"/>
                    <a:gd name="T45" fmla="*/ 2147483647 h 1488"/>
                    <a:gd name="T46" fmla="*/ 2147483647 w 942"/>
                    <a:gd name="T47" fmla="*/ 2147483647 h 1488"/>
                    <a:gd name="T48" fmla="*/ 2147483647 w 942"/>
                    <a:gd name="T49" fmla="*/ 2147483647 h 1488"/>
                    <a:gd name="T50" fmla="*/ 2147483647 w 942"/>
                    <a:gd name="T51" fmla="*/ 2147483647 h 1488"/>
                    <a:gd name="T52" fmla="*/ 2147483647 w 942"/>
                    <a:gd name="T53" fmla="*/ 2147483647 h 1488"/>
                    <a:gd name="T54" fmla="*/ 2147483647 w 942"/>
                    <a:gd name="T55" fmla="*/ 2147483647 h 1488"/>
                    <a:gd name="T56" fmla="*/ 2147483647 w 942"/>
                    <a:gd name="T57" fmla="*/ 2147483647 h 1488"/>
                    <a:gd name="T58" fmla="*/ 2147483647 w 942"/>
                    <a:gd name="T59" fmla="*/ 2147483647 h 1488"/>
                    <a:gd name="T60" fmla="*/ 2147483647 w 942"/>
                    <a:gd name="T61" fmla="*/ 2147483647 h 1488"/>
                    <a:gd name="T62" fmla="*/ 2147483647 w 942"/>
                    <a:gd name="T63" fmla="*/ 0 h 1488"/>
                    <a:gd name="T64" fmla="*/ 2147483647 w 942"/>
                    <a:gd name="T65" fmla="*/ 2147483647 h 1488"/>
                    <a:gd name="T66" fmla="*/ 2147483647 w 942"/>
                    <a:gd name="T67" fmla="*/ 2147483647 h 1488"/>
                    <a:gd name="T68" fmla="*/ 2147483647 w 942"/>
                    <a:gd name="T69" fmla="*/ 2147483647 h 1488"/>
                    <a:gd name="T70" fmla="*/ 2147483647 w 942"/>
                    <a:gd name="T71" fmla="*/ 2147483647 h 1488"/>
                    <a:gd name="T72" fmla="*/ 2147483647 w 942"/>
                    <a:gd name="T73" fmla="*/ 2147483647 h 1488"/>
                    <a:gd name="T74" fmla="*/ 2147483647 w 942"/>
                    <a:gd name="T75" fmla="*/ 2147483647 h 1488"/>
                    <a:gd name="T76" fmla="*/ 2147483647 w 942"/>
                    <a:gd name="T77" fmla="*/ 2147483647 h 1488"/>
                    <a:gd name="T78" fmla="*/ 2147483647 w 942"/>
                    <a:gd name="T79" fmla="*/ 2147483647 h 1488"/>
                    <a:gd name="T80" fmla="*/ 2147483647 w 942"/>
                    <a:gd name="T81" fmla="*/ 2147483647 h 1488"/>
                    <a:gd name="T82" fmla="*/ 2147483647 w 942"/>
                    <a:gd name="T83" fmla="*/ 2147483647 h 1488"/>
                    <a:gd name="T84" fmla="*/ 0 w 942"/>
                    <a:gd name="T85" fmla="*/ 2147483647 h 1488"/>
                    <a:gd name="T86" fmla="*/ 2147483647 w 942"/>
                    <a:gd name="T87" fmla="*/ 2147483647 h 1488"/>
                    <a:gd name="T88" fmla="*/ 2147483647 w 942"/>
                    <a:gd name="T89" fmla="*/ 2147483647 h 1488"/>
                    <a:gd name="T90" fmla="*/ 2147483647 w 942"/>
                    <a:gd name="T91" fmla="*/ 2147483647 h 1488"/>
                    <a:gd name="T92" fmla="*/ 2147483647 w 942"/>
                    <a:gd name="T93" fmla="*/ 2147483647 h 1488"/>
                    <a:gd name="T94" fmla="*/ 2147483647 w 942"/>
                    <a:gd name="T95" fmla="*/ 2147483647 h 1488"/>
                    <a:gd name="T96" fmla="*/ 2147483647 w 942"/>
                    <a:gd name="T97" fmla="*/ 2147483647 h 1488"/>
                    <a:gd name="T98" fmla="*/ 2147483647 w 942"/>
                    <a:gd name="T99" fmla="*/ 2147483647 h 1488"/>
                    <a:gd name="T100" fmla="*/ 2147483647 w 942"/>
                    <a:gd name="T101" fmla="*/ 2147483647 h 1488"/>
                    <a:gd name="T102" fmla="*/ 2147483647 w 942"/>
                    <a:gd name="T103" fmla="*/ 2147483647 h 1488"/>
                    <a:gd name="T104" fmla="*/ 2147483647 w 942"/>
                    <a:gd name="T105" fmla="*/ 2147483647 h 1488"/>
                    <a:gd name="T106" fmla="*/ 2147483647 w 942"/>
                    <a:gd name="T107" fmla="*/ 2147483647 h 1488"/>
                    <a:gd name="T108" fmla="*/ 2147483647 w 942"/>
                    <a:gd name="T109" fmla="*/ 2147483647 h 1488"/>
                    <a:gd name="T110" fmla="*/ 2147483647 w 942"/>
                    <a:gd name="T111" fmla="*/ 2147483647 h 1488"/>
                    <a:gd name="T112" fmla="*/ 2147483647 w 942"/>
                    <a:gd name="T113" fmla="*/ 2147483647 h 1488"/>
                    <a:gd name="T114" fmla="*/ 2147483647 w 942"/>
                    <a:gd name="T115" fmla="*/ 2147483647 h 1488"/>
                    <a:gd name="T116" fmla="*/ 2147483647 w 942"/>
                    <a:gd name="T117" fmla="*/ 2147483647 h 1488"/>
                    <a:gd name="T118" fmla="*/ 2147483647 w 942"/>
                    <a:gd name="T119" fmla="*/ 2147483647 h 1488"/>
                    <a:gd name="T120" fmla="*/ 2147483647 w 942"/>
                    <a:gd name="T121" fmla="*/ 2147483647 h 1488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942"/>
                    <a:gd name="T184" fmla="*/ 0 h 1488"/>
                    <a:gd name="T185" fmla="*/ 942 w 942"/>
                    <a:gd name="T186" fmla="*/ 1488 h 1488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942" h="1488">
                      <a:moveTo>
                        <a:pt x="930" y="1320"/>
                      </a:moveTo>
                      <a:lnTo>
                        <a:pt x="924" y="1314"/>
                      </a:lnTo>
                      <a:lnTo>
                        <a:pt x="912" y="1308"/>
                      </a:lnTo>
                      <a:lnTo>
                        <a:pt x="888" y="1284"/>
                      </a:lnTo>
                      <a:lnTo>
                        <a:pt x="864" y="1284"/>
                      </a:lnTo>
                      <a:lnTo>
                        <a:pt x="858" y="1278"/>
                      </a:lnTo>
                      <a:lnTo>
                        <a:pt x="870" y="1260"/>
                      </a:lnTo>
                      <a:lnTo>
                        <a:pt x="870" y="1230"/>
                      </a:lnTo>
                      <a:lnTo>
                        <a:pt x="882" y="1230"/>
                      </a:lnTo>
                      <a:lnTo>
                        <a:pt x="906" y="1254"/>
                      </a:lnTo>
                      <a:lnTo>
                        <a:pt x="918" y="1236"/>
                      </a:lnTo>
                      <a:lnTo>
                        <a:pt x="918" y="1230"/>
                      </a:lnTo>
                      <a:lnTo>
                        <a:pt x="912" y="1224"/>
                      </a:lnTo>
                      <a:lnTo>
                        <a:pt x="906" y="1212"/>
                      </a:lnTo>
                      <a:lnTo>
                        <a:pt x="900" y="1194"/>
                      </a:lnTo>
                      <a:lnTo>
                        <a:pt x="912" y="1170"/>
                      </a:lnTo>
                      <a:lnTo>
                        <a:pt x="924" y="1158"/>
                      </a:lnTo>
                      <a:lnTo>
                        <a:pt x="930" y="1146"/>
                      </a:lnTo>
                      <a:lnTo>
                        <a:pt x="930" y="1140"/>
                      </a:lnTo>
                      <a:lnTo>
                        <a:pt x="924" y="1128"/>
                      </a:lnTo>
                      <a:lnTo>
                        <a:pt x="912" y="1116"/>
                      </a:lnTo>
                      <a:lnTo>
                        <a:pt x="906" y="1116"/>
                      </a:lnTo>
                      <a:lnTo>
                        <a:pt x="924" y="1086"/>
                      </a:lnTo>
                      <a:lnTo>
                        <a:pt x="912" y="1038"/>
                      </a:lnTo>
                      <a:lnTo>
                        <a:pt x="918" y="1032"/>
                      </a:lnTo>
                      <a:lnTo>
                        <a:pt x="924" y="1020"/>
                      </a:lnTo>
                      <a:lnTo>
                        <a:pt x="930" y="1014"/>
                      </a:lnTo>
                      <a:lnTo>
                        <a:pt x="930" y="1002"/>
                      </a:lnTo>
                      <a:lnTo>
                        <a:pt x="918" y="978"/>
                      </a:lnTo>
                      <a:lnTo>
                        <a:pt x="906" y="960"/>
                      </a:lnTo>
                      <a:lnTo>
                        <a:pt x="894" y="948"/>
                      </a:lnTo>
                      <a:lnTo>
                        <a:pt x="882" y="930"/>
                      </a:lnTo>
                      <a:lnTo>
                        <a:pt x="870" y="918"/>
                      </a:lnTo>
                      <a:lnTo>
                        <a:pt x="864" y="900"/>
                      </a:lnTo>
                      <a:lnTo>
                        <a:pt x="864" y="882"/>
                      </a:lnTo>
                      <a:lnTo>
                        <a:pt x="828" y="882"/>
                      </a:lnTo>
                      <a:lnTo>
                        <a:pt x="822" y="888"/>
                      </a:lnTo>
                      <a:lnTo>
                        <a:pt x="816" y="888"/>
                      </a:lnTo>
                      <a:lnTo>
                        <a:pt x="816" y="894"/>
                      </a:lnTo>
                      <a:lnTo>
                        <a:pt x="804" y="894"/>
                      </a:lnTo>
                      <a:lnTo>
                        <a:pt x="798" y="888"/>
                      </a:lnTo>
                      <a:lnTo>
                        <a:pt x="798" y="882"/>
                      </a:lnTo>
                      <a:lnTo>
                        <a:pt x="786" y="888"/>
                      </a:lnTo>
                      <a:lnTo>
                        <a:pt x="786" y="858"/>
                      </a:lnTo>
                      <a:lnTo>
                        <a:pt x="780" y="840"/>
                      </a:lnTo>
                      <a:lnTo>
                        <a:pt x="780" y="828"/>
                      </a:lnTo>
                      <a:lnTo>
                        <a:pt x="786" y="816"/>
                      </a:lnTo>
                      <a:lnTo>
                        <a:pt x="786" y="804"/>
                      </a:lnTo>
                      <a:lnTo>
                        <a:pt x="792" y="798"/>
                      </a:lnTo>
                      <a:lnTo>
                        <a:pt x="792" y="780"/>
                      </a:lnTo>
                      <a:lnTo>
                        <a:pt x="786" y="768"/>
                      </a:lnTo>
                      <a:lnTo>
                        <a:pt x="786" y="756"/>
                      </a:lnTo>
                      <a:lnTo>
                        <a:pt x="732" y="804"/>
                      </a:lnTo>
                      <a:lnTo>
                        <a:pt x="672" y="810"/>
                      </a:lnTo>
                      <a:lnTo>
                        <a:pt x="672" y="804"/>
                      </a:lnTo>
                      <a:lnTo>
                        <a:pt x="666" y="798"/>
                      </a:lnTo>
                      <a:lnTo>
                        <a:pt x="660" y="786"/>
                      </a:lnTo>
                      <a:lnTo>
                        <a:pt x="660" y="774"/>
                      </a:lnTo>
                      <a:lnTo>
                        <a:pt x="654" y="768"/>
                      </a:lnTo>
                      <a:lnTo>
                        <a:pt x="648" y="768"/>
                      </a:lnTo>
                      <a:lnTo>
                        <a:pt x="636" y="762"/>
                      </a:lnTo>
                      <a:lnTo>
                        <a:pt x="594" y="762"/>
                      </a:lnTo>
                      <a:lnTo>
                        <a:pt x="600" y="756"/>
                      </a:lnTo>
                      <a:lnTo>
                        <a:pt x="612" y="750"/>
                      </a:lnTo>
                      <a:lnTo>
                        <a:pt x="618" y="738"/>
                      </a:lnTo>
                      <a:lnTo>
                        <a:pt x="624" y="732"/>
                      </a:lnTo>
                      <a:lnTo>
                        <a:pt x="600" y="708"/>
                      </a:lnTo>
                      <a:lnTo>
                        <a:pt x="588" y="702"/>
                      </a:lnTo>
                      <a:lnTo>
                        <a:pt x="576" y="690"/>
                      </a:lnTo>
                      <a:lnTo>
                        <a:pt x="564" y="666"/>
                      </a:lnTo>
                      <a:lnTo>
                        <a:pt x="558" y="660"/>
                      </a:lnTo>
                      <a:lnTo>
                        <a:pt x="558" y="654"/>
                      </a:lnTo>
                      <a:lnTo>
                        <a:pt x="552" y="630"/>
                      </a:lnTo>
                      <a:lnTo>
                        <a:pt x="540" y="624"/>
                      </a:lnTo>
                      <a:lnTo>
                        <a:pt x="534" y="618"/>
                      </a:lnTo>
                      <a:lnTo>
                        <a:pt x="534" y="606"/>
                      </a:lnTo>
                      <a:lnTo>
                        <a:pt x="540" y="600"/>
                      </a:lnTo>
                      <a:lnTo>
                        <a:pt x="552" y="594"/>
                      </a:lnTo>
                      <a:lnTo>
                        <a:pt x="546" y="588"/>
                      </a:lnTo>
                      <a:lnTo>
                        <a:pt x="546" y="564"/>
                      </a:lnTo>
                      <a:lnTo>
                        <a:pt x="552" y="552"/>
                      </a:lnTo>
                      <a:lnTo>
                        <a:pt x="582" y="522"/>
                      </a:lnTo>
                      <a:lnTo>
                        <a:pt x="588" y="528"/>
                      </a:lnTo>
                      <a:lnTo>
                        <a:pt x="594" y="528"/>
                      </a:lnTo>
                      <a:lnTo>
                        <a:pt x="588" y="522"/>
                      </a:lnTo>
                      <a:lnTo>
                        <a:pt x="588" y="504"/>
                      </a:lnTo>
                      <a:lnTo>
                        <a:pt x="582" y="498"/>
                      </a:lnTo>
                      <a:lnTo>
                        <a:pt x="582" y="486"/>
                      </a:lnTo>
                      <a:lnTo>
                        <a:pt x="600" y="468"/>
                      </a:lnTo>
                      <a:lnTo>
                        <a:pt x="600" y="414"/>
                      </a:lnTo>
                      <a:lnTo>
                        <a:pt x="624" y="414"/>
                      </a:lnTo>
                      <a:lnTo>
                        <a:pt x="624" y="408"/>
                      </a:lnTo>
                      <a:lnTo>
                        <a:pt x="630" y="402"/>
                      </a:lnTo>
                      <a:lnTo>
                        <a:pt x="630" y="396"/>
                      </a:lnTo>
                      <a:lnTo>
                        <a:pt x="642" y="384"/>
                      </a:lnTo>
                      <a:lnTo>
                        <a:pt x="654" y="378"/>
                      </a:lnTo>
                      <a:lnTo>
                        <a:pt x="660" y="372"/>
                      </a:lnTo>
                      <a:lnTo>
                        <a:pt x="672" y="366"/>
                      </a:lnTo>
                      <a:lnTo>
                        <a:pt x="702" y="366"/>
                      </a:lnTo>
                      <a:lnTo>
                        <a:pt x="708" y="354"/>
                      </a:lnTo>
                      <a:lnTo>
                        <a:pt x="738" y="360"/>
                      </a:lnTo>
                      <a:lnTo>
                        <a:pt x="744" y="354"/>
                      </a:lnTo>
                      <a:lnTo>
                        <a:pt x="750" y="342"/>
                      </a:lnTo>
                      <a:lnTo>
                        <a:pt x="756" y="336"/>
                      </a:lnTo>
                      <a:lnTo>
                        <a:pt x="774" y="336"/>
                      </a:lnTo>
                      <a:lnTo>
                        <a:pt x="786" y="348"/>
                      </a:lnTo>
                      <a:lnTo>
                        <a:pt x="786" y="354"/>
                      </a:lnTo>
                      <a:lnTo>
                        <a:pt x="804" y="354"/>
                      </a:lnTo>
                      <a:lnTo>
                        <a:pt x="816" y="342"/>
                      </a:lnTo>
                      <a:lnTo>
                        <a:pt x="798" y="330"/>
                      </a:lnTo>
                      <a:lnTo>
                        <a:pt x="786" y="312"/>
                      </a:lnTo>
                      <a:lnTo>
                        <a:pt x="768" y="312"/>
                      </a:lnTo>
                      <a:lnTo>
                        <a:pt x="762" y="306"/>
                      </a:lnTo>
                      <a:lnTo>
                        <a:pt x="762" y="288"/>
                      </a:lnTo>
                      <a:lnTo>
                        <a:pt x="774" y="264"/>
                      </a:lnTo>
                      <a:lnTo>
                        <a:pt x="774" y="258"/>
                      </a:lnTo>
                      <a:lnTo>
                        <a:pt x="780" y="252"/>
                      </a:lnTo>
                      <a:lnTo>
                        <a:pt x="786" y="252"/>
                      </a:lnTo>
                      <a:lnTo>
                        <a:pt x="792" y="246"/>
                      </a:lnTo>
                      <a:lnTo>
                        <a:pt x="798" y="234"/>
                      </a:lnTo>
                      <a:lnTo>
                        <a:pt x="798" y="216"/>
                      </a:lnTo>
                      <a:lnTo>
                        <a:pt x="792" y="210"/>
                      </a:lnTo>
                      <a:lnTo>
                        <a:pt x="780" y="204"/>
                      </a:lnTo>
                      <a:lnTo>
                        <a:pt x="756" y="204"/>
                      </a:lnTo>
                      <a:lnTo>
                        <a:pt x="750" y="198"/>
                      </a:lnTo>
                      <a:lnTo>
                        <a:pt x="744" y="186"/>
                      </a:lnTo>
                      <a:lnTo>
                        <a:pt x="744" y="180"/>
                      </a:lnTo>
                      <a:lnTo>
                        <a:pt x="732" y="180"/>
                      </a:lnTo>
                      <a:lnTo>
                        <a:pt x="726" y="186"/>
                      </a:lnTo>
                      <a:lnTo>
                        <a:pt x="714" y="192"/>
                      </a:lnTo>
                      <a:lnTo>
                        <a:pt x="702" y="192"/>
                      </a:lnTo>
                      <a:lnTo>
                        <a:pt x="696" y="186"/>
                      </a:lnTo>
                      <a:lnTo>
                        <a:pt x="690" y="186"/>
                      </a:lnTo>
                      <a:lnTo>
                        <a:pt x="684" y="180"/>
                      </a:lnTo>
                      <a:lnTo>
                        <a:pt x="660" y="180"/>
                      </a:lnTo>
                      <a:lnTo>
                        <a:pt x="648" y="192"/>
                      </a:lnTo>
                      <a:lnTo>
                        <a:pt x="648" y="204"/>
                      </a:lnTo>
                      <a:lnTo>
                        <a:pt x="612" y="204"/>
                      </a:lnTo>
                      <a:lnTo>
                        <a:pt x="588" y="198"/>
                      </a:lnTo>
                      <a:lnTo>
                        <a:pt x="576" y="192"/>
                      </a:lnTo>
                      <a:lnTo>
                        <a:pt x="576" y="168"/>
                      </a:lnTo>
                      <a:lnTo>
                        <a:pt x="582" y="162"/>
                      </a:lnTo>
                      <a:lnTo>
                        <a:pt x="582" y="156"/>
                      </a:lnTo>
                      <a:lnTo>
                        <a:pt x="576" y="150"/>
                      </a:lnTo>
                      <a:lnTo>
                        <a:pt x="564" y="144"/>
                      </a:lnTo>
                      <a:lnTo>
                        <a:pt x="552" y="144"/>
                      </a:lnTo>
                      <a:lnTo>
                        <a:pt x="552" y="138"/>
                      </a:lnTo>
                      <a:lnTo>
                        <a:pt x="546" y="132"/>
                      </a:lnTo>
                      <a:lnTo>
                        <a:pt x="546" y="108"/>
                      </a:lnTo>
                      <a:lnTo>
                        <a:pt x="540" y="102"/>
                      </a:lnTo>
                      <a:lnTo>
                        <a:pt x="528" y="102"/>
                      </a:lnTo>
                      <a:lnTo>
                        <a:pt x="516" y="84"/>
                      </a:lnTo>
                      <a:lnTo>
                        <a:pt x="498" y="84"/>
                      </a:lnTo>
                      <a:lnTo>
                        <a:pt x="486" y="48"/>
                      </a:lnTo>
                      <a:lnTo>
                        <a:pt x="480" y="42"/>
                      </a:lnTo>
                      <a:lnTo>
                        <a:pt x="468" y="36"/>
                      </a:lnTo>
                      <a:lnTo>
                        <a:pt x="450" y="18"/>
                      </a:lnTo>
                      <a:lnTo>
                        <a:pt x="438" y="12"/>
                      </a:lnTo>
                      <a:lnTo>
                        <a:pt x="426" y="0"/>
                      </a:lnTo>
                      <a:lnTo>
                        <a:pt x="396" y="0"/>
                      </a:lnTo>
                      <a:lnTo>
                        <a:pt x="414" y="0"/>
                      </a:lnTo>
                      <a:lnTo>
                        <a:pt x="414" y="24"/>
                      </a:lnTo>
                      <a:lnTo>
                        <a:pt x="408" y="24"/>
                      </a:lnTo>
                      <a:lnTo>
                        <a:pt x="408" y="30"/>
                      </a:lnTo>
                      <a:lnTo>
                        <a:pt x="402" y="30"/>
                      </a:lnTo>
                      <a:lnTo>
                        <a:pt x="426" y="48"/>
                      </a:lnTo>
                      <a:lnTo>
                        <a:pt x="426" y="78"/>
                      </a:lnTo>
                      <a:lnTo>
                        <a:pt x="414" y="84"/>
                      </a:lnTo>
                      <a:lnTo>
                        <a:pt x="402" y="126"/>
                      </a:lnTo>
                      <a:lnTo>
                        <a:pt x="396" y="138"/>
                      </a:lnTo>
                      <a:lnTo>
                        <a:pt x="384" y="150"/>
                      </a:lnTo>
                      <a:lnTo>
                        <a:pt x="378" y="162"/>
                      </a:lnTo>
                      <a:lnTo>
                        <a:pt x="366" y="174"/>
                      </a:lnTo>
                      <a:lnTo>
                        <a:pt x="354" y="192"/>
                      </a:lnTo>
                      <a:lnTo>
                        <a:pt x="336" y="204"/>
                      </a:lnTo>
                      <a:lnTo>
                        <a:pt x="276" y="234"/>
                      </a:lnTo>
                      <a:lnTo>
                        <a:pt x="258" y="240"/>
                      </a:lnTo>
                      <a:lnTo>
                        <a:pt x="240" y="252"/>
                      </a:lnTo>
                      <a:lnTo>
                        <a:pt x="222" y="270"/>
                      </a:lnTo>
                      <a:lnTo>
                        <a:pt x="222" y="276"/>
                      </a:lnTo>
                      <a:lnTo>
                        <a:pt x="210" y="282"/>
                      </a:lnTo>
                      <a:lnTo>
                        <a:pt x="210" y="300"/>
                      </a:lnTo>
                      <a:lnTo>
                        <a:pt x="198" y="312"/>
                      </a:lnTo>
                      <a:lnTo>
                        <a:pt x="198" y="336"/>
                      </a:lnTo>
                      <a:lnTo>
                        <a:pt x="192" y="348"/>
                      </a:lnTo>
                      <a:lnTo>
                        <a:pt x="192" y="378"/>
                      </a:lnTo>
                      <a:lnTo>
                        <a:pt x="174" y="378"/>
                      </a:lnTo>
                      <a:lnTo>
                        <a:pt x="168" y="384"/>
                      </a:lnTo>
                      <a:lnTo>
                        <a:pt x="168" y="390"/>
                      </a:lnTo>
                      <a:lnTo>
                        <a:pt x="162" y="396"/>
                      </a:lnTo>
                      <a:lnTo>
                        <a:pt x="162" y="402"/>
                      </a:lnTo>
                      <a:lnTo>
                        <a:pt x="144" y="402"/>
                      </a:lnTo>
                      <a:lnTo>
                        <a:pt x="138" y="390"/>
                      </a:lnTo>
                      <a:lnTo>
                        <a:pt x="138" y="372"/>
                      </a:lnTo>
                      <a:lnTo>
                        <a:pt x="132" y="366"/>
                      </a:lnTo>
                      <a:lnTo>
                        <a:pt x="132" y="360"/>
                      </a:lnTo>
                      <a:lnTo>
                        <a:pt x="102" y="360"/>
                      </a:lnTo>
                      <a:lnTo>
                        <a:pt x="90" y="348"/>
                      </a:lnTo>
                      <a:lnTo>
                        <a:pt x="78" y="360"/>
                      </a:lnTo>
                      <a:lnTo>
                        <a:pt x="66" y="366"/>
                      </a:lnTo>
                      <a:lnTo>
                        <a:pt x="60" y="366"/>
                      </a:lnTo>
                      <a:lnTo>
                        <a:pt x="54" y="360"/>
                      </a:lnTo>
                      <a:lnTo>
                        <a:pt x="66" y="348"/>
                      </a:lnTo>
                      <a:lnTo>
                        <a:pt x="54" y="336"/>
                      </a:lnTo>
                      <a:lnTo>
                        <a:pt x="60" y="330"/>
                      </a:lnTo>
                      <a:lnTo>
                        <a:pt x="66" y="318"/>
                      </a:lnTo>
                      <a:lnTo>
                        <a:pt x="78" y="312"/>
                      </a:lnTo>
                      <a:lnTo>
                        <a:pt x="84" y="300"/>
                      </a:lnTo>
                      <a:lnTo>
                        <a:pt x="90" y="294"/>
                      </a:lnTo>
                      <a:lnTo>
                        <a:pt x="90" y="288"/>
                      </a:lnTo>
                      <a:lnTo>
                        <a:pt x="84" y="288"/>
                      </a:lnTo>
                      <a:lnTo>
                        <a:pt x="72" y="282"/>
                      </a:lnTo>
                      <a:lnTo>
                        <a:pt x="66" y="282"/>
                      </a:lnTo>
                      <a:lnTo>
                        <a:pt x="6" y="342"/>
                      </a:lnTo>
                      <a:lnTo>
                        <a:pt x="0" y="354"/>
                      </a:lnTo>
                      <a:lnTo>
                        <a:pt x="0" y="390"/>
                      </a:lnTo>
                      <a:lnTo>
                        <a:pt x="6" y="396"/>
                      </a:lnTo>
                      <a:lnTo>
                        <a:pt x="18" y="396"/>
                      </a:lnTo>
                      <a:lnTo>
                        <a:pt x="12" y="420"/>
                      </a:lnTo>
                      <a:lnTo>
                        <a:pt x="36" y="444"/>
                      </a:lnTo>
                      <a:lnTo>
                        <a:pt x="36" y="462"/>
                      </a:lnTo>
                      <a:lnTo>
                        <a:pt x="12" y="486"/>
                      </a:lnTo>
                      <a:lnTo>
                        <a:pt x="12" y="492"/>
                      </a:lnTo>
                      <a:lnTo>
                        <a:pt x="18" y="504"/>
                      </a:lnTo>
                      <a:lnTo>
                        <a:pt x="24" y="510"/>
                      </a:lnTo>
                      <a:lnTo>
                        <a:pt x="36" y="516"/>
                      </a:lnTo>
                      <a:lnTo>
                        <a:pt x="54" y="522"/>
                      </a:lnTo>
                      <a:lnTo>
                        <a:pt x="66" y="522"/>
                      </a:lnTo>
                      <a:lnTo>
                        <a:pt x="108" y="564"/>
                      </a:lnTo>
                      <a:lnTo>
                        <a:pt x="114" y="576"/>
                      </a:lnTo>
                      <a:lnTo>
                        <a:pt x="132" y="594"/>
                      </a:lnTo>
                      <a:lnTo>
                        <a:pt x="138" y="612"/>
                      </a:lnTo>
                      <a:lnTo>
                        <a:pt x="144" y="624"/>
                      </a:lnTo>
                      <a:lnTo>
                        <a:pt x="144" y="642"/>
                      </a:lnTo>
                      <a:lnTo>
                        <a:pt x="150" y="648"/>
                      </a:lnTo>
                      <a:lnTo>
                        <a:pt x="156" y="660"/>
                      </a:lnTo>
                      <a:lnTo>
                        <a:pt x="168" y="666"/>
                      </a:lnTo>
                      <a:lnTo>
                        <a:pt x="174" y="678"/>
                      </a:lnTo>
                      <a:lnTo>
                        <a:pt x="192" y="696"/>
                      </a:lnTo>
                      <a:lnTo>
                        <a:pt x="204" y="720"/>
                      </a:lnTo>
                      <a:lnTo>
                        <a:pt x="216" y="732"/>
                      </a:lnTo>
                      <a:lnTo>
                        <a:pt x="222" y="744"/>
                      </a:lnTo>
                      <a:lnTo>
                        <a:pt x="234" y="762"/>
                      </a:lnTo>
                      <a:lnTo>
                        <a:pt x="240" y="768"/>
                      </a:lnTo>
                      <a:lnTo>
                        <a:pt x="246" y="780"/>
                      </a:lnTo>
                      <a:lnTo>
                        <a:pt x="252" y="822"/>
                      </a:lnTo>
                      <a:lnTo>
                        <a:pt x="252" y="828"/>
                      </a:lnTo>
                      <a:lnTo>
                        <a:pt x="258" y="834"/>
                      </a:lnTo>
                      <a:lnTo>
                        <a:pt x="264" y="846"/>
                      </a:lnTo>
                      <a:lnTo>
                        <a:pt x="270" y="864"/>
                      </a:lnTo>
                      <a:lnTo>
                        <a:pt x="282" y="876"/>
                      </a:lnTo>
                      <a:lnTo>
                        <a:pt x="288" y="894"/>
                      </a:lnTo>
                      <a:lnTo>
                        <a:pt x="294" y="906"/>
                      </a:lnTo>
                      <a:lnTo>
                        <a:pt x="294" y="918"/>
                      </a:lnTo>
                      <a:lnTo>
                        <a:pt x="300" y="924"/>
                      </a:lnTo>
                      <a:lnTo>
                        <a:pt x="312" y="924"/>
                      </a:lnTo>
                      <a:lnTo>
                        <a:pt x="324" y="936"/>
                      </a:lnTo>
                      <a:lnTo>
                        <a:pt x="324" y="948"/>
                      </a:lnTo>
                      <a:lnTo>
                        <a:pt x="330" y="954"/>
                      </a:lnTo>
                      <a:lnTo>
                        <a:pt x="330" y="966"/>
                      </a:lnTo>
                      <a:lnTo>
                        <a:pt x="336" y="984"/>
                      </a:lnTo>
                      <a:lnTo>
                        <a:pt x="360" y="1014"/>
                      </a:lnTo>
                      <a:lnTo>
                        <a:pt x="378" y="1050"/>
                      </a:lnTo>
                      <a:lnTo>
                        <a:pt x="396" y="1074"/>
                      </a:lnTo>
                      <a:lnTo>
                        <a:pt x="402" y="1086"/>
                      </a:lnTo>
                      <a:lnTo>
                        <a:pt x="408" y="1104"/>
                      </a:lnTo>
                      <a:lnTo>
                        <a:pt x="408" y="1116"/>
                      </a:lnTo>
                      <a:lnTo>
                        <a:pt x="402" y="1128"/>
                      </a:lnTo>
                      <a:lnTo>
                        <a:pt x="402" y="1146"/>
                      </a:lnTo>
                      <a:lnTo>
                        <a:pt x="414" y="1158"/>
                      </a:lnTo>
                      <a:lnTo>
                        <a:pt x="420" y="1170"/>
                      </a:lnTo>
                      <a:lnTo>
                        <a:pt x="444" y="1194"/>
                      </a:lnTo>
                      <a:lnTo>
                        <a:pt x="456" y="1200"/>
                      </a:lnTo>
                      <a:lnTo>
                        <a:pt x="468" y="1212"/>
                      </a:lnTo>
                      <a:lnTo>
                        <a:pt x="474" y="1224"/>
                      </a:lnTo>
                      <a:lnTo>
                        <a:pt x="498" y="1248"/>
                      </a:lnTo>
                      <a:lnTo>
                        <a:pt x="516" y="1260"/>
                      </a:lnTo>
                      <a:lnTo>
                        <a:pt x="546" y="1278"/>
                      </a:lnTo>
                      <a:lnTo>
                        <a:pt x="576" y="1290"/>
                      </a:lnTo>
                      <a:lnTo>
                        <a:pt x="600" y="1302"/>
                      </a:lnTo>
                      <a:lnTo>
                        <a:pt x="642" y="1320"/>
                      </a:lnTo>
                      <a:lnTo>
                        <a:pt x="696" y="1350"/>
                      </a:lnTo>
                      <a:lnTo>
                        <a:pt x="708" y="1362"/>
                      </a:lnTo>
                      <a:lnTo>
                        <a:pt x="726" y="1374"/>
                      </a:lnTo>
                      <a:lnTo>
                        <a:pt x="738" y="1380"/>
                      </a:lnTo>
                      <a:lnTo>
                        <a:pt x="750" y="1392"/>
                      </a:lnTo>
                      <a:lnTo>
                        <a:pt x="774" y="1404"/>
                      </a:lnTo>
                      <a:lnTo>
                        <a:pt x="780" y="1428"/>
                      </a:lnTo>
                      <a:lnTo>
                        <a:pt x="792" y="1434"/>
                      </a:lnTo>
                      <a:lnTo>
                        <a:pt x="798" y="1446"/>
                      </a:lnTo>
                      <a:lnTo>
                        <a:pt x="810" y="1452"/>
                      </a:lnTo>
                      <a:lnTo>
                        <a:pt x="816" y="1458"/>
                      </a:lnTo>
                      <a:lnTo>
                        <a:pt x="840" y="1470"/>
                      </a:lnTo>
                      <a:lnTo>
                        <a:pt x="846" y="1482"/>
                      </a:lnTo>
                      <a:lnTo>
                        <a:pt x="858" y="1488"/>
                      </a:lnTo>
                      <a:lnTo>
                        <a:pt x="894" y="1464"/>
                      </a:lnTo>
                      <a:lnTo>
                        <a:pt x="900" y="1458"/>
                      </a:lnTo>
                      <a:lnTo>
                        <a:pt x="900" y="1440"/>
                      </a:lnTo>
                      <a:lnTo>
                        <a:pt x="894" y="1428"/>
                      </a:lnTo>
                      <a:lnTo>
                        <a:pt x="912" y="1416"/>
                      </a:lnTo>
                      <a:lnTo>
                        <a:pt x="900" y="1392"/>
                      </a:lnTo>
                      <a:lnTo>
                        <a:pt x="918" y="1374"/>
                      </a:lnTo>
                      <a:lnTo>
                        <a:pt x="930" y="1368"/>
                      </a:lnTo>
                      <a:lnTo>
                        <a:pt x="942" y="1344"/>
                      </a:lnTo>
                      <a:lnTo>
                        <a:pt x="942" y="1332"/>
                      </a:lnTo>
                      <a:lnTo>
                        <a:pt x="930" y="1320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94" name="Paraguay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2465389" y="4702179"/>
                  <a:ext cx="241300" cy="273050"/>
                </a:xfrm>
                <a:custGeom>
                  <a:avLst/>
                  <a:gdLst>
                    <a:gd name="T0" fmla="*/ 2147483647 w 600"/>
                    <a:gd name="T1" fmla="*/ 2147483647 h 678"/>
                    <a:gd name="T2" fmla="*/ 2147483647 w 600"/>
                    <a:gd name="T3" fmla="*/ 2147483647 h 678"/>
                    <a:gd name="T4" fmla="*/ 2147483647 w 600"/>
                    <a:gd name="T5" fmla="*/ 2147483647 h 678"/>
                    <a:gd name="T6" fmla="*/ 2147483647 w 600"/>
                    <a:gd name="T7" fmla="*/ 2147483647 h 678"/>
                    <a:gd name="T8" fmla="*/ 2147483647 w 600"/>
                    <a:gd name="T9" fmla="*/ 2147483647 h 678"/>
                    <a:gd name="T10" fmla="*/ 2147483647 w 600"/>
                    <a:gd name="T11" fmla="*/ 2147483647 h 678"/>
                    <a:gd name="T12" fmla="*/ 2147483647 w 600"/>
                    <a:gd name="T13" fmla="*/ 2147483647 h 678"/>
                    <a:gd name="T14" fmla="*/ 2147483647 w 600"/>
                    <a:gd name="T15" fmla="*/ 2147483647 h 678"/>
                    <a:gd name="T16" fmla="*/ 2147483647 w 600"/>
                    <a:gd name="T17" fmla="*/ 2147483647 h 678"/>
                    <a:gd name="T18" fmla="*/ 2147483647 w 600"/>
                    <a:gd name="T19" fmla="*/ 2147483647 h 678"/>
                    <a:gd name="T20" fmla="*/ 2147483647 w 600"/>
                    <a:gd name="T21" fmla="*/ 2147483647 h 678"/>
                    <a:gd name="T22" fmla="*/ 2147483647 w 600"/>
                    <a:gd name="T23" fmla="*/ 2147483647 h 678"/>
                    <a:gd name="T24" fmla="*/ 2147483647 w 600"/>
                    <a:gd name="T25" fmla="*/ 2147483647 h 678"/>
                    <a:gd name="T26" fmla="*/ 2147483647 w 600"/>
                    <a:gd name="T27" fmla="*/ 2147483647 h 678"/>
                    <a:gd name="T28" fmla="*/ 2147483647 w 600"/>
                    <a:gd name="T29" fmla="*/ 2147483647 h 678"/>
                    <a:gd name="T30" fmla="*/ 2147483647 w 600"/>
                    <a:gd name="T31" fmla="*/ 2147483647 h 678"/>
                    <a:gd name="T32" fmla="*/ 2147483647 w 600"/>
                    <a:gd name="T33" fmla="*/ 2147483647 h 678"/>
                    <a:gd name="T34" fmla="*/ 2147483647 w 600"/>
                    <a:gd name="T35" fmla="*/ 2147483647 h 678"/>
                    <a:gd name="T36" fmla="*/ 2147483647 w 600"/>
                    <a:gd name="T37" fmla="*/ 2147483647 h 678"/>
                    <a:gd name="T38" fmla="*/ 2147483647 w 600"/>
                    <a:gd name="T39" fmla="*/ 2147483647 h 678"/>
                    <a:gd name="T40" fmla="*/ 2147483647 w 600"/>
                    <a:gd name="T41" fmla="*/ 2147483647 h 678"/>
                    <a:gd name="T42" fmla="*/ 2147483647 w 600"/>
                    <a:gd name="T43" fmla="*/ 2147483647 h 678"/>
                    <a:gd name="T44" fmla="*/ 2147483647 w 600"/>
                    <a:gd name="T45" fmla="*/ 2147483647 h 678"/>
                    <a:gd name="T46" fmla="*/ 2147483647 w 600"/>
                    <a:gd name="T47" fmla="*/ 2147483647 h 678"/>
                    <a:gd name="T48" fmla="*/ 2147483647 w 600"/>
                    <a:gd name="T49" fmla="*/ 2147483647 h 678"/>
                    <a:gd name="T50" fmla="*/ 2147483647 w 600"/>
                    <a:gd name="T51" fmla="*/ 2147483647 h 678"/>
                    <a:gd name="T52" fmla="*/ 2147483647 w 600"/>
                    <a:gd name="T53" fmla="*/ 0 h 678"/>
                    <a:gd name="T54" fmla="*/ 2147483647 w 600"/>
                    <a:gd name="T55" fmla="*/ 2147483647 h 678"/>
                    <a:gd name="T56" fmla="*/ 2147483647 w 600"/>
                    <a:gd name="T57" fmla="*/ 2147483647 h 678"/>
                    <a:gd name="T58" fmla="*/ 0 w 600"/>
                    <a:gd name="T59" fmla="*/ 2147483647 h 678"/>
                    <a:gd name="T60" fmla="*/ 2147483647 w 600"/>
                    <a:gd name="T61" fmla="*/ 2147483647 h 678"/>
                    <a:gd name="T62" fmla="*/ 2147483647 w 600"/>
                    <a:gd name="T63" fmla="*/ 2147483647 h 678"/>
                    <a:gd name="T64" fmla="*/ 2147483647 w 600"/>
                    <a:gd name="T65" fmla="*/ 2147483647 h 678"/>
                    <a:gd name="T66" fmla="*/ 2147483647 w 600"/>
                    <a:gd name="T67" fmla="*/ 2147483647 h 678"/>
                    <a:gd name="T68" fmla="*/ 2147483647 w 600"/>
                    <a:gd name="T69" fmla="*/ 2147483647 h 678"/>
                    <a:gd name="T70" fmla="*/ 2147483647 w 600"/>
                    <a:gd name="T71" fmla="*/ 2147483647 h 678"/>
                    <a:gd name="T72" fmla="*/ 2147483647 w 600"/>
                    <a:gd name="T73" fmla="*/ 2147483647 h 678"/>
                    <a:gd name="T74" fmla="*/ 2147483647 w 600"/>
                    <a:gd name="T75" fmla="*/ 2147483647 h 678"/>
                    <a:gd name="T76" fmla="*/ 2147483647 w 600"/>
                    <a:gd name="T77" fmla="*/ 2147483647 h 678"/>
                    <a:gd name="T78" fmla="*/ 2147483647 w 600"/>
                    <a:gd name="T79" fmla="*/ 2147483647 h 678"/>
                    <a:gd name="T80" fmla="*/ 2147483647 w 600"/>
                    <a:gd name="T81" fmla="*/ 2147483647 h 678"/>
                    <a:gd name="T82" fmla="*/ 2147483647 w 600"/>
                    <a:gd name="T83" fmla="*/ 2147483647 h 678"/>
                    <a:gd name="T84" fmla="*/ 2147483647 w 600"/>
                    <a:gd name="T85" fmla="*/ 2147483647 h 678"/>
                    <a:gd name="T86" fmla="*/ 2147483647 w 600"/>
                    <a:gd name="T87" fmla="*/ 2147483647 h 678"/>
                    <a:gd name="T88" fmla="*/ 2147483647 w 600"/>
                    <a:gd name="T89" fmla="*/ 2147483647 h 678"/>
                    <a:gd name="T90" fmla="*/ 2147483647 w 600"/>
                    <a:gd name="T91" fmla="*/ 2147483647 h 678"/>
                    <a:gd name="T92" fmla="*/ 2147483647 w 600"/>
                    <a:gd name="T93" fmla="*/ 2147483647 h 678"/>
                    <a:gd name="T94" fmla="*/ 2147483647 w 600"/>
                    <a:gd name="T95" fmla="*/ 2147483647 h 678"/>
                    <a:gd name="T96" fmla="*/ 2147483647 w 600"/>
                    <a:gd name="T97" fmla="*/ 2147483647 h 678"/>
                    <a:gd name="T98" fmla="*/ 2147483647 w 600"/>
                    <a:gd name="T99" fmla="*/ 2147483647 h 678"/>
                    <a:gd name="T100" fmla="*/ 2147483647 w 600"/>
                    <a:gd name="T101" fmla="*/ 2147483647 h 678"/>
                    <a:gd name="T102" fmla="*/ 2147483647 w 600"/>
                    <a:gd name="T103" fmla="*/ 2147483647 h 678"/>
                    <a:gd name="T104" fmla="*/ 2147483647 w 600"/>
                    <a:gd name="T105" fmla="*/ 2147483647 h 678"/>
                    <a:gd name="T106" fmla="*/ 2147483647 w 600"/>
                    <a:gd name="T107" fmla="*/ 2147483647 h 678"/>
                    <a:gd name="T108" fmla="*/ 2147483647 w 600"/>
                    <a:gd name="T109" fmla="*/ 2147483647 h 678"/>
                    <a:gd name="T110" fmla="*/ 2147483647 w 600"/>
                    <a:gd name="T111" fmla="*/ 2147483647 h 678"/>
                    <a:gd name="T112" fmla="*/ 2147483647 w 600"/>
                    <a:gd name="T113" fmla="*/ 2147483647 h 678"/>
                    <a:gd name="T114" fmla="*/ 2147483647 w 600"/>
                    <a:gd name="T115" fmla="*/ 2147483647 h 678"/>
                    <a:gd name="T116" fmla="*/ 2147483647 w 600"/>
                    <a:gd name="T117" fmla="*/ 2147483647 h 678"/>
                    <a:gd name="T118" fmla="*/ 2147483647 w 600"/>
                    <a:gd name="T119" fmla="*/ 2147483647 h 678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600"/>
                    <a:gd name="T181" fmla="*/ 0 h 678"/>
                    <a:gd name="T182" fmla="*/ 600 w 600"/>
                    <a:gd name="T183" fmla="*/ 678 h 678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600" h="678">
                      <a:moveTo>
                        <a:pt x="480" y="660"/>
                      </a:moveTo>
                      <a:lnTo>
                        <a:pt x="492" y="678"/>
                      </a:lnTo>
                      <a:lnTo>
                        <a:pt x="492" y="660"/>
                      </a:lnTo>
                      <a:lnTo>
                        <a:pt x="498" y="654"/>
                      </a:lnTo>
                      <a:lnTo>
                        <a:pt x="510" y="654"/>
                      </a:lnTo>
                      <a:lnTo>
                        <a:pt x="516" y="660"/>
                      </a:lnTo>
                      <a:lnTo>
                        <a:pt x="516" y="666"/>
                      </a:lnTo>
                      <a:lnTo>
                        <a:pt x="522" y="660"/>
                      </a:lnTo>
                      <a:lnTo>
                        <a:pt x="534" y="636"/>
                      </a:lnTo>
                      <a:lnTo>
                        <a:pt x="546" y="624"/>
                      </a:lnTo>
                      <a:lnTo>
                        <a:pt x="552" y="624"/>
                      </a:lnTo>
                      <a:lnTo>
                        <a:pt x="558" y="618"/>
                      </a:lnTo>
                      <a:lnTo>
                        <a:pt x="570" y="612"/>
                      </a:lnTo>
                      <a:lnTo>
                        <a:pt x="576" y="600"/>
                      </a:lnTo>
                      <a:lnTo>
                        <a:pt x="588" y="594"/>
                      </a:lnTo>
                      <a:lnTo>
                        <a:pt x="588" y="516"/>
                      </a:lnTo>
                      <a:lnTo>
                        <a:pt x="582" y="498"/>
                      </a:lnTo>
                      <a:lnTo>
                        <a:pt x="582" y="486"/>
                      </a:lnTo>
                      <a:lnTo>
                        <a:pt x="588" y="474"/>
                      </a:lnTo>
                      <a:lnTo>
                        <a:pt x="588" y="468"/>
                      </a:lnTo>
                      <a:lnTo>
                        <a:pt x="594" y="462"/>
                      </a:lnTo>
                      <a:lnTo>
                        <a:pt x="594" y="432"/>
                      </a:lnTo>
                      <a:lnTo>
                        <a:pt x="600" y="414"/>
                      </a:lnTo>
                      <a:lnTo>
                        <a:pt x="600" y="396"/>
                      </a:lnTo>
                      <a:lnTo>
                        <a:pt x="594" y="384"/>
                      </a:lnTo>
                      <a:lnTo>
                        <a:pt x="582" y="372"/>
                      </a:lnTo>
                      <a:lnTo>
                        <a:pt x="570" y="366"/>
                      </a:lnTo>
                      <a:lnTo>
                        <a:pt x="558" y="366"/>
                      </a:lnTo>
                      <a:lnTo>
                        <a:pt x="540" y="384"/>
                      </a:lnTo>
                      <a:lnTo>
                        <a:pt x="528" y="384"/>
                      </a:lnTo>
                      <a:lnTo>
                        <a:pt x="516" y="378"/>
                      </a:lnTo>
                      <a:lnTo>
                        <a:pt x="504" y="354"/>
                      </a:lnTo>
                      <a:lnTo>
                        <a:pt x="504" y="336"/>
                      </a:lnTo>
                      <a:lnTo>
                        <a:pt x="498" y="318"/>
                      </a:lnTo>
                      <a:lnTo>
                        <a:pt x="498" y="294"/>
                      </a:lnTo>
                      <a:lnTo>
                        <a:pt x="492" y="276"/>
                      </a:lnTo>
                      <a:lnTo>
                        <a:pt x="492" y="252"/>
                      </a:lnTo>
                      <a:lnTo>
                        <a:pt x="486" y="246"/>
                      </a:lnTo>
                      <a:lnTo>
                        <a:pt x="474" y="240"/>
                      </a:lnTo>
                      <a:lnTo>
                        <a:pt x="402" y="240"/>
                      </a:lnTo>
                      <a:lnTo>
                        <a:pt x="360" y="234"/>
                      </a:lnTo>
                      <a:lnTo>
                        <a:pt x="324" y="222"/>
                      </a:lnTo>
                      <a:lnTo>
                        <a:pt x="318" y="216"/>
                      </a:lnTo>
                      <a:lnTo>
                        <a:pt x="312" y="204"/>
                      </a:lnTo>
                      <a:lnTo>
                        <a:pt x="312" y="162"/>
                      </a:lnTo>
                      <a:lnTo>
                        <a:pt x="318" y="150"/>
                      </a:lnTo>
                      <a:lnTo>
                        <a:pt x="318" y="132"/>
                      </a:lnTo>
                      <a:lnTo>
                        <a:pt x="306" y="132"/>
                      </a:lnTo>
                      <a:lnTo>
                        <a:pt x="306" y="96"/>
                      </a:lnTo>
                      <a:lnTo>
                        <a:pt x="294" y="90"/>
                      </a:lnTo>
                      <a:lnTo>
                        <a:pt x="288" y="84"/>
                      </a:lnTo>
                      <a:lnTo>
                        <a:pt x="288" y="78"/>
                      </a:lnTo>
                      <a:lnTo>
                        <a:pt x="270" y="42"/>
                      </a:lnTo>
                      <a:lnTo>
                        <a:pt x="216" y="0"/>
                      </a:lnTo>
                      <a:lnTo>
                        <a:pt x="138" y="12"/>
                      </a:lnTo>
                      <a:lnTo>
                        <a:pt x="36" y="30"/>
                      </a:lnTo>
                      <a:lnTo>
                        <a:pt x="30" y="60"/>
                      </a:lnTo>
                      <a:lnTo>
                        <a:pt x="18" y="72"/>
                      </a:lnTo>
                      <a:lnTo>
                        <a:pt x="6" y="78"/>
                      </a:lnTo>
                      <a:lnTo>
                        <a:pt x="0" y="84"/>
                      </a:lnTo>
                      <a:lnTo>
                        <a:pt x="0" y="96"/>
                      </a:lnTo>
                      <a:lnTo>
                        <a:pt x="12" y="120"/>
                      </a:lnTo>
                      <a:lnTo>
                        <a:pt x="12" y="126"/>
                      </a:lnTo>
                      <a:lnTo>
                        <a:pt x="18" y="132"/>
                      </a:lnTo>
                      <a:lnTo>
                        <a:pt x="18" y="156"/>
                      </a:lnTo>
                      <a:lnTo>
                        <a:pt x="6" y="228"/>
                      </a:lnTo>
                      <a:lnTo>
                        <a:pt x="6" y="246"/>
                      </a:lnTo>
                      <a:lnTo>
                        <a:pt x="24" y="264"/>
                      </a:lnTo>
                      <a:lnTo>
                        <a:pt x="24" y="270"/>
                      </a:lnTo>
                      <a:lnTo>
                        <a:pt x="30" y="276"/>
                      </a:lnTo>
                      <a:lnTo>
                        <a:pt x="36" y="288"/>
                      </a:lnTo>
                      <a:lnTo>
                        <a:pt x="48" y="294"/>
                      </a:lnTo>
                      <a:lnTo>
                        <a:pt x="54" y="306"/>
                      </a:lnTo>
                      <a:lnTo>
                        <a:pt x="60" y="312"/>
                      </a:lnTo>
                      <a:lnTo>
                        <a:pt x="84" y="324"/>
                      </a:lnTo>
                      <a:lnTo>
                        <a:pt x="102" y="342"/>
                      </a:lnTo>
                      <a:lnTo>
                        <a:pt x="114" y="348"/>
                      </a:lnTo>
                      <a:lnTo>
                        <a:pt x="120" y="366"/>
                      </a:lnTo>
                      <a:lnTo>
                        <a:pt x="126" y="366"/>
                      </a:lnTo>
                      <a:lnTo>
                        <a:pt x="132" y="372"/>
                      </a:lnTo>
                      <a:lnTo>
                        <a:pt x="168" y="390"/>
                      </a:lnTo>
                      <a:lnTo>
                        <a:pt x="198" y="390"/>
                      </a:lnTo>
                      <a:lnTo>
                        <a:pt x="210" y="396"/>
                      </a:lnTo>
                      <a:lnTo>
                        <a:pt x="216" y="402"/>
                      </a:lnTo>
                      <a:lnTo>
                        <a:pt x="228" y="408"/>
                      </a:lnTo>
                      <a:lnTo>
                        <a:pt x="234" y="414"/>
                      </a:lnTo>
                      <a:lnTo>
                        <a:pt x="240" y="414"/>
                      </a:lnTo>
                      <a:lnTo>
                        <a:pt x="246" y="420"/>
                      </a:lnTo>
                      <a:lnTo>
                        <a:pt x="258" y="426"/>
                      </a:lnTo>
                      <a:lnTo>
                        <a:pt x="276" y="438"/>
                      </a:lnTo>
                      <a:lnTo>
                        <a:pt x="312" y="456"/>
                      </a:lnTo>
                      <a:lnTo>
                        <a:pt x="318" y="462"/>
                      </a:lnTo>
                      <a:lnTo>
                        <a:pt x="330" y="462"/>
                      </a:lnTo>
                      <a:lnTo>
                        <a:pt x="342" y="468"/>
                      </a:lnTo>
                      <a:lnTo>
                        <a:pt x="360" y="474"/>
                      </a:lnTo>
                      <a:lnTo>
                        <a:pt x="372" y="480"/>
                      </a:lnTo>
                      <a:lnTo>
                        <a:pt x="378" y="486"/>
                      </a:lnTo>
                      <a:lnTo>
                        <a:pt x="372" y="492"/>
                      </a:lnTo>
                      <a:lnTo>
                        <a:pt x="372" y="504"/>
                      </a:lnTo>
                      <a:lnTo>
                        <a:pt x="366" y="510"/>
                      </a:lnTo>
                      <a:lnTo>
                        <a:pt x="360" y="522"/>
                      </a:lnTo>
                      <a:lnTo>
                        <a:pt x="366" y="528"/>
                      </a:lnTo>
                      <a:lnTo>
                        <a:pt x="372" y="540"/>
                      </a:lnTo>
                      <a:lnTo>
                        <a:pt x="372" y="546"/>
                      </a:lnTo>
                      <a:lnTo>
                        <a:pt x="366" y="552"/>
                      </a:lnTo>
                      <a:lnTo>
                        <a:pt x="348" y="552"/>
                      </a:lnTo>
                      <a:lnTo>
                        <a:pt x="348" y="588"/>
                      </a:lnTo>
                      <a:lnTo>
                        <a:pt x="342" y="594"/>
                      </a:lnTo>
                      <a:lnTo>
                        <a:pt x="336" y="606"/>
                      </a:lnTo>
                      <a:lnTo>
                        <a:pt x="330" y="612"/>
                      </a:lnTo>
                      <a:lnTo>
                        <a:pt x="324" y="624"/>
                      </a:lnTo>
                      <a:lnTo>
                        <a:pt x="324" y="636"/>
                      </a:lnTo>
                      <a:lnTo>
                        <a:pt x="330" y="642"/>
                      </a:lnTo>
                      <a:lnTo>
                        <a:pt x="354" y="642"/>
                      </a:lnTo>
                      <a:lnTo>
                        <a:pt x="366" y="636"/>
                      </a:lnTo>
                      <a:lnTo>
                        <a:pt x="372" y="636"/>
                      </a:lnTo>
                      <a:lnTo>
                        <a:pt x="384" y="642"/>
                      </a:lnTo>
                      <a:lnTo>
                        <a:pt x="390" y="648"/>
                      </a:lnTo>
                      <a:lnTo>
                        <a:pt x="402" y="654"/>
                      </a:lnTo>
                      <a:lnTo>
                        <a:pt x="420" y="660"/>
                      </a:lnTo>
                      <a:lnTo>
                        <a:pt x="480" y="660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95" name="Panama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1846263" y="3765553"/>
                  <a:ext cx="163513" cy="79375"/>
                </a:xfrm>
                <a:custGeom>
                  <a:avLst/>
                  <a:gdLst>
                    <a:gd name="T0" fmla="*/ 2147483647 w 408"/>
                    <a:gd name="T1" fmla="*/ 2147483647 h 198"/>
                    <a:gd name="T2" fmla="*/ 2147483647 w 408"/>
                    <a:gd name="T3" fmla="*/ 2147483647 h 198"/>
                    <a:gd name="T4" fmla="*/ 2147483647 w 408"/>
                    <a:gd name="T5" fmla="*/ 2147483647 h 198"/>
                    <a:gd name="T6" fmla="*/ 2147483647 w 408"/>
                    <a:gd name="T7" fmla="*/ 2147483647 h 198"/>
                    <a:gd name="T8" fmla="*/ 2147483647 w 408"/>
                    <a:gd name="T9" fmla="*/ 2147483647 h 198"/>
                    <a:gd name="T10" fmla="*/ 2147483647 w 408"/>
                    <a:gd name="T11" fmla="*/ 2147483647 h 198"/>
                    <a:gd name="T12" fmla="*/ 2147483647 w 408"/>
                    <a:gd name="T13" fmla="*/ 2147483647 h 198"/>
                    <a:gd name="T14" fmla="*/ 2147483647 w 408"/>
                    <a:gd name="T15" fmla="*/ 2147483647 h 198"/>
                    <a:gd name="T16" fmla="*/ 2147483647 w 408"/>
                    <a:gd name="T17" fmla="*/ 2147483647 h 198"/>
                    <a:gd name="T18" fmla="*/ 2147483647 w 408"/>
                    <a:gd name="T19" fmla="*/ 2147483647 h 198"/>
                    <a:gd name="T20" fmla="*/ 2147483647 w 408"/>
                    <a:gd name="T21" fmla="*/ 2147483647 h 198"/>
                    <a:gd name="T22" fmla="*/ 2147483647 w 408"/>
                    <a:gd name="T23" fmla="*/ 2147483647 h 198"/>
                    <a:gd name="T24" fmla="*/ 2147483647 w 408"/>
                    <a:gd name="T25" fmla="*/ 2147483647 h 198"/>
                    <a:gd name="T26" fmla="*/ 2147483647 w 408"/>
                    <a:gd name="T27" fmla="*/ 2147483647 h 198"/>
                    <a:gd name="T28" fmla="*/ 2147483647 w 408"/>
                    <a:gd name="T29" fmla="*/ 2147483647 h 198"/>
                    <a:gd name="T30" fmla="*/ 2147483647 w 408"/>
                    <a:gd name="T31" fmla="*/ 2147483647 h 198"/>
                    <a:gd name="T32" fmla="*/ 2147483647 w 408"/>
                    <a:gd name="T33" fmla="*/ 0 h 198"/>
                    <a:gd name="T34" fmla="*/ 2147483647 w 408"/>
                    <a:gd name="T35" fmla="*/ 2147483647 h 198"/>
                    <a:gd name="T36" fmla="*/ 2147483647 w 408"/>
                    <a:gd name="T37" fmla="*/ 2147483647 h 198"/>
                    <a:gd name="T38" fmla="*/ 2147483647 w 408"/>
                    <a:gd name="T39" fmla="*/ 2147483647 h 198"/>
                    <a:gd name="T40" fmla="*/ 2147483647 w 408"/>
                    <a:gd name="T41" fmla="*/ 2147483647 h 198"/>
                    <a:gd name="T42" fmla="*/ 2147483647 w 408"/>
                    <a:gd name="T43" fmla="*/ 2147483647 h 198"/>
                    <a:gd name="T44" fmla="*/ 2147483647 w 408"/>
                    <a:gd name="T45" fmla="*/ 2147483647 h 198"/>
                    <a:gd name="T46" fmla="*/ 2147483647 w 408"/>
                    <a:gd name="T47" fmla="*/ 2147483647 h 198"/>
                    <a:gd name="T48" fmla="*/ 2147483647 w 408"/>
                    <a:gd name="T49" fmla="*/ 2147483647 h 198"/>
                    <a:gd name="T50" fmla="*/ 2147483647 w 408"/>
                    <a:gd name="T51" fmla="*/ 2147483647 h 198"/>
                    <a:gd name="T52" fmla="*/ 2147483647 w 408"/>
                    <a:gd name="T53" fmla="*/ 2147483647 h 198"/>
                    <a:gd name="T54" fmla="*/ 2147483647 w 408"/>
                    <a:gd name="T55" fmla="*/ 2147483647 h 198"/>
                    <a:gd name="T56" fmla="*/ 0 w 408"/>
                    <a:gd name="T57" fmla="*/ 2147483647 h 198"/>
                    <a:gd name="T58" fmla="*/ 2147483647 w 408"/>
                    <a:gd name="T59" fmla="*/ 2147483647 h 198"/>
                    <a:gd name="T60" fmla="*/ 2147483647 w 408"/>
                    <a:gd name="T61" fmla="*/ 2147483647 h 198"/>
                    <a:gd name="T62" fmla="*/ 2147483647 w 408"/>
                    <a:gd name="T63" fmla="*/ 2147483647 h 198"/>
                    <a:gd name="T64" fmla="*/ 0 w 408"/>
                    <a:gd name="T65" fmla="*/ 2147483647 h 198"/>
                    <a:gd name="T66" fmla="*/ 2147483647 w 408"/>
                    <a:gd name="T67" fmla="*/ 2147483647 h 198"/>
                    <a:gd name="T68" fmla="*/ 2147483647 w 408"/>
                    <a:gd name="T69" fmla="*/ 2147483647 h 198"/>
                    <a:gd name="T70" fmla="*/ 2147483647 w 408"/>
                    <a:gd name="T71" fmla="*/ 2147483647 h 198"/>
                    <a:gd name="T72" fmla="*/ 2147483647 w 408"/>
                    <a:gd name="T73" fmla="*/ 2147483647 h 198"/>
                    <a:gd name="T74" fmla="*/ 2147483647 w 408"/>
                    <a:gd name="T75" fmla="*/ 2147483647 h 198"/>
                    <a:gd name="T76" fmla="*/ 2147483647 w 408"/>
                    <a:gd name="T77" fmla="*/ 2147483647 h 198"/>
                    <a:gd name="T78" fmla="*/ 2147483647 w 408"/>
                    <a:gd name="T79" fmla="*/ 2147483647 h 198"/>
                    <a:gd name="T80" fmla="*/ 2147483647 w 408"/>
                    <a:gd name="T81" fmla="*/ 2147483647 h 198"/>
                    <a:gd name="T82" fmla="*/ 2147483647 w 408"/>
                    <a:gd name="T83" fmla="*/ 2147483647 h 198"/>
                    <a:gd name="T84" fmla="*/ 2147483647 w 408"/>
                    <a:gd name="T85" fmla="*/ 2147483647 h 198"/>
                    <a:gd name="T86" fmla="*/ 2147483647 w 408"/>
                    <a:gd name="T87" fmla="*/ 2147483647 h 198"/>
                    <a:gd name="T88" fmla="*/ 2147483647 w 408"/>
                    <a:gd name="T89" fmla="*/ 2147483647 h 198"/>
                    <a:gd name="T90" fmla="*/ 2147483647 w 408"/>
                    <a:gd name="T91" fmla="*/ 2147483647 h 198"/>
                    <a:gd name="T92" fmla="*/ 2147483647 w 408"/>
                    <a:gd name="T93" fmla="*/ 2147483647 h 198"/>
                    <a:gd name="T94" fmla="*/ 2147483647 w 408"/>
                    <a:gd name="T95" fmla="*/ 2147483647 h 198"/>
                    <a:gd name="T96" fmla="*/ 2147483647 w 408"/>
                    <a:gd name="T97" fmla="*/ 2147483647 h 198"/>
                    <a:gd name="T98" fmla="*/ 2147483647 w 408"/>
                    <a:gd name="T99" fmla="*/ 2147483647 h 198"/>
                    <a:gd name="T100" fmla="*/ 2147483647 w 408"/>
                    <a:gd name="T101" fmla="*/ 2147483647 h 198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408"/>
                    <a:gd name="T154" fmla="*/ 0 h 198"/>
                    <a:gd name="T155" fmla="*/ 408 w 408"/>
                    <a:gd name="T156" fmla="*/ 198 h 198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408" h="198">
                      <a:moveTo>
                        <a:pt x="306" y="66"/>
                      </a:moveTo>
                      <a:lnTo>
                        <a:pt x="318" y="78"/>
                      </a:lnTo>
                      <a:lnTo>
                        <a:pt x="324" y="90"/>
                      </a:lnTo>
                      <a:lnTo>
                        <a:pt x="330" y="96"/>
                      </a:lnTo>
                      <a:lnTo>
                        <a:pt x="342" y="90"/>
                      </a:lnTo>
                      <a:lnTo>
                        <a:pt x="372" y="120"/>
                      </a:lnTo>
                      <a:lnTo>
                        <a:pt x="342" y="102"/>
                      </a:lnTo>
                      <a:lnTo>
                        <a:pt x="342" y="120"/>
                      </a:lnTo>
                      <a:lnTo>
                        <a:pt x="336" y="132"/>
                      </a:lnTo>
                      <a:lnTo>
                        <a:pt x="336" y="162"/>
                      </a:lnTo>
                      <a:lnTo>
                        <a:pt x="342" y="168"/>
                      </a:lnTo>
                      <a:lnTo>
                        <a:pt x="348" y="180"/>
                      </a:lnTo>
                      <a:lnTo>
                        <a:pt x="354" y="186"/>
                      </a:lnTo>
                      <a:lnTo>
                        <a:pt x="360" y="186"/>
                      </a:lnTo>
                      <a:lnTo>
                        <a:pt x="372" y="156"/>
                      </a:lnTo>
                      <a:lnTo>
                        <a:pt x="378" y="162"/>
                      </a:lnTo>
                      <a:lnTo>
                        <a:pt x="390" y="168"/>
                      </a:lnTo>
                      <a:lnTo>
                        <a:pt x="396" y="162"/>
                      </a:lnTo>
                      <a:lnTo>
                        <a:pt x="408" y="138"/>
                      </a:lnTo>
                      <a:lnTo>
                        <a:pt x="408" y="126"/>
                      </a:lnTo>
                      <a:lnTo>
                        <a:pt x="396" y="120"/>
                      </a:lnTo>
                      <a:lnTo>
                        <a:pt x="390" y="108"/>
                      </a:lnTo>
                      <a:lnTo>
                        <a:pt x="390" y="90"/>
                      </a:lnTo>
                      <a:lnTo>
                        <a:pt x="396" y="84"/>
                      </a:lnTo>
                      <a:lnTo>
                        <a:pt x="372" y="66"/>
                      </a:lnTo>
                      <a:lnTo>
                        <a:pt x="372" y="60"/>
                      </a:lnTo>
                      <a:lnTo>
                        <a:pt x="366" y="54"/>
                      </a:lnTo>
                      <a:lnTo>
                        <a:pt x="366" y="42"/>
                      </a:lnTo>
                      <a:lnTo>
                        <a:pt x="360" y="30"/>
                      </a:lnTo>
                      <a:lnTo>
                        <a:pt x="348" y="24"/>
                      </a:lnTo>
                      <a:lnTo>
                        <a:pt x="330" y="18"/>
                      </a:lnTo>
                      <a:lnTo>
                        <a:pt x="288" y="18"/>
                      </a:lnTo>
                      <a:lnTo>
                        <a:pt x="282" y="0"/>
                      </a:lnTo>
                      <a:lnTo>
                        <a:pt x="246" y="0"/>
                      </a:lnTo>
                      <a:lnTo>
                        <a:pt x="234" y="6"/>
                      </a:lnTo>
                      <a:lnTo>
                        <a:pt x="228" y="12"/>
                      </a:lnTo>
                      <a:lnTo>
                        <a:pt x="222" y="24"/>
                      </a:lnTo>
                      <a:lnTo>
                        <a:pt x="210" y="36"/>
                      </a:lnTo>
                      <a:lnTo>
                        <a:pt x="204" y="36"/>
                      </a:lnTo>
                      <a:lnTo>
                        <a:pt x="198" y="30"/>
                      </a:lnTo>
                      <a:lnTo>
                        <a:pt x="192" y="30"/>
                      </a:lnTo>
                      <a:lnTo>
                        <a:pt x="168" y="42"/>
                      </a:lnTo>
                      <a:lnTo>
                        <a:pt x="144" y="66"/>
                      </a:lnTo>
                      <a:lnTo>
                        <a:pt x="132" y="72"/>
                      </a:lnTo>
                      <a:lnTo>
                        <a:pt x="120" y="72"/>
                      </a:lnTo>
                      <a:lnTo>
                        <a:pt x="114" y="66"/>
                      </a:lnTo>
                      <a:lnTo>
                        <a:pt x="102" y="60"/>
                      </a:lnTo>
                      <a:lnTo>
                        <a:pt x="90" y="42"/>
                      </a:lnTo>
                      <a:lnTo>
                        <a:pt x="78" y="54"/>
                      </a:lnTo>
                      <a:lnTo>
                        <a:pt x="60" y="54"/>
                      </a:lnTo>
                      <a:lnTo>
                        <a:pt x="48" y="42"/>
                      </a:lnTo>
                      <a:lnTo>
                        <a:pt x="48" y="18"/>
                      </a:lnTo>
                      <a:lnTo>
                        <a:pt x="36" y="6"/>
                      </a:lnTo>
                      <a:lnTo>
                        <a:pt x="24" y="6"/>
                      </a:lnTo>
                      <a:lnTo>
                        <a:pt x="18" y="12"/>
                      </a:lnTo>
                      <a:lnTo>
                        <a:pt x="6" y="12"/>
                      </a:lnTo>
                      <a:lnTo>
                        <a:pt x="0" y="18"/>
                      </a:lnTo>
                      <a:lnTo>
                        <a:pt x="0" y="36"/>
                      </a:lnTo>
                      <a:lnTo>
                        <a:pt x="6" y="42"/>
                      </a:lnTo>
                      <a:lnTo>
                        <a:pt x="6" y="48"/>
                      </a:lnTo>
                      <a:lnTo>
                        <a:pt x="24" y="48"/>
                      </a:lnTo>
                      <a:lnTo>
                        <a:pt x="30" y="54"/>
                      </a:lnTo>
                      <a:lnTo>
                        <a:pt x="12" y="72"/>
                      </a:lnTo>
                      <a:lnTo>
                        <a:pt x="6" y="72"/>
                      </a:lnTo>
                      <a:lnTo>
                        <a:pt x="6" y="96"/>
                      </a:lnTo>
                      <a:lnTo>
                        <a:pt x="0" y="102"/>
                      </a:lnTo>
                      <a:lnTo>
                        <a:pt x="6" y="108"/>
                      </a:lnTo>
                      <a:lnTo>
                        <a:pt x="48" y="102"/>
                      </a:lnTo>
                      <a:lnTo>
                        <a:pt x="60" y="120"/>
                      </a:lnTo>
                      <a:lnTo>
                        <a:pt x="90" y="114"/>
                      </a:lnTo>
                      <a:lnTo>
                        <a:pt x="90" y="126"/>
                      </a:lnTo>
                      <a:lnTo>
                        <a:pt x="84" y="132"/>
                      </a:lnTo>
                      <a:lnTo>
                        <a:pt x="84" y="150"/>
                      </a:lnTo>
                      <a:lnTo>
                        <a:pt x="90" y="156"/>
                      </a:lnTo>
                      <a:lnTo>
                        <a:pt x="108" y="156"/>
                      </a:lnTo>
                      <a:lnTo>
                        <a:pt x="114" y="150"/>
                      </a:lnTo>
                      <a:lnTo>
                        <a:pt x="120" y="150"/>
                      </a:lnTo>
                      <a:lnTo>
                        <a:pt x="120" y="132"/>
                      </a:lnTo>
                      <a:lnTo>
                        <a:pt x="138" y="126"/>
                      </a:lnTo>
                      <a:lnTo>
                        <a:pt x="138" y="150"/>
                      </a:lnTo>
                      <a:lnTo>
                        <a:pt x="144" y="168"/>
                      </a:lnTo>
                      <a:lnTo>
                        <a:pt x="144" y="180"/>
                      </a:lnTo>
                      <a:lnTo>
                        <a:pt x="150" y="192"/>
                      </a:lnTo>
                      <a:lnTo>
                        <a:pt x="156" y="198"/>
                      </a:lnTo>
                      <a:lnTo>
                        <a:pt x="162" y="198"/>
                      </a:lnTo>
                      <a:lnTo>
                        <a:pt x="180" y="192"/>
                      </a:lnTo>
                      <a:lnTo>
                        <a:pt x="198" y="174"/>
                      </a:lnTo>
                      <a:lnTo>
                        <a:pt x="204" y="174"/>
                      </a:lnTo>
                      <a:lnTo>
                        <a:pt x="198" y="168"/>
                      </a:lnTo>
                      <a:lnTo>
                        <a:pt x="186" y="162"/>
                      </a:lnTo>
                      <a:lnTo>
                        <a:pt x="180" y="150"/>
                      </a:lnTo>
                      <a:lnTo>
                        <a:pt x="174" y="144"/>
                      </a:lnTo>
                      <a:lnTo>
                        <a:pt x="168" y="132"/>
                      </a:lnTo>
                      <a:lnTo>
                        <a:pt x="162" y="126"/>
                      </a:lnTo>
                      <a:lnTo>
                        <a:pt x="186" y="102"/>
                      </a:lnTo>
                      <a:lnTo>
                        <a:pt x="222" y="84"/>
                      </a:lnTo>
                      <a:lnTo>
                        <a:pt x="228" y="72"/>
                      </a:lnTo>
                      <a:lnTo>
                        <a:pt x="246" y="54"/>
                      </a:lnTo>
                      <a:lnTo>
                        <a:pt x="258" y="48"/>
                      </a:lnTo>
                      <a:lnTo>
                        <a:pt x="276" y="54"/>
                      </a:lnTo>
                      <a:lnTo>
                        <a:pt x="288" y="60"/>
                      </a:lnTo>
                      <a:lnTo>
                        <a:pt x="306" y="66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96" name="Nicaragua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1724025" y="3595690"/>
                  <a:ext cx="131763" cy="133350"/>
                </a:xfrm>
                <a:custGeom>
                  <a:avLst/>
                  <a:gdLst>
                    <a:gd name="T0" fmla="*/ 2147483647 w 324"/>
                    <a:gd name="T1" fmla="*/ 2147483647 h 330"/>
                    <a:gd name="T2" fmla="*/ 2147483647 w 324"/>
                    <a:gd name="T3" fmla="*/ 0 h 330"/>
                    <a:gd name="T4" fmla="*/ 2147483647 w 324"/>
                    <a:gd name="T5" fmla="*/ 2147483647 h 330"/>
                    <a:gd name="T6" fmla="*/ 2147483647 w 324"/>
                    <a:gd name="T7" fmla="*/ 2147483647 h 330"/>
                    <a:gd name="T8" fmla="*/ 2147483647 w 324"/>
                    <a:gd name="T9" fmla="*/ 0 h 330"/>
                    <a:gd name="T10" fmla="*/ 2147483647 w 324"/>
                    <a:gd name="T11" fmla="*/ 2147483647 h 330"/>
                    <a:gd name="T12" fmla="*/ 2147483647 w 324"/>
                    <a:gd name="T13" fmla="*/ 2147483647 h 330"/>
                    <a:gd name="T14" fmla="*/ 2147483647 w 324"/>
                    <a:gd name="T15" fmla="*/ 2147483647 h 330"/>
                    <a:gd name="T16" fmla="*/ 2147483647 w 324"/>
                    <a:gd name="T17" fmla="*/ 2147483647 h 330"/>
                    <a:gd name="T18" fmla="*/ 2147483647 w 324"/>
                    <a:gd name="T19" fmla="*/ 2147483647 h 330"/>
                    <a:gd name="T20" fmla="*/ 2147483647 w 324"/>
                    <a:gd name="T21" fmla="*/ 2147483647 h 330"/>
                    <a:gd name="T22" fmla="*/ 2147483647 w 324"/>
                    <a:gd name="T23" fmla="*/ 2147483647 h 330"/>
                    <a:gd name="T24" fmla="*/ 2147483647 w 324"/>
                    <a:gd name="T25" fmla="*/ 2147483647 h 330"/>
                    <a:gd name="T26" fmla="*/ 2147483647 w 324"/>
                    <a:gd name="T27" fmla="*/ 2147483647 h 330"/>
                    <a:gd name="T28" fmla="*/ 2147483647 w 324"/>
                    <a:gd name="T29" fmla="*/ 2147483647 h 330"/>
                    <a:gd name="T30" fmla="*/ 2147483647 w 324"/>
                    <a:gd name="T31" fmla="*/ 2147483647 h 330"/>
                    <a:gd name="T32" fmla="*/ 2147483647 w 324"/>
                    <a:gd name="T33" fmla="*/ 2147483647 h 330"/>
                    <a:gd name="T34" fmla="*/ 2147483647 w 324"/>
                    <a:gd name="T35" fmla="*/ 2147483647 h 330"/>
                    <a:gd name="T36" fmla="*/ 2147483647 w 324"/>
                    <a:gd name="T37" fmla="*/ 2147483647 h 330"/>
                    <a:gd name="T38" fmla="*/ 2147483647 w 324"/>
                    <a:gd name="T39" fmla="*/ 2147483647 h 330"/>
                    <a:gd name="T40" fmla="*/ 2147483647 w 324"/>
                    <a:gd name="T41" fmla="*/ 2147483647 h 330"/>
                    <a:gd name="T42" fmla="*/ 2147483647 w 324"/>
                    <a:gd name="T43" fmla="*/ 2147483647 h 330"/>
                    <a:gd name="T44" fmla="*/ 2147483647 w 324"/>
                    <a:gd name="T45" fmla="*/ 2147483647 h 330"/>
                    <a:gd name="T46" fmla="*/ 2147483647 w 324"/>
                    <a:gd name="T47" fmla="*/ 2147483647 h 330"/>
                    <a:gd name="T48" fmla="*/ 2147483647 w 324"/>
                    <a:gd name="T49" fmla="*/ 2147483647 h 330"/>
                    <a:gd name="T50" fmla="*/ 2147483647 w 324"/>
                    <a:gd name="T51" fmla="*/ 2147483647 h 330"/>
                    <a:gd name="T52" fmla="*/ 2147483647 w 324"/>
                    <a:gd name="T53" fmla="*/ 2147483647 h 330"/>
                    <a:gd name="T54" fmla="*/ 2147483647 w 324"/>
                    <a:gd name="T55" fmla="*/ 2147483647 h 330"/>
                    <a:gd name="T56" fmla="*/ 2147483647 w 324"/>
                    <a:gd name="T57" fmla="*/ 2147483647 h 330"/>
                    <a:gd name="T58" fmla="*/ 2147483647 w 324"/>
                    <a:gd name="T59" fmla="*/ 2147483647 h 330"/>
                    <a:gd name="T60" fmla="*/ 2147483647 w 324"/>
                    <a:gd name="T61" fmla="*/ 2147483647 h 330"/>
                    <a:gd name="T62" fmla="*/ 2147483647 w 324"/>
                    <a:gd name="T63" fmla="*/ 2147483647 h 330"/>
                    <a:gd name="T64" fmla="*/ 2147483647 w 324"/>
                    <a:gd name="T65" fmla="*/ 2147483647 h 330"/>
                    <a:gd name="T66" fmla="*/ 2147483647 w 324"/>
                    <a:gd name="T67" fmla="*/ 2147483647 h 330"/>
                    <a:gd name="T68" fmla="*/ 2147483647 w 324"/>
                    <a:gd name="T69" fmla="*/ 2147483647 h 330"/>
                    <a:gd name="T70" fmla="*/ 2147483647 w 324"/>
                    <a:gd name="T71" fmla="*/ 2147483647 h 330"/>
                    <a:gd name="T72" fmla="*/ 2147483647 w 324"/>
                    <a:gd name="T73" fmla="*/ 2147483647 h 330"/>
                    <a:gd name="T74" fmla="*/ 2147483647 w 324"/>
                    <a:gd name="T75" fmla="*/ 2147483647 h 330"/>
                    <a:gd name="T76" fmla="*/ 2147483647 w 324"/>
                    <a:gd name="T77" fmla="*/ 2147483647 h 330"/>
                    <a:gd name="T78" fmla="*/ 2147483647 w 324"/>
                    <a:gd name="T79" fmla="*/ 2147483647 h 330"/>
                    <a:gd name="T80" fmla="*/ 2147483647 w 324"/>
                    <a:gd name="T81" fmla="*/ 2147483647 h 330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324"/>
                    <a:gd name="T124" fmla="*/ 0 h 330"/>
                    <a:gd name="T125" fmla="*/ 324 w 324"/>
                    <a:gd name="T126" fmla="*/ 330 h 330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324" h="330">
                      <a:moveTo>
                        <a:pt x="324" y="18"/>
                      </a:moveTo>
                      <a:lnTo>
                        <a:pt x="318" y="12"/>
                      </a:lnTo>
                      <a:lnTo>
                        <a:pt x="318" y="6"/>
                      </a:lnTo>
                      <a:lnTo>
                        <a:pt x="312" y="0"/>
                      </a:lnTo>
                      <a:lnTo>
                        <a:pt x="264" y="0"/>
                      </a:lnTo>
                      <a:lnTo>
                        <a:pt x="264" y="6"/>
                      </a:lnTo>
                      <a:lnTo>
                        <a:pt x="252" y="18"/>
                      </a:lnTo>
                      <a:lnTo>
                        <a:pt x="240" y="18"/>
                      </a:lnTo>
                      <a:lnTo>
                        <a:pt x="222" y="0"/>
                      </a:lnTo>
                      <a:lnTo>
                        <a:pt x="210" y="0"/>
                      </a:lnTo>
                      <a:lnTo>
                        <a:pt x="198" y="12"/>
                      </a:lnTo>
                      <a:lnTo>
                        <a:pt x="198" y="30"/>
                      </a:lnTo>
                      <a:lnTo>
                        <a:pt x="180" y="30"/>
                      </a:lnTo>
                      <a:lnTo>
                        <a:pt x="168" y="54"/>
                      </a:lnTo>
                      <a:lnTo>
                        <a:pt x="144" y="78"/>
                      </a:lnTo>
                      <a:lnTo>
                        <a:pt x="126" y="78"/>
                      </a:lnTo>
                      <a:lnTo>
                        <a:pt x="120" y="72"/>
                      </a:lnTo>
                      <a:lnTo>
                        <a:pt x="120" y="66"/>
                      </a:lnTo>
                      <a:lnTo>
                        <a:pt x="108" y="66"/>
                      </a:lnTo>
                      <a:lnTo>
                        <a:pt x="102" y="72"/>
                      </a:lnTo>
                      <a:lnTo>
                        <a:pt x="96" y="84"/>
                      </a:lnTo>
                      <a:lnTo>
                        <a:pt x="60" y="84"/>
                      </a:lnTo>
                      <a:lnTo>
                        <a:pt x="54" y="90"/>
                      </a:lnTo>
                      <a:lnTo>
                        <a:pt x="54" y="102"/>
                      </a:lnTo>
                      <a:lnTo>
                        <a:pt x="60" y="108"/>
                      </a:lnTo>
                      <a:lnTo>
                        <a:pt x="60" y="120"/>
                      </a:lnTo>
                      <a:lnTo>
                        <a:pt x="66" y="126"/>
                      </a:lnTo>
                      <a:lnTo>
                        <a:pt x="48" y="126"/>
                      </a:lnTo>
                      <a:lnTo>
                        <a:pt x="48" y="144"/>
                      </a:lnTo>
                      <a:lnTo>
                        <a:pt x="36" y="150"/>
                      </a:lnTo>
                      <a:lnTo>
                        <a:pt x="0" y="150"/>
                      </a:lnTo>
                      <a:lnTo>
                        <a:pt x="48" y="204"/>
                      </a:lnTo>
                      <a:lnTo>
                        <a:pt x="48" y="210"/>
                      </a:lnTo>
                      <a:lnTo>
                        <a:pt x="54" y="216"/>
                      </a:lnTo>
                      <a:lnTo>
                        <a:pt x="54" y="228"/>
                      </a:lnTo>
                      <a:lnTo>
                        <a:pt x="66" y="252"/>
                      </a:lnTo>
                      <a:lnTo>
                        <a:pt x="72" y="258"/>
                      </a:lnTo>
                      <a:lnTo>
                        <a:pt x="96" y="270"/>
                      </a:lnTo>
                      <a:lnTo>
                        <a:pt x="108" y="282"/>
                      </a:lnTo>
                      <a:lnTo>
                        <a:pt x="114" y="294"/>
                      </a:lnTo>
                      <a:lnTo>
                        <a:pt x="138" y="294"/>
                      </a:lnTo>
                      <a:lnTo>
                        <a:pt x="132" y="294"/>
                      </a:lnTo>
                      <a:lnTo>
                        <a:pt x="120" y="282"/>
                      </a:lnTo>
                      <a:lnTo>
                        <a:pt x="120" y="276"/>
                      </a:lnTo>
                      <a:lnTo>
                        <a:pt x="126" y="270"/>
                      </a:lnTo>
                      <a:lnTo>
                        <a:pt x="138" y="270"/>
                      </a:lnTo>
                      <a:lnTo>
                        <a:pt x="138" y="264"/>
                      </a:lnTo>
                      <a:lnTo>
                        <a:pt x="132" y="258"/>
                      </a:lnTo>
                      <a:lnTo>
                        <a:pt x="126" y="258"/>
                      </a:lnTo>
                      <a:lnTo>
                        <a:pt x="120" y="264"/>
                      </a:lnTo>
                      <a:lnTo>
                        <a:pt x="114" y="264"/>
                      </a:lnTo>
                      <a:lnTo>
                        <a:pt x="114" y="222"/>
                      </a:lnTo>
                      <a:lnTo>
                        <a:pt x="120" y="222"/>
                      </a:lnTo>
                      <a:lnTo>
                        <a:pt x="132" y="228"/>
                      </a:lnTo>
                      <a:lnTo>
                        <a:pt x="144" y="240"/>
                      </a:lnTo>
                      <a:lnTo>
                        <a:pt x="156" y="246"/>
                      </a:lnTo>
                      <a:lnTo>
                        <a:pt x="180" y="270"/>
                      </a:lnTo>
                      <a:lnTo>
                        <a:pt x="192" y="306"/>
                      </a:lnTo>
                      <a:lnTo>
                        <a:pt x="210" y="306"/>
                      </a:lnTo>
                      <a:lnTo>
                        <a:pt x="216" y="312"/>
                      </a:lnTo>
                      <a:lnTo>
                        <a:pt x="222" y="312"/>
                      </a:lnTo>
                      <a:lnTo>
                        <a:pt x="222" y="318"/>
                      </a:lnTo>
                      <a:lnTo>
                        <a:pt x="234" y="330"/>
                      </a:lnTo>
                      <a:lnTo>
                        <a:pt x="270" y="330"/>
                      </a:lnTo>
                      <a:lnTo>
                        <a:pt x="270" y="324"/>
                      </a:lnTo>
                      <a:lnTo>
                        <a:pt x="258" y="312"/>
                      </a:lnTo>
                      <a:lnTo>
                        <a:pt x="252" y="300"/>
                      </a:lnTo>
                      <a:lnTo>
                        <a:pt x="252" y="276"/>
                      </a:lnTo>
                      <a:lnTo>
                        <a:pt x="264" y="264"/>
                      </a:lnTo>
                      <a:lnTo>
                        <a:pt x="270" y="264"/>
                      </a:lnTo>
                      <a:lnTo>
                        <a:pt x="270" y="246"/>
                      </a:lnTo>
                      <a:lnTo>
                        <a:pt x="264" y="234"/>
                      </a:lnTo>
                      <a:lnTo>
                        <a:pt x="264" y="222"/>
                      </a:lnTo>
                      <a:lnTo>
                        <a:pt x="270" y="174"/>
                      </a:lnTo>
                      <a:lnTo>
                        <a:pt x="282" y="192"/>
                      </a:lnTo>
                      <a:lnTo>
                        <a:pt x="288" y="108"/>
                      </a:lnTo>
                      <a:lnTo>
                        <a:pt x="288" y="102"/>
                      </a:lnTo>
                      <a:lnTo>
                        <a:pt x="294" y="96"/>
                      </a:lnTo>
                      <a:lnTo>
                        <a:pt x="306" y="72"/>
                      </a:lnTo>
                      <a:lnTo>
                        <a:pt x="312" y="66"/>
                      </a:lnTo>
                      <a:lnTo>
                        <a:pt x="324" y="42"/>
                      </a:lnTo>
                      <a:lnTo>
                        <a:pt x="324" y="18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97" name="Mexico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1033461" y="3017840"/>
                  <a:ext cx="749301" cy="587375"/>
                </a:xfrm>
                <a:custGeom>
                  <a:avLst/>
                  <a:gdLst>
                    <a:gd name="T0" fmla="*/ 2147483647 w 1860"/>
                    <a:gd name="T1" fmla="*/ 2147483647 h 1458"/>
                    <a:gd name="T2" fmla="*/ 2147483647 w 1860"/>
                    <a:gd name="T3" fmla="*/ 2147483647 h 1458"/>
                    <a:gd name="T4" fmla="*/ 2147483647 w 1860"/>
                    <a:gd name="T5" fmla="*/ 2147483647 h 1458"/>
                    <a:gd name="T6" fmla="*/ 2147483647 w 1860"/>
                    <a:gd name="T7" fmla="*/ 2147483647 h 1458"/>
                    <a:gd name="T8" fmla="*/ 2147483647 w 1860"/>
                    <a:gd name="T9" fmla="*/ 2147483647 h 1458"/>
                    <a:gd name="T10" fmla="*/ 2147483647 w 1860"/>
                    <a:gd name="T11" fmla="*/ 2147483647 h 1458"/>
                    <a:gd name="T12" fmla="*/ 2147483647 w 1860"/>
                    <a:gd name="T13" fmla="*/ 2147483647 h 1458"/>
                    <a:gd name="T14" fmla="*/ 2147483647 w 1860"/>
                    <a:gd name="T15" fmla="*/ 2147483647 h 1458"/>
                    <a:gd name="T16" fmla="*/ 2147483647 w 1860"/>
                    <a:gd name="T17" fmla="*/ 2147483647 h 1458"/>
                    <a:gd name="T18" fmla="*/ 2147483647 w 1860"/>
                    <a:gd name="T19" fmla="*/ 2147483647 h 1458"/>
                    <a:gd name="T20" fmla="*/ 2147483647 w 1860"/>
                    <a:gd name="T21" fmla="*/ 2147483647 h 1458"/>
                    <a:gd name="T22" fmla="*/ 2147483647 w 1860"/>
                    <a:gd name="T23" fmla="*/ 2147483647 h 1458"/>
                    <a:gd name="T24" fmla="*/ 2147483647 w 1860"/>
                    <a:gd name="T25" fmla="*/ 2147483647 h 1458"/>
                    <a:gd name="T26" fmla="*/ 2147483647 w 1860"/>
                    <a:gd name="T27" fmla="*/ 2147483647 h 1458"/>
                    <a:gd name="T28" fmla="*/ 2147483647 w 1860"/>
                    <a:gd name="T29" fmla="*/ 2147483647 h 1458"/>
                    <a:gd name="T30" fmla="*/ 2147483647 w 1860"/>
                    <a:gd name="T31" fmla="*/ 2147483647 h 1458"/>
                    <a:gd name="T32" fmla="*/ 2147483647 w 1860"/>
                    <a:gd name="T33" fmla="*/ 2147483647 h 1458"/>
                    <a:gd name="T34" fmla="*/ 2147483647 w 1860"/>
                    <a:gd name="T35" fmla="*/ 2147483647 h 1458"/>
                    <a:gd name="T36" fmla="*/ 2147483647 w 1860"/>
                    <a:gd name="T37" fmla="*/ 2147483647 h 1458"/>
                    <a:gd name="T38" fmla="*/ 2147483647 w 1860"/>
                    <a:gd name="T39" fmla="*/ 2147483647 h 1458"/>
                    <a:gd name="T40" fmla="*/ 2147483647 w 1860"/>
                    <a:gd name="T41" fmla="*/ 2147483647 h 1458"/>
                    <a:gd name="T42" fmla="*/ 2147483647 w 1860"/>
                    <a:gd name="T43" fmla="*/ 2147483647 h 1458"/>
                    <a:gd name="T44" fmla="*/ 2147483647 w 1860"/>
                    <a:gd name="T45" fmla="*/ 2147483647 h 1458"/>
                    <a:gd name="T46" fmla="*/ 2147483647 w 1860"/>
                    <a:gd name="T47" fmla="*/ 2147483647 h 1458"/>
                    <a:gd name="T48" fmla="*/ 2147483647 w 1860"/>
                    <a:gd name="T49" fmla="*/ 2147483647 h 1458"/>
                    <a:gd name="T50" fmla="*/ 2147483647 w 1860"/>
                    <a:gd name="T51" fmla="*/ 2147483647 h 1458"/>
                    <a:gd name="T52" fmla="*/ 2147483647 w 1860"/>
                    <a:gd name="T53" fmla="*/ 2147483647 h 1458"/>
                    <a:gd name="T54" fmla="*/ 2147483647 w 1860"/>
                    <a:gd name="T55" fmla="*/ 2147483647 h 1458"/>
                    <a:gd name="T56" fmla="*/ 0 w 1860"/>
                    <a:gd name="T57" fmla="*/ 2147483647 h 1458"/>
                    <a:gd name="T58" fmla="*/ 2147483647 w 1860"/>
                    <a:gd name="T59" fmla="*/ 2147483647 h 1458"/>
                    <a:gd name="T60" fmla="*/ 2147483647 w 1860"/>
                    <a:gd name="T61" fmla="*/ 2147483647 h 1458"/>
                    <a:gd name="T62" fmla="*/ 2147483647 w 1860"/>
                    <a:gd name="T63" fmla="*/ 2147483647 h 1458"/>
                    <a:gd name="T64" fmla="*/ 2147483647 w 1860"/>
                    <a:gd name="T65" fmla="*/ 2147483647 h 1458"/>
                    <a:gd name="T66" fmla="*/ 2147483647 w 1860"/>
                    <a:gd name="T67" fmla="*/ 2147483647 h 1458"/>
                    <a:gd name="T68" fmla="*/ 2147483647 w 1860"/>
                    <a:gd name="T69" fmla="*/ 2147483647 h 1458"/>
                    <a:gd name="T70" fmla="*/ 2147483647 w 1860"/>
                    <a:gd name="T71" fmla="*/ 2147483647 h 1458"/>
                    <a:gd name="T72" fmla="*/ 2147483647 w 1860"/>
                    <a:gd name="T73" fmla="*/ 2147483647 h 1458"/>
                    <a:gd name="T74" fmla="*/ 2147483647 w 1860"/>
                    <a:gd name="T75" fmla="*/ 2147483647 h 1458"/>
                    <a:gd name="T76" fmla="*/ 2147483647 w 1860"/>
                    <a:gd name="T77" fmla="*/ 2147483647 h 1458"/>
                    <a:gd name="T78" fmla="*/ 2147483647 w 1860"/>
                    <a:gd name="T79" fmla="*/ 2147483647 h 1458"/>
                    <a:gd name="T80" fmla="*/ 2147483647 w 1860"/>
                    <a:gd name="T81" fmla="*/ 2147483647 h 1458"/>
                    <a:gd name="T82" fmla="*/ 2147483647 w 1860"/>
                    <a:gd name="T83" fmla="*/ 2147483647 h 1458"/>
                    <a:gd name="T84" fmla="*/ 2147483647 w 1860"/>
                    <a:gd name="T85" fmla="*/ 2147483647 h 1458"/>
                    <a:gd name="T86" fmla="*/ 2147483647 w 1860"/>
                    <a:gd name="T87" fmla="*/ 2147483647 h 1458"/>
                    <a:gd name="T88" fmla="*/ 2147483647 w 1860"/>
                    <a:gd name="T89" fmla="*/ 2147483647 h 1458"/>
                    <a:gd name="T90" fmla="*/ 2147483647 w 1860"/>
                    <a:gd name="T91" fmla="*/ 2147483647 h 1458"/>
                    <a:gd name="T92" fmla="*/ 2147483647 w 1860"/>
                    <a:gd name="T93" fmla="*/ 2147483647 h 1458"/>
                    <a:gd name="T94" fmla="*/ 2147483647 w 1860"/>
                    <a:gd name="T95" fmla="*/ 2147483647 h 1458"/>
                    <a:gd name="T96" fmla="*/ 2147483647 w 1860"/>
                    <a:gd name="T97" fmla="*/ 2147483647 h 1458"/>
                    <a:gd name="T98" fmla="*/ 2147483647 w 1860"/>
                    <a:gd name="T99" fmla="*/ 2147483647 h 1458"/>
                    <a:gd name="T100" fmla="*/ 2147483647 w 1860"/>
                    <a:gd name="T101" fmla="*/ 2147483647 h 1458"/>
                    <a:gd name="T102" fmla="*/ 2147483647 w 1860"/>
                    <a:gd name="T103" fmla="*/ 2147483647 h 1458"/>
                    <a:gd name="T104" fmla="*/ 2147483647 w 1860"/>
                    <a:gd name="T105" fmla="*/ 2147483647 h 1458"/>
                    <a:gd name="T106" fmla="*/ 2147483647 w 1860"/>
                    <a:gd name="T107" fmla="*/ 2147483647 h 1458"/>
                    <a:gd name="T108" fmla="*/ 2147483647 w 1860"/>
                    <a:gd name="T109" fmla="*/ 2147483647 h 1458"/>
                    <a:gd name="T110" fmla="*/ 2147483647 w 1860"/>
                    <a:gd name="T111" fmla="*/ 2147483647 h 1458"/>
                    <a:gd name="T112" fmla="*/ 2147483647 w 1860"/>
                    <a:gd name="T113" fmla="*/ 2147483647 h 1458"/>
                    <a:gd name="T114" fmla="*/ 2147483647 w 1860"/>
                    <a:gd name="T115" fmla="*/ 2147483647 h 1458"/>
                    <a:gd name="T116" fmla="*/ 2147483647 w 1860"/>
                    <a:gd name="T117" fmla="*/ 2147483647 h 1458"/>
                    <a:gd name="T118" fmla="*/ 2147483647 w 1860"/>
                    <a:gd name="T119" fmla="*/ 2147483647 h 1458"/>
                    <a:gd name="T120" fmla="*/ 2147483647 w 1860"/>
                    <a:gd name="T121" fmla="*/ 2147483647 h 1458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860"/>
                    <a:gd name="T184" fmla="*/ 0 h 1458"/>
                    <a:gd name="T185" fmla="*/ 1860 w 1860"/>
                    <a:gd name="T186" fmla="*/ 1458 h 1458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860" h="1458">
                      <a:moveTo>
                        <a:pt x="1422" y="1440"/>
                      </a:moveTo>
                      <a:lnTo>
                        <a:pt x="1422" y="1380"/>
                      </a:lnTo>
                      <a:lnTo>
                        <a:pt x="1452" y="1332"/>
                      </a:lnTo>
                      <a:lnTo>
                        <a:pt x="1542" y="1338"/>
                      </a:lnTo>
                      <a:lnTo>
                        <a:pt x="1542" y="1320"/>
                      </a:lnTo>
                      <a:lnTo>
                        <a:pt x="1548" y="1320"/>
                      </a:lnTo>
                      <a:lnTo>
                        <a:pt x="1554" y="1314"/>
                      </a:lnTo>
                      <a:lnTo>
                        <a:pt x="1554" y="1302"/>
                      </a:lnTo>
                      <a:lnTo>
                        <a:pt x="1536" y="1302"/>
                      </a:lnTo>
                      <a:lnTo>
                        <a:pt x="1530" y="1278"/>
                      </a:lnTo>
                      <a:lnTo>
                        <a:pt x="1524" y="1278"/>
                      </a:lnTo>
                      <a:lnTo>
                        <a:pt x="1512" y="1272"/>
                      </a:lnTo>
                      <a:lnTo>
                        <a:pt x="1506" y="1272"/>
                      </a:lnTo>
                      <a:lnTo>
                        <a:pt x="1500" y="1266"/>
                      </a:lnTo>
                      <a:lnTo>
                        <a:pt x="1494" y="1254"/>
                      </a:lnTo>
                      <a:lnTo>
                        <a:pt x="1494" y="1248"/>
                      </a:lnTo>
                      <a:lnTo>
                        <a:pt x="1482" y="1242"/>
                      </a:lnTo>
                      <a:lnTo>
                        <a:pt x="1506" y="1242"/>
                      </a:lnTo>
                      <a:lnTo>
                        <a:pt x="1518" y="1236"/>
                      </a:lnTo>
                      <a:lnTo>
                        <a:pt x="1524" y="1236"/>
                      </a:lnTo>
                      <a:lnTo>
                        <a:pt x="1524" y="1212"/>
                      </a:lnTo>
                      <a:lnTo>
                        <a:pt x="1518" y="1200"/>
                      </a:lnTo>
                      <a:lnTo>
                        <a:pt x="1518" y="1188"/>
                      </a:lnTo>
                      <a:lnTo>
                        <a:pt x="1650" y="1194"/>
                      </a:lnTo>
                      <a:lnTo>
                        <a:pt x="1656" y="1182"/>
                      </a:lnTo>
                      <a:lnTo>
                        <a:pt x="1656" y="1176"/>
                      </a:lnTo>
                      <a:lnTo>
                        <a:pt x="1662" y="1176"/>
                      </a:lnTo>
                      <a:lnTo>
                        <a:pt x="1668" y="1182"/>
                      </a:lnTo>
                      <a:lnTo>
                        <a:pt x="1668" y="1188"/>
                      </a:lnTo>
                      <a:lnTo>
                        <a:pt x="1674" y="1188"/>
                      </a:lnTo>
                      <a:lnTo>
                        <a:pt x="1680" y="1182"/>
                      </a:lnTo>
                      <a:lnTo>
                        <a:pt x="1692" y="1176"/>
                      </a:lnTo>
                      <a:lnTo>
                        <a:pt x="1698" y="1164"/>
                      </a:lnTo>
                      <a:lnTo>
                        <a:pt x="1698" y="1152"/>
                      </a:lnTo>
                      <a:lnTo>
                        <a:pt x="1704" y="1146"/>
                      </a:lnTo>
                      <a:lnTo>
                        <a:pt x="1704" y="1140"/>
                      </a:lnTo>
                      <a:lnTo>
                        <a:pt x="1710" y="1152"/>
                      </a:lnTo>
                      <a:lnTo>
                        <a:pt x="1746" y="1116"/>
                      </a:lnTo>
                      <a:lnTo>
                        <a:pt x="1746" y="1122"/>
                      </a:lnTo>
                      <a:lnTo>
                        <a:pt x="1740" y="1128"/>
                      </a:lnTo>
                      <a:lnTo>
                        <a:pt x="1740" y="1146"/>
                      </a:lnTo>
                      <a:lnTo>
                        <a:pt x="1746" y="1152"/>
                      </a:lnTo>
                      <a:lnTo>
                        <a:pt x="1758" y="1152"/>
                      </a:lnTo>
                      <a:lnTo>
                        <a:pt x="1782" y="1086"/>
                      </a:lnTo>
                      <a:lnTo>
                        <a:pt x="1770" y="1074"/>
                      </a:lnTo>
                      <a:lnTo>
                        <a:pt x="1794" y="1068"/>
                      </a:lnTo>
                      <a:lnTo>
                        <a:pt x="1794" y="1056"/>
                      </a:lnTo>
                      <a:lnTo>
                        <a:pt x="1776" y="1050"/>
                      </a:lnTo>
                      <a:lnTo>
                        <a:pt x="1794" y="1032"/>
                      </a:lnTo>
                      <a:lnTo>
                        <a:pt x="1800" y="1008"/>
                      </a:lnTo>
                      <a:lnTo>
                        <a:pt x="1806" y="996"/>
                      </a:lnTo>
                      <a:lnTo>
                        <a:pt x="1818" y="990"/>
                      </a:lnTo>
                      <a:lnTo>
                        <a:pt x="1824" y="978"/>
                      </a:lnTo>
                      <a:lnTo>
                        <a:pt x="1836" y="966"/>
                      </a:lnTo>
                      <a:lnTo>
                        <a:pt x="1842" y="954"/>
                      </a:lnTo>
                      <a:lnTo>
                        <a:pt x="1848" y="948"/>
                      </a:lnTo>
                      <a:lnTo>
                        <a:pt x="1854" y="936"/>
                      </a:lnTo>
                      <a:lnTo>
                        <a:pt x="1854" y="930"/>
                      </a:lnTo>
                      <a:lnTo>
                        <a:pt x="1860" y="918"/>
                      </a:lnTo>
                      <a:lnTo>
                        <a:pt x="1860" y="900"/>
                      </a:lnTo>
                      <a:lnTo>
                        <a:pt x="1854" y="894"/>
                      </a:lnTo>
                      <a:lnTo>
                        <a:pt x="1818" y="894"/>
                      </a:lnTo>
                      <a:lnTo>
                        <a:pt x="1812" y="900"/>
                      </a:lnTo>
                      <a:lnTo>
                        <a:pt x="1800" y="900"/>
                      </a:lnTo>
                      <a:lnTo>
                        <a:pt x="1794" y="894"/>
                      </a:lnTo>
                      <a:lnTo>
                        <a:pt x="1782" y="894"/>
                      </a:lnTo>
                      <a:lnTo>
                        <a:pt x="1770" y="888"/>
                      </a:lnTo>
                      <a:lnTo>
                        <a:pt x="1746" y="888"/>
                      </a:lnTo>
                      <a:lnTo>
                        <a:pt x="1734" y="894"/>
                      </a:lnTo>
                      <a:lnTo>
                        <a:pt x="1716" y="900"/>
                      </a:lnTo>
                      <a:lnTo>
                        <a:pt x="1698" y="900"/>
                      </a:lnTo>
                      <a:lnTo>
                        <a:pt x="1686" y="906"/>
                      </a:lnTo>
                      <a:lnTo>
                        <a:pt x="1668" y="906"/>
                      </a:lnTo>
                      <a:lnTo>
                        <a:pt x="1656" y="912"/>
                      </a:lnTo>
                      <a:lnTo>
                        <a:pt x="1626" y="912"/>
                      </a:lnTo>
                      <a:lnTo>
                        <a:pt x="1614" y="918"/>
                      </a:lnTo>
                      <a:lnTo>
                        <a:pt x="1608" y="924"/>
                      </a:lnTo>
                      <a:lnTo>
                        <a:pt x="1596" y="948"/>
                      </a:lnTo>
                      <a:lnTo>
                        <a:pt x="1590" y="966"/>
                      </a:lnTo>
                      <a:lnTo>
                        <a:pt x="1590" y="1026"/>
                      </a:lnTo>
                      <a:lnTo>
                        <a:pt x="1572" y="1032"/>
                      </a:lnTo>
                      <a:lnTo>
                        <a:pt x="1572" y="1062"/>
                      </a:lnTo>
                      <a:lnTo>
                        <a:pt x="1566" y="1074"/>
                      </a:lnTo>
                      <a:lnTo>
                        <a:pt x="1542" y="1086"/>
                      </a:lnTo>
                      <a:lnTo>
                        <a:pt x="1524" y="1098"/>
                      </a:lnTo>
                      <a:lnTo>
                        <a:pt x="1512" y="1110"/>
                      </a:lnTo>
                      <a:lnTo>
                        <a:pt x="1512" y="1122"/>
                      </a:lnTo>
                      <a:lnTo>
                        <a:pt x="1506" y="1128"/>
                      </a:lnTo>
                      <a:lnTo>
                        <a:pt x="1506" y="1140"/>
                      </a:lnTo>
                      <a:lnTo>
                        <a:pt x="1500" y="1146"/>
                      </a:lnTo>
                      <a:lnTo>
                        <a:pt x="1488" y="1146"/>
                      </a:lnTo>
                      <a:lnTo>
                        <a:pt x="1476" y="1134"/>
                      </a:lnTo>
                      <a:lnTo>
                        <a:pt x="1476" y="1128"/>
                      </a:lnTo>
                      <a:lnTo>
                        <a:pt x="1470" y="1122"/>
                      </a:lnTo>
                      <a:lnTo>
                        <a:pt x="1440" y="1122"/>
                      </a:lnTo>
                      <a:lnTo>
                        <a:pt x="1416" y="1128"/>
                      </a:lnTo>
                      <a:lnTo>
                        <a:pt x="1392" y="1140"/>
                      </a:lnTo>
                      <a:lnTo>
                        <a:pt x="1356" y="1140"/>
                      </a:lnTo>
                      <a:lnTo>
                        <a:pt x="1338" y="1146"/>
                      </a:lnTo>
                      <a:lnTo>
                        <a:pt x="1290" y="1170"/>
                      </a:lnTo>
                      <a:lnTo>
                        <a:pt x="1284" y="1170"/>
                      </a:lnTo>
                      <a:lnTo>
                        <a:pt x="1272" y="1158"/>
                      </a:lnTo>
                      <a:lnTo>
                        <a:pt x="1266" y="1146"/>
                      </a:lnTo>
                      <a:lnTo>
                        <a:pt x="1266" y="1140"/>
                      </a:lnTo>
                      <a:lnTo>
                        <a:pt x="1260" y="1128"/>
                      </a:lnTo>
                      <a:lnTo>
                        <a:pt x="1242" y="1128"/>
                      </a:lnTo>
                      <a:lnTo>
                        <a:pt x="1224" y="1122"/>
                      </a:lnTo>
                      <a:lnTo>
                        <a:pt x="1194" y="1122"/>
                      </a:lnTo>
                      <a:lnTo>
                        <a:pt x="1194" y="1104"/>
                      </a:lnTo>
                      <a:lnTo>
                        <a:pt x="1188" y="1092"/>
                      </a:lnTo>
                      <a:lnTo>
                        <a:pt x="1176" y="1080"/>
                      </a:lnTo>
                      <a:lnTo>
                        <a:pt x="1170" y="1068"/>
                      </a:lnTo>
                      <a:lnTo>
                        <a:pt x="1164" y="1062"/>
                      </a:lnTo>
                      <a:lnTo>
                        <a:pt x="1164" y="1026"/>
                      </a:lnTo>
                      <a:lnTo>
                        <a:pt x="1128" y="966"/>
                      </a:lnTo>
                      <a:lnTo>
                        <a:pt x="1122" y="924"/>
                      </a:lnTo>
                      <a:lnTo>
                        <a:pt x="1110" y="894"/>
                      </a:lnTo>
                      <a:lnTo>
                        <a:pt x="1104" y="804"/>
                      </a:lnTo>
                      <a:lnTo>
                        <a:pt x="1110" y="798"/>
                      </a:lnTo>
                      <a:lnTo>
                        <a:pt x="1122" y="774"/>
                      </a:lnTo>
                      <a:lnTo>
                        <a:pt x="1128" y="768"/>
                      </a:lnTo>
                      <a:lnTo>
                        <a:pt x="1128" y="654"/>
                      </a:lnTo>
                      <a:lnTo>
                        <a:pt x="1152" y="648"/>
                      </a:lnTo>
                      <a:lnTo>
                        <a:pt x="1152" y="612"/>
                      </a:lnTo>
                      <a:lnTo>
                        <a:pt x="1158" y="600"/>
                      </a:lnTo>
                      <a:lnTo>
                        <a:pt x="1158" y="594"/>
                      </a:lnTo>
                      <a:lnTo>
                        <a:pt x="1164" y="588"/>
                      </a:lnTo>
                      <a:lnTo>
                        <a:pt x="1176" y="588"/>
                      </a:lnTo>
                      <a:lnTo>
                        <a:pt x="1182" y="594"/>
                      </a:lnTo>
                      <a:lnTo>
                        <a:pt x="1188" y="594"/>
                      </a:lnTo>
                      <a:lnTo>
                        <a:pt x="1188" y="588"/>
                      </a:lnTo>
                      <a:lnTo>
                        <a:pt x="1194" y="576"/>
                      </a:lnTo>
                      <a:lnTo>
                        <a:pt x="1194" y="564"/>
                      </a:lnTo>
                      <a:lnTo>
                        <a:pt x="1200" y="558"/>
                      </a:lnTo>
                      <a:lnTo>
                        <a:pt x="1206" y="546"/>
                      </a:lnTo>
                      <a:lnTo>
                        <a:pt x="1206" y="540"/>
                      </a:lnTo>
                      <a:lnTo>
                        <a:pt x="1206" y="546"/>
                      </a:lnTo>
                      <a:lnTo>
                        <a:pt x="1182" y="546"/>
                      </a:lnTo>
                      <a:lnTo>
                        <a:pt x="1176" y="534"/>
                      </a:lnTo>
                      <a:lnTo>
                        <a:pt x="1176" y="528"/>
                      </a:lnTo>
                      <a:lnTo>
                        <a:pt x="1134" y="528"/>
                      </a:lnTo>
                      <a:lnTo>
                        <a:pt x="1122" y="516"/>
                      </a:lnTo>
                      <a:lnTo>
                        <a:pt x="1110" y="516"/>
                      </a:lnTo>
                      <a:lnTo>
                        <a:pt x="1092" y="510"/>
                      </a:lnTo>
                      <a:lnTo>
                        <a:pt x="1080" y="498"/>
                      </a:lnTo>
                      <a:lnTo>
                        <a:pt x="1080" y="468"/>
                      </a:lnTo>
                      <a:lnTo>
                        <a:pt x="1068" y="456"/>
                      </a:lnTo>
                      <a:lnTo>
                        <a:pt x="1068" y="420"/>
                      </a:lnTo>
                      <a:lnTo>
                        <a:pt x="1074" y="420"/>
                      </a:lnTo>
                      <a:lnTo>
                        <a:pt x="1080" y="414"/>
                      </a:lnTo>
                      <a:lnTo>
                        <a:pt x="1080" y="408"/>
                      </a:lnTo>
                      <a:lnTo>
                        <a:pt x="1068" y="396"/>
                      </a:lnTo>
                      <a:lnTo>
                        <a:pt x="1056" y="390"/>
                      </a:lnTo>
                      <a:lnTo>
                        <a:pt x="1050" y="384"/>
                      </a:lnTo>
                      <a:lnTo>
                        <a:pt x="1050" y="360"/>
                      </a:lnTo>
                      <a:lnTo>
                        <a:pt x="1038" y="354"/>
                      </a:lnTo>
                      <a:lnTo>
                        <a:pt x="1032" y="342"/>
                      </a:lnTo>
                      <a:lnTo>
                        <a:pt x="1032" y="330"/>
                      </a:lnTo>
                      <a:lnTo>
                        <a:pt x="1038" y="318"/>
                      </a:lnTo>
                      <a:lnTo>
                        <a:pt x="1038" y="294"/>
                      </a:lnTo>
                      <a:lnTo>
                        <a:pt x="1026" y="282"/>
                      </a:lnTo>
                      <a:lnTo>
                        <a:pt x="1020" y="270"/>
                      </a:lnTo>
                      <a:lnTo>
                        <a:pt x="1008" y="258"/>
                      </a:lnTo>
                      <a:lnTo>
                        <a:pt x="1002" y="246"/>
                      </a:lnTo>
                      <a:lnTo>
                        <a:pt x="996" y="240"/>
                      </a:lnTo>
                      <a:lnTo>
                        <a:pt x="990" y="228"/>
                      </a:lnTo>
                      <a:lnTo>
                        <a:pt x="948" y="228"/>
                      </a:lnTo>
                      <a:lnTo>
                        <a:pt x="930" y="222"/>
                      </a:lnTo>
                      <a:lnTo>
                        <a:pt x="930" y="228"/>
                      </a:lnTo>
                      <a:lnTo>
                        <a:pt x="912" y="228"/>
                      </a:lnTo>
                      <a:lnTo>
                        <a:pt x="900" y="240"/>
                      </a:lnTo>
                      <a:lnTo>
                        <a:pt x="888" y="264"/>
                      </a:lnTo>
                      <a:lnTo>
                        <a:pt x="876" y="276"/>
                      </a:lnTo>
                      <a:lnTo>
                        <a:pt x="852" y="288"/>
                      </a:lnTo>
                      <a:lnTo>
                        <a:pt x="840" y="288"/>
                      </a:lnTo>
                      <a:lnTo>
                        <a:pt x="822" y="276"/>
                      </a:lnTo>
                      <a:lnTo>
                        <a:pt x="810" y="270"/>
                      </a:lnTo>
                      <a:lnTo>
                        <a:pt x="780" y="240"/>
                      </a:lnTo>
                      <a:lnTo>
                        <a:pt x="780" y="228"/>
                      </a:lnTo>
                      <a:lnTo>
                        <a:pt x="786" y="216"/>
                      </a:lnTo>
                      <a:lnTo>
                        <a:pt x="786" y="174"/>
                      </a:lnTo>
                      <a:lnTo>
                        <a:pt x="780" y="162"/>
                      </a:lnTo>
                      <a:lnTo>
                        <a:pt x="768" y="150"/>
                      </a:lnTo>
                      <a:lnTo>
                        <a:pt x="756" y="144"/>
                      </a:lnTo>
                      <a:lnTo>
                        <a:pt x="744" y="144"/>
                      </a:lnTo>
                      <a:lnTo>
                        <a:pt x="738" y="114"/>
                      </a:lnTo>
                      <a:lnTo>
                        <a:pt x="708" y="102"/>
                      </a:lnTo>
                      <a:lnTo>
                        <a:pt x="708" y="78"/>
                      </a:lnTo>
                      <a:lnTo>
                        <a:pt x="696" y="66"/>
                      </a:lnTo>
                      <a:lnTo>
                        <a:pt x="582" y="66"/>
                      </a:lnTo>
                      <a:lnTo>
                        <a:pt x="576" y="72"/>
                      </a:lnTo>
                      <a:lnTo>
                        <a:pt x="576" y="90"/>
                      </a:lnTo>
                      <a:lnTo>
                        <a:pt x="570" y="102"/>
                      </a:lnTo>
                      <a:lnTo>
                        <a:pt x="570" y="108"/>
                      </a:lnTo>
                      <a:lnTo>
                        <a:pt x="366" y="108"/>
                      </a:lnTo>
                      <a:lnTo>
                        <a:pt x="156" y="12"/>
                      </a:lnTo>
                      <a:lnTo>
                        <a:pt x="150" y="12"/>
                      </a:lnTo>
                      <a:lnTo>
                        <a:pt x="150" y="6"/>
                      </a:lnTo>
                      <a:lnTo>
                        <a:pt x="156" y="0"/>
                      </a:lnTo>
                      <a:lnTo>
                        <a:pt x="12" y="6"/>
                      </a:lnTo>
                      <a:lnTo>
                        <a:pt x="6" y="0"/>
                      </a:lnTo>
                      <a:lnTo>
                        <a:pt x="0" y="18"/>
                      </a:lnTo>
                      <a:lnTo>
                        <a:pt x="0" y="48"/>
                      </a:lnTo>
                      <a:lnTo>
                        <a:pt x="6" y="60"/>
                      </a:lnTo>
                      <a:lnTo>
                        <a:pt x="12" y="66"/>
                      </a:lnTo>
                      <a:lnTo>
                        <a:pt x="18" y="78"/>
                      </a:lnTo>
                      <a:lnTo>
                        <a:pt x="0" y="90"/>
                      </a:lnTo>
                      <a:lnTo>
                        <a:pt x="12" y="114"/>
                      </a:lnTo>
                      <a:lnTo>
                        <a:pt x="6" y="126"/>
                      </a:lnTo>
                      <a:lnTo>
                        <a:pt x="24" y="144"/>
                      </a:lnTo>
                      <a:lnTo>
                        <a:pt x="6" y="174"/>
                      </a:lnTo>
                      <a:lnTo>
                        <a:pt x="18" y="180"/>
                      </a:lnTo>
                      <a:lnTo>
                        <a:pt x="18" y="210"/>
                      </a:lnTo>
                      <a:lnTo>
                        <a:pt x="24" y="228"/>
                      </a:lnTo>
                      <a:lnTo>
                        <a:pt x="24" y="240"/>
                      </a:lnTo>
                      <a:lnTo>
                        <a:pt x="30" y="252"/>
                      </a:lnTo>
                      <a:lnTo>
                        <a:pt x="42" y="264"/>
                      </a:lnTo>
                      <a:lnTo>
                        <a:pt x="60" y="264"/>
                      </a:lnTo>
                      <a:lnTo>
                        <a:pt x="60" y="270"/>
                      </a:lnTo>
                      <a:lnTo>
                        <a:pt x="66" y="276"/>
                      </a:lnTo>
                      <a:lnTo>
                        <a:pt x="72" y="288"/>
                      </a:lnTo>
                      <a:lnTo>
                        <a:pt x="84" y="300"/>
                      </a:lnTo>
                      <a:lnTo>
                        <a:pt x="90" y="318"/>
                      </a:lnTo>
                      <a:lnTo>
                        <a:pt x="96" y="330"/>
                      </a:lnTo>
                      <a:lnTo>
                        <a:pt x="96" y="342"/>
                      </a:lnTo>
                      <a:lnTo>
                        <a:pt x="78" y="378"/>
                      </a:lnTo>
                      <a:lnTo>
                        <a:pt x="72" y="384"/>
                      </a:lnTo>
                      <a:lnTo>
                        <a:pt x="72" y="390"/>
                      </a:lnTo>
                      <a:lnTo>
                        <a:pt x="84" y="396"/>
                      </a:lnTo>
                      <a:lnTo>
                        <a:pt x="72" y="414"/>
                      </a:lnTo>
                      <a:lnTo>
                        <a:pt x="60" y="396"/>
                      </a:lnTo>
                      <a:lnTo>
                        <a:pt x="12" y="390"/>
                      </a:lnTo>
                      <a:lnTo>
                        <a:pt x="36" y="414"/>
                      </a:lnTo>
                      <a:lnTo>
                        <a:pt x="42" y="438"/>
                      </a:lnTo>
                      <a:lnTo>
                        <a:pt x="66" y="444"/>
                      </a:lnTo>
                      <a:lnTo>
                        <a:pt x="78" y="456"/>
                      </a:lnTo>
                      <a:lnTo>
                        <a:pt x="84" y="468"/>
                      </a:lnTo>
                      <a:lnTo>
                        <a:pt x="90" y="474"/>
                      </a:lnTo>
                      <a:lnTo>
                        <a:pt x="96" y="474"/>
                      </a:lnTo>
                      <a:lnTo>
                        <a:pt x="102" y="468"/>
                      </a:lnTo>
                      <a:lnTo>
                        <a:pt x="108" y="468"/>
                      </a:lnTo>
                      <a:lnTo>
                        <a:pt x="120" y="462"/>
                      </a:lnTo>
                      <a:lnTo>
                        <a:pt x="126" y="456"/>
                      </a:lnTo>
                      <a:lnTo>
                        <a:pt x="126" y="480"/>
                      </a:lnTo>
                      <a:lnTo>
                        <a:pt x="144" y="516"/>
                      </a:lnTo>
                      <a:lnTo>
                        <a:pt x="156" y="528"/>
                      </a:lnTo>
                      <a:lnTo>
                        <a:pt x="168" y="552"/>
                      </a:lnTo>
                      <a:lnTo>
                        <a:pt x="168" y="564"/>
                      </a:lnTo>
                      <a:lnTo>
                        <a:pt x="156" y="588"/>
                      </a:lnTo>
                      <a:lnTo>
                        <a:pt x="150" y="606"/>
                      </a:lnTo>
                      <a:lnTo>
                        <a:pt x="150" y="618"/>
                      </a:lnTo>
                      <a:lnTo>
                        <a:pt x="180" y="648"/>
                      </a:lnTo>
                      <a:lnTo>
                        <a:pt x="192" y="666"/>
                      </a:lnTo>
                      <a:lnTo>
                        <a:pt x="222" y="696"/>
                      </a:lnTo>
                      <a:lnTo>
                        <a:pt x="234" y="714"/>
                      </a:lnTo>
                      <a:lnTo>
                        <a:pt x="264" y="744"/>
                      </a:lnTo>
                      <a:lnTo>
                        <a:pt x="258" y="750"/>
                      </a:lnTo>
                      <a:lnTo>
                        <a:pt x="258" y="762"/>
                      </a:lnTo>
                      <a:lnTo>
                        <a:pt x="252" y="768"/>
                      </a:lnTo>
                      <a:lnTo>
                        <a:pt x="252" y="780"/>
                      </a:lnTo>
                      <a:lnTo>
                        <a:pt x="258" y="786"/>
                      </a:lnTo>
                      <a:lnTo>
                        <a:pt x="276" y="786"/>
                      </a:lnTo>
                      <a:lnTo>
                        <a:pt x="288" y="780"/>
                      </a:lnTo>
                      <a:lnTo>
                        <a:pt x="294" y="768"/>
                      </a:lnTo>
                      <a:lnTo>
                        <a:pt x="306" y="762"/>
                      </a:lnTo>
                      <a:lnTo>
                        <a:pt x="312" y="756"/>
                      </a:lnTo>
                      <a:lnTo>
                        <a:pt x="306" y="738"/>
                      </a:lnTo>
                      <a:lnTo>
                        <a:pt x="306" y="732"/>
                      </a:lnTo>
                      <a:lnTo>
                        <a:pt x="300" y="726"/>
                      </a:lnTo>
                      <a:lnTo>
                        <a:pt x="300" y="708"/>
                      </a:lnTo>
                      <a:lnTo>
                        <a:pt x="288" y="684"/>
                      </a:lnTo>
                      <a:lnTo>
                        <a:pt x="282" y="678"/>
                      </a:lnTo>
                      <a:lnTo>
                        <a:pt x="258" y="678"/>
                      </a:lnTo>
                      <a:lnTo>
                        <a:pt x="240" y="648"/>
                      </a:lnTo>
                      <a:lnTo>
                        <a:pt x="240" y="576"/>
                      </a:lnTo>
                      <a:lnTo>
                        <a:pt x="222" y="546"/>
                      </a:lnTo>
                      <a:lnTo>
                        <a:pt x="228" y="534"/>
                      </a:lnTo>
                      <a:lnTo>
                        <a:pt x="228" y="528"/>
                      </a:lnTo>
                      <a:lnTo>
                        <a:pt x="234" y="516"/>
                      </a:lnTo>
                      <a:lnTo>
                        <a:pt x="234" y="492"/>
                      </a:lnTo>
                      <a:lnTo>
                        <a:pt x="228" y="486"/>
                      </a:lnTo>
                      <a:lnTo>
                        <a:pt x="216" y="480"/>
                      </a:lnTo>
                      <a:lnTo>
                        <a:pt x="210" y="474"/>
                      </a:lnTo>
                      <a:lnTo>
                        <a:pt x="198" y="474"/>
                      </a:lnTo>
                      <a:lnTo>
                        <a:pt x="198" y="432"/>
                      </a:lnTo>
                      <a:lnTo>
                        <a:pt x="168" y="396"/>
                      </a:lnTo>
                      <a:lnTo>
                        <a:pt x="174" y="336"/>
                      </a:lnTo>
                      <a:lnTo>
                        <a:pt x="168" y="330"/>
                      </a:lnTo>
                      <a:lnTo>
                        <a:pt x="162" y="318"/>
                      </a:lnTo>
                      <a:lnTo>
                        <a:pt x="144" y="300"/>
                      </a:lnTo>
                      <a:lnTo>
                        <a:pt x="138" y="288"/>
                      </a:lnTo>
                      <a:lnTo>
                        <a:pt x="138" y="276"/>
                      </a:lnTo>
                      <a:lnTo>
                        <a:pt x="132" y="264"/>
                      </a:lnTo>
                      <a:lnTo>
                        <a:pt x="132" y="246"/>
                      </a:lnTo>
                      <a:lnTo>
                        <a:pt x="126" y="240"/>
                      </a:lnTo>
                      <a:lnTo>
                        <a:pt x="120" y="228"/>
                      </a:lnTo>
                      <a:lnTo>
                        <a:pt x="108" y="216"/>
                      </a:lnTo>
                      <a:lnTo>
                        <a:pt x="102" y="204"/>
                      </a:lnTo>
                      <a:lnTo>
                        <a:pt x="96" y="198"/>
                      </a:lnTo>
                      <a:lnTo>
                        <a:pt x="96" y="192"/>
                      </a:lnTo>
                      <a:lnTo>
                        <a:pt x="102" y="186"/>
                      </a:lnTo>
                      <a:lnTo>
                        <a:pt x="114" y="162"/>
                      </a:lnTo>
                      <a:lnTo>
                        <a:pt x="114" y="114"/>
                      </a:lnTo>
                      <a:lnTo>
                        <a:pt x="120" y="108"/>
                      </a:lnTo>
                      <a:lnTo>
                        <a:pt x="126" y="96"/>
                      </a:lnTo>
                      <a:lnTo>
                        <a:pt x="126" y="60"/>
                      </a:lnTo>
                      <a:lnTo>
                        <a:pt x="132" y="66"/>
                      </a:lnTo>
                      <a:lnTo>
                        <a:pt x="144" y="72"/>
                      </a:lnTo>
                      <a:lnTo>
                        <a:pt x="150" y="84"/>
                      </a:lnTo>
                      <a:lnTo>
                        <a:pt x="162" y="90"/>
                      </a:lnTo>
                      <a:lnTo>
                        <a:pt x="180" y="90"/>
                      </a:lnTo>
                      <a:lnTo>
                        <a:pt x="186" y="84"/>
                      </a:lnTo>
                      <a:lnTo>
                        <a:pt x="198" y="84"/>
                      </a:lnTo>
                      <a:lnTo>
                        <a:pt x="198" y="102"/>
                      </a:lnTo>
                      <a:lnTo>
                        <a:pt x="204" y="108"/>
                      </a:lnTo>
                      <a:lnTo>
                        <a:pt x="216" y="114"/>
                      </a:lnTo>
                      <a:lnTo>
                        <a:pt x="234" y="114"/>
                      </a:lnTo>
                      <a:lnTo>
                        <a:pt x="234" y="120"/>
                      </a:lnTo>
                      <a:lnTo>
                        <a:pt x="228" y="126"/>
                      </a:lnTo>
                      <a:lnTo>
                        <a:pt x="228" y="186"/>
                      </a:lnTo>
                      <a:lnTo>
                        <a:pt x="240" y="258"/>
                      </a:lnTo>
                      <a:lnTo>
                        <a:pt x="240" y="270"/>
                      </a:lnTo>
                      <a:lnTo>
                        <a:pt x="246" y="282"/>
                      </a:lnTo>
                      <a:lnTo>
                        <a:pt x="252" y="306"/>
                      </a:lnTo>
                      <a:lnTo>
                        <a:pt x="264" y="342"/>
                      </a:lnTo>
                      <a:lnTo>
                        <a:pt x="276" y="372"/>
                      </a:lnTo>
                      <a:lnTo>
                        <a:pt x="282" y="384"/>
                      </a:lnTo>
                      <a:lnTo>
                        <a:pt x="324" y="384"/>
                      </a:lnTo>
                      <a:lnTo>
                        <a:pt x="318" y="390"/>
                      </a:lnTo>
                      <a:lnTo>
                        <a:pt x="306" y="414"/>
                      </a:lnTo>
                      <a:lnTo>
                        <a:pt x="318" y="438"/>
                      </a:lnTo>
                      <a:lnTo>
                        <a:pt x="330" y="444"/>
                      </a:lnTo>
                      <a:lnTo>
                        <a:pt x="336" y="450"/>
                      </a:lnTo>
                      <a:lnTo>
                        <a:pt x="348" y="450"/>
                      </a:lnTo>
                      <a:lnTo>
                        <a:pt x="354" y="474"/>
                      </a:lnTo>
                      <a:lnTo>
                        <a:pt x="384" y="474"/>
                      </a:lnTo>
                      <a:lnTo>
                        <a:pt x="390" y="516"/>
                      </a:lnTo>
                      <a:lnTo>
                        <a:pt x="384" y="516"/>
                      </a:lnTo>
                      <a:lnTo>
                        <a:pt x="378" y="522"/>
                      </a:lnTo>
                      <a:lnTo>
                        <a:pt x="366" y="528"/>
                      </a:lnTo>
                      <a:lnTo>
                        <a:pt x="360" y="534"/>
                      </a:lnTo>
                      <a:lnTo>
                        <a:pt x="354" y="546"/>
                      </a:lnTo>
                      <a:lnTo>
                        <a:pt x="354" y="558"/>
                      </a:lnTo>
                      <a:lnTo>
                        <a:pt x="360" y="564"/>
                      </a:lnTo>
                      <a:lnTo>
                        <a:pt x="372" y="570"/>
                      </a:lnTo>
                      <a:lnTo>
                        <a:pt x="384" y="558"/>
                      </a:lnTo>
                      <a:lnTo>
                        <a:pt x="384" y="564"/>
                      </a:lnTo>
                      <a:lnTo>
                        <a:pt x="396" y="576"/>
                      </a:lnTo>
                      <a:lnTo>
                        <a:pt x="396" y="588"/>
                      </a:lnTo>
                      <a:lnTo>
                        <a:pt x="402" y="594"/>
                      </a:lnTo>
                      <a:lnTo>
                        <a:pt x="414" y="594"/>
                      </a:lnTo>
                      <a:lnTo>
                        <a:pt x="426" y="600"/>
                      </a:lnTo>
                      <a:lnTo>
                        <a:pt x="432" y="600"/>
                      </a:lnTo>
                      <a:lnTo>
                        <a:pt x="438" y="606"/>
                      </a:lnTo>
                      <a:lnTo>
                        <a:pt x="438" y="624"/>
                      </a:lnTo>
                      <a:lnTo>
                        <a:pt x="432" y="630"/>
                      </a:lnTo>
                      <a:lnTo>
                        <a:pt x="432" y="636"/>
                      </a:lnTo>
                      <a:lnTo>
                        <a:pt x="426" y="648"/>
                      </a:lnTo>
                      <a:lnTo>
                        <a:pt x="426" y="654"/>
                      </a:lnTo>
                      <a:lnTo>
                        <a:pt x="468" y="654"/>
                      </a:lnTo>
                      <a:lnTo>
                        <a:pt x="468" y="684"/>
                      </a:lnTo>
                      <a:lnTo>
                        <a:pt x="504" y="720"/>
                      </a:lnTo>
                      <a:lnTo>
                        <a:pt x="510" y="732"/>
                      </a:lnTo>
                      <a:lnTo>
                        <a:pt x="528" y="750"/>
                      </a:lnTo>
                      <a:lnTo>
                        <a:pt x="534" y="768"/>
                      </a:lnTo>
                      <a:lnTo>
                        <a:pt x="546" y="780"/>
                      </a:lnTo>
                      <a:lnTo>
                        <a:pt x="552" y="798"/>
                      </a:lnTo>
                      <a:lnTo>
                        <a:pt x="558" y="810"/>
                      </a:lnTo>
                      <a:lnTo>
                        <a:pt x="558" y="870"/>
                      </a:lnTo>
                      <a:lnTo>
                        <a:pt x="564" y="882"/>
                      </a:lnTo>
                      <a:lnTo>
                        <a:pt x="576" y="894"/>
                      </a:lnTo>
                      <a:lnTo>
                        <a:pt x="576" y="906"/>
                      </a:lnTo>
                      <a:lnTo>
                        <a:pt x="570" y="918"/>
                      </a:lnTo>
                      <a:lnTo>
                        <a:pt x="552" y="936"/>
                      </a:lnTo>
                      <a:lnTo>
                        <a:pt x="546" y="948"/>
                      </a:lnTo>
                      <a:lnTo>
                        <a:pt x="546" y="954"/>
                      </a:lnTo>
                      <a:lnTo>
                        <a:pt x="552" y="960"/>
                      </a:lnTo>
                      <a:lnTo>
                        <a:pt x="564" y="966"/>
                      </a:lnTo>
                      <a:lnTo>
                        <a:pt x="540" y="966"/>
                      </a:lnTo>
                      <a:lnTo>
                        <a:pt x="528" y="972"/>
                      </a:lnTo>
                      <a:lnTo>
                        <a:pt x="528" y="1038"/>
                      </a:lnTo>
                      <a:lnTo>
                        <a:pt x="534" y="1056"/>
                      </a:lnTo>
                      <a:lnTo>
                        <a:pt x="540" y="1062"/>
                      </a:lnTo>
                      <a:lnTo>
                        <a:pt x="546" y="1074"/>
                      </a:lnTo>
                      <a:lnTo>
                        <a:pt x="558" y="1074"/>
                      </a:lnTo>
                      <a:lnTo>
                        <a:pt x="576" y="1080"/>
                      </a:lnTo>
                      <a:lnTo>
                        <a:pt x="600" y="1080"/>
                      </a:lnTo>
                      <a:lnTo>
                        <a:pt x="612" y="1086"/>
                      </a:lnTo>
                      <a:lnTo>
                        <a:pt x="636" y="1110"/>
                      </a:lnTo>
                      <a:lnTo>
                        <a:pt x="642" y="1122"/>
                      </a:lnTo>
                      <a:lnTo>
                        <a:pt x="648" y="1140"/>
                      </a:lnTo>
                      <a:lnTo>
                        <a:pt x="654" y="1152"/>
                      </a:lnTo>
                      <a:lnTo>
                        <a:pt x="666" y="1164"/>
                      </a:lnTo>
                      <a:lnTo>
                        <a:pt x="678" y="1170"/>
                      </a:lnTo>
                      <a:lnTo>
                        <a:pt x="732" y="1170"/>
                      </a:lnTo>
                      <a:lnTo>
                        <a:pt x="750" y="1176"/>
                      </a:lnTo>
                      <a:lnTo>
                        <a:pt x="762" y="1182"/>
                      </a:lnTo>
                      <a:lnTo>
                        <a:pt x="768" y="1188"/>
                      </a:lnTo>
                      <a:lnTo>
                        <a:pt x="774" y="1200"/>
                      </a:lnTo>
                      <a:lnTo>
                        <a:pt x="786" y="1218"/>
                      </a:lnTo>
                      <a:lnTo>
                        <a:pt x="810" y="1242"/>
                      </a:lnTo>
                      <a:lnTo>
                        <a:pt x="834" y="1254"/>
                      </a:lnTo>
                      <a:lnTo>
                        <a:pt x="870" y="1266"/>
                      </a:lnTo>
                      <a:lnTo>
                        <a:pt x="912" y="1272"/>
                      </a:lnTo>
                      <a:lnTo>
                        <a:pt x="942" y="1278"/>
                      </a:lnTo>
                      <a:lnTo>
                        <a:pt x="960" y="1290"/>
                      </a:lnTo>
                      <a:lnTo>
                        <a:pt x="966" y="1302"/>
                      </a:lnTo>
                      <a:lnTo>
                        <a:pt x="978" y="1314"/>
                      </a:lnTo>
                      <a:lnTo>
                        <a:pt x="990" y="1320"/>
                      </a:lnTo>
                      <a:lnTo>
                        <a:pt x="996" y="1320"/>
                      </a:lnTo>
                      <a:lnTo>
                        <a:pt x="1002" y="1326"/>
                      </a:lnTo>
                      <a:lnTo>
                        <a:pt x="1008" y="1338"/>
                      </a:lnTo>
                      <a:lnTo>
                        <a:pt x="1014" y="1344"/>
                      </a:lnTo>
                      <a:lnTo>
                        <a:pt x="1080" y="1344"/>
                      </a:lnTo>
                      <a:lnTo>
                        <a:pt x="1092" y="1356"/>
                      </a:lnTo>
                      <a:lnTo>
                        <a:pt x="1098" y="1368"/>
                      </a:lnTo>
                      <a:lnTo>
                        <a:pt x="1104" y="1374"/>
                      </a:lnTo>
                      <a:lnTo>
                        <a:pt x="1116" y="1374"/>
                      </a:lnTo>
                      <a:lnTo>
                        <a:pt x="1140" y="1362"/>
                      </a:lnTo>
                      <a:lnTo>
                        <a:pt x="1170" y="1350"/>
                      </a:lnTo>
                      <a:lnTo>
                        <a:pt x="1206" y="1332"/>
                      </a:lnTo>
                      <a:lnTo>
                        <a:pt x="1260" y="1314"/>
                      </a:lnTo>
                      <a:lnTo>
                        <a:pt x="1278" y="1326"/>
                      </a:lnTo>
                      <a:lnTo>
                        <a:pt x="1308" y="1350"/>
                      </a:lnTo>
                      <a:lnTo>
                        <a:pt x="1344" y="1374"/>
                      </a:lnTo>
                      <a:lnTo>
                        <a:pt x="1386" y="1416"/>
                      </a:lnTo>
                      <a:lnTo>
                        <a:pt x="1386" y="1428"/>
                      </a:lnTo>
                      <a:lnTo>
                        <a:pt x="1392" y="1446"/>
                      </a:lnTo>
                      <a:lnTo>
                        <a:pt x="1398" y="1458"/>
                      </a:lnTo>
                      <a:lnTo>
                        <a:pt x="1416" y="1458"/>
                      </a:lnTo>
                      <a:lnTo>
                        <a:pt x="1422" y="1452"/>
                      </a:lnTo>
                      <a:lnTo>
                        <a:pt x="1422" y="1440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98" name="Jamaica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2001838" y="3481390"/>
                  <a:ext cx="61913" cy="20638"/>
                </a:xfrm>
                <a:custGeom>
                  <a:avLst/>
                  <a:gdLst>
                    <a:gd name="T0" fmla="*/ 2147483647 w 156"/>
                    <a:gd name="T1" fmla="*/ 2147483647 h 54"/>
                    <a:gd name="T2" fmla="*/ 2147483647 w 156"/>
                    <a:gd name="T3" fmla="*/ 2147483647 h 54"/>
                    <a:gd name="T4" fmla="*/ 2147483647 w 156"/>
                    <a:gd name="T5" fmla="*/ 2147483647 h 54"/>
                    <a:gd name="T6" fmla="*/ 2147483647 w 156"/>
                    <a:gd name="T7" fmla="*/ 2147483647 h 54"/>
                    <a:gd name="T8" fmla="*/ 2147483647 w 156"/>
                    <a:gd name="T9" fmla="*/ 2147483647 h 54"/>
                    <a:gd name="T10" fmla="*/ 2147483647 w 156"/>
                    <a:gd name="T11" fmla="*/ 2147483647 h 54"/>
                    <a:gd name="T12" fmla="*/ 2147483647 w 156"/>
                    <a:gd name="T13" fmla="*/ 2147483647 h 54"/>
                    <a:gd name="T14" fmla="*/ 2147483647 w 156"/>
                    <a:gd name="T15" fmla="*/ 2147483647 h 54"/>
                    <a:gd name="T16" fmla="*/ 2147483647 w 156"/>
                    <a:gd name="T17" fmla="*/ 0 h 54"/>
                    <a:gd name="T18" fmla="*/ 2147483647 w 156"/>
                    <a:gd name="T19" fmla="*/ 0 h 54"/>
                    <a:gd name="T20" fmla="*/ 2147483647 w 156"/>
                    <a:gd name="T21" fmla="*/ 2147483647 h 54"/>
                    <a:gd name="T22" fmla="*/ 0 w 156"/>
                    <a:gd name="T23" fmla="*/ 2147483647 h 54"/>
                    <a:gd name="T24" fmla="*/ 2147483647 w 156"/>
                    <a:gd name="T25" fmla="*/ 2147483647 h 54"/>
                    <a:gd name="T26" fmla="*/ 2147483647 w 156"/>
                    <a:gd name="T27" fmla="*/ 2147483647 h 54"/>
                    <a:gd name="T28" fmla="*/ 2147483647 w 156"/>
                    <a:gd name="T29" fmla="*/ 2147483647 h 54"/>
                    <a:gd name="T30" fmla="*/ 2147483647 w 156"/>
                    <a:gd name="T31" fmla="*/ 2147483647 h 54"/>
                    <a:gd name="T32" fmla="*/ 2147483647 w 156"/>
                    <a:gd name="T33" fmla="*/ 2147483647 h 54"/>
                    <a:gd name="T34" fmla="*/ 2147483647 w 156"/>
                    <a:gd name="T35" fmla="*/ 2147483647 h 54"/>
                    <a:gd name="T36" fmla="*/ 2147483647 w 156"/>
                    <a:gd name="T37" fmla="*/ 2147483647 h 54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56"/>
                    <a:gd name="T58" fmla="*/ 0 h 54"/>
                    <a:gd name="T59" fmla="*/ 156 w 156"/>
                    <a:gd name="T60" fmla="*/ 54 h 54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56" h="54">
                      <a:moveTo>
                        <a:pt x="108" y="54"/>
                      </a:moveTo>
                      <a:lnTo>
                        <a:pt x="114" y="36"/>
                      </a:lnTo>
                      <a:lnTo>
                        <a:pt x="156" y="48"/>
                      </a:lnTo>
                      <a:lnTo>
                        <a:pt x="156" y="42"/>
                      </a:lnTo>
                      <a:lnTo>
                        <a:pt x="150" y="36"/>
                      </a:lnTo>
                      <a:lnTo>
                        <a:pt x="144" y="24"/>
                      </a:lnTo>
                      <a:lnTo>
                        <a:pt x="126" y="6"/>
                      </a:lnTo>
                      <a:lnTo>
                        <a:pt x="84" y="6"/>
                      </a:lnTo>
                      <a:lnTo>
                        <a:pt x="66" y="0"/>
                      </a:lnTo>
                      <a:lnTo>
                        <a:pt x="24" y="0"/>
                      </a:lnTo>
                      <a:lnTo>
                        <a:pt x="12" y="6"/>
                      </a:lnTo>
                      <a:lnTo>
                        <a:pt x="0" y="6"/>
                      </a:lnTo>
                      <a:lnTo>
                        <a:pt x="6" y="18"/>
                      </a:lnTo>
                      <a:lnTo>
                        <a:pt x="18" y="24"/>
                      </a:lnTo>
                      <a:lnTo>
                        <a:pt x="24" y="36"/>
                      </a:lnTo>
                      <a:lnTo>
                        <a:pt x="36" y="42"/>
                      </a:lnTo>
                      <a:lnTo>
                        <a:pt x="60" y="42"/>
                      </a:lnTo>
                      <a:lnTo>
                        <a:pt x="78" y="48"/>
                      </a:lnTo>
                      <a:lnTo>
                        <a:pt x="108" y="54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99" name="Honduras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1679575" y="3557590"/>
                  <a:ext cx="180975" cy="100013"/>
                </a:xfrm>
                <a:custGeom>
                  <a:avLst/>
                  <a:gdLst>
                    <a:gd name="T0" fmla="*/ 2147483647 w 444"/>
                    <a:gd name="T1" fmla="*/ 2147483647 h 246"/>
                    <a:gd name="T2" fmla="*/ 2147483647 w 444"/>
                    <a:gd name="T3" fmla="*/ 2147483647 h 246"/>
                    <a:gd name="T4" fmla="*/ 2147483647 w 444"/>
                    <a:gd name="T5" fmla="*/ 2147483647 h 246"/>
                    <a:gd name="T6" fmla="*/ 2147483647 w 444"/>
                    <a:gd name="T7" fmla="*/ 2147483647 h 246"/>
                    <a:gd name="T8" fmla="*/ 2147483647 w 444"/>
                    <a:gd name="T9" fmla="*/ 2147483647 h 246"/>
                    <a:gd name="T10" fmla="*/ 2147483647 w 444"/>
                    <a:gd name="T11" fmla="*/ 2147483647 h 246"/>
                    <a:gd name="T12" fmla="*/ 2147483647 w 444"/>
                    <a:gd name="T13" fmla="*/ 2147483647 h 246"/>
                    <a:gd name="T14" fmla="*/ 2147483647 w 444"/>
                    <a:gd name="T15" fmla="*/ 2147483647 h 246"/>
                    <a:gd name="T16" fmla="*/ 2147483647 w 444"/>
                    <a:gd name="T17" fmla="*/ 2147483647 h 246"/>
                    <a:gd name="T18" fmla="*/ 2147483647 w 444"/>
                    <a:gd name="T19" fmla="*/ 2147483647 h 246"/>
                    <a:gd name="T20" fmla="*/ 2147483647 w 444"/>
                    <a:gd name="T21" fmla="*/ 2147483647 h 246"/>
                    <a:gd name="T22" fmla="*/ 2147483647 w 444"/>
                    <a:gd name="T23" fmla="*/ 2147483647 h 246"/>
                    <a:gd name="T24" fmla="*/ 2147483647 w 444"/>
                    <a:gd name="T25" fmla="*/ 2147483647 h 246"/>
                    <a:gd name="T26" fmla="*/ 2147483647 w 444"/>
                    <a:gd name="T27" fmla="*/ 2147483647 h 246"/>
                    <a:gd name="T28" fmla="*/ 2147483647 w 444"/>
                    <a:gd name="T29" fmla="*/ 2147483647 h 246"/>
                    <a:gd name="T30" fmla="*/ 2147483647 w 444"/>
                    <a:gd name="T31" fmla="*/ 2147483647 h 246"/>
                    <a:gd name="T32" fmla="*/ 2147483647 w 444"/>
                    <a:gd name="T33" fmla="*/ 2147483647 h 246"/>
                    <a:gd name="T34" fmla="*/ 2147483647 w 444"/>
                    <a:gd name="T35" fmla="*/ 2147483647 h 246"/>
                    <a:gd name="T36" fmla="*/ 2147483647 w 444"/>
                    <a:gd name="T37" fmla="*/ 2147483647 h 246"/>
                    <a:gd name="T38" fmla="*/ 2147483647 w 444"/>
                    <a:gd name="T39" fmla="*/ 0 h 246"/>
                    <a:gd name="T40" fmla="*/ 2147483647 w 444"/>
                    <a:gd name="T41" fmla="*/ 2147483647 h 246"/>
                    <a:gd name="T42" fmla="*/ 2147483647 w 444"/>
                    <a:gd name="T43" fmla="*/ 2147483647 h 246"/>
                    <a:gd name="T44" fmla="*/ 2147483647 w 444"/>
                    <a:gd name="T45" fmla="*/ 0 h 246"/>
                    <a:gd name="T46" fmla="*/ 2147483647 w 444"/>
                    <a:gd name="T47" fmla="*/ 2147483647 h 246"/>
                    <a:gd name="T48" fmla="*/ 2147483647 w 444"/>
                    <a:gd name="T49" fmla="*/ 2147483647 h 246"/>
                    <a:gd name="T50" fmla="*/ 2147483647 w 444"/>
                    <a:gd name="T51" fmla="*/ 2147483647 h 246"/>
                    <a:gd name="T52" fmla="*/ 2147483647 w 444"/>
                    <a:gd name="T53" fmla="*/ 2147483647 h 246"/>
                    <a:gd name="T54" fmla="*/ 2147483647 w 444"/>
                    <a:gd name="T55" fmla="*/ 2147483647 h 246"/>
                    <a:gd name="T56" fmla="*/ 2147483647 w 444"/>
                    <a:gd name="T57" fmla="*/ 2147483647 h 246"/>
                    <a:gd name="T58" fmla="*/ 2147483647 w 444"/>
                    <a:gd name="T59" fmla="*/ 2147483647 h 246"/>
                    <a:gd name="T60" fmla="*/ 2147483647 w 444"/>
                    <a:gd name="T61" fmla="*/ 0 h 246"/>
                    <a:gd name="T62" fmla="*/ 2147483647 w 444"/>
                    <a:gd name="T63" fmla="*/ 2147483647 h 246"/>
                    <a:gd name="T64" fmla="*/ 2147483647 w 444"/>
                    <a:gd name="T65" fmla="*/ 2147483647 h 246"/>
                    <a:gd name="T66" fmla="*/ 2147483647 w 444"/>
                    <a:gd name="T67" fmla="*/ 2147483647 h 246"/>
                    <a:gd name="T68" fmla="*/ 2147483647 w 444"/>
                    <a:gd name="T69" fmla="*/ 2147483647 h 246"/>
                    <a:gd name="T70" fmla="*/ 2147483647 w 444"/>
                    <a:gd name="T71" fmla="*/ 2147483647 h 246"/>
                    <a:gd name="T72" fmla="*/ 0 w 444"/>
                    <a:gd name="T73" fmla="*/ 2147483647 h 246"/>
                    <a:gd name="T74" fmla="*/ 2147483647 w 444"/>
                    <a:gd name="T75" fmla="*/ 2147483647 h 246"/>
                    <a:gd name="T76" fmla="*/ 2147483647 w 444"/>
                    <a:gd name="T77" fmla="*/ 2147483647 h 246"/>
                    <a:gd name="T78" fmla="*/ 2147483647 w 444"/>
                    <a:gd name="T79" fmla="*/ 2147483647 h 246"/>
                    <a:gd name="T80" fmla="*/ 2147483647 w 444"/>
                    <a:gd name="T81" fmla="*/ 2147483647 h 246"/>
                    <a:gd name="T82" fmla="*/ 2147483647 w 444"/>
                    <a:gd name="T83" fmla="*/ 2147483647 h 246"/>
                    <a:gd name="T84" fmla="*/ 2147483647 w 444"/>
                    <a:gd name="T85" fmla="*/ 2147483647 h 246"/>
                    <a:gd name="T86" fmla="*/ 2147483647 w 444"/>
                    <a:gd name="T87" fmla="*/ 2147483647 h 24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444"/>
                    <a:gd name="T133" fmla="*/ 0 h 246"/>
                    <a:gd name="T134" fmla="*/ 444 w 444"/>
                    <a:gd name="T135" fmla="*/ 246 h 24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444" h="246">
                      <a:moveTo>
                        <a:pt x="156" y="240"/>
                      </a:moveTo>
                      <a:lnTo>
                        <a:pt x="156" y="222"/>
                      </a:lnTo>
                      <a:lnTo>
                        <a:pt x="174" y="222"/>
                      </a:lnTo>
                      <a:lnTo>
                        <a:pt x="168" y="216"/>
                      </a:lnTo>
                      <a:lnTo>
                        <a:pt x="168" y="204"/>
                      </a:lnTo>
                      <a:lnTo>
                        <a:pt x="162" y="198"/>
                      </a:lnTo>
                      <a:lnTo>
                        <a:pt x="162" y="186"/>
                      </a:lnTo>
                      <a:lnTo>
                        <a:pt x="168" y="180"/>
                      </a:lnTo>
                      <a:lnTo>
                        <a:pt x="204" y="180"/>
                      </a:lnTo>
                      <a:lnTo>
                        <a:pt x="210" y="168"/>
                      </a:lnTo>
                      <a:lnTo>
                        <a:pt x="216" y="162"/>
                      </a:lnTo>
                      <a:lnTo>
                        <a:pt x="228" y="162"/>
                      </a:lnTo>
                      <a:lnTo>
                        <a:pt x="228" y="168"/>
                      </a:lnTo>
                      <a:lnTo>
                        <a:pt x="234" y="174"/>
                      </a:lnTo>
                      <a:lnTo>
                        <a:pt x="252" y="174"/>
                      </a:lnTo>
                      <a:lnTo>
                        <a:pt x="276" y="150"/>
                      </a:lnTo>
                      <a:lnTo>
                        <a:pt x="288" y="126"/>
                      </a:lnTo>
                      <a:lnTo>
                        <a:pt x="306" y="126"/>
                      </a:lnTo>
                      <a:lnTo>
                        <a:pt x="306" y="108"/>
                      </a:lnTo>
                      <a:lnTo>
                        <a:pt x="318" y="96"/>
                      </a:lnTo>
                      <a:lnTo>
                        <a:pt x="330" y="96"/>
                      </a:lnTo>
                      <a:lnTo>
                        <a:pt x="348" y="114"/>
                      </a:lnTo>
                      <a:lnTo>
                        <a:pt x="360" y="114"/>
                      </a:lnTo>
                      <a:lnTo>
                        <a:pt x="372" y="102"/>
                      </a:lnTo>
                      <a:lnTo>
                        <a:pt x="372" y="96"/>
                      </a:lnTo>
                      <a:lnTo>
                        <a:pt x="420" y="96"/>
                      </a:lnTo>
                      <a:lnTo>
                        <a:pt x="426" y="90"/>
                      </a:lnTo>
                      <a:lnTo>
                        <a:pt x="432" y="90"/>
                      </a:lnTo>
                      <a:lnTo>
                        <a:pt x="444" y="84"/>
                      </a:lnTo>
                      <a:lnTo>
                        <a:pt x="444" y="78"/>
                      </a:lnTo>
                      <a:lnTo>
                        <a:pt x="426" y="60"/>
                      </a:lnTo>
                      <a:lnTo>
                        <a:pt x="402" y="48"/>
                      </a:lnTo>
                      <a:lnTo>
                        <a:pt x="396" y="48"/>
                      </a:lnTo>
                      <a:lnTo>
                        <a:pt x="390" y="42"/>
                      </a:lnTo>
                      <a:lnTo>
                        <a:pt x="384" y="30"/>
                      </a:lnTo>
                      <a:lnTo>
                        <a:pt x="372" y="24"/>
                      </a:lnTo>
                      <a:lnTo>
                        <a:pt x="366" y="18"/>
                      </a:lnTo>
                      <a:lnTo>
                        <a:pt x="348" y="18"/>
                      </a:lnTo>
                      <a:lnTo>
                        <a:pt x="342" y="6"/>
                      </a:lnTo>
                      <a:lnTo>
                        <a:pt x="336" y="0"/>
                      </a:lnTo>
                      <a:lnTo>
                        <a:pt x="312" y="0"/>
                      </a:lnTo>
                      <a:lnTo>
                        <a:pt x="300" y="6"/>
                      </a:lnTo>
                      <a:lnTo>
                        <a:pt x="294" y="12"/>
                      </a:lnTo>
                      <a:lnTo>
                        <a:pt x="282" y="12"/>
                      </a:lnTo>
                      <a:lnTo>
                        <a:pt x="270" y="0"/>
                      </a:lnTo>
                      <a:lnTo>
                        <a:pt x="252" y="0"/>
                      </a:lnTo>
                      <a:lnTo>
                        <a:pt x="240" y="6"/>
                      </a:lnTo>
                      <a:lnTo>
                        <a:pt x="234" y="18"/>
                      </a:lnTo>
                      <a:lnTo>
                        <a:pt x="222" y="24"/>
                      </a:lnTo>
                      <a:lnTo>
                        <a:pt x="186" y="24"/>
                      </a:lnTo>
                      <a:lnTo>
                        <a:pt x="174" y="18"/>
                      </a:lnTo>
                      <a:lnTo>
                        <a:pt x="168" y="12"/>
                      </a:lnTo>
                      <a:lnTo>
                        <a:pt x="156" y="12"/>
                      </a:lnTo>
                      <a:lnTo>
                        <a:pt x="150" y="18"/>
                      </a:lnTo>
                      <a:lnTo>
                        <a:pt x="144" y="18"/>
                      </a:lnTo>
                      <a:lnTo>
                        <a:pt x="138" y="24"/>
                      </a:lnTo>
                      <a:lnTo>
                        <a:pt x="132" y="24"/>
                      </a:lnTo>
                      <a:lnTo>
                        <a:pt x="132" y="18"/>
                      </a:lnTo>
                      <a:lnTo>
                        <a:pt x="126" y="12"/>
                      </a:lnTo>
                      <a:lnTo>
                        <a:pt x="126" y="6"/>
                      </a:lnTo>
                      <a:lnTo>
                        <a:pt x="120" y="0"/>
                      </a:lnTo>
                      <a:lnTo>
                        <a:pt x="114" y="0"/>
                      </a:lnTo>
                      <a:lnTo>
                        <a:pt x="96" y="18"/>
                      </a:lnTo>
                      <a:lnTo>
                        <a:pt x="90" y="18"/>
                      </a:lnTo>
                      <a:lnTo>
                        <a:pt x="84" y="30"/>
                      </a:lnTo>
                      <a:lnTo>
                        <a:pt x="72" y="36"/>
                      </a:lnTo>
                      <a:lnTo>
                        <a:pt x="60" y="48"/>
                      </a:lnTo>
                      <a:lnTo>
                        <a:pt x="48" y="54"/>
                      </a:lnTo>
                      <a:lnTo>
                        <a:pt x="36" y="66"/>
                      </a:lnTo>
                      <a:lnTo>
                        <a:pt x="24" y="72"/>
                      </a:lnTo>
                      <a:lnTo>
                        <a:pt x="18" y="84"/>
                      </a:lnTo>
                      <a:lnTo>
                        <a:pt x="18" y="102"/>
                      </a:lnTo>
                      <a:lnTo>
                        <a:pt x="12" y="114"/>
                      </a:lnTo>
                      <a:lnTo>
                        <a:pt x="0" y="126"/>
                      </a:lnTo>
                      <a:lnTo>
                        <a:pt x="6" y="138"/>
                      </a:lnTo>
                      <a:lnTo>
                        <a:pt x="18" y="150"/>
                      </a:lnTo>
                      <a:lnTo>
                        <a:pt x="42" y="150"/>
                      </a:lnTo>
                      <a:lnTo>
                        <a:pt x="42" y="168"/>
                      </a:lnTo>
                      <a:lnTo>
                        <a:pt x="48" y="174"/>
                      </a:lnTo>
                      <a:lnTo>
                        <a:pt x="60" y="174"/>
                      </a:lnTo>
                      <a:lnTo>
                        <a:pt x="66" y="168"/>
                      </a:lnTo>
                      <a:lnTo>
                        <a:pt x="102" y="168"/>
                      </a:lnTo>
                      <a:lnTo>
                        <a:pt x="102" y="210"/>
                      </a:lnTo>
                      <a:lnTo>
                        <a:pt x="126" y="222"/>
                      </a:lnTo>
                      <a:lnTo>
                        <a:pt x="132" y="228"/>
                      </a:lnTo>
                      <a:lnTo>
                        <a:pt x="132" y="246"/>
                      </a:lnTo>
                      <a:lnTo>
                        <a:pt x="144" y="246"/>
                      </a:lnTo>
                      <a:lnTo>
                        <a:pt x="156" y="240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300" name="Haiti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2120901" y="3432178"/>
                  <a:ext cx="79375" cy="63500"/>
                </a:xfrm>
                <a:custGeom>
                  <a:avLst/>
                  <a:gdLst>
                    <a:gd name="T0" fmla="*/ 2147483647 w 198"/>
                    <a:gd name="T1" fmla="*/ 2147483647 h 156"/>
                    <a:gd name="T2" fmla="*/ 2147483647 w 198"/>
                    <a:gd name="T3" fmla="*/ 2147483647 h 156"/>
                    <a:gd name="T4" fmla="*/ 2147483647 w 198"/>
                    <a:gd name="T5" fmla="*/ 2147483647 h 156"/>
                    <a:gd name="T6" fmla="*/ 2147483647 w 198"/>
                    <a:gd name="T7" fmla="*/ 2147483647 h 156"/>
                    <a:gd name="T8" fmla="*/ 2147483647 w 198"/>
                    <a:gd name="T9" fmla="*/ 2147483647 h 156"/>
                    <a:gd name="T10" fmla="*/ 2147483647 w 198"/>
                    <a:gd name="T11" fmla="*/ 2147483647 h 156"/>
                    <a:gd name="T12" fmla="*/ 2147483647 w 198"/>
                    <a:gd name="T13" fmla="*/ 2147483647 h 156"/>
                    <a:gd name="T14" fmla="*/ 2147483647 w 198"/>
                    <a:gd name="T15" fmla="*/ 2147483647 h 156"/>
                    <a:gd name="T16" fmla="*/ 2147483647 w 198"/>
                    <a:gd name="T17" fmla="*/ 2147483647 h 156"/>
                    <a:gd name="T18" fmla="*/ 2147483647 w 198"/>
                    <a:gd name="T19" fmla="*/ 2147483647 h 156"/>
                    <a:gd name="T20" fmla="*/ 2147483647 w 198"/>
                    <a:gd name="T21" fmla="*/ 2147483647 h 156"/>
                    <a:gd name="T22" fmla="*/ 2147483647 w 198"/>
                    <a:gd name="T23" fmla="*/ 2147483647 h 156"/>
                    <a:gd name="T24" fmla="*/ 2147483647 w 198"/>
                    <a:gd name="T25" fmla="*/ 2147483647 h 156"/>
                    <a:gd name="T26" fmla="*/ 2147483647 w 198"/>
                    <a:gd name="T27" fmla="*/ 2147483647 h 156"/>
                    <a:gd name="T28" fmla="*/ 2147483647 w 198"/>
                    <a:gd name="T29" fmla="*/ 2147483647 h 156"/>
                    <a:gd name="T30" fmla="*/ 2147483647 w 198"/>
                    <a:gd name="T31" fmla="*/ 2147483647 h 156"/>
                    <a:gd name="T32" fmla="*/ 2147483647 w 198"/>
                    <a:gd name="T33" fmla="*/ 2147483647 h 156"/>
                    <a:gd name="T34" fmla="*/ 2147483647 w 198"/>
                    <a:gd name="T35" fmla="*/ 0 h 156"/>
                    <a:gd name="T36" fmla="*/ 2147483647 w 198"/>
                    <a:gd name="T37" fmla="*/ 0 h 156"/>
                    <a:gd name="T38" fmla="*/ 2147483647 w 198"/>
                    <a:gd name="T39" fmla="*/ 2147483647 h 156"/>
                    <a:gd name="T40" fmla="*/ 2147483647 w 198"/>
                    <a:gd name="T41" fmla="*/ 2147483647 h 156"/>
                    <a:gd name="T42" fmla="*/ 2147483647 w 198"/>
                    <a:gd name="T43" fmla="*/ 2147483647 h 156"/>
                    <a:gd name="T44" fmla="*/ 2147483647 w 198"/>
                    <a:gd name="T45" fmla="*/ 2147483647 h 156"/>
                    <a:gd name="T46" fmla="*/ 2147483647 w 198"/>
                    <a:gd name="T47" fmla="*/ 2147483647 h 156"/>
                    <a:gd name="T48" fmla="*/ 2147483647 w 198"/>
                    <a:gd name="T49" fmla="*/ 2147483647 h 156"/>
                    <a:gd name="T50" fmla="*/ 2147483647 w 198"/>
                    <a:gd name="T51" fmla="*/ 2147483647 h 156"/>
                    <a:gd name="T52" fmla="*/ 2147483647 w 198"/>
                    <a:gd name="T53" fmla="*/ 2147483647 h 156"/>
                    <a:gd name="T54" fmla="*/ 2147483647 w 198"/>
                    <a:gd name="T55" fmla="*/ 2147483647 h 156"/>
                    <a:gd name="T56" fmla="*/ 2147483647 w 198"/>
                    <a:gd name="T57" fmla="*/ 2147483647 h 156"/>
                    <a:gd name="T58" fmla="*/ 2147483647 w 198"/>
                    <a:gd name="T59" fmla="*/ 2147483647 h 156"/>
                    <a:gd name="T60" fmla="*/ 2147483647 w 198"/>
                    <a:gd name="T61" fmla="*/ 2147483647 h 156"/>
                    <a:gd name="T62" fmla="*/ 2147483647 w 198"/>
                    <a:gd name="T63" fmla="*/ 2147483647 h 156"/>
                    <a:gd name="T64" fmla="*/ 2147483647 w 198"/>
                    <a:gd name="T65" fmla="*/ 2147483647 h 156"/>
                    <a:gd name="T66" fmla="*/ 2147483647 w 198"/>
                    <a:gd name="T67" fmla="*/ 2147483647 h 156"/>
                    <a:gd name="T68" fmla="*/ 2147483647 w 198"/>
                    <a:gd name="T69" fmla="*/ 2147483647 h 156"/>
                    <a:gd name="T70" fmla="*/ 2147483647 w 198"/>
                    <a:gd name="T71" fmla="*/ 2147483647 h 156"/>
                    <a:gd name="T72" fmla="*/ 2147483647 w 198"/>
                    <a:gd name="T73" fmla="*/ 2147483647 h 156"/>
                    <a:gd name="T74" fmla="*/ 2147483647 w 198"/>
                    <a:gd name="T75" fmla="*/ 2147483647 h 156"/>
                    <a:gd name="T76" fmla="*/ 2147483647 w 198"/>
                    <a:gd name="T77" fmla="*/ 2147483647 h 156"/>
                    <a:gd name="T78" fmla="*/ 2147483647 w 198"/>
                    <a:gd name="T79" fmla="*/ 2147483647 h 156"/>
                    <a:gd name="T80" fmla="*/ 2147483647 w 198"/>
                    <a:gd name="T81" fmla="*/ 2147483647 h 156"/>
                    <a:gd name="T82" fmla="*/ 0 w 198"/>
                    <a:gd name="T83" fmla="*/ 2147483647 h 156"/>
                    <a:gd name="T84" fmla="*/ 0 w 198"/>
                    <a:gd name="T85" fmla="*/ 2147483647 h 156"/>
                    <a:gd name="T86" fmla="*/ 2147483647 w 198"/>
                    <a:gd name="T87" fmla="*/ 2147483647 h 156"/>
                    <a:gd name="T88" fmla="*/ 2147483647 w 198"/>
                    <a:gd name="T89" fmla="*/ 2147483647 h 156"/>
                    <a:gd name="T90" fmla="*/ 2147483647 w 198"/>
                    <a:gd name="T91" fmla="*/ 2147483647 h 156"/>
                    <a:gd name="T92" fmla="*/ 2147483647 w 198"/>
                    <a:gd name="T93" fmla="*/ 2147483647 h 156"/>
                    <a:gd name="T94" fmla="*/ 2147483647 w 198"/>
                    <a:gd name="T95" fmla="*/ 2147483647 h 156"/>
                    <a:gd name="T96" fmla="*/ 2147483647 w 198"/>
                    <a:gd name="T97" fmla="*/ 2147483647 h 156"/>
                    <a:gd name="T98" fmla="*/ 2147483647 w 198"/>
                    <a:gd name="T99" fmla="*/ 2147483647 h 156"/>
                    <a:gd name="T100" fmla="*/ 2147483647 w 198"/>
                    <a:gd name="T101" fmla="*/ 2147483647 h 156"/>
                    <a:gd name="T102" fmla="*/ 2147483647 w 198"/>
                    <a:gd name="T103" fmla="*/ 2147483647 h 156"/>
                    <a:gd name="T104" fmla="*/ 2147483647 w 198"/>
                    <a:gd name="T105" fmla="*/ 2147483647 h 156"/>
                    <a:gd name="T106" fmla="*/ 2147483647 w 198"/>
                    <a:gd name="T107" fmla="*/ 2147483647 h 156"/>
                    <a:gd name="T108" fmla="*/ 2147483647 w 198"/>
                    <a:gd name="T109" fmla="*/ 2147483647 h 156"/>
                    <a:gd name="T110" fmla="*/ 2147483647 w 198"/>
                    <a:gd name="T111" fmla="*/ 2147483647 h 156"/>
                    <a:gd name="T112" fmla="*/ 2147483647 w 198"/>
                    <a:gd name="T113" fmla="*/ 2147483647 h 15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98"/>
                    <a:gd name="T172" fmla="*/ 0 h 156"/>
                    <a:gd name="T173" fmla="*/ 198 w 198"/>
                    <a:gd name="T174" fmla="*/ 156 h 156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98" h="156">
                      <a:moveTo>
                        <a:pt x="168" y="114"/>
                      </a:moveTo>
                      <a:lnTo>
                        <a:pt x="168" y="108"/>
                      </a:lnTo>
                      <a:lnTo>
                        <a:pt x="174" y="102"/>
                      </a:lnTo>
                      <a:lnTo>
                        <a:pt x="180" y="90"/>
                      </a:lnTo>
                      <a:lnTo>
                        <a:pt x="180" y="78"/>
                      </a:lnTo>
                      <a:lnTo>
                        <a:pt x="186" y="72"/>
                      </a:lnTo>
                      <a:lnTo>
                        <a:pt x="192" y="60"/>
                      </a:lnTo>
                      <a:lnTo>
                        <a:pt x="198" y="54"/>
                      </a:lnTo>
                      <a:lnTo>
                        <a:pt x="198" y="42"/>
                      </a:lnTo>
                      <a:lnTo>
                        <a:pt x="186" y="6"/>
                      </a:lnTo>
                      <a:lnTo>
                        <a:pt x="180" y="12"/>
                      </a:lnTo>
                      <a:lnTo>
                        <a:pt x="180" y="18"/>
                      </a:lnTo>
                      <a:lnTo>
                        <a:pt x="174" y="18"/>
                      </a:lnTo>
                      <a:lnTo>
                        <a:pt x="168" y="12"/>
                      </a:lnTo>
                      <a:lnTo>
                        <a:pt x="156" y="12"/>
                      </a:lnTo>
                      <a:lnTo>
                        <a:pt x="144" y="6"/>
                      </a:lnTo>
                      <a:lnTo>
                        <a:pt x="126" y="6"/>
                      </a:lnTo>
                      <a:lnTo>
                        <a:pt x="114" y="0"/>
                      </a:lnTo>
                      <a:lnTo>
                        <a:pt x="84" y="0"/>
                      </a:lnTo>
                      <a:lnTo>
                        <a:pt x="72" y="6"/>
                      </a:lnTo>
                      <a:lnTo>
                        <a:pt x="66" y="12"/>
                      </a:lnTo>
                      <a:lnTo>
                        <a:pt x="66" y="18"/>
                      </a:lnTo>
                      <a:lnTo>
                        <a:pt x="72" y="24"/>
                      </a:lnTo>
                      <a:lnTo>
                        <a:pt x="108" y="24"/>
                      </a:lnTo>
                      <a:lnTo>
                        <a:pt x="114" y="30"/>
                      </a:lnTo>
                      <a:lnTo>
                        <a:pt x="120" y="42"/>
                      </a:lnTo>
                      <a:lnTo>
                        <a:pt x="126" y="48"/>
                      </a:lnTo>
                      <a:lnTo>
                        <a:pt x="114" y="54"/>
                      </a:lnTo>
                      <a:lnTo>
                        <a:pt x="108" y="60"/>
                      </a:lnTo>
                      <a:lnTo>
                        <a:pt x="108" y="72"/>
                      </a:lnTo>
                      <a:lnTo>
                        <a:pt x="114" y="84"/>
                      </a:lnTo>
                      <a:lnTo>
                        <a:pt x="114" y="96"/>
                      </a:lnTo>
                      <a:lnTo>
                        <a:pt x="120" y="102"/>
                      </a:lnTo>
                      <a:lnTo>
                        <a:pt x="114" y="108"/>
                      </a:lnTo>
                      <a:lnTo>
                        <a:pt x="96" y="108"/>
                      </a:lnTo>
                      <a:lnTo>
                        <a:pt x="78" y="102"/>
                      </a:lnTo>
                      <a:lnTo>
                        <a:pt x="66" y="102"/>
                      </a:lnTo>
                      <a:lnTo>
                        <a:pt x="54" y="96"/>
                      </a:lnTo>
                      <a:lnTo>
                        <a:pt x="36" y="96"/>
                      </a:lnTo>
                      <a:lnTo>
                        <a:pt x="24" y="102"/>
                      </a:lnTo>
                      <a:lnTo>
                        <a:pt x="6" y="102"/>
                      </a:lnTo>
                      <a:lnTo>
                        <a:pt x="0" y="108"/>
                      </a:lnTo>
                      <a:lnTo>
                        <a:pt x="0" y="114"/>
                      </a:lnTo>
                      <a:lnTo>
                        <a:pt x="6" y="120"/>
                      </a:lnTo>
                      <a:lnTo>
                        <a:pt x="12" y="132"/>
                      </a:lnTo>
                      <a:lnTo>
                        <a:pt x="24" y="138"/>
                      </a:lnTo>
                      <a:lnTo>
                        <a:pt x="30" y="150"/>
                      </a:lnTo>
                      <a:lnTo>
                        <a:pt x="36" y="156"/>
                      </a:lnTo>
                      <a:lnTo>
                        <a:pt x="42" y="156"/>
                      </a:lnTo>
                      <a:lnTo>
                        <a:pt x="48" y="150"/>
                      </a:lnTo>
                      <a:lnTo>
                        <a:pt x="54" y="138"/>
                      </a:lnTo>
                      <a:lnTo>
                        <a:pt x="60" y="132"/>
                      </a:lnTo>
                      <a:lnTo>
                        <a:pt x="138" y="132"/>
                      </a:lnTo>
                      <a:lnTo>
                        <a:pt x="156" y="126"/>
                      </a:lnTo>
                      <a:lnTo>
                        <a:pt x="168" y="126"/>
                      </a:lnTo>
                      <a:lnTo>
                        <a:pt x="180" y="144"/>
                      </a:lnTo>
                      <a:lnTo>
                        <a:pt x="168" y="114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301" name="Guyane (French Guiana)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2649539" y="3890966"/>
                  <a:ext cx="82550" cy="119062"/>
                </a:xfrm>
                <a:custGeom>
                  <a:avLst/>
                  <a:gdLst>
                    <a:gd name="T0" fmla="*/ 2147483647 w 52"/>
                    <a:gd name="T1" fmla="*/ 2147483647 h 76"/>
                    <a:gd name="T2" fmla="*/ 2147483647 w 52"/>
                    <a:gd name="T3" fmla="*/ 2147483647 h 76"/>
                    <a:gd name="T4" fmla="*/ 2147483647 w 52"/>
                    <a:gd name="T5" fmla="*/ 2147483647 h 76"/>
                    <a:gd name="T6" fmla="*/ 2147483647 w 52"/>
                    <a:gd name="T7" fmla="*/ 2147483647 h 76"/>
                    <a:gd name="T8" fmla="*/ 2147483647 w 52"/>
                    <a:gd name="T9" fmla="*/ 2147483647 h 76"/>
                    <a:gd name="T10" fmla="*/ 2147483647 w 52"/>
                    <a:gd name="T11" fmla="*/ 2147483647 h 76"/>
                    <a:gd name="T12" fmla="*/ 2147483647 w 52"/>
                    <a:gd name="T13" fmla="*/ 2147483647 h 76"/>
                    <a:gd name="T14" fmla="*/ 2147483647 w 52"/>
                    <a:gd name="T15" fmla="*/ 2147483647 h 76"/>
                    <a:gd name="T16" fmla="*/ 2147483647 w 52"/>
                    <a:gd name="T17" fmla="*/ 2147483647 h 76"/>
                    <a:gd name="T18" fmla="*/ 2147483647 w 52"/>
                    <a:gd name="T19" fmla="*/ 2147483647 h 76"/>
                    <a:gd name="T20" fmla="*/ 2147483647 w 52"/>
                    <a:gd name="T21" fmla="*/ 2147483647 h 76"/>
                    <a:gd name="T22" fmla="*/ 2147483647 w 52"/>
                    <a:gd name="T23" fmla="*/ 0 h 76"/>
                    <a:gd name="T24" fmla="*/ 2147483647 w 52"/>
                    <a:gd name="T25" fmla="*/ 2147483647 h 76"/>
                    <a:gd name="T26" fmla="*/ 2147483647 w 52"/>
                    <a:gd name="T27" fmla="*/ 2147483647 h 76"/>
                    <a:gd name="T28" fmla="*/ 2147483647 w 52"/>
                    <a:gd name="T29" fmla="*/ 2147483647 h 76"/>
                    <a:gd name="T30" fmla="*/ 2147483647 w 52"/>
                    <a:gd name="T31" fmla="*/ 2147483647 h 76"/>
                    <a:gd name="T32" fmla="*/ 2147483647 w 52"/>
                    <a:gd name="T33" fmla="*/ 2147483647 h 76"/>
                    <a:gd name="T34" fmla="*/ 2147483647 w 52"/>
                    <a:gd name="T35" fmla="*/ 2147483647 h 76"/>
                    <a:gd name="T36" fmla="*/ 2147483647 w 52"/>
                    <a:gd name="T37" fmla="*/ 2147483647 h 76"/>
                    <a:gd name="T38" fmla="*/ 2147483647 w 52"/>
                    <a:gd name="T39" fmla="*/ 2147483647 h 76"/>
                    <a:gd name="T40" fmla="*/ 2147483647 w 52"/>
                    <a:gd name="T41" fmla="*/ 2147483647 h 76"/>
                    <a:gd name="T42" fmla="*/ 2147483647 w 52"/>
                    <a:gd name="T43" fmla="*/ 2147483647 h 76"/>
                    <a:gd name="T44" fmla="*/ 2147483647 w 52"/>
                    <a:gd name="T45" fmla="*/ 2147483647 h 76"/>
                    <a:gd name="T46" fmla="*/ 2147483647 w 52"/>
                    <a:gd name="T47" fmla="*/ 2147483647 h 76"/>
                    <a:gd name="T48" fmla="*/ 2147483647 w 52"/>
                    <a:gd name="T49" fmla="*/ 2147483647 h 76"/>
                    <a:gd name="T50" fmla="*/ 2147483647 w 52"/>
                    <a:gd name="T51" fmla="*/ 2147483647 h 76"/>
                    <a:gd name="T52" fmla="*/ 2147483647 w 52"/>
                    <a:gd name="T53" fmla="*/ 2147483647 h 76"/>
                    <a:gd name="T54" fmla="*/ 2147483647 w 52"/>
                    <a:gd name="T55" fmla="*/ 2147483647 h 76"/>
                    <a:gd name="T56" fmla="*/ 2147483647 w 52"/>
                    <a:gd name="T57" fmla="*/ 2147483647 h 76"/>
                    <a:gd name="T58" fmla="*/ 2147483647 w 52"/>
                    <a:gd name="T59" fmla="*/ 2147483647 h 76"/>
                    <a:gd name="T60" fmla="*/ 2147483647 w 52"/>
                    <a:gd name="T61" fmla="*/ 2147483647 h 76"/>
                    <a:gd name="T62" fmla="*/ 2147483647 w 52"/>
                    <a:gd name="T63" fmla="*/ 2147483647 h 76"/>
                    <a:gd name="T64" fmla="*/ 0 w 52"/>
                    <a:gd name="T65" fmla="*/ 2147483647 h 76"/>
                    <a:gd name="T66" fmla="*/ 0 w 52"/>
                    <a:gd name="T67" fmla="*/ 2147483647 h 76"/>
                    <a:gd name="T68" fmla="*/ 2147483647 w 52"/>
                    <a:gd name="T69" fmla="*/ 2147483647 h 76"/>
                    <a:gd name="T70" fmla="*/ 2147483647 w 52"/>
                    <a:gd name="T71" fmla="*/ 2147483647 h 76"/>
                    <a:gd name="T72" fmla="*/ 2147483647 w 52"/>
                    <a:gd name="T73" fmla="*/ 2147483647 h 76"/>
                    <a:gd name="T74" fmla="*/ 2147483647 w 52"/>
                    <a:gd name="T75" fmla="*/ 2147483647 h 76"/>
                    <a:gd name="T76" fmla="*/ 2147483647 w 52"/>
                    <a:gd name="T77" fmla="*/ 2147483647 h 76"/>
                    <a:gd name="T78" fmla="*/ 2147483647 w 52"/>
                    <a:gd name="T79" fmla="*/ 2147483647 h 76"/>
                    <a:gd name="T80" fmla="*/ 2147483647 w 52"/>
                    <a:gd name="T81" fmla="*/ 2147483647 h 76"/>
                    <a:gd name="T82" fmla="*/ 2147483647 w 52"/>
                    <a:gd name="T83" fmla="*/ 2147483647 h 76"/>
                    <a:gd name="T84" fmla="*/ 2147483647 w 52"/>
                    <a:gd name="T85" fmla="*/ 2147483647 h 76"/>
                    <a:gd name="T86" fmla="*/ 2147483647 w 52"/>
                    <a:gd name="T87" fmla="*/ 2147483647 h 76"/>
                    <a:gd name="T88" fmla="*/ 2147483647 w 52"/>
                    <a:gd name="T89" fmla="*/ 2147483647 h 76"/>
                    <a:gd name="T90" fmla="*/ 2147483647 w 52"/>
                    <a:gd name="T91" fmla="*/ 2147483647 h 76"/>
                    <a:gd name="T92" fmla="*/ 2147483647 w 52"/>
                    <a:gd name="T93" fmla="*/ 2147483647 h 76"/>
                    <a:gd name="T94" fmla="*/ 2147483647 w 52"/>
                    <a:gd name="T95" fmla="*/ 2147483647 h 76"/>
                    <a:gd name="T96" fmla="*/ 2147483647 w 52"/>
                    <a:gd name="T97" fmla="*/ 2147483647 h 76"/>
                    <a:gd name="T98" fmla="*/ 2147483647 w 52"/>
                    <a:gd name="T99" fmla="*/ 2147483647 h 76"/>
                    <a:gd name="T100" fmla="*/ 2147483647 w 52"/>
                    <a:gd name="T101" fmla="*/ 2147483647 h 76"/>
                    <a:gd name="T102" fmla="*/ 2147483647 w 52"/>
                    <a:gd name="T103" fmla="*/ 2147483647 h 76"/>
                    <a:gd name="T104" fmla="*/ 2147483647 w 52"/>
                    <a:gd name="T105" fmla="*/ 2147483647 h 76"/>
                    <a:gd name="T106" fmla="*/ 2147483647 w 52"/>
                    <a:gd name="T107" fmla="*/ 2147483647 h 76"/>
                    <a:gd name="T108" fmla="*/ 2147483647 w 52"/>
                    <a:gd name="T109" fmla="*/ 2147483647 h 76"/>
                    <a:gd name="T110" fmla="*/ 2147483647 w 52"/>
                    <a:gd name="T111" fmla="*/ 2147483647 h 76"/>
                    <a:gd name="T112" fmla="*/ 2147483647 w 52"/>
                    <a:gd name="T113" fmla="*/ 2147483647 h 76"/>
                    <a:gd name="T114" fmla="*/ 2147483647 w 52"/>
                    <a:gd name="T115" fmla="*/ 2147483647 h 7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52"/>
                    <a:gd name="T175" fmla="*/ 0 h 76"/>
                    <a:gd name="T176" fmla="*/ 52 w 52"/>
                    <a:gd name="T177" fmla="*/ 76 h 76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52" h="76">
                      <a:moveTo>
                        <a:pt x="52" y="32"/>
                      </a:moveTo>
                      <a:lnTo>
                        <a:pt x="50" y="26"/>
                      </a:lnTo>
                      <a:lnTo>
                        <a:pt x="48" y="24"/>
                      </a:lnTo>
                      <a:lnTo>
                        <a:pt x="46" y="22"/>
                      </a:lnTo>
                      <a:lnTo>
                        <a:pt x="46" y="20"/>
                      </a:lnTo>
                      <a:lnTo>
                        <a:pt x="40" y="20"/>
                      </a:lnTo>
                      <a:lnTo>
                        <a:pt x="32" y="6"/>
                      </a:lnTo>
                      <a:lnTo>
                        <a:pt x="24" y="6"/>
                      </a:lnTo>
                      <a:lnTo>
                        <a:pt x="22" y="4"/>
                      </a:lnTo>
                      <a:lnTo>
                        <a:pt x="20" y="4"/>
                      </a:lnTo>
                      <a:lnTo>
                        <a:pt x="16" y="2"/>
                      </a:lnTo>
                      <a:lnTo>
                        <a:pt x="14" y="0"/>
                      </a:lnTo>
                      <a:lnTo>
                        <a:pt x="12" y="4"/>
                      </a:lnTo>
                      <a:lnTo>
                        <a:pt x="12" y="10"/>
                      </a:lnTo>
                      <a:lnTo>
                        <a:pt x="10" y="10"/>
                      </a:lnTo>
                      <a:lnTo>
                        <a:pt x="8" y="12"/>
                      </a:lnTo>
                      <a:lnTo>
                        <a:pt x="6" y="14"/>
                      </a:lnTo>
                      <a:lnTo>
                        <a:pt x="4" y="16"/>
                      </a:lnTo>
                      <a:lnTo>
                        <a:pt x="2" y="20"/>
                      </a:lnTo>
                      <a:lnTo>
                        <a:pt x="2" y="28"/>
                      </a:lnTo>
                      <a:lnTo>
                        <a:pt x="4" y="32"/>
                      </a:lnTo>
                      <a:lnTo>
                        <a:pt x="4" y="36"/>
                      </a:lnTo>
                      <a:lnTo>
                        <a:pt x="6" y="40"/>
                      </a:lnTo>
                      <a:lnTo>
                        <a:pt x="10" y="44"/>
                      </a:lnTo>
                      <a:lnTo>
                        <a:pt x="12" y="46"/>
                      </a:lnTo>
                      <a:lnTo>
                        <a:pt x="12" y="48"/>
                      </a:lnTo>
                      <a:lnTo>
                        <a:pt x="6" y="54"/>
                      </a:lnTo>
                      <a:lnTo>
                        <a:pt x="8" y="62"/>
                      </a:lnTo>
                      <a:lnTo>
                        <a:pt x="6" y="64"/>
                      </a:lnTo>
                      <a:lnTo>
                        <a:pt x="4" y="64"/>
                      </a:lnTo>
                      <a:lnTo>
                        <a:pt x="4" y="66"/>
                      </a:lnTo>
                      <a:lnTo>
                        <a:pt x="2" y="68"/>
                      </a:lnTo>
                      <a:lnTo>
                        <a:pt x="0" y="72"/>
                      </a:lnTo>
                      <a:lnTo>
                        <a:pt x="4" y="76"/>
                      </a:lnTo>
                      <a:lnTo>
                        <a:pt x="10" y="76"/>
                      </a:lnTo>
                      <a:lnTo>
                        <a:pt x="12" y="74"/>
                      </a:lnTo>
                      <a:lnTo>
                        <a:pt x="12" y="72"/>
                      </a:lnTo>
                      <a:lnTo>
                        <a:pt x="14" y="72"/>
                      </a:lnTo>
                      <a:lnTo>
                        <a:pt x="16" y="72"/>
                      </a:lnTo>
                      <a:lnTo>
                        <a:pt x="18" y="72"/>
                      </a:lnTo>
                      <a:lnTo>
                        <a:pt x="20" y="72"/>
                      </a:lnTo>
                      <a:lnTo>
                        <a:pt x="22" y="72"/>
                      </a:lnTo>
                      <a:lnTo>
                        <a:pt x="26" y="74"/>
                      </a:lnTo>
                      <a:lnTo>
                        <a:pt x="30" y="74"/>
                      </a:lnTo>
                      <a:lnTo>
                        <a:pt x="32" y="72"/>
                      </a:lnTo>
                      <a:lnTo>
                        <a:pt x="40" y="64"/>
                      </a:lnTo>
                      <a:lnTo>
                        <a:pt x="40" y="60"/>
                      </a:lnTo>
                      <a:lnTo>
                        <a:pt x="44" y="50"/>
                      </a:lnTo>
                      <a:lnTo>
                        <a:pt x="46" y="46"/>
                      </a:lnTo>
                      <a:lnTo>
                        <a:pt x="48" y="44"/>
                      </a:lnTo>
                      <a:lnTo>
                        <a:pt x="50" y="42"/>
                      </a:lnTo>
                      <a:lnTo>
                        <a:pt x="50" y="40"/>
                      </a:lnTo>
                      <a:lnTo>
                        <a:pt x="52" y="38"/>
                      </a:lnTo>
                      <a:lnTo>
                        <a:pt x="52" y="36"/>
                      </a:lnTo>
                      <a:lnTo>
                        <a:pt x="52" y="34"/>
                      </a:lnTo>
                      <a:lnTo>
                        <a:pt x="52" y="3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spcBef>
                      <a:spcPct val="0"/>
                    </a:spcBef>
                    <a:defRPr/>
                  </a:pPr>
                  <a:endParaRPr lang="en-US" dirty="0">
                    <a:solidFill>
                      <a:srgbClr val="000000"/>
                    </a:solidFill>
                    <a:latin typeface="Calibri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302" name="Guyana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2457451" y="3803653"/>
                  <a:ext cx="130175" cy="234950"/>
                </a:xfrm>
                <a:custGeom>
                  <a:avLst/>
                  <a:gdLst>
                    <a:gd name="T0" fmla="*/ 2147483647 w 324"/>
                    <a:gd name="T1" fmla="*/ 2147483647 h 582"/>
                    <a:gd name="T2" fmla="*/ 2147483647 w 324"/>
                    <a:gd name="T3" fmla="*/ 2147483647 h 582"/>
                    <a:gd name="T4" fmla="*/ 2147483647 w 324"/>
                    <a:gd name="T5" fmla="*/ 2147483647 h 582"/>
                    <a:gd name="T6" fmla="*/ 2147483647 w 324"/>
                    <a:gd name="T7" fmla="*/ 2147483647 h 582"/>
                    <a:gd name="T8" fmla="*/ 2147483647 w 324"/>
                    <a:gd name="T9" fmla="*/ 2147483647 h 582"/>
                    <a:gd name="T10" fmla="*/ 2147483647 w 324"/>
                    <a:gd name="T11" fmla="*/ 2147483647 h 582"/>
                    <a:gd name="T12" fmla="*/ 2147483647 w 324"/>
                    <a:gd name="T13" fmla="*/ 2147483647 h 582"/>
                    <a:gd name="T14" fmla="*/ 2147483647 w 324"/>
                    <a:gd name="T15" fmla="*/ 2147483647 h 582"/>
                    <a:gd name="T16" fmla="*/ 0 w 324"/>
                    <a:gd name="T17" fmla="*/ 2147483647 h 582"/>
                    <a:gd name="T18" fmla="*/ 2147483647 w 324"/>
                    <a:gd name="T19" fmla="*/ 2147483647 h 582"/>
                    <a:gd name="T20" fmla="*/ 2147483647 w 324"/>
                    <a:gd name="T21" fmla="*/ 2147483647 h 582"/>
                    <a:gd name="T22" fmla="*/ 2147483647 w 324"/>
                    <a:gd name="T23" fmla="*/ 2147483647 h 582"/>
                    <a:gd name="T24" fmla="*/ 2147483647 w 324"/>
                    <a:gd name="T25" fmla="*/ 2147483647 h 582"/>
                    <a:gd name="T26" fmla="*/ 2147483647 w 324"/>
                    <a:gd name="T27" fmla="*/ 2147483647 h 582"/>
                    <a:gd name="T28" fmla="*/ 2147483647 w 324"/>
                    <a:gd name="T29" fmla="*/ 2147483647 h 582"/>
                    <a:gd name="T30" fmla="*/ 2147483647 w 324"/>
                    <a:gd name="T31" fmla="*/ 2147483647 h 582"/>
                    <a:gd name="T32" fmla="*/ 2147483647 w 324"/>
                    <a:gd name="T33" fmla="*/ 2147483647 h 582"/>
                    <a:gd name="T34" fmla="*/ 2147483647 w 324"/>
                    <a:gd name="T35" fmla="*/ 2147483647 h 582"/>
                    <a:gd name="T36" fmla="*/ 2147483647 w 324"/>
                    <a:gd name="T37" fmla="*/ 2147483647 h 582"/>
                    <a:gd name="T38" fmla="*/ 2147483647 w 324"/>
                    <a:gd name="T39" fmla="*/ 2147483647 h 582"/>
                    <a:gd name="T40" fmla="*/ 2147483647 w 324"/>
                    <a:gd name="T41" fmla="*/ 2147483647 h 582"/>
                    <a:gd name="T42" fmla="*/ 2147483647 w 324"/>
                    <a:gd name="T43" fmla="*/ 2147483647 h 582"/>
                    <a:gd name="T44" fmla="*/ 2147483647 w 324"/>
                    <a:gd name="T45" fmla="*/ 2147483647 h 582"/>
                    <a:gd name="T46" fmla="*/ 2147483647 w 324"/>
                    <a:gd name="T47" fmla="*/ 2147483647 h 582"/>
                    <a:gd name="T48" fmla="*/ 2147483647 w 324"/>
                    <a:gd name="T49" fmla="*/ 2147483647 h 582"/>
                    <a:gd name="T50" fmla="*/ 2147483647 w 324"/>
                    <a:gd name="T51" fmla="*/ 2147483647 h 582"/>
                    <a:gd name="T52" fmla="*/ 2147483647 w 324"/>
                    <a:gd name="T53" fmla="*/ 2147483647 h 582"/>
                    <a:gd name="T54" fmla="*/ 2147483647 w 324"/>
                    <a:gd name="T55" fmla="*/ 2147483647 h 582"/>
                    <a:gd name="T56" fmla="*/ 2147483647 w 324"/>
                    <a:gd name="T57" fmla="*/ 2147483647 h 582"/>
                    <a:gd name="T58" fmla="*/ 2147483647 w 324"/>
                    <a:gd name="T59" fmla="*/ 2147483647 h 582"/>
                    <a:gd name="T60" fmla="*/ 2147483647 w 324"/>
                    <a:gd name="T61" fmla="*/ 2147483647 h 582"/>
                    <a:gd name="T62" fmla="*/ 2147483647 w 324"/>
                    <a:gd name="T63" fmla="*/ 2147483647 h 582"/>
                    <a:gd name="T64" fmla="*/ 2147483647 w 324"/>
                    <a:gd name="T65" fmla="*/ 2147483647 h 582"/>
                    <a:gd name="T66" fmla="*/ 2147483647 w 324"/>
                    <a:gd name="T67" fmla="*/ 2147483647 h 582"/>
                    <a:gd name="T68" fmla="*/ 2147483647 w 324"/>
                    <a:gd name="T69" fmla="*/ 2147483647 h 582"/>
                    <a:gd name="T70" fmla="*/ 2147483647 w 324"/>
                    <a:gd name="T71" fmla="*/ 2147483647 h 582"/>
                    <a:gd name="T72" fmla="*/ 2147483647 w 324"/>
                    <a:gd name="T73" fmla="*/ 2147483647 h 582"/>
                    <a:gd name="T74" fmla="*/ 2147483647 w 324"/>
                    <a:gd name="T75" fmla="*/ 2147483647 h 582"/>
                    <a:gd name="T76" fmla="*/ 2147483647 w 324"/>
                    <a:gd name="T77" fmla="*/ 2147483647 h 582"/>
                    <a:gd name="T78" fmla="*/ 2147483647 w 324"/>
                    <a:gd name="T79" fmla="*/ 2147483647 h 582"/>
                    <a:gd name="T80" fmla="*/ 2147483647 w 324"/>
                    <a:gd name="T81" fmla="*/ 2147483647 h 582"/>
                    <a:gd name="T82" fmla="*/ 2147483647 w 324"/>
                    <a:gd name="T83" fmla="*/ 2147483647 h 582"/>
                    <a:gd name="T84" fmla="*/ 2147483647 w 324"/>
                    <a:gd name="T85" fmla="*/ 2147483647 h 582"/>
                    <a:gd name="T86" fmla="*/ 2147483647 w 324"/>
                    <a:gd name="T87" fmla="*/ 2147483647 h 582"/>
                    <a:gd name="T88" fmla="*/ 2147483647 w 324"/>
                    <a:gd name="T89" fmla="*/ 2147483647 h 582"/>
                    <a:gd name="T90" fmla="*/ 2147483647 w 324"/>
                    <a:gd name="T91" fmla="*/ 2147483647 h 582"/>
                    <a:gd name="T92" fmla="*/ 2147483647 w 324"/>
                    <a:gd name="T93" fmla="*/ 2147483647 h 582"/>
                    <a:gd name="T94" fmla="*/ 2147483647 w 324"/>
                    <a:gd name="T95" fmla="*/ 2147483647 h 582"/>
                    <a:gd name="T96" fmla="*/ 2147483647 w 324"/>
                    <a:gd name="T97" fmla="*/ 2147483647 h 582"/>
                    <a:gd name="T98" fmla="*/ 2147483647 w 324"/>
                    <a:gd name="T99" fmla="*/ 2147483647 h 582"/>
                    <a:gd name="T100" fmla="*/ 2147483647 w 324"/>
                    <a:gd name="T101" fmla="*/ 2147483647 h 582"/>
                    <a:gd name="T102" fmla="*/ 2147483647 w 324"/>
                    <a:gd name="T103" fmla="*/ 2147483647 h 582"/>
                    <a:gd name="T104" fmla="*/ 2147483647 w 324"/>
                    <a:gd name="T105" fmla="*/ 2147483647 h 582"/>
                    <a:gd name="T106" fmla="*/ 2147483647 w 324"/>
                    <a:gd name="T107" fmla="*/ 2147483647 h 582"/>
                    <a:gd name="T108" fmla="*/ 2147483647 w 324"/>
                    <a:gd name="T109" fmla="*/ 2147483647 h 582"/>
                    <a:gd name="T110" fmla="*/ 2147483647 w 324"/>
                    <a:gd name="T111" fmla="*/ 2147483647 h 582"/>
                    <a:gd name="T112" fmla="*/ 2147483647 w 324"/>
                    <a:gd name="T113" fmla="*/ 2147483647 h 582"/>
                    <a:gd name="T114" fmla="*/ 2147483647 w 324"/>
                    <a:gd name="T115" fmla="*/ 2147483647 h 582"/>
                    <a:gd name="T116" fmla="*/ 2147483647 w 324"/>
                    <a:gd name="T117" fmla="*/ 2147483647 h 582"/>
                    <a:gd name="T118" fmla="*/ 2147483647 w 324"/>
                    <a:gd name="T119" fmla="*/ 2147483647 h 582"/>
                    <a:gd name="T120" fmla="*/ 2147483647 w 324"/>
                    <a:gd name="T121" fmla="*/ 2147483647 h 582"/>
                    <a:gd name="T122" fmla="*/ 2147483647 w 324"/>
                    <a:gd name="T123" fmla="*/ 0 h 582"/>
                    <a:gd name="T124" fmla="*/ 2147483647 w 324"/>
                    <a:gd name="T125" fmla="*/ 2147483647 h 582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24"/>
                    <a:gd name="T190" fmla="*/ 0 h 582"/>
                    <a:gd name="T191" fmla="*/ 324 w 324"/>
                    <a:gd name="T192" fmla="*/ 582 h 582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24" h="582">
                      <a:moveTo>
                        <a:pt x="90" y="42"/>
                      </a:moveTo>
                      <a:lnTo>
                        <a:pt x="84" y="48"/>
                      </a:lnTo>
                      <a:lnTo>
                        <a:pt x="72" y="48"/>
                      </a:lnTo>
                      <a:lnTo>
                        <a:pt x="60" y="60"/>
                      </a:lnTo>
                      <a:lnTo>
                        <a:pt x="60" y="102"/>
                      </a:lnTo>
                      <a:lnTo>
                        <a:pt x="84" y="102"/>
                      </a:lnTo>
                      <a:lnTo>
                        <a:pt x="84" y="120"/>
                      </a:lnTo>
                      <a:lnTo>
                        <a:pt x="78" y="126"/>
                      </a:lnTo>
                      <a:lnTo>
                        <a:pt x="66" y="132"/>
                      </a:lnTo>
                      <a:lnTo>
                        <a:pt x="54" y="132"/>
                      </a:lnTo>
                      <a:lnTo>
                        <a:pt x="42" y="138"/>
                      </a:lnTo>
                      <a:lnTo>
                        <a:pt x="12" y="138"/>
                      </a:lnTo>
                      <a:lnTo>
                        <a:pt x="12" y="144"/>
                      </a:lnTo>
                      <a:lnTo>
                        <a:pt x="30" y="162"/>
                      </a:lnTo>
                      <a:lnTo>
                        <a:pt x="30" y="180"/>
                      </a:lnTo>
                      <a:lnTo>
                        <a:pt x="18" y="186"/>
                      </a:lnTo>
                      <a:lnTo>
                        <a:pt x="12" y="186"/>
                      </a:lnTo>
                      <a:lnTo>
                        <a:pt x="0" y="192"/>
                      </a:lnTo>
                      <a:lnTo>
                        <a:pt x="0" y="204"/>
                      </a:lnTo>
                      <a:lnTo>
                        <a:pt x="6" y="210"/>
                      </a:lnTo>
                      <a:lnTo>
                        <a:pt x="12" y="222"/>
                      </a:lnTo>
                      <a:lnTo>
                        <a:pt x="48" y="258"/>
                      </a:lnTo>
                      <a:lnTo>
                        <a:pt x="72" y="264"/>
                      </a:lnTo>
                      <a:lnTo>
                        <a:pt x="78" y="252"/>
                      </a:lnTo>
                      <a:lnTo>
                        <a:pt x="90" y="264"/>
                      </a:lnTo>
                      <a:lnTo>
                        <a:pt x="96" y="276"/>
                      </a:lnTo>
                      <a:lnTo>
                        <a:pt x="96" y="294"/>
                      </a:lnTo>
                      <a:lnTo>
                        <a:pt x="90" y="306"/>
                      </a:lnTo>
                      <a:lnTo>
                        <a:pt x="84" y="312"/>
                      </a:lnTo>
                      <a:lnTo>
                        <a:pt x="84" y="318"/>
                      </a:lnTo>
                      <a:lnTo>
                        <a:pt x="90" y="324"/>
                      </a:lnTo>
                      <a:lnTo>
                        <a:pt x="96" y="324"/>
                      </a:lnTo>
                      <a:lnTo>
                        <a:pt x="108" y="318"/>
                      </a:lnTo>
                      <a:lnTo>
                        <a:pt x="114" y="318"/>
                      </a:lnTo>
                      <a:lnTo>
                        <a:pt x="114" y="348"/>
                      </a:lnTo>
                      <a:lnTo>
                        <a:pt x="120" y="354"/>
                      </a:lnTo>
                      <a:lnTo>
                        <a:pt x="126" y="354"/>
                      </a:lnTo>
                      <a:lnTo>
                        <a:pt x="126" y="366"/>
                      </a:lnTo>
                      <a:lnTo>
                        <a:pt x="120" y="378"/>
                      </a:lnTo>
                      <a:lnTo>
                        <a:pt x="108" y="390"/>
                      </a:lnTo>
                      <a:lnTo>
                        <a:pt x="96" y="432"/>
                      </a:lnTo>
                      <a:lnTo>
                        <a:pt x="90" y="444"/>
                      </a:lnTo>
                      <a:lnTo>
                        <a:pt x="90" y="450"/>
                      </a:lnTo>
                      <a:lnTo>
                        <a:pt x="84" y="462"/>
                      </a:lnTo>
                      <a:lnTo>
                        <a:pt x="84" y="468"/>
                      </a:lnTo>
                      <a:lnTo>
                        <a:pt x="90" y="480"/>
                      </a:lnTo>
                      <a:lnTo>
                        <a:pt x="114" y="504"/>
                      </a:lnTo>
                      <a:lnTo>
                        <a:pt x="114" y="534"/>
                      </a:lnTo>
                      <a:lnTo>
                        <a:pt x="144" y="570"/>
                      </a:lnTo>
                      <a:lnTo>
                        <a:pt x="156" y="570"/>
                      </a:lnTo>
                      <a:lnTo>
                        <a:pt x="162" y="582"/>
                      </a:lnTo>
                      <a:lnTo>
                        <a:pt x="198" y="582"/>
                      </a:lnTo>
                      <a:lnTo>
                        <a:pt x="204" y="576"/>
                      </a:lnTo>
                      <a:lnTo>
                        <a:pt x="204" y="564"/>
                      </a:lnTo>
                      <a:lnTo>
                        <a:pt x="216" y="552"/>
                      </a:lnTo>
                      <a:lnTo>
                        <a:pt x="234" y="552"/>
                      </a:lnTo>
                      <a:lnTo>
                        <a:pt x="240" y="540"/>
                      </a:lnTo>
                      <a:lnTo>
                        <a:pt x="270" y="540"/>
                      </a:lnTo>
                      <a:lnTo>
                        <a:pt x="270" y="534"/>
                      </a:lnTo>
                      <a:lnTo>
                        <a:pt x="288" y="516"/>
                      </a:lnTo>
                      <a:lnTo>
                        <a:pt x="300" y="516"/>
                      </a:lnTo>
                      <a:lnTo>
                        <a:pt x="312" y="528"/>
                      </a:lnTo>
                      <a:lnTo>
                        <a:pt x="318" y="528"/>
                      </a:lnTo>
                      <a:lnTo>
                        <a:pt x="324" y="522"/>
                      </a:lnTo>
                      <a:lnTo>
                        <a:pt x="324" y="510"/>
                      </a:lnTo>
                      <a:lnTo>
                        <a:pt x="318" y="504"/>
                      </a:lnTo>
                      <a:lnTo>
                        <a:pt x="312" y="492"/>
                      </a:lnTo>
                      <a:lnTo>
                        <a:pt x="306" y="474"/>
                      </a:lnTo>
                      <a:lnTo>
                        <a:pt x="288" y="456"/>
                      </a:lnTo>
                      <a:lnTo>
                        <a:pt x="282" y="444"/>
                      </a:lnTo>
                      <a:lnTo>
                        <a:pt x="282" y="420"/>
                      </a:lnTo>
                      <a:lnTo>
                        <a:pt x="288" y="414"/>
                      </a:lnTo>
                      <a:lnTo>
                        <a:pt x="288" y="396"/>
                      </a:lnTo>
                      <a:lnTo>
                        <a:pt x="276" y="408"/>
                      </a:lnTo>
                      <a:lnTo>
                        <a:pt x="276" y="414"/>
                      </a:lnTo>
                      <a:lnTo>
                        <a:pt x="264" y="414"/>
                      </a:lnTo>
                      <a:lnTo>
                        <a:pt x="258" y="402"/>
                      </a:lnTo>
                      <a:lnTo>
                        <a:pt x="252" y="396"/>
                      </a:lnTo>
                      <a:lnTo>
                        <a:pt x="246" y="384"/>
                      </a:lnTo>
                      <a:lnTo>
                        <a:pt x="246" y="372"/>
                      </a:lnTo>
                      <a:lnTo>
                        <a:pt x="240" y="372"/>
                      </a:lnTo>
                      <a:lnTo>
                        <a:pt x="240" y="366"/>
                      </a:lnTo>
                      <a:lnTo>
                        <a:pt x="234" y="360"/>
                      </a:lnTo>
                      <a:lnTo>
                        <a:pt x="234" y="348"/>
                      </a:lnTo>
                      <a:lnTo>
                        <a:pt x="240" y="336"/>
                      </a:lnTo>
                      <a:lnTo>
                        <a:pt x="246" y="330"/>
                      </a:lnTo>
                      <a:lnTo>
                        <a:pt x="246" y="288"/>
                      </a:lnTo>
                      <a:lnTo>
                        <a:pt x="252" y="282"/>
                      </a:lnTo>
                      <a:lnTo>
                        <a:pt x="264" y="276"/>
                      </a:lnTo>
                      <a:lnTo>
                        <a:pt x="294" y="276"/>
                      </a:lnTo>
                      <a:lnTo>
                        <a:pt x="300" y="270"/>
                      </a:lnTo>
                      <a:lnTo>
                        <a:pt x="300" y="258"/>
                      </a:lnTo>
                      <a:lnTo>
                        <a:pt x="288" y="246"/>
                      </a:lnTo>
                      <a:lnTo>
                        <a:pt x="288" y="234"/>
                      </a:lnTo>
                      <a:lnTo>
                        <a:pt x="294" y="222"/>
                      </a:lnTo>
                      <a:lnTo>
                        <a:pt x="300" y="216"/>
                      </a:lnTo>
                      <a:lnTo>
                        <a:pt x="306" y="204"/>
                      </a:lnTo>
                      <a:lnTo>
                        <a:pt x="306" y="192"/>
                      </a:lnTo>
                      <a:lnTo>
                        <a:pt x="300" y="180"/>
                      </a:lnTo>
                      <a:lnTo>
                        <a:pt x="294" y="174"/>
                      </a:lnTo>
                      <a:lnTo>
                        <a:pt x="276" y="174"/>
                      </a:lnTo>
                      <a:lnTo>
                        <a:pt x="270" y="180"/>
                      </a:lnTo>
                      <a:lnTo>
                        <a:pt x="270" y="156"/>
                      </a:lnTo>
                      <a:lnTo>
                        <a:pt x="258" y="150"/>
                      </a:lnTo>
                      <a:lnTo>
                        <a:pt x="252" y="138"/>
                      </a:lnTo>
                      <a:lnTo>
                        <a:pt x="234" y="132"/>
                      </a:lnTo>
                      <a:lnTo>
                        <a:pt x="216" y="132"/>
                      </a:lnTo>
                      <a:lnTo>
                        <a:pt x="204" y="138"/>
                      </a:lnTo>
                      <a:lnTo>
                        <a:pt x="198" y="150"/>
                      </a:lnTo>
                      <a:lnTo>
                        <a:pt x="198" y="156"/>
                      </a:lnTo>
                      <a:lnTo>
                        <a:pt x="192" y="162"/>
                      </a:lnTo>
                      <a:lnTo>
                        <a:pt x="192" y="168"/>
                      </a:lnTo>
                      <a:lnTo>
                        <a:pt x="192" y="162"/>
                      </a:lnTo>
                      <a:lnTo>
                        <a:pt x="198" y="156"/>
                      </a:lnTo>
                      <a:lnTo>
                        <a:pt x="198" y="144"/>
                      </a:lnTo>
                      <a:lnTo>
                        <a:pt x="204" y="132"/>
                      </a:lnTo>
                      <a:lnTo>
                        <a:pt x="204" y="114"/>
                      </a:lnTo>
                      <a:lnTo>
                        <a:pt x="210" y="102"/>
                      </a:lnTo>
                      <a:lnTo>
                        <a:pt x="210" y="78"/>
                      </a:lnTo>
                      <a:lnTo>
                        <a:pt x="192" y="42"/>
                      </a:lnTo>
                      <a:lnTo>
                        <a:pt x="180" y="30"/>
                      </a:lnTo>
                      <a:lnTo>
                        <a:pt x="132" y="6"/>
                      </a:lnTo>
                      <a:lnTo>
                        <a:pt x="126" y="0"/>
                      </a:lnTo>
                      <a:lnTo>
                        <a:pt x="120" y="0"/>
                      </a:lnTo>
                      <a:lnTo>
                        <a:pt x="102" y="36"/>
                      </a:lnTo>
                      <a:lnTo>
                        <a:pt x="96" y="42"/>
                      </a:lnTo>
                      <a:lnTo>
                        <a:pt x="90" y="4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spcBef>
                      <a:spcPct val="0"/>
                    </a:spcBef>
                    <a:defRPr/>
                  </a:pPr>
                  <a:endParaRPr lang="en-US" dirty="0">
                    <a:solidFill>
                      <a:srgbClr val="000000"/>
                    </a:solidFill>
                    <a:latin typeface="Calibri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303" name="Guatemala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1597025" y="3497265"/>
                  <a:ext cx="119063" cy="134938"/>
                </a:xfrm>
                <a:custGeom>
                  <a:avLst/>
                  <a:gdLst>
                    <a:gd name="T0" fmla="*/ 2147483647 w 300"/>
                    <a:gd name="T1" fmla="*/ 2147483647 h 336"/>
                    <a:gd name="T2" fmla="*/ 2147483647 w 300"/>
                    <a:gd name="T3" fmla="*/ 2147483647 h 336"/>
                    <a:gd name="T4" fmla="*/ 2147483647 w 300"/>
                    <a:gd name="T5" fmla="*/ 2147483647 h 336"/>
                    <a:gd name="T6" fmla="*/ 2147483647 w 300"/>
                    <a:gd name="T7" fmla="*/ 2147483647 h 336"/>
                    <a:gd name="T8" fmla="*/ 2147483647 w 300"/>
                    <a:gd name="T9" fmla="*/ 2147483647 h 336"/>
                    <a:gd name="T10" fmla="*/ 2147483647 w 300"/>
                    <a:gd name="T11" fmla="*/ 0 h 336"/>
                    <a:gd name="T12" fmla="*/ 2147483647 w 300"/>
                    <a:gd name="T13" fmla="*/ 2147483647 h 336"/>
                    <a:gd name="T14" fmla="*/ 2147483647 w 300"/>
                    <a:gd name="T15" fmla="*/ 2147483647 h 336"/>
                    <a:gd name="T16" fmla="*/ 2147483647 w 300"/>
                    <a:gd name="T17" fmla="*/ 2147483647 h 336"/>
                    <a:gd name="T18" fmla="*/ 2147483647 w 300"/>
                    <a:gd name="T19" fmla="*/ 2147483647 h 336"/>
                    <a:gd name="T20" fmla="*/ 2147483647 w 300"/>
                    <a:gd name="T21" fmla="*/ 2147483647 h 336"/>
                    <a:gd name="T22" fmla="*/ 2147483647 w 300"/>
                    <a:gd name="T23" fmla="*/ 2147483647 h 336"/>
                    <a:gd name="T24" fmla="*/ 2147483647 w 300"/>
                    <a:gd name="T25" fmla="*/ 2147483647 h 336"/>
                    <a:gd name="T26" fmla="*/ 2147483647 w 300"/>
                    <a:gd name="T27" fmla="*/ 2147483647 h 336"/>
                    <a:gd name="T28" fmla="*/ 2147483647 w 300"/>
                    <a:gd name="T29" fmla="*/ 2147483647 h 336"/>
                    <a:gd name="T30" fmla="*/ 2147483647 w 300"/>
                    <a:gd name="T31" fmla="*/ 2147483647 h 336"/>
                    <a:gd name="T32" fmla="*/ 2147483647 w 300"/>
                    <a:gd name="T33" fmla="*/ 2147483647 h 336"/>
                    <a:gd name="T34" fmla="*/ 2147483647 w 300"/>
                    <a:gd name="T35" fmla="*/ 2147483647 h 336"/>
                    <a:gd name="T36" fmla="*/ 2147483647 w 300"/>
                    <a:gd name="T37" fmla="*/ 2147483647 h 336"/>
                    <a:gd name="T38" fmla="*/ 2147483647 w 300"/>
                    <a:gd name="T39" fmla="*/ 2147483647 h 336"/>
                    <a:gd name="T40" fmla="*/ 2147483647 w 300"/>
                    <a:gd name="T41" fmla="*/ 2147483647 h 336"/>
                    <a:gd name="T42" fmla="*/ 2147483647 w 300"/>
                    <a:gd name="T43" fmla="*/ 2147483647 h 336"/>
                    <a:gd name="T44" fmla="*/ 2147483647 w 300"/>
                    <a:gd name="T45" fmla="*/ 2147483647 h 336"/>
                    <a:gd name="T46" fmla="*/ 2147483647 w 300"/>
                    <a:gd name="T47" fmla="*/ 2147483647 h 336"/>
                    <a:gd name="T48" fmla="*/ 2147483647 w 300"/>
                    <a:gd name="T49" fmla="*/ 2147483647 h 336"/>
                    <a:gd name="T50" fmla="*/ 2147483647 w 300"/>
                    <a:gd name="T51" fmla="*/ 2147483647 h 336"/>
                    <a:gd name="T52" fmla="*/ 2147483647 w 300"/>
                    <a:gd name="T53" fmla="*/ 2147483647 h 336"/>
                    <a:gd name="T54" fmla="*/ 2147483647 w 300"/>
                    <a:gd name="T55" fmla="*/ 2147483647 h 336"/>
                    <a:gd name="T56" fmla="*/ 2147483647 w 300"/>
                    <a:gd name="T57" fmla="*/ 2147483647 h 336"/>
                    <a:gd name="T58" fmla="*/ 0 w 300"/>
                    <a:gd name="T59" fmla="*/ 2147483647 h 336"/>
                    <a:gd name="T60" fmla="*/ 2147483647 w 300"/>
                    <a:gd name="T61" fmla="*/ 2147483647 h 336"/>
                    <a:gd name="T62" fmla="*/ 2147483647 w 300"/>
                    <a:gd name="T63" fmla="*/ 2147483647 h 336"/>
                    <a:gd name="T64" fmla="*/ 2147483647 w 300"/>
                    <a:gd name="T65" fmla="*/ 2147483647 h 336"/>
                    <a:gd name="T66" fmla="*/ 2147483647 w 300"/>
                    <a:gd name="T67" fmla="*/ 2147483647 h 336"/>
                    <a:gd name="T68" fmla="*/ 2147483647 w 300"/>
                    <a:gd name="T69" fmla="*/ 2147483647 h 336"/>
                    <a:gd name="T70" fmla="*/ 2147483647 w 300"/>
                    <a:gd name="T71" fmla="*/ 2147483647 h 336"/>
                    <a:gd name="T72" fmla="*/ 2147483647 w 300"/>
                    <a:gd name="T73" fmla="*/ 2147483647 h 336"/>
                    <a:gd name="T74" fmla="*/ 2147483647 w 300"/>
                    <a:gd name="T75" fmla="*/ 2147483647 h 336"/>
                    <a:gd name="T76" fmla="*/ 2147483647 w 300"/>
                    <a:gd name="T77" fmla="*/ 2147483647 h 336"/>
                    <a:gd name="T78" fmla="*/ 2147483647 w 300"/>
                    <a:gd name="T79" fmla="*/ 2147483647 h 336"/>
                    <a:gd name="T80" fmla="*/ 2147483647 w 300"/>
                    <a:gd name="T81" fmla="*/ 2147483647 h 336"/>
                    <a:gd name="T82" fmla="*/ 2147483647 w 300"/>
                    <a:gd name="T83" fmla="*/ 2147483647 h 336"/>
                    <a:gd name="T84" fmla="*/ 2147483647 w 300"/>
                    <a:gd name="T85" fmla="*/ 2147483647 h 336"/>
                    <a:gd name="T86" fmla="*/ 2147483647 w 300"/>
                    <a:gd name="T87" fmla="*/ 2147483647 h 336"/>
                    <a:gd name="T88" fmla="*/ 2147483647 w 300"/>
                    <a:gd name="T89" fmla="*/ 2147483647 h 336"/>
                    <a:gd name="T90" fmla="*/ 2147483647 w 300"/>
                    <a:gd name="T91" fmla="*/ 2147483647 h 336"/>
                    <a:gd name="T92" fmla="*/ 2147483647 w 300"/>
                    <a:gd name="T93" fmla="*/ 2147483647 h 336"/>
                    <a:gd name="T94" fmla="*/ 2147483647 w 300"/>
                    <a:gd name="T95" fmla="*/ 2147483647 h 336"/>
                    <a:gd name="T96" fmla="*/ 2147483647 w 300"/>
                    <a:gd name="T97" fmla="*/ 2147483647 h 336"/>
                    <a:gd name="T98" fmla="*/ 2147483647 w 300"/>
                    <a:gd name="T99" fmla="*/ 2147483647 h 336"/>
                    <a:gd name="T100" fmla="*/ 2147483647 w 300"/>
                    <a:gd name="T101" fmla="*/ 2147483647 h 336"/>
                    <a:gd name="T102" fmla="*/ 2147483647 w 300"/>
                    <a:gd name="T103" fmla="*/ 2147483647 h 336"/>
                    <a:gd name="T104" fmla="*/ 2147483647 w 300"/>
                    <a:gd name="T105" fmla="*/ 2147483647 h 336"/>
                    <a:gd name="T106" fmla="*/ 2147483647 w 300"/>
                    <a:gd name="T107" fmla="*/ 2147483647 h 336"/>
                    <a:gd name="T108" fmla="*/ 2147483647 w 300"/>
                    <a:gd name="T109" fmla="*/ 2147483647 h 336"/>
                    <a:gd name="T110" fmla="*/ 2147483647 w 300"/>
                    <a:gd name="T111" fmla="*/ 2147483647 h 336"/>
                    <a:gd name="T112" fmla="*/ 2147483647 w 300"/>
                    <a:gd name="T113" fmla="*/ 2147483647 h 336"/>
                    <a:gd name="T114" fmla="*/ 2147483647 w 300"/>
                    <a:gd name="T115" fmla="*/ 2147483647 h 336"/>
                    <a:gd name="T116" fmla="*/ 2147483647 w 300"/>
                    <a:gd name="T117" fmla="*/ 2147483647 h 336"/>
                    <a:gd name="T118" fmla="*/ 2147483647 w 300"/>
                    <a:gd name="T119" fmla="*/ 2147483647 h 336"/>
                    <a:gd name="T120" fmla="*/ 2147483647 w 300"/>
                    <a:gd name="T121" fmla="*/ 2147483647 h 3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300"/>
                    <a:gd name="T184" fmla="*/ 0 h 336"/>
                    <a:gd name="T185" fmla="*/ 300 w 300"/>
                    <a:gd name="T186" fmla="*/ 336 h 336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300" h="336">
                      <a:moveTo>
                        <a:pt x="288" y="156"/>
                      </a:moveTo>
                      <a:lnTo>
                        <a:pt x="270" y="168"/>
                      </a:lnTo>
                      <a:lnTo>
                        <a:pt x="258" y="162"/>
                      </a:lnTo>
                      <a:lnTo>
                        <a:pt x="228" y="162"/>
                      </a:lnTo>
                      <a:lnTo>
                        <a:pt x="252" y="6"/>
                      </a:lnTo>
                      <a:lnTo>
                        <a:pt x="120" y="0"/>
                      </a:lnTo>
                      <a:lnTo>
                        <a:pt x="120" y="12"/>
                      </a:lnTo>
                      <a:lnTo>
                        <a:pt x="126" y="24"/>
                      </a:lnTo>
                      <a:lnTo>
                        <a:pt x="126" y="48"/>
                      </a:lnTo>
                      <a:lnTo>
                        <a:pt x="120" y="48"/>
                      </a:lnTo>
                      <a:lnTo>
                        <a:pt x="108" y="54"/>
                      </a:lnTo>
                      <a:lnTo>
                        <a:pt x="84" y="54"/>
                      </a:lnTo>
                      <a:lnTo>
                        <a:pt x="96" y="60"/>
                      </a:lnTo>
                      <a:lnTo>
                        <a:pt x="96" y="66"/>
                      </a:lnTo>
                      <a:lnTo>
                        <a:pt x="102" y="78"/>
                      </a:lnTo>
                      <a:lnTo>
                        <a:pt x="108" y="84"/>
                      </a:lnTo>
                      <a:lnTo>
                        <a:pt x="114" y="84"/>
                      </a:lnTo>
                      <a:lnTo>
                        <a:pt x="126" y="90"/>
                      </a:lnTo>
                      <a:lnTo>
                        <a:pt x="132" y="90"/>
                      </a:lnTo>
                      <a:lnTo>
                        <a:pt x="138" y="114"/>
                      </a:lnTo>
                      <a:lnTo>
                        <a:pt x="156" y="114"/>
                      </a:lnTo>
                      <a:lnTo>
                        <a:pt x="156" y="126"/>
                      </a:lnTo>
                      <a:lnTo>
                        <a:pt x="150" y="132"/>
                      </a:lnTo>
                      <a:lnTo>
                        <a:pt x="144" y="132"/>
                      </a:lnTo>
                      <a:lnTo>
                        <a:pt x="144" y="150"/>
                      </a:lnTo>
                      <a:lnTo>
                        <a:pt x="54" y="144"/>
                      </a:lnTo>
                      <a:lnTo>
                        <a:pt x="24" y="192"/>
                      </a:lnTo>
                      <a:lnTo>
                        <a:pt x="24" y="264"/>
                      </a:lnTo>
                      <a:lnTo>
                        <a:pt x="18" y="270"/>
                      </a:lnTo>
                      <a:lnTo>
                        <a:pt x="0" y="270"/>
                      </a:lnTo>
                      <a:lnTo>
                        <a:pt x="6" y="282"/>
                      </a:lnTo>
                      <a:lnTo>
                        <a:pt x="12" y="288"/>
                      </a:lnTo>
                      <a:lnTo>
                        <a:pt x="24" y="288"/>
                      </a:lnTo>
                      <a:lnTo>
                        <a:pt x="42" y="300"/>
                      </a:lnTo>
                      <a:lnTo>
                        <a:pt x="60" y="318"/>
                      </a:lnTo>
                      <a:lnTo>
                        <a:pt x="72" y="324"/>
                      </a:lnTo>
                      <a:lnTo>
                        <a:pt x="120" y="324"/>
                      </a:lnTo>
                      <a:lnTo>
                        <a:pt x="126" y="330"/>
                      </a:lnTo>
                      <a:lnTo>
                        <a:pt x="132" y="330"/>
                      </a:lnTo>
                      <a:lnTo>
                        <a:pt x="138" y="336"/>
                      </a:lnTo>
                      <a:lnTo>
                        <a:pt x="150" y="324"/>
                      </a:lnTo>
                      <a:lnTo>
                        <a:pt x="162" y="318"/>
                      </a:lnTo>
                      <a:lnTo>
                        <a:pt x="168" y="312"/>
                      </a:lnTo>
                      <a:lnTo>
                        <a:pt x="174" y="312"/>
                      </a:lnTo>
                      <a:lnTo>
                        <a:pt x="180" y="300"/>
                      </a:lnTo>
                      <a:lnTo>
                        <a:pt x="186" y="294"/>
                      </a:lnTo>
                      <a:lnTo>
                        <a:pt x="186" y="282"/>
                      </a:lnTo>
                      <a:lnTo>
                        <a:pt x="204" y="282"/>
                      </a:lnTo>
                      <a:lnTo>
                        <a:pt x="210" y="276"/>
                      </a:lnTo>
                      <a:lnTo>
                        <a:pt x="222" y="270"/>
                      </a:lnTo>
                      <a:lnTo>
                        <a:pt x="222" y="264"/>
                      </a:lnTo>
                      <a:lnTo>
                        <a:pt x="228" y="252"/>
                      </a:lnTo>
                      <a:lnTo>
                        <a:pt x="228" y="234"/>
                      </a:lnTo>
                      <a:lnTo>
                        <a:pt x="234" y="222"/>
                      </a:lnTo>
                      <a:lnTo>
                        <a:pt x="246" y="216"/>
                      </a:lnTo>
                      <a:lnTo>
                        <a:pt x="258" y="204"/>
                      </a:lnTo>
                      <a:lnTo>
                        <a:pt x="270" y="198"/>
                      </a:lnTo>
                      <a:lnTo>
                        <a:pt x="282" y="186"/>
                      </a:lnTo>
                      <a:lnTo>
                        <a:pt x="294" y="180"/>
                      </a:lnTo>
                      <a:lnTo>
                        <a:pt x="300" y="168"/>
                      </a:lnTo>
                      <a:lnTo>
                        <a:pt x="288" y="156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304" name="El Salvador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1652587" y="3608390"/>
                  <a:ext cx="68263" cy="46038"/>
                </a:xfrm>
                <a:custGeom>
                  <a:avLst/>
                  <a:gdLst>
                    <a:gd name="T0" fmla="*/ 2147483647 w 174"/>
                    <a:gd name="T1" fmla="*/ 2147483647 h 114"/>
                    <a:gd name="T2" fmla="*/ 2147483647 w 174"/>
                    <a:gd name="T3" fmla="*/ 2147483647 h 114"/>
                    <a:gd name="T4" fmla="*/ 2147483647 w 174"/>
                    <a:gd name="T5" fmla="*/ 2147483647 h 114"/>
                    <a:gd name="T6" fmla="*/ 2147483647 w 174"/>
                    <a:gd name="T7" fmla="*/ 2147483647 h 114"/>
                    <a:gd name="T8" fmla="*/ 2147483647 w 174"/>
                    <a:gd name="T9" fmla="*/ 2147483647 h 114"/>
                    <a:gd name="T10" fmla="*/ 2147483647 w 174"/>
                    <a:gd name="T11" fmla="*/ 2147483647 h 114"/>
                    <a:gd name="T12" fmla="*/ 2147483647 w 174"/>
                    <a:gd name="T13" fmla="*/ 2147483647 h 114"/>
                    <a:gd name="T14" fmla="*/ 2147483647 w 174"/>
                    <a:gd name="T15" fmla="*/ 2147483647 h 114"/>
                    <a:gd name="T16" fmla="*/ 2147483647 w 174"/>
                    <a:gd name="T17" fmla="*/ 2147483647 h 114"/>
                    <a:gd name="T18" fmla="*/ 2147483647 w 174"/>
                    <a:gd name="T19" fmla="*/ 0 h 114"/>
                    <a:gd name="T20" fmla="*/ 2147483647 w 174"/>
                    <a:gd name="T21" fmla="*/ 2147483647 h 114"/>
                    <a:gd name="T22" fmla="*/ 2147483647 w 174"/>
                    <a:gd name="T23" fmla="*/ 2147483647 h 114"/>
                    <a:gd name="T24" fmla="*/ 2147483647 w 174"/>
                    <a:gd name="T25" fmla="*/ 2147483647 h 114"/>
                    <a:gd name="T26" fmla="*/ 2147483647 w 174"/>
                    <a:gd name="T27" fmla="*/ 2147483647 h 114"/>
                    <a:gd name="T28" fmla="*/ 2147483647 w 174"/>
                    <a:gd name="T29" fmla="*/ 2147483647 h 114"/>
                    <a:gd name="T30" fmla="*/ 2147483647 w 174"/>
                    <a:gd name="T31" fmla="*/ 2147483647 h 114"/>
                    <a:gd name="T32" fmla="*/ 2147483647 w 174"/>
                    <a:gd name="T33" fmla="*/ 2147483647 h 114"/>
                    <a:gd name="T34" fmla="*/ 2147483647 w 174"/>
                    <a:gd name="T35" fmla="*/ 2147483647 h 114"/>
                    <a:gd name="T36" fmla="*/ 0 w 174"/>
                    <a:gd name="T37" fmla="*/ 2147483647 h 114"/>
                    <a:gd name="T38" fmla="*/ 2147483647 w 174"/>
                    <a:gd name="T39" fmla="*/ 2147483647 h 114"/>
                    <a:gd name="T40" fmla="*/ 2147483647 w 174"/>
                    <a:gd name="T41" fmla="*/ 2147483647 h 114"/>
                    <a:gd name="T42" fmla="*/ 2147483647 w 174"/>
                    <a:gd name="T43" fmla="*/ 2147483647 h 114"/>
                    <a:gd name="T44" fmla="*/ 2147483647 w 174"/>
                    <a:gd name="T45" fmla="*/ 2147483647 h 114"/>
                    <a:gd name="T46" fmla="*/ 2147483647 w 174"/>
                    <a:gd name="T47" fmla="*/ 2147483647 h 114"/>
                    <a:gd name="T48" fmla="*/ 2147483647 w 174"/>
                    <a:gd name="T49" fmla="*/ 2147483647 h 114"/>
                    <a:gd name="T50" fmla="*/ 2147483647 w 174"/>
                    <a:gd name="T51" fmla="*/ 2147483647 h 114"/>
                    <a:gd name="T52" fmla="*/ 2147483647 w 174"/>
                    <a:gd name="T53" fmla="*/ 2147483647 h 114"/>
                    <a:gd name="T54" fmla="*/ 2147483647 w 174"/>
                    <a:gd name="T55" fmla="*/ 2147483647 h 114"/>
                    <a:gd name="T56" fmla="*/ 2147483647 w 174"/>
                    <a:gd name="T57" fmla="*/ 2147483647 h 114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74"/>
                    <a:gd name="T88" fmla="*/ 0 h 114"/>
                    <a:gd name="T89" fmla="*/ 174 w 174"/>
                    <a:gd name="T90" fmla="*/ 114 h 114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74" h="114">
                      <a:moveTo>
                        <a:pt x="174" y="84"/>
                      </a:moveTo>
                      <a:lnTo>
                        <a:pt x="174" y="42"/>
                      </a:lnTo>
                      <a:lnTo>
                        <a:pt x="138" y="42"/>
                      </a:lnTo>
                      <a:lnTo>
                        <a:pt x="132" y="48"/>
                      </a:lnTo>
                      <a:lnTo>
                        <a:pt x="120" y="48"/>
                      </a:lnTo>
                      <a:lnTo>
                        <a:pt x="114" y="42"/>
                      </a:lnTo>
                      <a:lnTo>
                        <a:pt x="114" y="24"/>
                      </a:lnTo>
                      <a:lnTo>
                        <a:pt x="90" y="24"/>
                      </a:lnTo>
                      <a:lnTo>
                        <a:pt x="78" y="12"/>
                      </a:lnTo>
                      <a:lnTo>
                        <a:pt x="72" y="0"/>
                      </a:lnTo>
                      <a:lnTo>
                        <a:pt x="60" y="6"/>
                      </a:lnTo>
                      <a:lnTo>
                        <a:pt x="48" y="6"/>
                      </a:lnTo>
                      <a:lnTo>
                        <a:pt x="48" y="18"/>
                      </a:lnTo>
                      <a:lnTo>
                        <a:pt x="42" y="24"/>
                      </a:lnTo>
                      <a:lnTo>
                        <a:pt x="36" y="36"/>
                      </a:lnTo>
                      <a:lnTo>
                        <a:pt x="30" y="36"/>
                      </a:lnTo>
                      <a:lnTo>
                        <a:pt x="24" y="42"/>
                      </a:lnTo>
                      <a:lnTo>
                        <a:pt x="12" y="48"/>
                      </a:lnTo>
                      <a:lnTo>
                        <a:pt x="0" y="60"/>
                      </a:lnTo>
                      <a:lnTo>
                        <a:pt x="6" y="66"/>
                      </a:lnTo>
                      <a:lnTo>
                        <a:pt x="18" y="72"/>
                      </a:lnTo>
                      <a:lnTo>
                        <a:pt x="24" y="78"/>
                      </a:lnTo>
                      <a:lnTo>
                        <a:pt x="72" y="78"/>
                      </a:lnTo>
                      <a:lnTo>
                        <a:pt x="96" y="102"/>
                      </a:lnTo>
                      <a:lnTo>
                        <a:pt x="132" y="96"/>
                      </a:lnTo>
                      <a:lnTo>
                        <a:pt x="150" y="114"/>
                      </a:lnTo>
                      <a:lnTo>
                        <a:pt x="168" y="84"/>
                      </a:lnTo>
                      <a:lnTo>
                        <a:pt x="174" y="90"/>
                      </a:lnTo>
                      <a:lnTo>
                        <a:pt x="174" y="84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305" name="Ecuador" descr="© INSCALE GmbH, 05.05.2010&#10;http://www.presentationload.com/"/>
                <p:cNvSpPr>
                  <a:spLocks noEditPoints="1"/>
                </p:cNvSpPr>
                <p:nvPr/>
              </p:nvSpPr>
              <p:spPr bwMode="gray">
                <a:xfrm>
                  <a:off x="1890713" y="4025903"/>
                  <a:ext cx="166688" cy="212725"/>
                </a:xfrm>
                <a:custGeom>
                  <a:avLst/>
                  <a:gdLst>
                    <a:gd name="T0" fmla="*/ 2147483647 w 414"/>
                    <a:gd name="T1" fmla="*/ 2147483647 h 528"/>
                    <a:gd name="T2" fmla="*/ 2147483647 w 414"/>
                    <a:gd name="T3" fmla="*/ 2147483647 h 528"/>
                    <a:gd name="T4" fmla="*/ 2147483647 w 414"/>
                    <a:gd name="T5" fmla="*/ 2147483647 h 528"/>
                    <a:gd name="T6" fmla="*/ 2147483647 w 414"/>
                    <a:gd name="T7" fmla="*/ 2147483647 h 528"/>
                    <a:gd name="T8" fmla="*/ 2147483647 w 414"/>
                    <a:gd name="T9" fmla="*/ 2147483647 h 528"/>
                    <a:gd name="T10" fmla="*/ 2147483647 w 414"/>
                    <a:gd name="T11" fmla="*/ 2147483647 h 528"/>
                    <a:gd name="T12" fmla="*/ 2147483647 w 414"/>
                    <a:gd name="T13" fmla="*/ 2147483647 h 528"/>
                    <a:gd name="T14" fmla="*/ 2147483647 w 414"/>
                    <a:gd name="T15" fmla="*/ 2147483647 h 528"/>
                    <a:gd name="T16" fmla="*/ 2147483647 w 414"/>
                    <a:gd name="T17" fmla="*/ 2147483647 h 528"/>
                    <a:gd name="T18" fmla="*/ 2147483647 w 414"/>
                    <a:gd name="T19" fmla="*/ 2147483647 h 528"/>
                    <a:gd name="T20" fmla="*/ 2147483647 w 414"/>
                    <a:gd name="T21" fmla="*/ 2147483647 h 528"/>
                    <a:gd name="T22" fmla="*/ 2147483647 w 414"/>
                    <a:gd name="T23" fmla="*/ 2147483647 h 528"/>
                    <a:gd name="T24" fmla="*/ 2147483647 w 414"/>
                    <a:gd name="T25" fmla="*/ 2147483647 h 528"/>
                    <a:gd name="T26" fmla="*/ 2147483647 w 414"/>
                    <a:gd name="T27" fmla="*/ 2147483647 h 528"/>
                    <a:gd name="T28" fmla="*/ 2147483647 w 414"/>
                    <a:gd name="T29" fmla="*/ 2147483647 h 528"/>
                    <a:gd name="T30" fmla="*/ 2147483647 w 414"/>
                    <a:gd name="T31" fmla="*/ 2147483647 h 528"/>
                    <a:gd name="T32" fmla="*/ 2147483647 w 414"/>
                    <a:gd name="T33" fmla="*/ 2147483647 h 528"/>
                    <a:gd name="T34" fmla="*/ 2147483647 w 414"/>
                    <a:gd name="T35" fmla="*/ 2147483647 h 528"/>
                    <a:gd name="T36" fmla="*/ 2147483647 w 414"/>
                    <a:gd name="T37" fmla="*/ 2147483647 h 528"/>
                    <a:gd name="T38" fmla="*/ 2147483647 w 414"/>
                    <a:gd name="T39" fmla="*/ 2147483647 h 528"/>
                    <a:gd name="T40" fmla="*/ 2147483647 w 414"/>
                    <a:gd name="T41" fmla="*/ 2147483647 h 528"/>
                    <a:gd name="T42" fmla="*/ 2147483647 w 414"/>
                    <a:gd name="T43" fmla="*/ 2147483647 h 528"/>
                    <a:gd name="T44" fmla="*/ 2147483647 w 414"/>
                    <a:gd name="T45" fmla="*/ 2147483647 h 528"/>
                    <a:gd name="T46" fmla="*/ 2147483647 w 414"/>
                    <a:gd name="T47" fmla="*/ 2147483647 h 528"/>
                    <a:gd name="T48" fmla="*/ 2147483647 w 414"/>
                    <a:gd name="T49" fmla="*/ 2147483647 h 528"/>
                    <a:gd name="T50" fmla="*/ 2147483647 w 414"/>
                    <a:gd name="T51" fmla="*/ 2147483647 h 528"/>
                    <a:gd name="T52" fmla="*/ 2147483647 w 414"/>
                    <a:gd name="T53" fmla="*/ 2147483647 h 528"/>
                    <a:gd name="T54" fmla="*/ 2147483647 w 414"/>
                    <a:gd name="T55" fmla="*/ 2147483647 h 528"/>
                    <a:gd name="T56" fmla="*/ 2147483647 w 414"/>
                    <a:gd name="T57" fmla="*/ 2147483647 h 528"/>
                    <a:gd name="T58" fmla="*/ 2147483647 w 414"/>
                    <a:gd name="T59" fmla="*/ 2147483647 h 528"/>
                    <a:gd name="T60" fmla="*/ 2147483647 w 414"/>
                    <a:gd name="T61" fmla="*/ 2147483647 h 528"/>
                    <a:gd name="T62" fmla="*/ 2147483647 w 414"/>
                    <a:gd name="T63" fmla="*/ 2147483647 h 528"/>
                    <a:gd name="T64" fmla="*/ 2147483647 w 414"/>
                    <a:gd name="T65" fmla="*/ 2147483647 h 528"/>
                    <a:gd name="T66" fmla="*/ 2147483647 w 414"/>
                    <a:gd name="T67" fmla="*/ 2147483647 h 528"/>
                    <a:gd name="T68" fmla="*/ 2147483647 w 414"/>
                    <a:gd name="T69" fmla="*/ 2147483647 h 528"/>
                    <a:gd name="T70" fmla="*/ 2147483647 w 414"/>
                    <a:gd name="T71" fmla="*/ 2147483647 h 528"/>
                    <a:gd name="T72" fmla="*/ 2147483647 w 414"/>
                    <a:gd name="T73" fmla="*/ 2147483647 h 528"/>
                    <a:gd name="T74" fmla="*/ 2147483647 w 414"/>
                    <a:gd name="T75" fmla="*/ 2147483647 h 528"/>
                    <a:gd name="T76" fmla="*/ 2147483647 w 414"/>
                    <a:gd name="T77" fmla="*/ 2147483647 h 528"/>
                    <a:gd name="T78" fmla="*/ 2147483647 w 414"/>
                    <a:gd name="T79" fmla="*/ 2147483647 h 528"/>
                    <a:gd name="T80" fmla="*/ 2147483647 w 414"/>
                    <a:gd name="T81" fmla="*/ 2147483647 h 528"/>
                    <a:gd name="T82" fmla="*/ 2147483647 w 414"/>
                    <a:gd name="T83" fmla="*/ 2147483647 h 528"/>
                    <a:gd name="T84" fmla="*/ 2147483647 w 414"/>
                    <a:gd name="T85" fmla="*/ 2147483647 h 528"/>
                    <a:gd name="T86" fmla="*/ 2147483647 w 414"/>
                    <a:gd name="T87" fmla="*/ 2147483647 h 528"/>
                    <a:gd name="T88" fmla="*/ 2147483647 w 414"/>
                    <a:gd name="T89" fmla="*/ 2147483647 h 528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414"/>
                    <a:gd name="T136" fmla="*/ 0 h 528"/>
                    <a:gd name="T137" fmla="*/ 414 w 414"/>
                    <a:gd name="T138" fmla="*/ 528 h 528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414" h="528">
                      <a:moveTo>
                        <a:pt x="60" y="372"/>
                      </a:moveTo>
                      <a:lnTo>
                        <a:pt x="72" y="366"/>
                      </a:lnTo>
                      <a:lnTo>
                        <a:pt x="78" y="360"/>
                      </a:lnTo>
                      <a:lnTo>
                        <a:pt x="78" y="342"/>
                      </a:lnTo>
                      <a:lnTo>
                        <a:pt x="72" y="342"/>
                      </a:lnTo>
                      <a:lnTo>
                        <a:pt x="54" y="360"/>
                      </a:lnTo>
                      <a:lnTo>
                        <a:pt x="54" y="372"/>
                      </a:lnTo>
                      <a:lnTo>
                        <a:pt x="60" y="372"/>
                      </a:lnTo>
                      <a:close/>
                      <a:moveTo>
                        <a:pt x="414" y="174"/>
                      </a:moveTo>
                      <a:lnTo>
                        <a:pt x="390" y="156"/>
                      </a:lnTo>
                      <a:lnTo>
                        <a:pt x="396" y="156"/>
                      </a:lnTo>
                      <a:lnTo>
                        <a:pt x="396" y="150"/>
                      </a:lnTo>
                      <a:lnTo>
                        <a:pt x="402" y="150"/>
                      </a:lnTo>
                      <a:lnTo>
                        <a:pt x="402" y="126"/>
                      </a:lnTo>
                      <a:lnTo>
                        <a:pt x="372" y="126"/>
                      </a:lnTo>
                      <a:lnTo>
                        <a:pt x="360" y="114"/>
                      </a:lnTo>
                      <a:lnTo>
                        <a:pt x="360" y="108"/>
                      </a:lnTo>
                      <a:lnTo>
                        <a:pt x="354" y="102"/>
                      </a:lnTo>
                      <a:lnTo>
                        <a:pt x="354" y="96"/>
                      </a:lnTo>
                      <a:lnTo>
                        <a:pt x="342" y="90"/>
                      </a:lnTo>
                      <a:lnTo>
                        <a:pt x="336" y="90"/>
                      </a:lnTo>
                      <a:lnTo>
                        <a:pt x="330" y="96"/>
                      </a:lnTo>
                      <a:lnTo>
                        <a:pt x="330" y="108"/>
                      </a:lnTo>
                      <a:lnTo>
                        <a:pt x="306" y="108"/>
                      </a:lnTo>
                      <a:lnTo>
                        <a:pt x="300" y="102"/>
                      </a:lnTo>
                      <a:lnTo>
                        <a:pt x="288" y="96"/>
                      </a:lnTo>
                      <a:lnTo>
                        <a:pt x="282" y="102"/>
                      </a:lnTo>
                      <a:lnTo>
                        <a:pt x="270" y="102"/>
                      </a:lnTo>
                      <a:lnTo>
                        <a:pt x="258" y="96"/>
                      </a:lnTo>
                      <a:lnTo>
                        <a:pt x="252" y="90"/>
                      </a:lnTo>
                      <a:lnTo>
                        <a:pt x="252" y="84"/>
                      </a:lnTo>
                      <a:lnTo>
                        <a:pt x="246" y="72"/>
                      </a:lnTo>
                      <a:lnTo>
                        <a:pt x="240" y="66"/>
                      </a:lnTo>
                      <a:lnTo>
                        <a:pt x="228" y="60"/>
                      </a:lnTo>
                      <a:lnTo>
                        <a:pt x="210" y="60"/>
                      </a:lnTo>
                      <a:lnTo>
                        <a:pt x="204" y="48"/>
                      </a:lnTo>
                      <a:lnTo>
                        <a:pt x="168" y="30"/>
                      </a:lnTo>
                      <a:lnTo>
                        <a:pt x="162" y="18"/>
                      </a:lnTo>
                      <a:lnTo>
                        <a:pt x="150" y="12"/>
                      </a:lnTo>
                      <a:lnTo>
                        <a:pt x="144" y="0"/>
                      </a:lnTo>
                      <a:lnTo>
                        <a:pt x="144" y="12"/>
                      </a:lnTo>
                      <a:lnTo>
                        <a:pt x="150" y="18"/>
                      </a:lnTo>
                      <a:lnTo>
                        <a:pt x="150" y="36"/>
                      </a:lnTo>
                      <a:lnTo>
                        <a:pt x="144" y="42"/>
                      </a:lnTo>
                      <a:lnTo>
                        <a:pt x="120" y="54"/>
                      </a:lnTo>
                      <a:lnTo>
                        <a:pt x="102" y="54"/>
                      </a:lnTo>
                      <a:lnTo>
                        <a:pt x="96" y="42"/>
                      </a:lnTo>
                      <a:lnTo>
                        <a:pt x="90" y="42"/>
                      </a:lnTo>
                      <a:lnTo>
                        <a:pt x="78" y="54"/>
                      </a:lnTo>
                      <a:lnTo>
                        <a:pt x="66" y="60"/>
                      </a:lnTo>
                      <a:lnTo>
                        <a:pt x="60" y="72"/>
                      </a:lnTo>
                      <a:lnTo>
                        <a:pt x="60" y="84"/>
                      </a:lnTo>
                      <a:lnTo>
                        <a:pt x="66" y="90"/>
                      </a:lnTo>
                      <a:lnTo>
                        <a:pt x="72" y="102"/>
                      </a:lnTo>
                      <a:lnTo>
                        <a:pt x="72" y="120"/>
                      </a:lnTo>
                      <a:lnTo>
                        <a:pt x="66" y="126"/>
                      </a:lnTo>
                      <a:lnTo>
                        <a:pt x="54" y="132"/>
                      </a:lnTo>
                      <a:lnTo>
                        <a:pt x="42" y="144"/>
                      </a:lnTo>
                      <a:lnTo>
                        <a:pt x="42" y="162"/>
                      </a:lnTo>
                      <a:lnTo>
                        <a:pt x="48" y="168"/>
                      </a:lnTo>
                      <a:lnTo>
                        <a:pt x="54" y="180"/>
                      </a:lnTo>
                      <a:lnTo>
                        <a:pt x="36" y="180"/>
                      </a:lnTo>
                      <a:lnTo>
                        <a:pt x="36" y="198"/>
                      </a:lnTo>
                      <a:lnTo>
                        <a:pt x="0" y="216"/>
                      </a:lnTo>
                      <a:lnTo>
                        <a:pt x="24" y="228"/>
                      </a:lnTo>
                      <a:lnTo>
                        <a:pt x="12" y="258"/>
                      </a:lnTo>
                      <a:lnTo>
                        <a:pt x="24" y="270"/>
                      </a:lnTo>
                      <a:lnTo>
                        <a:pt x="24" y="282"/>
                      </a:lnTo>
                      <a:lnTo>
                        <a:pt x="6" y="300"/>
                      </a:lnTo>
                      <a:lnTo>
                        <a:pt x="0" y="300"/>
                      </a:lnTo>
                      <a:lnTo>
                        <a:pt x="12" y="312"/>
                      </a:lnTo>
                      <a:lnTo>
                        <a:pt x="6" y="318"/>
                      </a:lnTo>
                      <a:lnTo>
                        <a:pt x="6" y="324"/>
                      </a:lnTo>
                      <a:lnTo>
                        <a:pt x="18" y="336"/>
                      </a:lnTo>
                      <a:lnTo>
                        <a:pt x="30" y="342"/>
                      </a:lnTo>
                      <a:lnTo>
                        <a:pt x="60" y="342"/>
                      </a:lnTo>
                      <a:lnTo>
                        <a:pt x="72" y="330"/>
                      </a:lnTo>
                      <a:lnTo>
                        <a:pt x="72" y="324"/>
                      </a:lnTo>
                      <a:lnTo>
                        <a:pt x="96" y="330"/>
                      </a:lnTo>
                      <a:lnTo>
                        <a:pt x="102" y="342"/>
                      </a:lnTo>
                      <a:lnTo>
                        <a:pt x="102" y="348"/>
                      </a:lnTo>
                      <a:lnTo>
                        <a:pt x="96" y="366"/>
                      </a:lnTo>
                      <a:lnTo>
                        <a:pt x="90" y="372"/>
                      </a:lnTo>
                      <a:lnTo>
                        <a:pt x="90" y="384"/>
                      </a:lnTo>
                      <a:lnTo>
                        <a:pt x="84" y="396"/>
                      </a:lnTo>
                      <a:lnTo>
                        <a:pt x="72" y="402"/>
                      </a:lnTo>
                      <a:lnTo>
                        <a:pt x="66" y="402"/>
                      </a:lnTo>
                      <a:lnTo>
                        <a:pt x="60" y="408"/>
                      </a:lnTo>
                      <a:lnTo>
                        <a:pt x="54" y="408"/>
                      </a:lnTo>
                      <a:lnTo>
                        <a:pt x="60" y="408"/>
                      </a:lnTo>
                      <a:lnTo>
                        <a:pt x="72" y="414"/>
                      </a:lnTo>
                      <a:lnTo>
                        <a:pt x="78" y="414"/>
                      </a:lnTo>
                      <a:lnTo>
                        <a:pt x="78" y="420"/>
                      </a:lnTo>
                      <a:lnTo>
                        <a:pt x="72" y="426"/>
                      </a:lnTo>
                      <a:lnTo>
                        <a:pt x="66" y="438"/>
                      </a:lnTo>
                      <a:lnTo>
                        <a:pt x="54" y="444"/>
                      </a:lnTo>
                      <a:lnTo>
                        <a:pt x="48" y="456"/>
                      </a:lnTo>
                      <a:lnTo>
                        <a:pt x="42" y="462"/>
                      </a:lnTo>
                      <a:lnTo>
                        <a:pt x="54" y="474"/>
                      </a:lnTo>
                      <a:lnTo>
                        <a:pt x="42" y="486"/>
                      </a:lnTo>
                      <a:lnTo>
                        <a:pt x="48" y="492"/>
                      </a:lnTo>
                      <a:lnTo>
                        <a:pt x="54" y="492"/>
                      </a:lnTo>
                      <a:lnTo>
                        <a:pt x="66" y="486"/>
                      </a:lnTo>
                      <a:lnTo>
                        <a:pt x="78" y="474"/>
                      </a:lnTo>
                      <a:lnTo>
                        <a:pt x="90" y="486"/>
                      </a:lnTo>
                      <a:lnTo>
                        <a:pt x="120" y="486"/>
                      </a:lnTo>
                      <a:lnTo>
                        <a:pt x="120" y="492"/>
                      </a:lnTo>
                      <a:lnTo>
                        <a:pt x="126" y="498"/>
                      </a:lnTo>
                      <a:lnTo>
                        <a:pt x="126" y="516"/>
                      </a:lnTo>
                      <a:lnTo>
                        <a:pt x="132" y="528"/>
                      </a:lnTo>
                      <a:lnTo>
                        <a:pt x="150" y="528"/>
                      </a:lnTo>
                      <a:lnTo>
                        <a:pt x="150" y="522"/>
                      </a:lnTo>
                      <a:lnTo>
                        <a:pt x="156" y="516"/>
                      </a:lnTo>
                      <a:lnTo>
                        <a:pt x="156" y="510"/>
                      </a:lnTo>
                      <a:lnTo>
                        <a:pt x="162" y="504"/>
                      </a:lnTo>
                      <a:lnTo>
                        <a:pt x="180" y="504"/>
                      </a:lnTo>
                      <a:lnTo>
                        <a:pt x="180" y="474"/>
                      </a:lnTo>
                      <a:lnTo>
                        <a:pt x="186" y="462"/>
                      </a:lnTo>
                      <a:lnTo>
                        <a:pt x="186" y="438"/>
                      </a:lnTo>
                      <a:lnTo>
                        <a:pt x="198" y="426"/>
                      </a:lnTo>
                      <a:lnTo>
                        <a:pt x="198" y="408"/>
                      </a:lnTo>
                      <a:lnTo>
                        <a:pt x="210" y="402"/>
                      </a:lnTo>
                      <a:lnTo>
                        <a:pt x="210" y="396"/>
                      </a:lnTo>
                      <a:lnTo>
                        <a:pt x="228" y="378"/>
                      </a:lnTo>
                      <a:lnTo>
                        <a:pt x="246" y="366"/>
                      </a:lnTo>
                      <a:lnTo>
                        <a:pt x="264" y="360"/>
                      </a:lnTo>
                      <a:lnTo>
                        <a:pt x="324" y="330"/>
                      </a:lnTo>
                      <a:lnTo>
                        <a:pt x="342" y="318"/>
                      </a:lnTo>
                      <a:lnTo>
                        <a:pt x="354" y="300"/>
                      </a:lnTo>
                      <a:lnTo>
                        <a:pt x="366" y="288"/>
                      </a:lnTo>
                      <a:lnTo>
                        <a:pt x="372" y="276"/>
                      </a:lnTo>
                      <a:lnTo>
                        <a:pt x="384" y="264"/>
                      </a:lnTo>
                      <a:lnTo>
                        <a:pt x="390" y="252"/>
                      </a:lnTo>
                      <a:lnTo>
                        <a:pt x="402" y="210"/>
                      </a:lnTo>
                      <a:lnTo>
                        <a:pt x="414" y="204"/>
                      </a:lnTo>
                      <a:lnTo>
                        <a:pt x="414" y="174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306" name="Dominican Republic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2189164" y="3432178"/>
                  <a:ext cx="100013" cy="68263"/>
                </a:xfrm>
                <a:custGeom>
                  <a:avLst/>
                  <a:gdLst>
                    <a:gd name="T0" fmla="*/ 2147483647 w 252"/>
                    <a:gd name="T1" fmla="*/ 2147483647 h 168"/>
                    <a:gd name="T2" fmla="*/ 2147483647 w 252"/>
                    <a:gd name="T3" fmla="*/ 2147483647 h 168"/>
                    <a:gd name="T4" fmla="*/ 2147483647 w 252"/>
                    <a:gd name="T5" fmla="*/ 2147483647 h 168"/>
                    <a:gd name="T6" fmla="*/ 2147483647 w 252"/>
                    <a:gd name="T7" fmla="*/ 2147483647 h 168"/>
                    <a:gd name="T8" fmla="*/ 2147483647 w 252"/>
                    <a:gd name="T9" fmla="*/ 2147483647 h 168"/>
                    <a:gd name="T10" fmla="*/ 2147483647 w 252"/>
                    <a:gd name="T11" fmla="*/ 2147483647 h 168"/>
                    <a:gd name="T12" fmla="*/ 2147483647 w 252"/>
                    <a:gd name="T13" fmla="*/ 2147483647 h 168"/>
                    <a:gd name="T14" fmla="*/ 2147483647 w 252"/>
                    <a:gd name="T15" fmla="*/ 2147483647 h 168"/>
                    <a:gd name="T16" fmla="*/ 2147483647 w 252"/>
                    <a:gd name="T17" fmla="*/ 2147483647 h 168"/>
                    <a:gd name="T18" fmla="*/ 2147483647 w 252"/>
                    <a:gd name="T19" fmla="*/ 2147483647 h 168"/>
                    <a:gd name="T20" fmla="*/ 2147483647 w 252"/>
                    <a:gd name="T21" fmla="*/ 0 h 168"/>
                    <a:gd name="T22" fmla="*/ 2147483647 w 252"/>
                    <a:gd name="T23" fmla="*/ 0 h 168"/>
                    <a:gd name="T24" fmla="*/ 2147483647 w 252"/>
                    <a:gd name="T25" fmla="*/ 2147483647 h 168"/>
                    <a:gd name="T26" fmla="*/ 2147483647 w 252"/>
                    <a:gd name="T27" fmla="*/ 2147483647 h 168"/>
                    <a:gd name="T28" fmla="*/ 2147483647 w 252"/>
                    <a:gd name="T29" fmla="*/ 2147483647 h 168"/>
                    <a:gd name="T30" fmla="*/ 2147483647 w 252"/>
                    <a:gd name="T31" fmla="*/ 2147483647 h 168"/>
                    <a:gd name="T32" fmla="*/ 2147483647 w 252"/>
                    <a:gd name="T33" fmla="*/ 2147483647 h 168"/>
                    <a:gd name="T34" fmla="*/ 2147483647 w 252"/>
                    <a:gd name="T35" fmla="*/ 2147483647 h 168"/>
                    <a:gd name="T36" fmla="*/ 2147483647 w 252"/>
                    <a:gd name="T37" fmla="*/ 2147483647 h 168"/>
                    <a:gd name="T38" fmla="*/ 2147483647 w 252"/>
                    <a:gd name="T39" fmla="*/ 2147483647 h 168"/>
                    <a:gd name="T40" fmla="*/ 2147483647 w 252"/>
                    <a:gd name="T41" fmla="*/ 2147483647 h 168"/>
                    <a:gd name="T42" fmla="*/ 0 w 252"/>
                    <a:gd name="T43" fmla="*/ 2147483647 h 168"/>
                    <a:gd name="T44" fmla="*/ 0 w 252"/>
                    <a:gd name="T45" fmla="*/ 2147483647 h 168"/>
                    <a:gd name="T46" fmla="*/ 2147483647 w 252"/>
                    <a:gd name="T47" fmla="*/ 2147483647 h 168"/>
                    <a:gd name="T48" fmla="*/ 0 w 252"/>
                    <a:gd name="T49" fmla="*/ 2147483647 h 168"/>
                    <a:gd name="T50" fmla="*/ 2147483647 w 252"/>
                    <a:gd name="T51" fmla="*/ 2147483647 h 168"/>
                    <a:gd name="T52" fmla="*/ 2147483647 w 252"/>
                    <a:gd name="T53" fmla="*/ 2147483647 h 168"/>
                    <a:gd name="T54" fmla="*/ 2147483647 w 252"/>
                    <a:gd name="T55" fmla="*/ 2147483647 h 168"/>
                    <a:gd name="T56" fmla="*/ 2147483647 w 252"/>
                    <a:gd name="T57" fmla="*/ 2147483647 h 168"/>
                    <a:gd name="T58" fmla="*/ 2147483647 w 252"/>
                    <a:gd name="T59" fmla="*/ 2147483647 h 168"/>
                    <a:gd name="T60" fmla="*/ 2147483647 w 252"/>
                    <a:gd name="T61" fmla="*/ 2147483647 h 168"/>
                    <a:gd name="T62" fmla="*/ 2147483647 w 252"/>
                    <a:gd name="T63" fmla="*/ 2147483647 h 168"/>
                    <a:gd name="T64" fmla="*/ 2147483647 w 252"/>
                    <a:gd name="T65" fmla="*/ 2147483647 h 168"/>
                    <a:gd name="T66" fmla="*/ 2147483647 w 252"/>
                    <a:gd name="T67" fmla="*/ 2147483647 h 16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52"/>
                    <a:gd name="T103" fmla="*/ 0 h 168"/>
                    <a:gd name="T104" fmla="*/ 252 w 252"/>
                    <a:gd name="T105" fmla="*/ 168 h 16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52" h="168">
                      <a:moveTo>
                        <a:pt x="246" y="102"/>
                      </a:moveTo>
                      <a:lnTo>
                        <a:pt x="234" y="96"/>
                      </a:lnTo>
                      <a:lnTo>
                        <a:pt x="216" y="78"/>
                      </a:lnTo>
                      <a:lnTo>
                        <a:pt x="192" y="66"/>
                      </a:lnTo>
                      <a:lnTo>
                        <a:pt x="156" y="54"/>
                      </a:lnTo>
                      <a:lnTo>
                        <a:pt x="132" y="42"/>
                      </a:lnTo>
                      <a:lnTo>
                        <a:pt x="126" y="30"/>
                      </a:lnTo>
                      <a:lnTo>
                        <a:pt x="108" y="12"/>
                      </a:lnTo>
                      <a:lnTo>
                        <a:pt x="96" y="6"/>
                      </a:lnTo>
                      <a:lnTo>
                        <a:pt x="84" y="6"/>
                      </a:lnTo>
                      <a:lnTo>
                        <a:pt x="60" y="0"/>
                      </a:lnTo>
                      <a:lnTo>
                        <a:pt x="30" y="0"/>
                      </a:lnTo>
                      <a:lnTo>
                        <a:pt x="24" y="6"/>
                      </a:lnTo>
                      <a:lnTo>
                        <a:pt x="18" y="6"/>
                      </a:lnTo>
                      <a:lnTo>
                        <a:pt x="30" y="42"/>
                      </a:lnTo>
                      <a:lnTo>
                        <a:pt x="30" y="54"/>
                      </a:lnTo>
                      <a:lnTo>
                        <a:pt x="24" y="60"/>
                      </a:lnTo>
                      <a:lnTo>
                        <a:pt x="18" y="72"/>
                      </a:lnTo>
                      <a:lnTo>
                        <a:pt x="12" y="78"/>
                      </a:lnTo>
                      <a:lnTo>
                        <a:pt x="12" y="90"/>
                      </a:lnTo>
                      <a:lnTo>
                        <a:pt x="6" y="102"/>
                      </a:lnTo>
                      <a:lnTo>
                        <a:pt x="0" y="108"/>
                      </a:lnTo>
                      <a:lnTo>
                        <a:pt x="0" y="114"/>
                      </a:lnTo>
                      <a:lnTo>
                        <a:pt x="12" y="144"/>
                      </a:lnTo>
                      <a:lnTo>
                        <a:pt x="0" y="126"/>
                      </a:lnTo>
                      <a:lnTo>
                        <a:pt x="30" y="168"/>
                      </a:lnTo>
                      <a:lnTo>
                        <a:pt x="78" y="132"/>
                      </a:lnTo>
                      <a:lnTo>
                        <a:pt x="174" y="132"/>
                      </a:lnTo>
                      <a:lnTo>
                        <a:pt x="186" y="138"/>
                      </a:lnTo>
                      <a:lnTo>
                        <a:pt x="240" y="138"/>
                      </a:lnTo>
                      <a:lnTo>
                        <a:pt x="246" y="132"/>
                      </a:lnTo>
                      <a:lnTo>
                        <a:pt x="252" y="120"/>
                      </a:lnTo>
                      <a:lnTo>
                        <a:pt x="252" y="114"/>
                      </a:lnTo>
                      <a:lnTo>
                        <a:pt x="246" y="102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307" name="Cuba" descr="© INSCALE GmbH, 05.05.2010&#10;http://www.presentationload.com/"/>
                <p:cNvSpPr>
                  <a:spLocks noEditPoints="1"/>
                </p:cNvSpPr>
                <p:nvPr/>
              </p:nvSpPr>
              <p:spPr bwMode="gray">
                <a:xfrm>
                  <a:off x="1838325" y="3324227"/>
                  <a:ext cx="296863" cy="107950"/>
                </a:xfrm>
                <a:custGeom>
                  <a:avLst/>
                  <a:gdLst>
                    <a:gd name="T0" fmla="*/ 2147483647 w 738"/>
                    <a:gd name="T1" fmla="*/ 2147483647 h 270"/>
                    <a:gd name="T2" fmla="*/ 2147483647 w 738"/>
                    <a:gd name="T3" fmla="*/ 2147483647 h 270"/>
                    <a:gd name="T4" fmla="*/ 2147483647 w 738"/>
                    <a:gd name="T5" fmla="*/ 2147483647 h 270"/>
                    <a:gd name="T6" fmla="*/ 2147483647 w 738"/>
                    <a:gd name="T7" fmla="*/ 2147483647 h 270"/>
                    <a:gd name="T8" fmla="*/ 2147483647 w 738"/>
                    <a:gd name="T9" fmla="*/ 2147483647 h 270"/>
                    <a:gd name="T10" fmla="*/ 2147483647 w 738"/>
                    <a:gd name="T11" fmla="*/ 2147483647 h 270"/>
                    <a:gd name="T12" fmla="*/ 2147483647 w 738"/>
                    <a:gd name="T13" fmla="*/ 2147483647 h 270"/>
                    <a:gd name="T14" fmla="*/ 2147483647 w 738"/>
                    <a:gd name="T15" fmla="*/ 2147483647 h 270"/>
                    <a:gd name="T16" fmla="*/ 2147483647 w 738"/>
                    <a:gd name="T17" fmla="*/ 2147483647 h 270"/>
                    <a:gd name="T18" fmla="*/ 2147483647 w 738"/>
                    <a:gd name="T19" fmla="*/ 2147483647 h 270"/>
                    <a:gd name="T20" fmla="*/ 2147483647 w 738"/>
                    <a:gd name="T21" fmla="*/ 2147483647 h 270"/>
                    <a:gd name="T22" fmla="*/ 2147483647 w 738"/>
                    <a:gd name="T23" fmla="*/ 2147483647 h 270"/>
                    <a:gd name="T24" fmla="*/ 2147483647 w 738"/>
                    <a:gd name="T25" fmla="*/ 2147483647 h 270"/>
                    <a:gd name="T26" fmla="*/ 2147483647 w 738"/>
                    <a:gd name="T27" fmla="*/ 2147483647 h 270"/>
                    <a:gd name="T28" fmla="*/ 2147483647 w 738"/>
                    <a:gd name="T29" fmla="*/ 2147483647 h 270"/>
                    <a:gd name="T30" fmla="*/ 2147483647 w 738"/>
                    <a:gd name="T31" fmla="*/ 2147483647 h 270"/>
                    <a:gd name="T32" fmla="*/ 2147483647 w 738"/>
                    <a:gd name="T33" fmla="*/ 2147483647 h 270"/>
                    <a:gd name="T34" fmla="*/ 2147483647 w 738"/>
                    <a:gd name="T35" fmla="*/ 2147483647 h 270"/>
                    <a:gd name="T36" fmla="*/ 2147483647 w 738"/>
                    <a:gd name="T37" fmla="*/ 0 h 270"/>
                    <a:gd name="T38" fmla="*/ 2147483647 w 738"/>
                    <a:gd name="T39" fmla="*/ 2147483647 h 270"/>
                    <a:gd name="T40" fmla="*/ 2147483647 w 738"/>
                    <a:gd name="T41" fmla="*/ 2147483647 h 270"/>
                    <a:gd name="T42" fmla="*/ 2147483647 w 738"/>
                    <a:gd name="T43" fmla="*/ 2147483647 h 270"/>
                    <a:gd name="T44" fmla="*/ 2147483647 w 738"/>
                    <a:gd name="T45" fmla="*/ 2147483647 h 270"/>
                    <a:gd name="T46" fmla="*/ 2147483647 w 738"/>
                    <a:gd name="T47" fmla="*/ 2147483647 h 270"/>
                    <a:gd name="T48" fmla="*/ 2147483647 w 738"/>
                    <a:gd name="T49" fmla="*/ 2147483647 h 270"/>
                    <a:gd name="T50" fmla="*/ 2147483647 w 738"/>
                    <a:gd name="T51" fmla="*/ 2147483647 h 270"/>
                    <a:gd name="T52" fmla="*/ 2147483647 w 738"/>
                    <a:gd name="T53" fmla="*/ 2147483647 h 270"/>
                    <a:gd name="T54" fmla="*/ 2147483647 w 738"/>
                    <a:gd name="T55" fmla="*/ 2147483647 h 270"/>
                    <a:gd name="T56" fmla="*/ 2147483647 w 738"/>
                    <a:gd name="T57" fmla="*/ 2147483647 h 270"/>
                    <a:gd name="T58" fmla="*/ 2147483647 w 738"/>
                    <a:gd name="T59" fmla="*/ 2147483647 h 270"/>
                    <a:gd name="T60" fmla="*/ 2147483647 w 738"/>
                    <a:gd name="T61" fmla="*/ 2147483647 h 270"/>
                    <a:gd name="T62" fmla="*/ 2147483647 w 738"/>
                    <a:gd name="T63" fmla="*/ 2147483647 h 270"/>
                    <a:gd name="T64" fmla="*/ 2147483647 w 738"/>
                    <a:gd name="T65" fmla="*/ 2147483647 h 270"/>
                    <a:gd name="T66" fmla="*/ 2147483647 w 738"/>
                    <a:gd name="T67" fmla="*/ 2147483647 h 270"/>
                    <a:gd name="T68" fmla="*/ 2147483647 w 738"/>
                    <a:gd name="T69" fmla="*/ 2147483647 h 270"/>
                    <a:gd name="T70" fmla="*/ 2147483647 w 738"/>
                    <a:gd name="T71" fmla="*/ 2147483647 h 270"/>
                    <a:gd name="T72" fmla="*/ 2147483647 w 738"/>
                    <a:gd name="T73" fmla="*/ 2147483647 h 270"/>
                    <a:gd name="T74" fmla="*/ 2147483647 w 738"/>
                    <a:gd name="T75" fmla="*/ 2147483647 h 270"/>
                    <a:gd name="T76" fmla="*/ 2147483647 w 738"/>
                    <a:gd name="T77" fmla="*/ 2147483647 h 270"/>
                    <a:gd name="T78" fmla="*/ 2147483647 w 738"/>
                    <a:gd name="T79" fmla="*/ 2147483647 h 270"/>
                    <a:gd name="T80" fmla="*/ 2147483647 w 738"/>
                    <a:gd name="T81" fmla="*/ 2147483647 h 270"/>
                    <a:gd name="T82" fmla="*/ 2147483647 w 738"/>
                    <a:gd name="T83" fmla="*/ 2147483647 h 270"/>
                    <a:gd name="T84" fmla="*/ 2147483647 w 738"/>
                    <a:gd name="T85" fmla="*/ 2147483647 h 270"/>
                    <a:gd name="T86" fmla="*/ 2147483647 w 738"/>
                    <a:gd name="T87" fmla="*/ 2147483647 h 270"/>
                    <a:gd name="T88" fmla="*/ 2147483647 w 738"/>
                    <a:gd name="T89" fmla="*/ 2147483647 h 270"/>
                    <a:gd name="T90" fmla="*/ 2147483647 w 738"/>
                    <a:gd name="T91" fmla="*/ 2147483647 h 270"/>
                    <a:gd name="T92" fmla="*/ 2147483647 w 738"/>
                    <a:gd name="T93" fmla="*/ 2147483647 h 270"/>
                    <a:gd name="T94" fmla="*/ 2147483647 w 738"/>
                    <a:gd name="T95" fmla="*/ 2147483647 h 270"/>
                    <a:gd name="T96" fmla="*/ 2147483647 w 738"/>
                    <a:gd name="T97" fmla="*/ 2147483647 h 270"/>
                    <a:gd name="T98" fmla="*/ 2147483647 w 738"/>
                    <a:gd name="T99" fmla="*/ 2147483647 h 270"/>
                    <a:gd name="T100" fmla="*/ 2147483647 w 738"/>
                    <a:gd name="T101" fmla="*/ 2147483647 h 270"/>
                    <a:gd name="T102" fmla="*/ 2147483647 w 738"/>
                    <a:gd name="T103" fmla="*/ 2147483647 h 270"/>
                    <a:gd name="T104" fmla="*/ 2147483647 w 738"/>
                    <a:gd name="T105" fmla="*/ 2147483647 h 270"/>
                    <a:gd name="T106" fmla="*/ 2147483647 w 738"/>
                    <a:gd name="T107" fmla="*/ 2147483647 h 270"/>
                    <a:gd name="T108" fmla="*/ 2147483647 w 738"/>
                    <a:gd name="T109" fmla="*/ 2147483647 h 270"/>
                    <a:gd name="T110" fmla="*/ 2147483647 w 738"/>
                    <a:gd name="T111" fmla="*/ 2147483647 h 270"/>
                    <a:gd name="T112" fmla="*/ 2147483647 w 738"/>
                    <a:gd name="T113" fmla="*/ 2147483647 h 270"/>
                    <a:gd name="T114" fmla="*/ 2147483647 w 738"/>
                    <a:gd name="T115" fmla="*/ 2147483647 h 270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738"/>
                    <a:gd name="T175" fmla="*/ 0 h 270"/>
                    <a:gd name="T176" fmla="*/ 738 w 738"/>
                    <a:gd name="T177" fmla="*/ 270 h 270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738" h="270">
                      <a:moveTo>
                        <a:pt x="708" y="228"/>
                      </a:moveTo>
                      <a:lnTo>
                        <a:pt x="690" y="222"/>
                      </a:lnTo>
                      <a:lnTo>
                        <a:pt x="666" y="222"/>
                      </a:lnTo>
                      <a:lnTo>
                        <a:pt x="666" y="204"/>
                      </a:lnTo>
                      <a:lnTo>
                        <a:pt x="660" y="198"/>
                      </a:lnTo>
                      <a:lnTo>
                        <a:pt x="648" y="192"/>
                      </a:lnTo>
                      <a:lnTo>
                        <a:pt x="600" y="192"/>
                      </a:lnTo>
                      <a:lnTo>
                        <a:pt x="624" y="168"/>
                      </a:lnTo>
                      <a:lnTo>
                        <a:pt x="612" y="168"/>
                      </a:lnTo>
                      <a:lnTo>
                        <a:pt x="600" y="162"/>
                      </a:lnTo>
                      <a:lnTo>
                        <a:pt x="558" y="162"/>
                      </a:lnTo>
                      <a:lnTo>
                        <a:pt x="534" y="150"/>
                      </a:lnTo>
                      <a:lnTo>
                        <a:pt x="528" y="144"/>
                      </a:lnTo>
                      <a:lnTo>
                        <a:pt x="522" y="144"/>
                      </a:lnTo>
                      <a:lnTo>
                        <a:pt x="528" y="138"/>
                      </a:lnTo>
                      <a:lnTo>
                        <a:pt x="528" y="132"/>
                      </a:lnTo>
                      <a:lnTo>
                        <a:pt x="534" y="126"/>
                      </a:lnTo>
                      <a:lnTo>
                        <a:pt x="534" y="120"/>
                      </a:lnTo>
                      <a:lnTo>
                        <a:pt x="522" y="120"/>
                      </a:lnTo>
                      <a:lnTo>
                        <a:pt x="510" y="114"/>
                      </a:lnTo>
                      <a:lnTo>
                        <a:pt x="504" y="114"/>
                      </a:lnTo>
                      <a:lnTo>
                        <a:pt x="474" y="84"/>
                      </a:lnTo>
                      <a:lnTo>
                        <a:pt x="462" y="78"/>
                      </a:lnTo>
                      <a:lnTo>
                        <a:pt x="450" y="66"/>
                      </a:lnTo>
                      <a:lnTo>
                        <a:pt x="432" y="66"/>
                      </a:lnTo>
                      <a:lnTo>
                        <a:pt x="432" y="84"/>
                      </a:lnTo>
                      <a:lnTo>
                        <a:pt x="444" y="96"/>
                      </a:lnTo>
                      <a:lnTo>
                        <a:pt x="450" y="96"/>
                      </a:lnTo>
                      <a:lnTo>
                        <a:pt x="378" y="60"/>
                      </a:lnTo>
                      <a:lnTo>
                        <a:pt x="372" y="54"/>
                      </a:lnTo>
                      <a:lnTo>
                        <a:pt x="360" y="48"/>
                      </a:lnTo>
                      <a:lnTo>
                        <a:pt x="354" y="36"/>
                      </a:lnTo>
                      <a:lnTo>
                        <a:pt x="342" y="30"/>
                      </a:lnTo>
                      <a:lnTo>
                        <a:pt x="330" y="18"/>
                      </a:lnTo>
                      <a:lnTo>
                        <a:pt x="270" y="18"/>
                      </a:lnTo>
                      <a:lnTo>
                        <a:pt x="258" y="12"/>
                      </a:lnTo>
                      <a:lnTo>
                        <a:pt x="228" y="6"/>
                      </a:lnTo>
                      <a:lnTo>
                        <a:pt x="174" y="0"/>
                      </a:lnTo>
                      <a:lnTo>
                        <a:pt x="126" y="6"/>
                      </a:lnTo>
                      <a:lnTo>
                        <a:pt x="96" y="18"/>
                      </a:lnTo>
                      <a:lnTo>
                        <a:pt x="72" y="42"/>
                      </a:lnTo>
                      <a:lnTo>
                        <a:pt x="60" y="48"/>
                      </a:lnTo>
                      <a:lnTo>
                        <a:pt x="42" y="60"/>
                      </a:lnTo>
                      <a:lnTo>
                        <a:pt x="24" y="66"/>
                      </a:lnTo>
                      <a:lnTo>
                        <a:pt x="12" y="72"/>
                      </a:lnTo>
                      <a:lnTo>
                        <a:pt x="6" y="78"/>
                      </a:lnTo>
                      <a:lnTo>
                        <a:pt x="0" y="78"/>
                      </a:lnTo>
                      <a:lnTo>
                        <a:pt x="72" y="72"/>
                      </a:lnTo>
                      <a:lnTo>
                        <a:pt x="72" y="60"/>
                      </a:lnTo>
                      <a:lnTo>
                        <a:pt x="150" y="54"/>
                      </a:lnTo>
                      <a:lnTo>
                        <a:pt x="174" y="42"/>
                      </a:lnTo>
                      <a:lnTo>
                        <a:pt x="198" y="42"/>
                      </a:lnTo>
                      <a:lnTo>
                        <a:pt x="222" y="54"/>
                      </a:lnTo>
                      <a:lnTo>
                        <a:pt x="222" y="60"/>
                      </a:lnTo>
                      <a:lnTo>
                        <a:pt x="216" y="60"/>
                      </a:lnTo>
                      <a:lnTo>
                        <a:pt x="210" y="66"/>
                      </a:lnTo>
                      <a:lnTo>
                        <a:pt x="198" y="66"/>
                      </a:lnTo>
                      <a:lnTo>
                        <a:pt x="192" y="72"/>
                      </a:lnTo>
                      <a:lnTo>
                        <a:pt x="186" y="72"/>
                      </a:lnTo>
                      <a:lnTo>
                        <a:pt x="204" y="78"/>
                      </a:lnTo>
                      <a:lnTo>
                        <a:pt x="210" y="78"/>
                      </a:lnTo>
                      <a:lnTo>
                        <a:pt x="216" y="84"/>
                      </a:lnTo>
                      <a:lnTo>
                        <a:pt x="228" y="90"/>
                      </a:lnTo>
                      <a:lnTo>
                        <a:pt x="246" y="96"/>
                      </a:lnTo>
                      <a:lnTo>
                        <a:pt x="258" y="102"/>
                      </a:lnTo>
                      <a:lnTo>
                        <a:pt x="276" y="102"/>
                      </a:lnTo>
                      <a:lnTo>
                        <a:pt x="282" y="96"/>
                      </a:lnTo>
                      <a:lnTo>
                        <a:pt x="282" y="90"/>
                      </a:lnTo>
                      <a:lnTo>
                        <a:pt x="294" y="96"/>
                      </a:lnTo>
                      <a:lnTo>
                        <a:pt x="300" y="102"/>
                      </a:lnTo>
                      <a:lnTo>
                        <a:pt x="318" y="114"/>
                      </a:lnTo>
                      <a:lnTo>
                        <a:pt x="342" y="126"/>
                      </a:lnTo>
                      <a:lnTo>
                        <a:pt x="372" y="126"/>
                      </a:lnTo>
                      <a:lnTo>
                        <a:pt x="390" y="120"/>
                      </a:lnTo>
                      <a:lnTo>
                        <a:pt x="402" y="120"/>
                      </a:lnTo>
                      <a:lnTo>
                        <a:pt x="390" y="144"/>
                      </a:lnTo>
                      <a:lnTo>
                        <a:pt x="450" y="168"/>
                      </a:lnTo>
                      <a:lnTo>
                        <a:pt x="474" y="204"/>
                      </a:lnTo>
                      <a:lnTo>
                        <a:pt x="480" y="210"/>
                      </a:lnTo>
                      <a:lnTo>
                        <a:pt x="492" y="216"/>
                      </a:lnTo>
                      <a:lnTo>
                        <a:pt x="498" y="222"/>
                      </a:lnTo>
                      <a:lnTo>
                        <a:pt x="498" y="228"/>
                      </a:lnTo>
                      <a:lnTo>
                        <a:pt x="474" y="252"/>
                      </a:lnTo>
                      <a:lnTo>
                        <a:pt x="474" y="258"/>
                      </a:lnTo>
                      <a:lnTo>
                        <a:pt x="480" y="264"/>
                      </a:lnTo>
                      <a:lnTo>
                        <a:pt x="492" y="258"/>
                      </a:lnTo>
                      <a:lnTo>
                        <a:pt x="504" y="258"/>
                      </a:lnTo>
                      <a:lnTo>
                        <a:pt x="528" y="246"/>
                      </a:lnTo>
                      <a:lnTo>
                        <a:pt x="558" y="246"/>
                      </a:lnTo>
                      <a:lnTo>
                        <a:pt x="558" y="252"/>
                      </a:lnTo>
                      <a:lnTo>
                        <a:pt x="552" y="252"/>
                      </a:lnTo>
                      <a:lnTo>
                        <a:pt x="546" y="258"/>
                      </a:lnTo>
                      <a:lnTo>
                        <a:pt x="546" y="264"/>
                      </a:lnTo>
                      <a:lnTo>
                        <a:pt x="558" y="264"/>
                      </a:lnTo>
                      <a:lnTo>
                        <a:pt x="564" y="270"/>
                      </a:lnTo>
                      <a:lnTo>
                        <a:pt x="612" y="270"/>
                      </a:lnTo>
                      <a:lnTo>
                        <a:pt x="636" y="264"/>
                      </a:lnTo>
                      <a:lnTo>
                        <a:pt x="684" y="258"/>
                      </a:lnTo>
                      <a:lnTo>
                        <a:pt x="720" y="252"/>
                      </a:lnTo>
                      <a:lnTo>
                        <a:pt x="738" y="246"/>
                      </a:lnTo>
                      <a:lnTo>
                        <a:pt x="738" y="240"/>
                      </a:lnTo>
                      <a:lnTo>
                        <a:pt x="732" y="234"/>
                      </a:lnTo>
                      <a:lnTo>
                        <a:pt x="720" y="228"/>
                      </a:lnTo>
                      <a:lnTo>
                        <a:pt x="708" y="228"/>
                      </a:lnTo>
                      <a:close/>
                      <a:moveTo>
                        <a:pt x="114" y="126"/>
                      </a:moveTo>
                      <a:lnTo>
                        <a:pt x="114" y="132"/>
                      </a:lnTo>
                      <a:lnTo>
                        <a:pt x="120" y="138"/>
                      </a:lnTo>
                      <a:lnTo>
                        <a:pt x="132" y="144"/>
                      </a:lnTo>
                      <a:lnTo>
                        <a:pt x="144" y="138"/>
                      </a:lnTo>
                      <a:lnTo>
                        <a:pt x="150" y="138"/>
                      </a:lnTo>
                      <a:lnTo>
                        <a:pt x="156" y="126"/>
                      </a:lnTo>
                      <a:lnTo>
                        <a:pt x="156" y="120"/>
                      </a:lnTo>
                      <a:lnTo>
                        <a:pt x="150" y="114"/>
                      </a:lnTo>
                      <a:lnTo>
                        <a:pt x="138" y="114"/>
                      </a:lnTo>
                      <a:lnTo>
                        <a:pt x="126" y="120"/>
                      </a:lnTo>
                      <a:lnTo>
                        <a:pt x="120" y="120"/>
                      </a:lnTo>
                      <a:lnTo>
                        <a:pt x="114" y="126"/>
                      </a:ln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spcBef>
                      <a:spcPct val="0"/>
                    </a:spcBef>
                    <a:defRPr/>
                  </a:pPr>
                  <a:endParaRPr lang="en-US" dirty="0">
                    <a:solidFill>
                      <a:srgbClr val="000000"/>
                    </a:solidFill>
                    <a:latin typeface="Calibri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308" name="Costa Rica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1763713" y="3713165"/>
                  <a:ext cx="96838" cy="93663"/>
                </a:xfrm>
                <a:custGeom>
                  <a:avLst/>
                  <a:gdLst>
                    <a:gd name="T0" fmla="*/ 2147483647 w 240"/>
                    <a:gd name="T1" fmla="*/ 2147483647 h 228"/>
                    <a:gd name="T2" fmla="*/ 2147483647 w 240"/>
                    <a:gd name="T3" fmla="*/ 2147483647 h 228"/>
                    <a:gd name="T4" fmla="*/ 2147483647 w 240"/>
                    <a:gd name="T5" fmla="*/ 2147483647 h 228"/>
                    <a:gd name="T6" fmla="*/ 2147483647 w 240"/>
                    <a:gd name="T7" fmla="*/ 2147483647 h 228"/>
                    <a:gd name="T8" fmla="*/ 2147483647 w 240"/>
                    <a:gd name="T9" fmla="*/ 2147483647 h 228"/>
                    <a:gd name="T10" fmla="*/ 2147483647 w 240"/>
                    <a:gd name="T11" fmla="*/ 2147483647 h 228"/>
                    <a:gd name="T12" fmla="*/ 2147483647 w 240"/>
                    <a:gd name="T13" fmla="*/ 2147483647 h 228"/>
                    <a:gd name="T14" fmla="*/ 2147483647 w 240"/>
                    <a:gd name="T15" fmla="*/ 2147483647 h 228"/>
                    <a:gd name="T16" fmla="*/ 2147483647 w 240"/>
                    <a:gd name="T17" fmla="*/ 2147483647 h 228"/>
                    <a:gd name="T18" fmla="*/ 2147483647 w 240"/>
                    <a:gd name="T19" fmla="*/ 2147483647 h 228"/>
                    <a:gd name="T20" fmla="*/ 2147483647 w 240"/>
                    <a:gd name="T21" fmla="*/ 2147483647 h 228"/>
                    <a:gd name="T22" fmla="*/ 2147483647 w 240"/>
                    <a:gd name="T23" fmla="*/ 2147483647 h 228"/>
                    <a:gd name="T24" fmla="*/ 2147483647 w 240"/>
                    <a:gd name="T25" fmla="*/ 2147483647 h 228"/>
                    <a:gd name="T26" fmla="*/ 2147483647 w 240"/>
                    <a:gd name="T27" fmla="*/ 2147483647 h 228"/>
                    <a:gd name="T28" fmla="*/ 2147483647 w 240"/>
                    <a:gd name="T29" fmla="*/ 2147483647 h 228"/>
                    <a:gd name="T30" fmla="*/ 2147483647 w 240"/>
                    <a:gd name="T31" fmla="*/ 0 h 228"/>
                    <a:gd name="T32" fmla="*/ 2147483647 w 240"/>
                    <a:gd name="T33" fmla="*/ 2147483647 h 228"/>
                    <a:gd name="T34" fmla="*/ 2147483647 w 240"/>
                    <a:gd name="T35" fmla="*/ 2147483647 h 228"/>
                    <a:gd name="T36" fmla="*/ 0 w 240"/>
                    <a:gd name="T37" fmla="*/ 2147483647 h 228"/>
                    <a:gd name="T38" fmla="*/ 2147483647 w 240"/>
                    <a:gd name="T39" fmla="*/ 2147483647 h 228"/>
                    <a:gd name="T40" fmla="*/ 2147483647 w 240"/>
                    <a:gd name="T41" fmla="*/ 2147483647 h 228"/>
                    <a:gd name="T42" fmla="*/ 2147483647 w 240"/>
                    <a:gd name="T43" fmla="*/ 2147483647 h 228"/>
                    <a:gd name="T44" fmla="*/ 2147483647 w 240"/>
                    <a:gd name="T45" fmla="*/ 2147483647 h 228"/>
                    <a:gd name="T46" fmla="*/ 2147483647 w 240"/>
                    <a:gd name="T47" fmla="*/ 2147483647 h 228"/>
                    <a:gd name="T48" fmla="*/ 2147483647 w 240"/>
                    <a:gd name="T49" fmla="*/ 2147483647 h 228"/>
                    <a:gd name="T50" fmla="*/ 2147483647 w 240"/>
                    <a:gd name="T51" fmla="*/ 2147483647 h 228"/>
                    <a:gd name="T52" fmla="*/ 2147483647 w 240"/>
                    <a:gd name="T53" fmla="*/ 2147483647 h 228"/>
                    <a:gd name="T54" fmla="*/ 2147483647 w 240"/>
                    <a:gd name="T55" fmla="*/ 2147483647 h 228"/>
                    <a:gd name="T56" fmla="*/ 2147483647 w 240"/>
                    <a:gd name="T57" fmla="*/ 2147483647 h 228"/>
                    <a:gd name="T58" fmla="*/ 2147483647 w 240"/>
                    <a:gd name="T59" fmla="*/ 2147483647 h 228"/>
                    <a:gd name="T60" fmla="*/ 2147483647 w 240"/>
                    <a:gd name="T61" fmla="*/ 2147483647 h 228"/>
                    <a:gd name="T62" fmla="*/ 2147483647 w 240"/>
                    <a:gd name="T63" fmla="*/ 2147483647 h 228"/>
                    <a:gd name="T64" fmla="*/ 2147483647 w 240"/>
                    <a:gd name="T65" fmla="*/ 2147483647 h 228"/>
                    <a:gd name="T66" fmla="*/ 2147483647 w 240"/>
                    <a:gd name="T67" fmla="*/ 2147483647 h 22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40"/>
                    <a:gd name="T103" fmla="*/ 0 h 228"/>
                    <a:gd name="T104" fmla="*/ 240 w 240"/>
                    <a:gd name="T105" fmla="*/ 228 h 22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40" h="228">
                      <a:moveTo>
                        <a:pt x="210" y="198"/>
                      </a:moveTo>
                      <a:lnTo>
                        <a:pt x="216" y="198"/>
                      </a:lnTo>
                      <a:lnTo>
                        <a:pt x="234" y="180"/>
                      </a:lnTo>
                      <a:lnTo>
                        <a:pt x="228" y="174"/>
                      </a:lnTo>
                      <a:lnTo>
                        <a:pt x="210" y="174"/>
                      </a:lnTo>
                      <a:lnTo>
                        <a:pt x="210" y="168"/>
                      </a:lnTo>
                      <a:lnTo>
                        <a:pt x="204" y="162"/>
                      </a:lnTo>
                      <a:lnTo>
                        <a:pt x="204" y="144"/>
                      </a:lnTo>
                      <a:lnTo>
                        <a:pt x="210" y="138"/>
                      </a:lnTo>
                      <a:lnTo>
                        <a:pt x="222" y="138"/>
                      </a:lnTo>
                      <a:lnTo>
                        <a:pt x="228" y="132"/>
                      </a:lnTo>
                      <a:lnTo>
                        <a:pt x="240" y="132"/>
                      </a:lnTo>
                      <a:lnTo>
                        <a:pt x="228" y="126"/>
                      </a:lnTo>
                      <a:lnTo>
                        <a:pt x="210" y="108"/>
                      </a:lnTo>
                      <a:lnTo>
                        <a:pt x="198" y="84"/>
                      </a:lnTo>
                      <a:lnTo>
                        <a:pt x="192" y="78"/>
                      </a:lnTo>
                      <a:lnTo>
                        <a:pt x="186" y="66"/>
                      </a:lnTo>
                      <a:lnTo>
                        <a:pt x="180" y="60"/>
                      </a:lnTo>
                      <a:lnTo>
                        <a:pt x="174" y="36"/>
                      </a:lnTo>
                      <a:lnTo>
                        <a:pt x="138" y="36"/>
                      </a:lnTo>
                      <a:lnTo>
                        <a:pt x="126" y="24"/>
                      </a:lnTo>
                      <a:lnTo>
                        <a:pt x="126" y="18"/>
                      </a:lnTo>
                      <a:lnTo>
                        <a:pt x="120" y="18"/>
                      </a:lnTo>
                      <a:lnTo>
                        <a:pt x="114" y="12"/>
                      </a:lnTo>
                      <a:lnTo>
                        <a:pt x="84" y="12"/>
                      </a:lnTo>
                      <a:lnTo>
                        <a:pt x="84" y="18"/>
                      </a:lnTo>
                      <a:lnTo>
                        <a:pt x="78" y="18"/>
                      </a:lnTo>
                      <a:lnTo>
                        <a:pt x="72" y="12"/>
                      </a:lnTo>
                      <a:lnTo>
                        <a:pt x="60" y="6"/>
                      </a:lnTo>
                      <a:lnTo>
                        <a:pt x="48" y="6"/>
                      </a:lnTo>
                      <a:lnTo>
                        <a:pt x="42" y="0"/>
                      </a:lnTo>
                      <a:lnTo>
                        <a:pt x="24" y="0"/>
                      </a:lnTo>
                      <a:lnTo>
                        <a:pt x="6" y="30"/>
                      </a:lnTo>
                      <a:lnTo>
                        <a:pt x="18" y="42"/>
                      </a:lnTo>
                      <a:lnTo>
                        <a:pt x="24" y="42"/>
                      </a:lnTo>
                      <a:lnTo>
                        <a:pt x="24" y="48"/>
                      </a:lnTo>
                      <a:lnTo>
                        <a:pt x="6" y="66"/>
                      </a:lnTo>
                      <a:lnTo>
                        <a:pt x="0" y="78"/>
                      </a:lnTo>
                      <a:lnTo>
                        <a:pt x="6" y="90"/>
                      </a:lnTo>
                      <a:lnTo>
                        <a:pt x="18" y="102"/>
                      </a:lnTo>
                      <a:lnTo>
                        <a:pt x="30" y="108"/>
                      </a:lnTo>
                      <a:lnTo>
                        <a:pt x="42" y="108"/>
                      </a:lnTo>
                      <a:lnTo>
                        <a:pt x="60" y="126"/>
                      </a:lnTo>
                      <a:lnTo>
                        <a:pt x="72" y="126"/>
                      </a:lnTo>
                      <a:lnTo>
                        <a:pt x="72" y="102"/>
                      </a:lnTo>
                      <a:lnTo>
                        <a:pt x="66" y="96"/>
                      </a:lnTo>
                      <a:lnTo>
                        <a:pt x="54" y="90"/>
                      </a:lnTo>
                      <a:lnTo>
                        <a:pt x="42" y="78"/>
                      </a:lnTo>
                      <a:lnTo>
                        <a:pt x="42" y="72"/>
                      </a:lnTo>
                      <a:lnTo>
                        <a:pt x="48" y="72"/>
                      </a:lnTo>
                      <a:lnTo>
                        <a:pt x="60" y="78"/>
                      </a:lnTo>
                      <a:lnTo>
                        <a:pt x="66" y="84"/>
                      </a:lnTo>
                      <a:lnTo>
                        <a:pt x="90" y="96"/>
                      </a:lnTo>
                      <a:lnTo>
                        <a:pt x="96" y="102"/>
                      </a:lnTo>
                      <a:lnTo>
                        <a:pt x="96" y="132"/>
                      </a:lnTo>
                      <a:lnTo>
                        <a:pt x="114" y="132"/>
                      </a:lnTo>
                      <a:lnTo>
                        <a:pt x="126" y="138"/>
                      </a:lnTo>
                      <a:lnTo>
                        <a:pt x="138" y="138"/>
                      </a:lnTo>
                      <a:lnTo>
                        <a:pt x="156" y="180"/>
                      </a:lnTo>
                      <a:lnTo>
                        <a:pt x="150" y="186"/>
                      </a:lnTo>
                      <a:lnTo>
                        <a:pt x="150" y="198"/>
                      </a:lnTo>
                      <a:lnTo>
                        <a:pt x="168" y="216"/>
                      </a:lnTo>
                      <a:lnTo>
                        <a:pt x="180" y="222"/>
                      </a:lnTo>
                      <a:lnTo>
                        <a:pt x="192" y="222"/>
                      </a:lnTo>
                      <a:lnTo>
                        <a:pt x="174" y="198"/>
                      </a:lnTo>
                      <a:lnTo>
                        <a:pt x="204" y="228"/>
                      </a:lnTo>
                      <a:lnTo>
                        <a:pt x="210" y="222"/>
                      </a:lnTo>
                      <a:lnTo>
                        <a:pt x="210" y="198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309" name="Colombia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1949451" y="3673478"/>
                  <a:ext cx="349251" cy="541338"/>
                </a:xfrm>
                <a:custGeom>
                  <a:avLst/>
                  <a:gdLst>
                    <a:gd name="T0" fmla="*/ 2147483647 w 870"/>
                    <a:gd name="T1" fmla="*/ 2147483647 h 1344"/>
                    <a:gd name="T2" fmla="*/ 2147483647 w 870"/>
                    <a:gd name="T3" fmla="*/ 2147483647 h 1344"/>
                    <a:gd name="T4" fmla="*/ 2147483647 w 870"/>
                    <a:gd name="T5" fmla="*/ 2147483647 h 1344"/>
                    <a:gd name="T6" fmla="*/ 2147483647 w 870"/>
                    <a:gd name="T7" fmla="*/ 2147483647 h 1344"/>
                    <a:gd name="T8" fmla="*/ 2147483647 w 870"/>
                    <a:gd name="T9" fmla="*/ 2147483647 h 1344"/>
                    <a:gd name="T10" fmla="*/ 2147483647 w 870"/>
                    <a:gd name="T11" fmla="*/ 2147483647 h 1344"/>
                    <a:gd name="T12" fmla="*/ 2147483647 w 870"/>
                    <a:gd name="T13" fmla="*/ 2147483647 h 1344"/>
                    <a:gd name="T14" fmla="*/ 2147483647 w 870"/>
                    <a:gd name="T15" fmla="*/ 2147483647 h 1344"/>
                    <a:gd name="T16" fmla="*/ 2147483647 w 870"/>
                    <a:gd name="T17" fmla="*/ 2147483647 h 1344"/>
                    <a:gd name="T18" fmla="*/ 2147483647 w 870"/>
                    <a:gd name="T19" fmla="*/ 2147483647 h 1344"/>
                    <a:gd name="T20" fmla="*/ 2147483647 w 870"/>
                    <a:gd name="T21" fmla="*/ 2147483647 h 1344"/>
                    <a:gd name="T22" fmla="*/ 2147483647 w 870"/>
                    <a:gd name="T23" fmla="*/ 2147483647 h 1344"/>
                    <a:gd name="T24" fmla="*/ 2147483647 w 870"/>
                    <a:gd name="T25" fmla="*/ 2147483647 h 1344"/>
                    <a:gd name="T26" fmla="*/ 2147483647 w 870"/>
                    <a:gd name="T27" fmla="*/ 2147483647 h 1344"/>
                    <a:gd name="T28" fmla="*/ 2147483647 w 870"/>
                    <a:gd name="T29" fmla="*/ 2147483647 h 1344"/>
                    <a:gd name="T30" fmla="*/ 2147483647 w 870"/>
                    <a:gd name="T31" fmla="*/ 2147483647 h 1344"/>
                    <a:gd name="T32" fmla="*/ 2147483647 w 870"/>
                    <a:gd name="T33" fmla="*/ 2147483647 h 1344"/>
                    <a:gd name="T34" fmla="*/ 2147483647 w 870"/>
                    <a:gd name="T35" fmla="*/ 2147483647 h 1344"/>
                    <a:gd name="T36" fmla="*/ 2147483647 w 870"/>
                    <a:gd name="T37" fmla="*/ 2147483647 h 1344"/>
                    <a:gd name="T38" fmla="*/ 2147483647 w 870"/>
                    <a:gd name="T39" fmla="*/ 2147483647 h 1344"/>
                    <a:gd name="T40" fmla="*/ 2147483647 w 870"/>
                    <a:gd name="T41" fmla="*/ 2147483647 h 1344"/>
                    <a:gd name="T42" fmla="*/ 2147483647 w 870"/>
                    <a:gd name="T43" fmla="*/ 2147483647 h 1344"/>
                    <a:gd name="T44" fmla="*/ 2147483647 w 870"/>
                    <a:gd name="T45" fmla="*/ 2147483647 h 1344"/>
                    <a:gd name="T46" fmla="*/ 2147483647 w 870"/>
                    <a:gd name="T47" fmla="*/ 2147483647 h 1344"/>
                    <a:gd name="T48" fmla="*/ 2147483647 w 870"/>
                    <a:gd name="T49" fmla="*/ 2147483647 h 1344"/>
                    <a:gd name="T50" fmla="*/ 2147483647 w 870"/>
                    <a:gd name="T51" fmla="*/ 2147483647 h 1344"/>
                    <a:gd name="T52" fmla="*/ 2147483647 w 870"/>
                    <a:gd name="T53" fmla="*/ 2147483647 h 1344"/>
                    <a:gd name="T54" fmla="*/ 2147483647 w 870"/>
                    <a:gd name="T55" fmla="*/ 2147483647 h 1344"/>
                    <a:gd name="T56" fmla="*/ 2147483647 w 870"/>
                    <a:gd name="T57" fmla="*/ 2147483647 h 1344"/>
                    <a:gd name="T58" fmla="*/ 2147483647 w 870"/>
                    <a:gd name="T59" fmla="*/ 2147483647 h 1344"/>
                    <a:gd name="T60" fmla="*/ 2147483647 w 870"/>
                    <a:gd name="T61" fmla="*/ 2147483647 h 1344"/>
                    <a:gd name="T62" fmla="*/ 2147483647 w 870"/>
                    <a:gd name="T63" fmla="*/ 2147483647 h 1344"/>
                    <a:gd name="T64" fmla="*/ 2147483647 w 870"/>
                    <a:gd name="T65" fmla="*/ 2147483647 h 1344"/>
                    <a:gd name="T66" fmla="*/ 2147483647 w 870"/>
                    <a:gd name="T67" fmla="*/ 2147483647 h 1344"/>
                    <a:gd name="T68" fmla="*/ 2147483647 w 870"/>
                    <a:gd name="T69" fmla="*/ 2147483647 h 1344"/>
                    <a:gd name="T70" fmla="*/ 2147483647 w 870"/>
                    <a:gd name="T71" fmla="*/ 2147483647 h 1344"/>
                    <a:gd name="T72" fmla="*/ 2147483647 w 870"/>
                    <a:gd name="T73" fmla="*/ 0 h 1344"/>
                    <a:gd name="T74" fmla="*/ 2147483647 w 870"/>
                    <a:gd name="T75" fmla="*/ 2147483647 h 1344"/>
                    <a:gd name="T76" fmla="*/ 2147483647 w 870"/>
                    <a:gd name="T77" fmla="*/ 2147483647 h 1344"/>
                    <a:gd name="T78" fmla="*/ 2147483647 w 870"/>
                    <a:gd name="T79" fmla="*/ 2147483647 h 1344"/>
                    <a:gd name="T80" fmla="*/ 2147483647 w 870"/>
                    <a:gd name="T81" fmla="*/ 2147483647 h 1344"/>
                    <a:gd name="T82" fmla="*/ 2147483647 w 870"/>
                    <a:gd name="T83" fmla="*/ 2147483647 h 1344"/>
                    <a:gd name="T84" fmla="*/ 2147483647 w 870"/>
                    <a:gd name="T85" fmla="*/ 2147483647 h 1344"/>
                    <a:gd name="T86" fmla="*/ 2147483647 w 870"/>
                    <a:gd name="T87" fmla="*/ 2147483647 h 1344"/>
                    <a:gd name="T88" fmla="*/ 2147483647 w 870"/>
                    <a:gd name="T89" fmla="*/ 2147483647 h 1344"/>
                    <a:gd name="T90" fmla="*/ 2147483647 w 870"/>
                    <a:gd name="T91" fmla="*/ 2147483647 h 1344"/>
                    <a:gd name="T92" fmla="*/ 2147483647 w 870"/>
                    <a:gd name="T93" fmla="*/ 2147483647 h 1344"/>
                    <a:gd name="T94" fmla="*/ 2147483647 w 870"/>
                    <a:gd name="T95" fmla="*/ 2147483647 h 1344"/>
                    <a:gd name="T96" fmla="*/ 2147483647 w 870"/>
                    <a:gd name="T97" fmla="*/ 2147483647 h 1344"/>
                    <a:gd name="T98" fmla="*/ 2147483647 w 870"/>
                    <a:gd name="T99" fmla="*/ 2147483647 h 1344"/>
                    <a:gd name="T100" fmla="*/ 2147483647 w 870"/>
                    <a:gd name="T101" fmla="*/ 2147483647 h 1344"/>
                    <a:gd name="T102" fmla="*/ 2147483647 w 870"/>
                    <a:gd name="T103" fmla="*/ 2147483647 h 1344"/>
                    <a:gd name="T104" fmla="*/ 2147483647 w 870"/>
                    <a:gd name="T105" fmla="*/ 2147483647 h 1344"/>
                    <a:gd name="T106" fmla="*/ 2147483647 w 870"/>
                    <a:gd name="T107" fmla="*/ 2147483647 h 1344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870"/>
                    <a:gd name="T163" fmla="*/ 0 h 1344"/>
                    <a:gd name="T164" fmla="*/ 870 w 870"/>
                    <a:gd name="T165" fmla="*/ 1344 h 1344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870" h="1344">
                      <a:moveTo>
                        <a:pt x="36" y="912"/>
                      </a:moveTo>
                      <a:lnTo>
                        <a:pt x="60" y="924"/>
                      </a:lnTo>
                      <a:lnTo>
                        <a:pt x="66" y="936"/>
                      </a:lnTo>
                      <a:lnTo>
                        <a:pt x="84" y="936"/>
                      </a:lnTo>
                      <a:lnTo>
                        <a:pt x="96" y="942"/>
                      </a:lnTo>
                      <a:lnTo>
                        <a:pt x="102" y="948"/>
                      </a:lnTo>
                      <a:lnTo>
                        <a:pt x="108" y="960"/>
                      </a:lnTo>
                      <a:lnTo>
                        <a:pt x="108" y="966"/>
                      </a:lnTo>
                      <a:lnTo>
                        <a:pt x="114" y="972"/>
                      </a:lnTo>
                      <a:lnTo>
                        <a:pt x="126" y="978"/>
                      </a:lnTo>
                      <a:lnTo>
                        <a:pt x="138" y="978"/>
                      </a:lnTo>
                      <a:lnTo>
                        <a:pt x="144" y="972"/>
                      </a:lnTo>
                      <a:lnTo>
                        <a:pt x="156" y="978"/>
                      </a:lnTo>
                      <a:lnTo>
                        <a:pt x="162" y="984"/>
                      </a:lnTo>
                      <a:lnTo>
                        <a:pt x="186" y="984"/>
                      </a:lnTo>
                      <a:lnTo>
                        <a:pt x="186" y="972"/>
                      </a:lnTo>
                      <a:lnTo>
                        <a:pt x="192" y="966"/>
                      </a:lnTo>
                      <a:lnTo>
                        <a:pt x="198" y="966"/>
                      </a:lnTo>
                      <a:lnTo>
                        <a:pt x="210" y="972"/>
                      </a:lnTo>
                      <a:lnTo>
                        <a:pt x="210" y="978"/>
                      </a:lnTo>
                      <a:lnTo>
                        <a:pt x="216" y="984"/>
                      </a:lnTo>
                      <a:lnTo>
                        <a:pt x="216" y="990"/>
                      </a:lnTo>
                      <a:lnTo>
                        <a:pt x="228" y="1002"/>
                      </a:lnTo>
                      <a:lnTo>
                        <a:pt x="264" y="1002"/>
                      </a:lnTo>
                      <a:lnTo>
                        <a:pt x="276" y="1008"/>
                      </a:lnTo>
                      <a:lnTo>
                        <a:pt x="282" y="1014"/>
                      </a:lnTo>
                      <a:lnTo>
                        <a:pt x="294" y="1020"/>
                      </a:lnTo>
                      <a:lnTo>
                        <a:pt x="312" y="1038"/>
                      </a:lnTo>
                      <a:lnTo>
                        <a:pt x="324" y="1044"/>
                      </a:lnTo>
                      <a:lnTo>
                        <a:pt x="330" y="1050"/>
                      </a:lnTo>
                      <a:lnTo>
                        <a:pt x="342" y="1086"/>
                      </a:lnTo>
                      <a:lnTo>
                        <a:pt x="360" y="1086"/>
                      </a:lnTo>
                      <a:lnTo>
                        <a:pt x="372" y="1104"/>
                      </a:lnTo>
                      <a:lnTo>
                        <a:pt x="384" y="1104"/>
                      </a:lnTo>
                      <a:lnTo>
                        <a:pt x="390" y="1110"/>
                      </a:lnTo>
                      <a:lnTo>
                        <a:pt x="390" y="1134"/>
                      </a:lnTo>
                      <a:lnTo>
                        <a:pt x="396" y="1140"/>
                      </a:lnTo>
                      <a:lnTo>
                        <a:pt x="396" y="1146"/>
                      </a:lnTo>
                      <a:lnTo>
                        <a:pt x="408" y="1146"/>
                      </a:lnTo>
                      <a:lnTo>
                        <a:pt x="420" y="1152"/>
                      </a:lnTo>
                      <a:lnTo>
                        <a:pt x="426" y="1158"/>
                      </a:lnTo>
                      <a:lnTo>
                        <a:pt x="426" y="1164"/>
                      </a:lnTo>
                      <a:lnTo>
                        <a:pt x="420" y="1170"/>
                      </a:lnTo>
                      <a:lnTo>
                        <a:pt x="420" y="1194"/>
                      </a:lnTo>
                      <a:lnTo>
                        <a:pt x="432" y="1200"/>
                      </a:lnTo>
                      <a:lnTo>
                        <a:pt x="456" y="1206"/>
                      </a:lnTo>
                      <a:lnTo>
                        <a:pt x="492" y="1206"/>
                      </a:lnTo>
                      <a:lnTo>
                        <a:pt x="492" y="1194"/>
                      </a:lnTo>
                      <a:lnTo>
                        <a:pt x="504" y="1182"/>
                      </a:lnTo>
                      <a:lnTo>
                        <a:pt x="528" y="1182"/>
                      </a:lnTo>
                      <a:lnTo>
                        <a:pt x="534" y="1188"/>
                      </a:lnTo>
                      <a:lnTo>
                        <a:pt x="540" y="1188"/>
                      </a:lnTo>
                      <a:lnTo>
                        <a:pt x="546" y="1194"/>
                      </a:lnTo>
                      <a:lnTo>
                        <a:pt x="558" y="1194"/>
                      </a:lnTo>
                      <a:lnTo>
                        <a:pt x="570" y="1188"/>
                      </a:lnTo>
                      <a:lnTo>
                        <a:pt x="576" y="1182"/>
                      </a:lnTo>
                      <a:lnTo>
                        <a:pt x="588" y="1182"/>
                      </a:lnTo>
                      <a:lnTo>
                        <a:pt x="588" y="1188"/>
                      </a:lnTo>
                      <a:lnTo>
                        <a:pt x="594" y="1200"/>
                      </a:lnTo>
                      <a:lnTo>
                        <a:pt x="600" y="1206"/>
                      </a:lnTo>
                      <a:lnTo>
                        <a:pt x="624" y="1206"/>
                      </a:lnTo>
                      <a:lnTo>
                        <a:pt x="636" y="1212"/>
                      </a:lnTo>
                      <a:lnTo>
                        <a:pt x="642" y="1218"/>
                      </a:lnTo>
                      <a:lnTo>
                        <a:pt x="642" y="1236"/>
                      </a:lnTo>
                      <a:lnTo>
                        <a:pt x="636" y="1248"/>
                      </a:lnTo>
                      <a:lnTo>
                        <a:pt x="630" y="1254"/>
                      </a:lnTo>
                      <a:lnTo>
                        <a:pt x="624" y="1254"/>
                      </a:lnTo>
                      <a:lnTo>
                        <a:pt x="618" y="1260"/>
                      </a:lnTo>
                      <a:lnTo>
                        <a:pt x="618" y="1266"/>
                      </a:lnTo>
                      <a:lnTo>
                        <a:pt x="606" y="1290"/>
                      </a:lnTo>
                      <a:lnTo>
                        <a:pt x="606" y="1308"/>
                      </a:lnTo>
                      <a:lnTo>
                        <a:pt x="612" y="1314"/>
                      </a:lnTo>
                      <a:lnTo>
                        <a:pt x="630" y="1314"/>
                      </a:lnTo>
                      <a:lnTo>
                        <a:pt x="642" y="1332"/>
                      </a:lnTo>
                      <a:lnTo>
                        <a:pt x="660" y="1344"/>
                      </a:lnTo>
                      <a:lnTo>
                        <a:pt x="660" y="1308"/>
                      </a:lnTo>
                      <a:lnTo>
                        <a:pt x="666" y="1236"/>
                      </a:lnTo>
                      <a:lnTo>
                        <a:pt x="684" y="1188"/>
                      </a:lnTo>
                      <a:lnTo>
                        <a:pt x="678" y="1140"/>
                      </a:lnTo>
                      <a:lnTo>
                        <a:pt x="690" y="1128"/>
                      </a:lnTo>
                      <a:lnTo>
                        <a:pt x="696" y="1116"/>
                      </a:lnTo>
                      <a:lnTo>
                        <a:pt x="696" y="1104"/>
                      </a:lnTo>
                      <a:lnTo>
                        <a:pt x="690" y="1092"/>
                      </a:lnTo>
                      <a:lnTo>
                        <a:pt x="678" y="1080"/>
                      </a:lnTo>
                      <a:lnTo>
                        <a:pt x="678" y="1074"/>
                      </a:lnTo>
                      <a:lnTo>
                        <a:pt x="672" y="1068"/>
                      </a:lnTo>
                      <a:lnTo>
                        <a:pt x="672" y="1044"/>
                      </a:lnTo>
                      <a:lnTo>
                        <a:pt x="666" y="1038"/>
                      </a:lnTo>
                      <a:lnTo>
                        <a:pt x="654" y="1032"/>
                      </a:lnTo>
                      <a:lnTo>
                        <a:pt x="642" y="1020"/>
                      </a:lnTo>
                      <a:lnTo>
                        <a:pt x="636" y="1020"/>
                      </a:lnTo>
                      <a:lnTo>
                        <a:pt x="642" y="954"/>
                      </a:lnTo>
                      <a:lnTo>
                        <a:pt x="672" y="948"/>
                      </a:lnTo>
                      <a:lnTo>
                        <a:pt x="678" y="954"/>
                      </a:lnTo>
                      <a:lnTo>
                        <a:pt x="708" y="954"/>
                      </a:lnTo>
                      <a:lnTo>
                        <a:pt x="714" y="948"/>
                      </a:lnTo>
                      <a:lnTo>
                        <a:pt x="714" y="942"/>
                      </a:lnTo>
                      <a:lnTo>
                        <a:pt x="708" y="936"/>
                      </a:lnTo>
                      <a:lnTo>
                        <a:pt x="708" y="930"/>
                      </a:lnTo>
                      <a:lnTo>
                        <a:pt x="696" y="918"/>
                      </a:lnTo>
                      <a:lnTo>
                        <a:pt x="684" y="924"/>
                      </a:lnTo>
                      <a:lnTo>
                        <a:pt x="660" y="912"/>
                      </a:lnTo>
                      <a:lnTo>
                        <a:pt x="660" y="900"/>
                      </a:lnTo>
                      <a:lnTo>
                        <a:pt x="654" y="888"/>
                      </a:lnTo>
                      <a:lnTo>
                        <a:pt x="654" y="876"/>
                      </a:lnTo>
                      <a:lnTo>
                        <a:pt x="660" y="864"/>
                      </a:lnTo>
                      <a:lnTo>
                        <a:pt x="666" y="858"/>
                      </a:lnTo>
                      <a:lnTo>
                        <a:pt x="684" y="858"/>
                      </a:lnTo>
                      <a:lnTo>
                        <a:pt x="696" y="870"/>
                      </a:lnTo>
                      <a:lnTo>
                        <a:pt x="762" y="864"/>
                      </a:lnTo>
                      <a:lnTo>
                        <a:pt x="762" y="846"/>
                      </a:lnTo>
                      <a:lnTo>
                        <a:pt x="768" y="840"/>
                      </a:lnTo>
                      <a:lnTo>
                        <a:pt x="774" y="840"/>
                      </a:lnTo>
                      <a:lnTo>
                        <a:pt x="798" y="864"/>
                      </a:lnTo>
                      <a:lnTo>
                        <a:pt x="828" y="834"/>
                      </a:lnTo>
                      <a:lnTo>
                        <a:pt x="834" y="834"/>
                      </a:lnTo>
                      <a:lnTo>
                        <a:pt x="834" y="846"/>
                      </a:lnTo>
                      <a:lnTo>
                        <a:pt x="840" y="852"/>
                      </a:lnTo>
                      <a:lnTo>
                        <a:pt x="840" y="864"/>
                      </a:lnTo>
                      <a:lnTo>
                        <a:pt x="846" y="876"/>
                      </a:lnTo>
                      <a:lnTo>
                        <a:pt x="846" y="906"/>
                      </a:lnTo>
                      <a:lnTo>
                        <a:pt x="870" y="906"/>
                      </a:lnTo>
                      <a:lnTo>
                        <a:pt x="864" y="900"/>
                      </a:lnTo>
                      <a:lnTo>
                        <a:pt x="864" y="882"/>
                      </a:lnTo>
                      <a:lnTo>
                        <a:pt x="858" y="870"/>
                      </a:lnTo>
                      <a:lnTo>
                        <a:pt x="858" y="852"/>
                      </a:lnTo>
                      <a:lnTo>
                        <a:pt x="852" y="846"/>
                      </a:lnTo>
                      <a:lnTo>
                        <a:pt x="852" y="828"/>
                      </a:lnTo>
                      <a:lnTo>
                        <a:pt x="846" y="822"/>
                      </a:lnTo>
                      <a:lnTo>
                        <a:pt x="846" y="798"/>
                      </a:lnTo>
                      <a:lnTo>
                        <a:pt x="834" y="798"/>
                      </a:lnTo>
                      <a:lnTo>
                        <a:pt x="822" y="786"/>
                      </a:lnTo>
                      <a:lnTo>
                        <a:pt x="798" y="774"/>
                      </a:lnTo>
                      <a:lnTo>
                        <a:pt x="804" y="774"/>
                      </a:lnTo>
                      <a:lnTo>
                        <a:pt x="834" y="744"/>
                      </a:lnTo>
                      <a:lnTo>
                        <a:pt x="840" y="732"/>
                      </a:lnTo>
                      <a:lnTo>
                        <a:pt x="840" y="726"/>
                      </a:lnTo>
                      <a:lnTo>
                        <a:pt x="834" y="714"/>
                      </a:lnTo>
                      <a:lnTo>
                        <a:pt x="822" y="708"/>
                      </a:lnTo>
                      <a:lnTo>
                        <a:pt x="816" y="696"/>
                      </a:lnTo>
                      <a:lnTo>
                        <a:pt x="816" y="672"/>
                      </a:lnTo>
                      <a:lnTo>
                        <a:pt x="804" y="672"/>
                      </a:lnTo>
                      <a:lnTo>
                        <a:pt x="798" y="666"/>
                      </a:lnTo>
                      <a:lnTo>
                        <a:pt x="798" y="654"/>
                      </a:lnTo>
                      <a:lnTo>
                        <a:pt x="804" y="642"/>
                      </a:lnTo>
                      <a:lnTo>
                        <a:pt x="804" y="612"/>
                      </a:lnTo>
                      <a:lnTo>
                        <a:pt x="798" y="600"/>
                      </a:lnTo>
                      <a:lnTo>
                        <a:pt x="798" y="576"/>
                      </a:lnTo>
                      <a:lnTo>
                        <a:pt x="810" y="564"/>
                      </a:lnTo>
                      <a:lnTo>
                        <a:pt x="816" y="564"/>
                      </a:lnTo>
                      <a:lnTo>
                        <a:pt x="822" y="558"/>
                      </a:lnTo>
                      <a:lnTo>
                        <a:pt x="822" y="534"/>
                      </a:lnTo>
                      <a:lnTo>
                        <a:pt x="840" y="516"/>
                      </a:lnTo>
                      <a:lnTo>
                        <a:pt x="840" y="504"/>
                      </a:lnTo>
                      <a:lnTo>
                        <a:pt x="834" y="498"/>
                      </a:lnTo>
                      <a:lnTo>
                        <a:pt x="816" y="498"/>
                      </a:lnTo>
                      <a:lnTo>
                        <a:pt x="804" y="504"/>
                      </a:lnTo>
                      <a:lnTo>
                        <a:pt x="798" y="510"/>
                      </a:lnTo>
                      <a:lnTo>
                        <a:pt x="774" y="504"/>
                      </a:lnTo>
                      <a:lnTo>
                        <a:pt x="768" y="510"/>
                      </a:lnTo>
                      <a:lnTo>
                        <a:pt x="744" y="510"/>
                      </a:lnTo>
                      <a:lnTo>
                        <a:pt x="738" y="504"/>
                      </a:lnTo>
                      <a:lnTo>
                        <a:pt x="720" y="504"/>
                      </a:lnTo>
                      <a:lnTo>
                        <a:pt x="720" y="510"/>
                      </a:lnTo>
                      <a:lnTo>
                        <a:pt x="696" y="510"/>
                      </a:lnTo>
                      <a:lnTo>
                        <a:pt x="672" y="486"/>
                      </a:lnTo>
                      <a:lnTo>
                        <a:pt x="666" y="468"/>
                      </a:lnTo>
                      <a:lnTo>
                        <a:pt x="660" y="456"/>
                      </a:lnTo>
                      <a:lnTo>
                        <a:pt x="654" y="450"/>
                      </a:lnTo>
                      <a:lnTo>
                        <a:pt x="654" y="444"/>
                      </a:lnTo>
                      <a:lnTo>
                        <a:pt x="630" y="444"/>
                      </a:lnTo>
                      <a:lnTo>
                        <a:pt x="618" y="438"/>
                      </a:lnTo>
                      <a:lnTo>
                        <a:pt x="612" y="432"/>
                      </a:lnTo>
                      <a:lnTo>
                        <a:pt x="600" y="432"/>
                      </a:lnTo>
                      <a:lnTo>
                        <a:pt x="600" y="438"/>
                      </a:lnTo>
                      <a:lnTo>
                        <a:pt x="594" y="444"/>
                      </a:lnTo>
                      <a:lnTo>
                        <a:pt x="582" y="444"/>
                      </a:lnTo>
                      <a:lnTo>
                        <a:pt x="570" y="438"/>
                      </a:lnTo>
                      <a:lnTo>
                        <a:pt x="564" y="438"/>
                      </a:lnTo>
                      <a:lnTo>
                        <a:pt x="552" y="432"/>
                      </a:lnTo>
                      <a:lnTo>
                        <a:pt x="540" y="432"/>
                      </a:lnTo>
                      <a:lnTo>
                        <a:pt x="534" y="438"/>
                      </a:lnTo>
                      <a:lnTo>
                        <a:pt x="510" y="438"/>
                      </a:lnTo>
                      <a:lnTo>
                        <a:pt x="504" y="432"/>
                      </a:lnTo>
                      <a:lnTo>
                        <a:pt x="498" y="420"/>
                      </a:lnTo>
                      <a:lnTo>
                        <a:pt x="498" y="408"/>
                      </a:lnTo>
                      <a:lnTo>
                        <a:pt x="486" y="408"/>
                      </a:lnTo>
                      <a:lnTo>
                        <a:pt x="486" y="366"/>
                      </a:lnTo>
                      <a:lnTo>
                        <a:pt x="498" y="342"/>
                      </a:lnTo>
                      <a:lnTo>
                        <a:pt x="498" y="330"/>
                      </a:lnTo>
                      <a:lnTo>
                        <a:pt x="492" y="324"/>
                      </a:lnTo>
                      <a:lnTo>
                        <a:pt x="480" y="318"/>
                      </a:lnTo>
                      <a:lnTo>
                        <a:pt x="474" y="312"/>
                      </a:lnTo>
                      <a:lnTo>
                        <a:pt x="474" y="276"/>
                      </a:lnTo>
                      <a:lnTo>
                        <a:pt x="468" y="264"/>
                      </a:lnTo>
                      <a:lnTo>
                        <a:pt x="456" y="252"/>
                      </a:lnTo>
                      <a:lnTo>
                        <a:pt x="450" y="252"/>
                      </a:lnTo>
                      <a:lnTo>
                        <a:pt x="438" y="264"/>
                      </a:lnTo>
                      <a:lnTo>
                        <a:pt x="438" y="270"/>
                      </a:lnTo>
                      <a:lnTo>
                        <a:pt x="432" y="264"/>
                      </a:lnTo>
                      <a:lnTo>
                        <a:pt x="432" y="252"/>
                      </a:lnTo>
                      <a:lnTo>
                        <a:pt x="438" y="240"/>
                      </a:lnTo>
                      <a:lnTo>
                        <a:pt x="462" y="216"/>
                      </a:lnTo>
                      <a:lnTo>
                        <a:pt x="462" y="192"/>
                      </a:lnTo>
                      <a:lnTo>
                        <a:pt x="468" y="186"/>
                      </a:lnTo>
                      <a:lnTo>
                        <a:pt x="468" y="168"/>
                      </a:lnTo>
                      <a:lnTo>
                        <a:pt x="480" y="132"/>
                      </a:lnTo>
                      <a:lnTo>
                        <a:pt x="504" y="108"/>
                      </a:lnTo>
                      <a:lnTo>
                        <a:pt x="522" y="102"/>
                      </a:lnTo>
                      <a:lnTo>
                        <a:pt x="534" y="90"/>
                      </a:lnTo>
                      <a:lnTo>
                        <a:pt x="540" y="78"/>
                      </a:lnTo>
                      <a:lnTo>
                        <a:pt x="540" y="72"/>
                      </a:lnTo>
                      <a:lnTo>
                        <a:pt x="546" y="66"/>
                      </a:lnTo>
                      <a:lnTo>
                        <a:pt x="558" y="66"/>
                      </a:lnTo>
                      <a:lnTo>
                        <a:pt x="564" y="60"/>
                      </a:lnTo>
                      <a:lnTo>
                        <a:pt x="570" y="60"/>
                      </a:lnTo>
                      <a:lnTo>
                        <a:pt x="576" y="54"/>
                      </a:lnTo>
                      <a:lnTo>
                        <a:pt x="582" y="54"/>
                      </a:lnTo>
                      <a:lnTo>
                        <a:pt x="600" y="36"/>
                      </a:lnTo>
                      <a:lnTo>
                        <a:pt x="600" y="12"/>
                      </a:lnTo>
                      <a:lnTo>
                        <a:pt x="594" y="6"/>
                      </a:lnTo>
                      <a:lnTo>
                        <a:pt x="582" y="0"/>
                      </a:lnTo>
                      <a:lnTo>
                        <a:pt x="570" y="6"/>
                      </a:lnTo>
                      <a:lnTo>
                        <a:pt x="546" y="6"/>
                      </a:lnTo>
                      <a:lnTo>
                        <a:pt x="540" y="12"/>
                      </a:lnTo>
                      <a:lnTo>
                        <a:pt x="534" y="12"/>
                      </a:lnTo>
                      <a:lnTo>
                        <a:pt x="522" y="24"/>
                      </a:lnTo>
                      <a:lnTo>
                        <a:pt x="522" y="36"/>
                      </a:lnTo>
                      <a:lnTo>
                        <a:pt x="516" y="48"/>
                      </a:lnTo>
                      <a:lnTo>
                        <a:pt x="504" y="60"/>
                      </a:lnTo>
                      <a:lnTo>
                        <a:pt x="492" y="60"/>
                      </a:lnTo>
                      <a:lnTo>
                        <a:pt x="480" y="54"/>
                      </a:lnTo>
                      <a:lnTo>
                        <a:pt x="474" y="54"/>
                      </a:lnTo>
                      <a:lnTo>
                        <a:pt x="444" y="84"/>
                      </a:lnTo>
                      <a:lnTo>
                        <a:pt x="444" y="90"/>
                      </a:lnTo>
                      <a:lnTo>
                        <a:pt x="408" y="102"/>
                      </a:lnTo>
                      <a:lnTo>
                        <a:pt x="402" y="96"/>
                      </a:lnTo>
                      <a:lnTo>
                        <a:pt x="390" y="90"/>
                      </a:lnTo>
                      <a:lnTo>
                        <a:pt x="384" y="90"/>
                      </a:lnTo>
                      <a:lnTo>
                        <a:pt x="378" y="102"/>
                      </a:lnTo>
                      <a:lnTo>
                        <a:pt x="378" y="120"/>
                      </a:lnTo>
                      <a:lnTo>
                        <a:pt x="372" y="132"/>
                      </a:lnTo>
                      <a:lnTo>
                        <a:pt x="366" y="138"/>
                      </a:lnTo>
                      <a:lnTo>
                        <a:pt x="354" y="138"/>
                      </a:lnTo>
                      <a:lnTo>
                        <a:pt x="354" y="132"/>
                      </a:lnTo>
                      <a:lnTo>
                        <a:pt x="360" y="126"/>
                      </a:lnTo>
                      <a:lnTo>
                        <a:pt x="354" y="120"/>
                      </a:lnTo>
                      <a:lnTo>
                        <a:pt x="342" y="120"/>
                      </a:lnTo>
                      <a:lnTo>
                        <a:pt x="330" y="126"/>
                      </a:lnTo>
                      <a:lnTo>
                        <a:pt x="318" y="126"/>
                      </a:lnTo>
                      <a:lnTo>
                        <a:pt x="312" y="132"/>
                      </a:lnTo>
                      <a:lnTo>
                        <a:pt x="306" y="132"/>
                      </a:lnTo>
                      <a:lnTo>
                        <a:pt x="300" y="144"/>
                      </a:lnTo>
                      <a:lnTo>
                        <a:pt x="288" y="150"/>
                      </a:lnTo>
                      <a:lnTo>
                        <a:pt x="282" y="162"/>
                      </a:lnTo>
                      <a:lnTo>
                        <a:pt x="276" y="168"/>
                      </a:lnTo>
                      <a:lnTo>
                        <a:pt x="276" y="186"/>
                      </a:lnTo>
                      <a:lnTo>
                        <a:pt x="282" y="192"/>
                      </a:lnTo>
                      <a:lnTo>
                        <a:pt x="264" y="222"/>
                      </a:lnTo>
                      <a:lnTo>
                        <a:pt x="276" y="246"/>
                      </a:lnTo>
                      <a:lnTo>
                        <a:pt x="252" y="246"/>
                      </a:lnTo>
                      <a:lnTo>
                        <a:pt x="240" y="252"/>
                      </a:lnTo>
                      <a:lnTo>
                        <a:pt x="228" y="264"/>
                      </a:lnTo>
                      <a:lnTo>
                        <a:pt x="228" y="276"/>
                      </a:lnTo>
                      <a:lnTo>
                        <a:pt x="222" y="288"/>
                      </a:lnTo>
                      <a:lnTo>
                        <a:pt x="216" y="294"/>
                      </a:lnTo>
                      <a:lnTo>
                        <a:pt x="204" y="294"/>
                      </a:lnTo>
                      <a:lnTo>
                        <a:pt x="198" y="300"/>
                      </a:lnTo>
                      <a:lnTo>
                        <a:pt x="192" y="300"/>
                      </a:lnTo>
                      <a:lnTo>
                        <a:pt x="174" y="306"/>
                      </a:lnTo>
                      <a:lnTo>
                        <a:pt x="186" y="330"/>
                      </a:lnTo>
                      <a:lnTo>
                        <a:pt x="186" y="366"/>
                      </a:lnTo>
                      <a:lnTo>
                        <a:pt x="168" y="366"/>
                      </a:lnTo>
                      <a:lnTo>
                        <a:pt x="168" y="360"/>
                      </a:lnTo>
                      <a:lnTo>
                        <a:pt x="174" y="354"/>
                      </a:lnTo>
                      <a:lnTo>
                        <a:pt x="174" y="342"/>
                      </a:lnTo>
                      <a:lnTo>
                        <a:pt x="144" y="312"/>
                      </a:lnTo>
                      <a:lnTo>
                        <a:pt x="138" y="312"/>
                      </a:lnTo>
                      <a:lnTo>
                        <a:pt x="132" y="318"/>
                      </a:lnTo>
                      <a:lnTo>
                        <a:pt x="132" y="336"/>
                      </a:lnTo>
                      <a:lnTo>
                        <a:pt x="138" y="348"/>
                      </a:lnTo>
                      <a:lnTo>
                        <a:pt x="150" y="354"/>
                      </a:lnTo>
                      <a:lnTo>
                        <a:pt x="150" y="366"/>
                      </a:lnTo>
                      <a:lnTo>
                        <a:pt x="138" y="390"/>
                      </a:lnTo>
                      <a:lnTo>
                        <a:pt x="132" y="396"/>
                      </a:lnTo>
                      <a:lnTo>
                        <a:pt x="120" y="390"/>
                      </a:lnTo>
                      <a:lnTo>
                        <a:pt x="114" y="384"/>
                      </a:lnTo>
                      <a:lnTo>
                        <a:pt x="102" y="414"/>
                      </a:lnTo>
                      <a:lnTo>
                        <a:pt x="114" y="438"/>
                      </a:lnTo>
                      <a:lnTo>
                        <a:pt x="114" y="450"/>
                      </a:lnTo>
                      <a:lnTo>
                        <a:pt x="126" y="462"/>
                      </a:lnTo>
                      <a:lnTo>
                        <a:pt x="132" y="474"/>
                      </a:lnTo>
                      <a:lnTo>
                        <a:pt x="132" y="480"/>
                      </a:lnTo>
                      <a:lnTo>
                        <a:pt x="120" y="492"/>
                      </a:lnTo>
                      <a:lnTo>
                        <a:pt x="114" y="492"/>
                      </a:lnTo>
                      <a:lnTo>
                        <a:pt x="132" y="516"/>
                      </a:lnTo>
                      <a:lnTo>
                        <a:pt x="138" y="552"/>
                      </a:lnTo>
                      <a:lnTo>
                        <a:pt x="114" y="558"/>
                      </a:lnTo>
                      <a:lnTo>
                        <a:pt x="132" y="576"/>
                      </a:lnTo>
                      <a:lnTo>
                        <a:pt x="132" y="636"/>
                      </a:lnTo>
                      <a:lnTo>
                        <a:pt x="120" y="642"/>
                      </a:lnTo>
                      <a:lnTo>
                        <a:pt x="114" y="654"/>
                      </a:lnTo>
                      <a:lnTo>
                        <a:pt x="114" y="678"/>
                      </a:lnTo>
                      <a:lnTo>
                        <a:pt x="138" y="702"/>
                      </a:lnTo>
                      <a:lnTo>
                        <a:pt x="138" y="720"/>
                      </a:lnTo>
                      <a:lnTo>
                        <a:pt x="132" y="732"/>
                      </a:lnTo>
                      <a:lnTo>
                        <a:pt x="120" y="738"/>
                      </a:lnTo>
                      <a:lnTo>
                        <a:pt x="114" y="750"/>
                      </a:lnTo>
                      <a:lnTo>
                        <a:pt x="102" y="756"/>
                      </a:lnTo>
                      <a:lnTo>
                        <a:pt x="96" y="762"/>
                      </a:lnTo>
                      <a:lnTo>
                        <a:pt x="114" y="774"/>
                      </a:lnTo>
                      <a:lnTo>
                        <a:pt x="84" y="798"/>
                      </a:lnTo>
                      <a:lnTo>
                        <a:pt x="66" y="798"/>
                      </a:lnTo>
                      <a:lnTo>
                        <a:pt x="54" y="804"/>
                      </a:lnTo>
                      <a:lnTo>
                        <a:pt x="36" y="810"/>
                      </a:lnTo>
                      <a:lnTo>
                        <a:pt x="30" y="822"/>
                      </a:lnTo>
                      <a:lnTo>
                        <a:pt x="30" y="846"/>
                      </a:lnTo>
                      <a:lnTo>
                        <a:pt x="36" y="852"/>
                      </a:lnTo>
                      <a:lnTo>
                        <a:pt x="36" y="858"/>
                      </a:lnTo>
                      <a:lnTo>
                        <a:pt x="6" y="858"/>
                      </a:lnTo>
                      <a:lnTo>
                        <a:pt x="0" y="864"/>
                      </a:lnTo>
                      <a:lnTo>
                        <a:pt x="0" y="876"/>
                      </a:lnTo>
                      <a:lnTo>
                        <a:pt x="6" y="888"/>
                      </a:lnTo>
                      <a:lnTo>
                        <a:pt x="18" y="894"/>
                      </a:lnTo>
                      <a:lnTo>
                        <a:pt x="24" y="906"/>
                      </a:lnTo>
                      <a:lnTo>
                        <a:pt x="36" y="912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310" name="Chile" descr="© INSCALE GmbH, 05.05.2010&#10;http://www.presentationload.com/"/>
                <p:cNvSpPr>
                  <a:spLocks noEditPoints="1"/>
                </p:cNvSpPr>
                <p:nvPr/>
              </p:nvSpPr>
              <p:spPr bwMode="gray">
                <a:xfrm>
                  <a:off x="2230439" y="4648204"/>
                  <a:ext cx="466726" cy="1220788"/>
                </a:xfrm>
                <a:custGeom>
                  <a:avLst/>
                  <a:gdLst>
                    <a:gd name="T0" fmla="*/ 2147483647 w 1158"/>
                    <a:gd name="T1" fmla="*/ 2147483647 h 3030"/>
                    <a:gd name="T2" fmla="*/ 2147483647 w 1158"/>
                    <a:gd name="T3" fmla="*/ 2147483647 h 3030"/>
                    <a:gd name="T4" fmla="*/ 2147483647 w 1158"/>
                    <a:gd name="T5" fmla="*/ 2147483647 h 3030"/>
                    <a:gd name="T6" fmla="*/ 2147483647 w 1158"/>
                    <a:gd name="T7" fmla="*/ 2147483647 h 3030"/>
                    <a:gd name="T8" fmla="*/ 2147483647 w 1158"/>
                    <a:gd name="T9" fmla="*/ 2147483647 h 3030"/>
                    <a:gd name="T10" fmla="*/ 2147483647 w 1158"/>
                    <a:gd name="T11" fmla="*/ 2147483647 h 3030"/>
                    <a:gd name="T12" fmla="*/ 2147483647 w 1158"/>
                    <a:gd name="T13" fmla="*/ 2147483647 h 3030"/>
                    <a:gd name="T14" fmla="*/ 2147483647 w 1158"/>
                    <a:gd name="T15" fmla="*/ 2147483647 h 3030"/>
                    <a:gd name="T16" fmla="*/ 2147483647 w 1158"/>
                    <a:gd name="T17" fmla="*/ 2147483647 h 3030"/>
                    <a:gd name="T18" fmla="*/ 2147483647 w 1158"/>
                    <a:gd name="T19" fmla="*/ 2147483647 h 3030"/>
                    <a:gd name="T20" fmla="*/ 2147483647 w 1158"/>
                    <a:gd name="T21" fmla="*/ 2147483647 h 3030"/>
                    <a:gd name="T22" fmla="*/ 2147483647 w 1158"/>
                    <a:gd name="T23" fmla="*/ 2147483647 h 3030"/>
                    <a:gd name="T24" fmla="*/ 2147483647 w 1158"/>
                    <a:gd name="T25" fmla="*/ 2147483647 h 3030"/>
                    <a:gd name="T26" fmla="*/ 2147483647 w 1158"/>
                    <a:gd name="T27" fmla="*/ 2147483647 h 3030"/>
                    <a:gd name="T28" fmla="*/ 2147483647 w 1158"/>
                    <a:gd name="T29" fmla="*/ 2147483647 h 3030"/>
                    <a:gd name="T30" fmla="*/ 2147483647 w 1158"/>
                    <a:gd name="T31" fmla="*/ 2147483647 h 3030"/>
                    <a:gd name="T32" fmla="*/ 2147483647 w 1158"/>
                    <a:gd name="T33" fmla="*/ 2147483647 h 3030"/>
                    <a:gd name="T34" fmla="*/ 2147483647 w 1158"/>
                    <a:gd name="T35" fmla="*/ 2147483647 h 3030"/>
                    <a:gd name="T36" fmla="*/ 2147483647 w 1158"/>
                    <a:gd name="T37" fmla="*/ 2147483647 h 3030"/>
                    <a:gd name="T38" fmla="*/ 2147483647 w 1158"/>
                    <a:gd name="T39" fmla="*/ 2147483647 h 3030"/>
                    <a:gd name="T40" fmla="*/ 2147483647 w 1158"/>
                    <a:gd name="T41" fmla="*/ 2147483647 h 3030"/>
                    <a:gd name="T42" fmla="*/ 2147483647 w 1158"/>
                    <a:gd name="T43" fmla="*/ 2147483647 h 3030"/>
                    <a:gd name="T44" fmla="*/ 2147483647 w 1158"/>
                    <a:gd name="T45" fmla="*/ 2147483647 h 3030"/>
                    <a:gd name="T46" fmla="*/ 2147483647 w 1158"/>
                    <a:gd name="T47" fmla="*/ 2147483647 h 3030"/>
                    <a:gd name="T48" fmla="*/ 2147483647 w 1158"/>
                    <a:gd name="T49" fmla="*/ 2147483647 h 3030"/>
                    <a:gd name="T50" fmla="*/ 2147483647 w 1158"/>
                    <a:gd name="T51" fmla="*/ 2147483647 h 3030"/>
                    <a:gd name="T52" fmla="*/ 2147483647 w 1158"/>
                    <a:gd name="T53" fmla="*/ 2147483647 h 3030"/>
                    <a:gd name="T54" fmla="*/ 2147483647 w 1158"/>
                    <a:gd name="T55" fmla="*/ 2147483647 h 3030"/>
                    <a:gd name="T56" fmla="*/ 2147483647 w 1158"/>
                    <a:gd name="T57" fmla="*/ 2147483647 h 3030"/>
                    <a:gd name="T58" fmla="*/ 2147483647 w 1158"/>
                    <a:gd name="T59" fmla="*/ 2147483647 h 3030"/>
                    <a:gd name="T60" fmla="*/ 2147483647 w 1158"/>
                    <a:gd name="T61" fmla="*/ 2147483647 h 3030"/>
                    <a:gd name="T62" fmla="*/ 2147483647 w 1158"/>
                    <a:gd name="T63" fmla="*/ 2147483647 h 3030"/>
                    <a:gd name="T64" fmla="*/ 2147483647 w 1158"/>
                    <a:gd name="T65" fmla="*/ 2147483647 h 3030"/>
                    <a:gd name="T66" fmla="*/ 2147483647 w 1158"/>
                    <a:gd name="T67" fmla="*/ 2147483647 h 3030"/>
                    <a:gd name="T68" fmla="*/ 2147483647 w 1158"/>
                    <a:gd name="T69" fmla="*/ 2147483647 h 3030"/>
                    <a:gd name="T70" fmla="*/ 2147483647 w 1158"/>
                    <a:gd name="T71" fmla="*/ 2147483647 h 3030"/>
                    <a:gd name="T72" fmla="*/ 2147483647 w 1158"/>
                    <a:gd name="T73" fmla="*/ 2147483647 h 3030"/>
                    <a:gd name="T74" fmla="*/ 2147483647 w 1158"/>
                    <a:gd name="T75" fmla="*/ 2147483647 h 3030"/>
                    <a:gd name="T76" fmla="*/ 2147483647 w 1158"/>
                    <a:gd name="T77" fmla="*/ 2147483647 h 3030"/>
                    <a:gd name="T78" fmla="*/ 0 w 1158"/>
                    <a:gd name="T79" fmla="*/ 2147483647 h 3030"/>
                    <a:gd name="T80" fmla="*/ 2147483647 w 1158"/>
                    <a:gd name="T81" fmla="*/ 2147483647 h 3030"/>
                    <a:gd name="T82" fmla="*/ 2147483647 w 1158"/>
                    <a:gd name="T83" fmla="*/ 2147483647 h 3030"/>
                    <a:gd name="T84" fmla="*/ 2147483647 w 1158"/>
                    <a:gd name="T85" fmla="*/ 2147483647 h 3030"/>
                    <a:gd name="T86" fmla="*/ 2147483647 w 1158"/>
                    <a:gd name="T87" fmla="*/ 2147483647 h 3030"/>
                    <a:gd name="T88" fmla="*/ 2147483647 w 1158"/>
                    <a:gd name="T89" fmla="*/ 2147483647 h 3030"/>
                    <a:gd name="T90" fmla="*/ 2147483647 w 1158"/>
                    <a:gd name="T91" fmla="*/ 2147483647 h 3030"/>
                    <a:gd name="T92" fmla="*/ 2147483647 w 1158"/>
                    <a:gd name="T93" fmla="*/ 2147483647 h 3030"/>
                    <a:gd name="T94" fmla="*/ 2147483647 w 1158"/>
                    <a:gd name="T95" fmla="*/ 2147483647 h 3030"/>
                    <a:gd name="T96" fmla="*/ 2147483647 w 1158"/>
                    <a:gd name="T97" fmla="*/ 2147483647 h 3030"/>
                    <a:gd name="T98" fmla="*/ 2147483647 w 1158"/>
                    <a:gd name="T99" fmla="*/ 2147483647 h 3030"/>
                    <a:gd name="T100" fmla="*/ 2147483647 w 1158"/>
                    <a:gd name="T101" fmla="*/ 2147483647 h 3030"/>
                    <a:gd name="T102" fmla="*/ 2147483647 w 1158"/>
                    <a:gd name="T103" fmla="*/ 2147483647 h 3030"/>
                    <a:gd name="T104" fmla="*/ 2147483647 w 1158"/>
                    <a:gd name="T105" fmla="*/ 2147483647 h 3030"/>
                    <a:gd name="T106" fmla="*/ 2147483647 w 1158"/>
                    <a:gd name="T107" fmla="*/ 2147483647 h 3030"/>
                    <a:gd name="T108" fmla="*/ 2147483647 w 1158"/>
                    <a:gd name="T109" fmla="*/ 2147483647 h 3030"/>
                    <a:gd name="T110" fmla="*/ 2147483647 w 1158"/>
                    <a:gd name="T111" fmla="*/ 2147483647 h 3030"/>
                    <a:gd name="T112" fmla="*/ 2147483647 w 1158"/>
                    <a:gd name="T113" fmla="*/ 2147483647 h 3030"/>
                    <a:gd name="T114" fmla="*/ 2147483647 w 1158"/>
                    <a:gd name="T115" fmla="*/ 2147483647 h 3030"/>
                    <a:gd name="T116" fmla="*/ 2147483647 w 1158"/>
                    <a:gd name="T117" fmla="*/ 2147483647 h 3030"/>
                    <a:gd name="T118" fmla="*/ 2147483647 w 1158"/>
                    <a:gd name="T119" fmla="*/ 2147483647 h 3030"/>
                    <a:gd name="T120" fmla="*/ 2147483647 w 1158"/>
                    <a:gd name="T121" fmla="*/ 2147483647 h 3030"/>
                    <a:gd name="T122" fmla="*/ 2147483647 w 1158"/>
                    <a:gd name="T123" fmla="*/ 2147483647 h 303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158"/>
                    <a:gd name="T187" fmla="*/ 0 h 3030"/>
                    <a:gd name="T188" fmla="*/ 1158 w 1158"/>
                    <a:gd name="T189" fmla="*/ 3030 h 303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158" h="3030">
                      <a:moveTo>
                        <a:pt x="1014" y="2910"/>
                      </a:moveTo>
                      <a:lnTo>
                        <a:pt x="984" y="2898"/>
                      </a:lnTo>
                      <a:lnTo>
                        <a:pt x="966" y="2880"/>
                      </a:lnTo>
                      <a:lnTo>
                        <a:pt x="948" y="2874"/>
                      </a:lnTo>
                      <a:lnTo>
                        <a:pt x="942" y="2862"/>
                      </a:lnTo>
                      <a:lnTo>
                        <a:pt x="936" y="2856"/>
                      </a:lnTo>
                      <a:lnTo>
                        <a:pt x="936" y="2850"/>
                      </a:lnTo>
                      <a:lnTo>
                        <a:pt x="906" y="2850"/>
                      </a:lnTo>
                      <a:lnTo>
                        <a:pt x="912" y="2832"/>
                      </a:lnTo>
                      <a:lnTo>
                        <a:pt x="870" y="2796"/>
                      </a:lnTo>
                      <a:lnTo>
                        <a:pt x="840" y="2802"/>
                      </a:lnTo>
                      <a:lnTo>
                        <a:pt x="828" y="2796"/>
                      </a:lnTo>
                      <a:lnTo>
                        <a:pt x="816" y="2808"/>
                      </a:lnTo>
                      <a:lnTo>
                        <a:pt x="792" y="2814"/>
                      </a:lnTo>
                      <a:lnTo>
                        <a:pt x="798" y="2832"/>
                      </a:lnTo>
                      <a:lnTo>
                        <a:pt x="780" y="2832"/>
                      </a:lnTo>
                      <a:lnTo>
                        <a:pt x="780" y="2862"/>
                      </a:lnTo>
                      <a:lnTo>
                        <a:pt x="786" y="2868"/>
                      </a:lnTo>
                      <a:lnTo>
                        <a:pt x="798" y="2868"/>
                      </a:lnTo>
                      <a:lnTo>
                        <a:pt x="810" y="2862"/>
                      </a:lnTo>
                      <a:lnTo>
                        <a:pt x="816" y="2856"/>
                      </a:lnTo>
                      <a:lnTo>
                        <a:pt x="828" y="2850"/>
                      </a:lnTo>
                      <a:lnTo>
                        <a:pt x="834" y="2844"/>
                      </a:lnTo>
                      <a:lnTo>
                        <a:pt x="858" y="2856"/>
                      </a:lnTo>
                      <a:lnTo>
                        <a:pt x="858" y="2874"/>
                      </a:lnTo>
                      <a:lnTo>
                        <a:pt x="846" y="2880"/>
                      </a:lnTo>
                      <a:lnTo>
                        <a:pt x="828" y="2898"/>
                      </a:lnTo>
                      <a:lnTo>
                        <a:pt x="822" y="2898"/>
                      </a:lnTo>
                      <a:lnTo>
                        <a:pt x="828" y="2904"/>
                      </a:lnTo>
                      <a:lnTo>
                        <a:pt x="882" y="2922"/>
                      </a:lnTo>
                      <a:lnTo>
                        <a:pt x="912" y="2928"/>
                      </a:lnTo>
                      <a:lnTo>
                        <a:pt x="924" y="2934"/>
                      </a:lnTo>
                      <a:lnTo>
                        <a:pt x="906" y="2958"/>
                      </a:lnTo>
                      <a:lnTo>
                        <a:pt x="906" y="2952"/>
                      </a:lnTo>
                      <a:lnTo>
                        <a:pt x="894" y="2940"/>
                      </a:lnTo>
                      <a:lnTo>
                        <a:pt x="876" y="2940"/>
                      </a:lnTo>
                      <a:lnTo>
                        <a:pt x="870" y="2946"/>
                      </a:lnTo>
                      <a:lnTo>
                        <a:pt x="870" y="2952"/>
                      </a:lnTo>
                      <a:lnTo>
                        <a:pt x="852" y="2928"/>
                      </a:lnTo>
                      <a:lnTo>
                        <a:pt x="834" y="2934"/>
                      </a:lnTo>
                      <a:lnTo>
                        <a:pt x="846" y="2946"/>
                      </a:lnTo>
                      <a:lnTo>
                        <a:pt x="816" y="2940"/>
                      </a:lnTo>
                      <a:lnTo>
                        <a:pt x="822" y="2946"/>
                      </a:lnTo>
                      <a:lnTo>
                        <a:pt x="828" y="2958"/>
                      </a:lnTo>
                      <a:lnTo>
                        <a:pt x="834" y="2964"/>
                      </a:lnTo>
                      <a:lnTo>
                        <a:pt x="894" y="2964"/>
                      </a:lnTo>
                      <a:lnTo>
                        <a:pt x="906" y="2970"/>
                      </a:lnTo>
                      <a:lnTo>
                        <a:pt x="1050" y="2970"/>
                      </a:lnTo>
                      <a:lnTo>
                        <a:pt x="1074" y="2982"/>
                      </a:lnTo>
                      <a:lnTo>
                        <a:pt x="1080" y="2988"/>
                      </a:lnTo>
                      <a:lnTo>
                        <a:pt x="1086" y="2988"/>
                      </a:lnTo>
                      <a:lnTo>
                        <a:pt x="1122" y="2970"/>
                      </a:lnTo>
                      <a:lnTo>
                        <a:pt x="1140" y="2976"/>
                      </a:lnTo>
                      <a:lnTo>
                        <a:pt x="1152" y="2976"/>
                      </a:lnTo>
                      <a:lnTo>
                        <a:pt x="1158" y="2952"/>
                      </a:lnTo>
                      <a:lnTo>
                        <a:pt x="1140" y="2952"/>
                      </a:lnTo>
                      <a:lnTo>
                        <a:pt x="1086" y="2940"/>
                      </a:lnTo>
                      <a:lnTo>
                        <a:pt x="1014" y="2910"/>
                      </a:lnTo>
                      <a:close/>
                      <a:moveTo>
                        <a:pt x="990" y="2988"/>
                      </a:moveTo>
                      <a:lnTo>
                        <a:pt x="1014" y="3000"/>
                      </a:lnTo>
                      <a:lnTo>
                        <a:pt x="1068" y="3006"/>
                      </a:lnTo>
                      <a:lnTo>
                        <a:pt x="1038" y="2982"/>
                      </a:lnTo>
                      <a:lnTo>
                        <a:pt x="990" y="2988"/>
                      </a:lnTo>
                      <a:close/>
                      <a:moveTo>
                        <a:pt x="960" y="2994"/>
                      </a:moveTo>
                      <a:lnTo>
                        <a:pt x="966" y="2982"/>
                      </a:lnTo>
                      <a:lnTo>
                        <a:pt x="888" y="2982"/>
                      </a:lnTo>
                      <a:lnTo>
                        <a:pt x="906" y="3012"/>
                      </a:lnTo>
                      <a:lnTo>
                        <a:pt x="936" y="3018"/>
                      </a:lnTo>
                      <a:lnTo>
                        <a:pt x="930" y="3006"/>
                      </a:lnTo>
                      <a:lnTo>
                        <a:pt x="936" y="3000"/>
                      </a:lnTo>
                      <a:lnTo>
                        <a:pt x="948" y="3012"/>
                      </a:lnTo>
                      <a:lnTo>
                        <a:pt x="996" y="3012"/>
                      </a:lnTo>
                      <a:lnTo>
                        <a:pt x="1008" y="3030"/>
                      </a:lnTo>
                      <a:lnTo>
                        <a:pt x="1026" y="3030"/>
                      </a:lnTo>
                      <a:lnTo>
                        <a:pt x="996" y="3000"/>
                      </a:lnTo>
                      <a:lnTo>
                        <a:pt x="960" y="2994"/>
                      </a:lnTo>
                      <a:close/>
                      <a:moveTo>
                        <a:pt x="804" y="2946"/>
                      </a:moveTo>
                      <a:lnTo>
                        <a:pt x="744" y="2940"/>
                      </a:lnTo>
                      <a:lnTo>
                        <a:pt x="750" y="2958"/>
                      </a:lnTo>
                      <a:lnTo>
                        <a:pt x="792" y="2958"/>
                      </a:lnTo>
                      <a:lnTo>
                        <a:pt x="804" y="2976"/>
                      </a:lnTo>
                      <a:lnTo>
                        <a:pt x="864" y="3000"/>
                      </a:lnTo>
                      <a:lnTo>
                        <a:pt x="828" y="2970"/>
                      </a:lnTo>
                      <a:lnTo>
                        <a:pt x="804" y="2946"/>
                      </a:lnTo>
                      <a:close/>
                      <a:moveTo>
                        <a:pt x="804" y="2880"/>
                      </a:moveTo>
                      <a:lnTo>
                        <a:pt x="786" y="2898"/>
                      </a:lnTo>
                      <a:lnTo>
                        <a:pt x="792" y="2928"/>
                      </a:lnTo>
                      <a:lnTo>
                        <a:pt x="816" y="2922"/>
                      </a:lnTo>
                      <a:lnTo>
                        <a:pt x="804" y="2880"/>
                      </a:lnTo>
                      <a:close/>
                      <a:moveTo>
                        <a:pt x="774" y="2928"/>
                      </a:moveTo>
                      <a:lnTo>
                        <a:pt x="768" y="2910"/>
                      </a:lnTo>
                      <a:lnTo>
                        <a:pt x="720" y="2898"/>
                      </a:lnTo>
                      <a:lnTo>
                        <a:pt x="708" y="2916"/>
                      </a:lnTo>
                      <a:lnTo>
                        <a:pt x="708" y="2934"/>
                      </a:lnTo>
                      <a:lnTo>
                        <a:pt x="744" y="2922"/>
                      </a:lnTo>
                      <a:lnTo>
                        <a:pt x="774" y="2928"/>
                      </a:lnTo>
                      <a:close/>
                      <a:moveTo>
                        <a:pt x="612" y="2772"/>
                      </a:moveTo>
                      <a:lnTo>
                        <a:pt x="606" y="2766"/>
                      </a:lnTo>
                      <a:lnTo>
                        <a:pt x="594" y="2766"/>
                      </a:lnTo>
                      <a:lnTo>
                        <a:pt x="588" y="2760"/>
                      </a:lnTo>
                      <a:lnTo>
                        <a:pt x="570" y="2760"/>
                      </a:lnTo>
                      <a:lnTo>
                        <a:pt x="570" y="2766"/>
                      </a:lnTo>
                      <a:lnTo>
                        <a:pt x="564" y="2778"/>
                      </a:lnTo>
                      <a:lnTo>
                        <a:pt x="564" y="2808"/>
                      </a:lnTo>
                      <a:lnTo>
                        <a:pt x="570" y="2808"/>
                      </a:lnTo>
                      <a:lnTo>
                        <a:pt x="576" y="2802"/>
                      </a:lnTo>
                      <a:lnTo>
                        <a:pt x="588" y="2802"/>
                      </a:lnTo>
                      <a:lnTo>
                        <a:pt x="594" y="2796"/>
                      </a:lnTo>
                      <a:lnTo>
                        <a:pt x="600" y="2820"/>
                      </a:lnTo>
                      <a:lnTo>
                        <a:pt x="630" y="2808"/>
                      </a:lnTo>
                      <a:lnTo>
                        <a:pt x="612" y="2790"/>
                      </a:lnTo>
                      <a:lnTo>
                        <a:pt x="618" y="2772"/>
                      </a:lnTo>
                      <a:lnTo>
                        <a:pt x="612" y="2772"/>
                      </a:lnTo>
                      <a:close/>
                      <a:moveTo>
                        <a:pt x="552" y="2826"/>
                      </a:moveTo>
                      <a:lnTo>
                        <a:pt x="516" y="2808"/>
                      </a:lnTo>
                      <a:lnTo>
                        <a:pt x="546" y="2832"/>
                      </a:lnTo>
                      <a:lnTo>
                        <a:pt x="588" y="2844"/>
                      </a:lnTo>
                      <a:lnTo>
                        <a:pt x="606" y="2850"/>
                      </a:lnTo>
                      <a:lnTo>
                        <a:pt x="588" y="2832"/>
                      </a:lnTo>
                      <a:lnTo>
                        <a:pt x="552" y="2826"/>
                      </a:lnTo>
                      <a:close/>
                      <a:moveTo>
                        <a:pt x="552" y="2748"/>
                      </a:moveTo>
                      <a:lnTo>
                        <a:pt x="534" y="2730"/>
                      </a:lnTo>
                      <a:lnTo>
                        <a:pt x="528" y="2766"/>
                      </a:lnTo>
                      <a:lnTo>
                        <a:pt x="504" y="2772"/>
                      </a:lnTo>
                      <a:lnTo>
                        <a:pt x="546" y="2784"/>
                      </a:lnTo>
                      <a:lnTo>
                        <a:pt x="552" y="2748"/>
                      </a:lnTo>
                      <a:close/>
                      <a:moveTo>
                        <a:pt x="444" y="2736"/>
                      </a:moveTo>
                      <a:lnTo>
                        <a:pt x="480" y="2772"/>
                      </a:lnTo>
                      <a:lnTo>
                        <a:pt x="492" y="2760"/>
                      </a:lnTo>
                      <a:lnTo>
                        <a:pt x="462" y="2724"/>
                      </a:lnTo>
                      <a:lnTo>
                        <a:pt x="444" y="2736"/>
                      </a:lnTo>
                      <a:close/>
                      <a:moveTo>
                        <a:pt x="516" y="2724"/>
                      </a:moveTo>
                      <a:lnTo>
                        <a:pt x="504" y="2718"/>
                      </a:lnTo>
                      <a:lnTo>
                        <a:pt x="492" y="2730"/>
                      </a:lnTo>
                      <a:lnTo>
                        <a:pt x="504" y="2748"/>
                      </a:lnTo>
                      <a:lnTo>
                        <a:pt x="516" y="2724"/>
                      </a:lnTo>
                      <a:close/>
                      <a:moveTo>
                        <a:pt x="456" y="2706"/>
                      </a:moveTo>
                      <a:lnTo>
                        <a:pt x="462" y="2676"/>
                      </a:lnTo>
                      <a:lnTo>
                        <a:pt x="456" y="2640"/>
                      </a:lnTo>
                      <a:lnTo>
                        <a:pt x="438" y="2634"/>
                      </a:lnTo>
                      <a:lnTo>
                        <a:pt x="438" y="2652"/>
                      </a:lnTo>
                      <a:lnTo>
                        <a:pt x="408" y="2646"/>
                      </a:lnTo>
                      <a:lnTo>
                        <a:pt x="432" y="2682"/>
                      </a:lnTo>
                      <a:lnTo>
                        <a:pt x="426" y="2724"/>
                      </a:lnTo>
                      <a:lnTo>
                        <a:pt x="456" y="2706"/>
                      </a:lnTo>
                      <a:close/>
                      <a:moveTo>
                        <a:pt x="366" y="2622"/>
                      </a:moveTo>
                      <a:lnTo>
                        <a:pt x="384" y="2628"/>
                      </a:lnTo>
                      <a:lnTo>
                        <a:pt x="390" y="2658"/>
                      </a:lnTo>
                      <a:lnTo>
                        <a:pt x="396" y="2628"/>
                      </a:lnTo>
                      <a:lnTo>
                        <a:pt x="402" y="2604"/>
                      </a:lnTo>
                      <a:lnTo>
                        <a:pt x="372" y="2598"/>
                      </a:lnTo>
                      <a:lnTo>
                        <a:pt x="366" y="2622"/>
                      </a:lnTo>
                      <a:close/>
                      <a:moveTo>
                        <a:pt x="372" y="2586"/>
                      </a:moveTo>
                      <a:lnTo>
                        <a:pt x="378" y="2586"/>
                      </a:lnTo>
                      <a:lnTo>
                        <a:pt x="378" y="2580"/>
                      </a:lnTo>
                      <a:lnTo>
                        <a:pt x="384" y="2574"/>
                      </a:lnTo>
                      <a:lnTo>
                        <a:pt x="414" y="2598"/>
                      </a:lnTo>
                      <a:lnTo>
                        <a:pt x="414" y="2574"/>
                      </a:lnTo>
                      <a:lnTo>
                        <a:pt x="384" y="2544"/>
                      </a:lnTo>
                      <a:lnTo>
                        <a:pt x="378" y="2532"/>
                      </a:lnTo>
                      <a:lnTo>
                        <a:pt x="372" y="2526"/>
                      </a:lnTo>
                      <a:lnTo>
                        <a:pt x="360" y="2502"/>
                      </a:lnTo>
                      <a:lnTo>
                        <a:pt x="360" y="2490"/>
                      </a:lnTo>
                      <a:lnTo>
                        <a:pt x="342" y="2454"/>
                      </a:lnTo>
                      <a:lnTo>
                        <a:pt x="330" y="2448"/>
                      </a:lnTo>
                      <a:lnTo>
                        <a:pt x="324" y="2442"/>
                      </a:lnTo>
                      <a:lnTo>
                        <a:pt x="318" y="2442"/>
                      </a:lnTo>
                      <a:lnTo>
                        <a:pt x="312" y="2448"/>
                      </a:lnTo>
                      <a:lnTo>
                        <a:pt x="312" y="2454"/>
                      </a:lnTo>
                      <a:lnTo>
                        <a:pt x="294" y="2448"/>
                      </a:lnTo>
                      <a:lnTo>
                        <a:pt x="288" y="2454"/>
                      </a:lnTo>
                      <a:lnTo>
                        <a:pt x="288" y="2466"/>
                      </a:lnTo>
                      <a:lnTo>
                        <a:pt x="282" y="2472"/>
                      </a:lnTo>
                      <a:lnTo>
                        <a:pt x="282" y="2490"/>
                      </a:lnTo>
                      <a:lnTo>
                        <a:pt x="330" y="2490"/>
                      </a:lnTo>
                      <a:lnTo>
                        <a:pt x="312" y="2532"/>
                      </a:lnTo>
                      <a:lnTo>
                        <a:pt x="324" y="2532"/>
                      </a:lnTo>
                      <a:lnTo>
                        <a:pt x="348" y="2508"/>
                      </a:lnTo>
                      <a:lnTo>
                        <a:pt x="342" y="2532"/>
                      </a:lnTo>
                      <a:lnTo>
                        <a:pt x="342" y="2538"/>
                      </a:lnTo>
                      <a:lnTo>
                        <a:pt x="348" y="2544"/>
                      </a:lnTo>
                      <a:lnTo>
                        <a:pt x="366" y="2580"/>
                      </a:lnTo>
                      <a:lnTo>
                        <a:pt x="366" y="2586"/>
                      </a:lnTo>
                      <a:lnTo>
                        <a:pt x="372" y="2586"/>
                      </a:lnTo>
                      <a:close/>
                      <a:moveTo>
                        <a:pt x="246" y="2082"/>
                      </a:moveTo>
                      <a:lnTo>
                        <a:pt x="246" y="2034"/>
                      </a:lnTo>
                      <a:lnTo>
                        <a:pt x="216" y="2004"/>
                      </a:lnTo>
                      <a:lnTo>
                        <a:pt x="234" y="1992"/>
                      </a:lnTo>
                      <a:lnTo>
                        <a:pt x="210" y="1968"/>
                      </a:lnTo>
                      <a:lnTo>
                        <a:pt x="174" y="1956"/>
                      </a:lnTo>
                      <a:lnTo>
                        <a:pt x="174" y="1986"/>
                      </a:lnTo>
                      <a:lnTo>
                        <a:pt x="180" y="1998"/>
                      </a:lnTo>
                      <a:lnTo>
                        <a:pt x="180" y="2004"/>
                      </a:lnTo>
                      <a:lnTo>
                        <a:pt x="192" y="2016"/>
                      </a:lnTo>
                      <a:lnTo>
                        <a:pt x="198" y="2028"/>
                      </a:lnTo>
                      <a:lnTo>
                        <a:pt x="204" y="2034"/>
                      </a:lnTo>
                      <a:lnTo>
                        <a:pt x="204" y="2046"/>
                      </a:lnTo>
                      <a:lnTo>
                        <a:pt x="198" y="2064"/>
                      </a:lnTo>
                      <a:lnTo>
                        <a:pt x="246" y="2082"/>
                      </a:lnTo>
                      <a:close/>
                      <a:moveTo>
                        <a:pt x="246" y="2178"/>
                      </a:moveTo>
                      <a:lnTo>
                        <a:pt x="258" y="2190"/>
                      </a:lnTo>
                      <a:lnTo>
                        <a:pt x="282" y="2190"/>
                      </a:lnTo>
                      <a:lnTo>
                        <a:pt x="294" y="2172"/>
                      </a:lnTo>
                      <a:lnTo>
                        <a:pt x="264" y="2178"/>
                      </a:lnTo>
                      <a:lnTo>
                        <a:pt x="246" y="2178"/>
                      </a:lnTo>
                      <a:close/>
                      <a:moveTo>
                        <a:pt x="282" y="2220"/>
                      </a:moveTo>
                      <a:lnTo>
                        <a:pt x="282" y="2238"/>
                      </a:lnTo>
                      <a:lnTo>
                        <a:pt x="306" y="2256"/>
                      </a:lnTo>
                      <a:lnTo>
                        <a:pt x="306" y="2232"/>
                      </a:lnTo>
                      <a:lnTo>
                        <a:pt x="294" y="2208"/>
                      </a:lnTo>
                      <a:lnTo>
                        <a:pt x="258" y="2208"/>
                      </a:lnTo>
                      <a:lnTo>
                        <a:pt x="282" y="2220"/>
                      </a:lnTo>
                      <a:close/>
                      <a:moveTo>
                        <a:pt x="318" y="2190"/>
                      </a:moveTo>
                      <a:lnTo>
                        <a:pt x="324" y="2184"/>
                      </a:lnTo>
                      <a:lnTo>
                        <a:pt x="336" y="2178"/>
                      </a:lnTo>
                      <a:lnTo>
                        <a:pt x="348" y="2166"/>
                      </a:lnTo>
                      <a:lnTo>
                        <a:pt x="336" y="2154"/>
                      </a:lnTo>
                      <a:lnTo>
                        <a:pt x="324" y="2154"/>
                      </a:lnTo>
                      <a:lnTo>
                        <a:pt x="312" y="2160"/>
                      </a:lnTo>
                      <a:lnTo>
                        <a:pt x="306" y="2166"/>
                      </a:lnTo>
                      <a:lnTo>
                        <a:pt x="306" y="2184"/>
                      </a:lnTo>
                      <a:lnTo>
                        <a:pt x="312" y="2190"/>
                      </a:lnTo>
                      <a:lnTo>
                        <a:pt x="318" y="2190"/>
                      </a:lnTo>
                      <a:close/>
                      <a:moveTo>
                        <a:pt x="252" y="2112"/>
                      </a:moveTo>
                      <a:lnTo>
                        <a:pt x="240" y="2118"/>
                      </a:lnTo>
                      <a:lnTo>
                        <a:pt x="240" y="2136"/>
                      </a:lnTo>
                      <a:lnTo>
                        <a:pt x="252" y="2136"/>
                      </a:lnTo>
                      <a:lnTo>
                        <a:pt x="264" y="2124"/>
                      </a:lnTo>
                      <a:lnTo>
                        <a:pt x="264" y="2106"/>
                      </a:lnTo>
                      <a:lnTo>
                        <a:pt x="258" y="2106"/>
                      </a:lnTo>
                      <a:lnTo>
                        <a:pt x="252" y="2112"/>
                      </a:lnTo>
                      <a:close/>
                      <a:moveTo>
                        <a:pt x="234" y="2154"/>
                      </a:moveTo>
                      <a:lnTo>
                        <a:pt x="216" y="2154"/>
                      </a:lnTo>
                      <a:lnTo>
                        <a:pt x="228" y="2178"/>
                      </a:lnTo>
                      <a:lnTo>
                        <a:pt x="234" y="2154"/>
                      </a:lnTo>
                      <a:close/>
                      <a:moveTo>
                        <a:pt x="714" y="2874"/>
                      </a:moveTo>
                      <a:lnTo>
                        <a:pt x="726" y="2874"/>
                      </a:lnTo>
                      <a:lnTo>
                        <a:pt x="726" y="2886"/>
                      </a:lnTo>
                      <a:lnTo>
                        <a:pt x="768" y="2886"/>
                      </a:lnTo>
                      <a:lnTo>
                        <a:pt x="774" y="2880"/>
                      </a:lnTo>
                      <a:lnTo>
                        <a:pt x="774" y="2874"/>
                      </a:lnTo>
                      <a:lnTo>
                        <a:pt x="744" y="2844"/>
                      </a:lnTo>
                      <a:lnTo>
                        <a:pt x="744" y="2808"/>
                      </a:lnTo>
                      <a:lnTo>
                        <a:pt x="786" y="2802"/>
                      </a:lnTo>
                      <a:lnTo>
                        <a:pt x="780" y="2790"/>
                      </a:lnTo>
                      <a:lnTo>
                        <a:pt x="804" y="2790"/>
                      </a:lnTo>
                      <a:lnTo>
                        <a:pt x="816" y="2772"/>
                      </a:lnTo>
                      <a:lnTo>
                        <a:pt x="792" y="2754"/>
                      </a:lnTo>
                      <a:lnTo>
                        <a:pt x="696" y="2754"/>
                      </a:lnTo>
                      <a:lnTo>
                        <a:pt x="684" y="2760"/>
                      </a:lnTo>
                      <a:lnTo>
                        <a:pt x="672" y="2760"/>
                      </a:lnTo>
                      <a:lnTo>
                        <a:pt x="654" y="2742"/>
                      </a:lnTo>
                      <a:lnTo>
                        <a:pt x="618" y="2724"/>
                      </a:lnTo>
                      <a:lnTo>
                        <a:pt x="606" y="2706"/>
                      </a:lnTo>
                      <a:lnTo>
                        <a:pt x="588" y="2682"/>
                      </a:lnTo>
                      <a:lnTo>
                        <a:pt x="588" y="2658"/>
                      </a:lnTo>
                      <a:lnTo>
                        <a:pt x="576" y="2646"/>
                      </a:lnTo>
                      <a:lnTo>
                        <a:pt x="564" y="2640"/>
                      </a:lnTo>
                      <a:lnTo>
                        <a:pt x="546" y="2640"/>
                      </a:lnTo>
                      <a:lnTo>
                        <a:pt x="534" y="2652"/>
                      </a:lnTo>
                      <a:lnTo>
                        <a:pt x="528" y="2652"/>
                      </a:lnTo>
                      <a:lnTo>
                        <a:pt x="516" y="2646"/>
                      </a:lnTo>
                      <a:lnTo>
                        <a:pt x="510" y="2640"/>
                      </a:lnTo>
                      <a:lnTo>
                        <a:pt x="510" y="2628"/>
                      </a:lnTo>
                      <a:lnTo>
                        <a:pt x="504" y="2622"/>
                      </a:lnTo>
                      <a:lnTo>
                        <a:pt x="504" y="2616"/>
                      </a:lnTo>
                      <a:lnTo>
                        <a:pt x="474" y="2610"/>
                      </a:lnTo>
                      <a:lnTo>
                        <a:pt x="474" y="2574"/>
                      </a:lnTo>
                      <a:lnTo>
                        <a:pt x="468" y="2568"/>
                      </a:lnTo>
                      <a:lnTo>
                        <a:pt x="462" y="2556"/>
                      </a:lnTo>
                      <a:lnTo>
                        <a:pt x="462" y="2544"/>
                      </a:lnTo>
                      <a:lnTo>
                        <a:pt x="474" y="2538"/>
                      </a:lnTo>
                      <a:lnTo>
                        <a:pt x="474" y="2514"/>
                      </a:lnTo>
                      <a:lnTo>
                        <a:pt x="480" y="2514"/>
                      </a:lnTo>
                      <a:lnTo>
                        <a:pt x="486" y="2508"/>
                      </a:lnTo>
                      <a:lnTo>
                        <a:pt x="492" y="2508"/>
                      </a:lnTo>
                      <a:lnTo>
                        <a:pt x="498" y="2502"/>
                      </a:lnTo>
                      <a:lnTo>
                        <a:pt x="498" y="2496"/>
                      </a:lnTo>
                      <a:lnTo>
                        <a:pt x="474" y="2472"/>
                      </a:lnTo>
                      <a:lnTo>
                        <a:pt x="480" y="2466"/>
                      </a:lnTo>
                      <a:lnTo>
                        <a:pt x="492" y="2460"/>
                      </a:lnTo>
                      <a:lnTo>
                        <a:pt x="498" y="2460"/>
                      </a:lnTo>
                      <a:lnTo>
                        <a:pt x="498" y="2454"/>
                      </a:lnTo>
                      <a:lnTo>
                        <a:pt x="474" y="2430"/>
                      </a:lnTo>
                      <a:lnTo>
                        <a:pt x="468" y="2430"/>
                      </a:lnTo>
                      <a:lnTo>
                        <a:pt x="474" y="2388"/>
                      </a:lnTo>
                      <a:lnTo>
                        <a:pt x="486" y="2382"/>
                      </a:lnTo>
                      <a:lnTo>
                        <a:pt x="474" y="2358"/>
                      </a:lnTo>
                      <a:lnTo>
                        <a:pt x="480" y="2322"/>
                      </a:lnTo>
                      <a:lnTo>
                        <a:pt x="456" y="2298"/>
                      </a:lnTo>
                      <a:lnTo>
                        <a:pt x="462" y="2274"/>
                      </a:lnTo>
                      <a:lnTo>
                        <a:pt x="438" y="2256"/>
                      </a:lnTo>
                      <a:lnTo>
                        <a:pt x="450" y="2244"/>
                      </a:lnTo>
                      <a:lnTo>
                        <a:pt x="456" y="2232"/>
                      </a:lnTo>
                      <a:lnTo>
                        <a:pt x="462" y="2226"/>
                      </a:lnTo>
                      <a:lnTo>
                        <a:pt x="438" y="2202"/>
                      </a:lnTo>
                      <a:lnTo>
                        <a:pt x="426" y="2202"/>
                      </a:lnTo>
                      <a:lnTo>
                        <a:pt x="420" y="2196"/>
                      </a:lnTo>
                      <a:lnTo>
                        <a:pt x="408" y="2190"/>
                      </a:lnTo>
                      <a:lnTo>
                        <a:pt x="402" y="2190"/>
                      </a:lnTo>
                      <a:lnTo>
                        <a:pt x="396" y="2184"/>
                      </a:lnTo>
                      <a:lnTo>
                        <a:pt x="414" y="2184"/>
                      </a:lnTo>
                      <a:lnTo>
                        <a:pt x="426" y="2178"/>
                      </a:lnTo>
                      <a:lnTo>
                        <a:pt x="438" y="2178"/>
                      </a:lnTo>
                      <a:lnTo>
                        <a:pt x="444" y="2172"/>
                      </a:lnTo>
                      <a:lnTo>
                        <a:pt x="444" y="2166"/>
                      </a:lnTo>
                      <a:lnTo>
                        <a:pt x="432" y="2160"/>
                      </a:lnTo>
                      <a:lnTo>
                        <a:pt x="402" y="2160"/>
                      </a:lnTo>
                      <a:lnTo>
                        <a:pt x="390" y="2148"/>
                      </a:lnTo>
                      <a:lnTo>
                        <a:pt x="390" y="2118"/>
                      </a:lnTo>
                      <a:lnTo>
                        <a:pt x="384" y="2106"/>
                      </a:lnTo>
                      <a:lnTo>
                        <a:pt x="384" y="2100"/>
                      </a:lnTo>
                      <a:lnTo>
                        <a:pt x="378" y="2094"/>
                      </a:lnTo>
                      <a:lnTo>
                        <a:pt x="366" y="2088"/>
                      </a:lnTo>
                      <a:lnTo>
                        <a:pt x="360" y="2088"/>
                      </a:lnTo>
                      <a:lnTo>
                        <a:pt x="366" y="2058"/>
                      </a:lnTo>
                      <a:lnTo>
                        <a:pt x="342" y="2046"/>
                      </a:lnTo>
                      <a:lnTo>
                        <a:pt x="336" y="2040"/>
                      </a:lnTo>
                      <a:lnTo>
                        <a:pt x="336" y="2028"/>
                      </a:lnTo>
                      <a:lnTo>
                        <a:pt x="330" y="2016"/>
                      </a:lnTo>
                      <a:lnTo>
                        <a:pt x="330" y="1998"/>
                      </a:lnTo>
                      <a:lnTo>
                        <a:pt x="324" y="1986"/>
                      </a:lnTo>
                      <a:lnTo>
                        <a:pt x="324" y="1974"/>
                      </a:lnTo>
                      <a:lnTo>
                        <a:pt x="330" y="1968"/>
                      </a:lnTo>
                      <a:lnTo>
                        <a:pt x="342" y="1962"/>
                      </a:lnTo>
                      <a:lnTo>
                        <a:pt x="348" y="1962"/>
                      </a:lnTo>
                      <a:lnTo>
                        <a:pt x="336" y="1950"/>
                      </a:lnTo>
                      <a:lnTo>
                        <a:pt x="324" y="1944"/>
                      </a:lnTo>
                      <a:lnTo>
                        <a:pt x="306" y="1926"/>
                      </a:lnTo>
                      <a:lnTo>
                        <a:pt x="300" y="1914"/>
                      </a:lnTo>
                      <a:lnTo>
                        <a:pt x="300" y="1890"/>
                      </a:lnTo>
                      <a:lnTo>
                        <a:pt x="294" y="1878"/>
                      </a:lnTo>
                      <a:lnTo>
                        <a:pt x="288" y="1872"/>
                      </a:lnTo>
                      <a:lnTo>
                        <a:pt x="288" y="1842"/>
                      </a:lnTo>
                      <a:lnTo>
                        <a:pt x="294" y="1836"/>
                      </a:lnTo>
                      <a:lnTo>
                        <a:pt x="294" y="1824"/>
                      </a:lnTo>
                      <a:lnTo>
                        <a:pt x="276" y="1812"/>
                      </a:lnTo>
                      <a:lnTo>
                        <a:pt x="276" y="1806"/>
                      </a:lnTo>
                      <a:lnTo>
                        <a:pt x="282" y="1794"/>
                      </a:lnTo>
                      <a:lnTo>
                        <a:pt x="282" y="1788"/>
                      </a:lnTo>
                      <a:lnTo>
                        <a:pt x="264" y="1770"/>
                      </a:lnTo>
                      <a:lnTo>
                        <a:pt x="282" y="1758"/>
                      </a:lnTo>
                      <a:lnTo>
                        <a:pt x="270" y="1716"/>
                      </a:lnTo>
                      <a:lnTo>
                        <a:pt x="276" y="1716"/>
                      </a:lnTo>
                      <a:lnTo>
                        <a:pt x="282" y="1710"/>
                      </a:lnTo>
                      <a:lnTo>
                        <a:pt x="294" y="1704"/>
                      </a:lnTo>
                      <a:lnTo>
                        <a:pt x="300" y="1692"/>
                      </a:lnTo>
                      <a:lnTo>
                        <a:pt x="300" y="1686"/>
                      </a:lnTo>
                      <a:lnTo>
                        <a:pt x="282" y="1668"/>
                      </a:lnTo>
                      <a:lnTo>
                        <a:pt x="276" y="1668"/>
                      </a:lnTo>
                      <a:lnTo>
                        <a:pt x="276" y="1650"/>
                      </a:lnTo>
                      <a:lnTo>
                        <a:pt x="246" y="1626"/>
                      </a:lnTo>
                      <a:lnTo>
                        <a:pt x="246" y="1578"/>
                      </a:lnTo>
                      <a:lnTo>
                        <a:pt x="240" y="1566"/>
                      </a:lnTo>
                      <a:lnTo>
                        <a:pt x="234" y="1548"/>
                      </a:lnTo>
                      <a:lnTo>
                        <a:pt x="234" y="1536"/>
                      </a:lnTo>
                      <a:lnTo>
                        <a:pt x="228" y="1530"/>
                      </a:lnTo>
                      <a:lnTo>
                        <a:pt x="228" y="1524"/>
                      </a:lnTo>
                      <a:lnTo>
                        <a:pt x="252" y="1518"/>
                      </a:lnTo>
                      <a:lnTo>
                        <a:pt x="258" y="1500"/>
                      </a:lnTo>
                      <a:lnTo>
                        <a:pt x="258" y="1494"/>
                      </a:lnTo>
                      <a:lnTo>
                        <a:pt x="264" y="1482"/>
                      </a:lnTo>
                      <a:lnTo>
                        <a:pt x="264" y="1470"/>
                      </a:lnTo>
                      <a:lnTo>
                        <a:pt x="258" y="1464"/>
                      </a:lnTo>
                      <a:lnTo>
                        <a:pt x="252" y="1452"/>
                      </a:lnTo>
                      <a:lnTo>
                        <a:pt x="246" y="1446"/>
                      </a:lnTo>
                      <a:lnTo>
                        <a:pt x="240" y="1434"/>
                      </a:lnTo>
                      <a:lnTo>
                        <a:pt x="234" y="1428"/>
                      </a:lnTo>
                      <a:lnTo>
                        <a:pt x="246" y="1428"/>
                      </a:lnTo>
                      <a:lnTo>
                        <a:pt x="246" y="1398"/>
                      </a:lnTo>
                      <a:lnTo>
                        <a:pt x="252" y="1380"/>
                      </a:lnTo>
                      <a:lnTo>
                        <a:pt x="252" y="1356"/>
                      </a:lnTo>
                      <a:lnTo>
                        <a:pt x="270" y="1338"/>
                      </a:lnTo>
                      <a:lnTo>
                        <a:pt x="270" y="1332"/>
                      </a:lnTo>
                      <a:lnTo>
                        <a:pt x="264" y="1320"/>
                      </a:lnTo>
                      <a:lnTo>
                        <a:pt x="258" y="1314"/>
                      </a:lnTo>
                      <a:lnTo>
                        <a:pt x="252" y="1302"/>
                      </a:lnTo>
                      <a:lnTo>
                        <a:pt x="246" y="1260"/>
                      </a:lnTo>
                      <a:lnTo>
                        <a:pt x="222" y="1260"/>
                      </a:lnTo>
                      <a:lnTo>
                        <a:pt x="210" y="1248"/>
                      </a:lnTo>
                      <a:lnTo>
                        <a:pt x="210" y="1236"/>
                      </a:lnTo>
                      <a:lnTo>
                        <a:pt x="216" y="1230"/>
                      </a:lnTo>
                      <a:lnTo>
                        <a:pt x="210" y="1218"/>
                      </a:lnTo>
                      <a:lnTo>
                        <a:pt x="198" y="1188"/>
                      </a:lnTo>
                      <a:lnTo>
                        <a:pt x="180" y="1170"/>
                      </a:lnTo>
                      <a:lnTo>
                        <a:pt x="180" y="1164"/>
                      </a:lnTo>
                      <a:lnTo>
                        <a:pt x="186" y="1158"/>
                      </a:lnTo>
                      <a:lnTo>
                        <a:pt x="186" y="1146"/>
                      </a:lnTo>
                      <a:lnTo>
                        <a:pt x="168" y="1128"/>
                      </a:lnTo>
                      <a:lnTo>
                        <a:pt x="156" y="1122"/>
                      </a:lnTo>
                      <a:lnTo>
                        <a:pt x="156" y="1116"/>
                      </a:lnTo>
                      <a:lnTo>
                        <a:pt x="150" y="1110"/>
                      </a:lnTo>
                      <a:lnTo>
                        <a:pt x="150" y="1086"/>
                      </a:lnTo>
                      <a:lnTo>
                        <a:pt x="156" y="1086"/>
                      </a:lnTo>
                      <a:lnTo>
                        <a:pt x="168" y="1080"/>
                      </a:lnTo>
                      <a:lnTo>
                        <a:pt x="162" y="1026"/>
                      </a:lnTo>
                      <a:lnTo>
                        <a:pt x="186" y="1026"/>
                      </a:lnTo>
                      <a:lnTo>
                        <a:pt x="186" y="1020"/>
                      </a:lnTo>
                      <a:lnTo>
                        <a:pt x="180" y="1008"/>
                      </a:lnTo>
                      <a:lnTo>
                        <a:pt x="168" y="972"/>
                      </a:lnTo>
                      <a:lnTo>
                        <a:pt x="156" y="948"/>
                      </a:lnTo>
                      <a:lnTo>
                        <a:pt x="156" y="936"/>
                      </a:lnTo>
                      <a:lnTo>
                        <a:pt x="168" y="924"/>
                      </a:lnTo>
                      <a:lnTo>
                        <a:pt x="168" y="858"/>
                      </a:lnTo>
                      <a:lnTo>
                        <a:pt x="174" y="852"/>
                      </a:lnTo>
                      <a:lnTo>
                        <a:pt x="180" y="840"/>
                      </a:lnTo>
                      <a:lnTo>
                        <a:pt x="192" y="828"/>
                      </a:lnTo>
                      <a:lnTo>
                        <a:pt x="192" y="816"/>
                      </a:lnTo>
                      <a:lnTo>
                        <a:pt x="198" y="804"/>
                      </a:lnTo>
                      <a:lnTo>
                        <a:pt x="198" y="792"/>
                      </a:lnTo>
                      <a:lnTo>
                        <a:pt x="204" y="774"/>
                      </a:lnTo>
                      <a:lnTo>
                        <a:pt x="204" y="762"/>
                      </a:lnTo>
                      <a:lnTo>
                        <a:pt x="222" y="762"/>
                      </a:lnTo>
                      <a:lnTo>
                        <a:pt x="228" y="756"/>
                      </a:lnTo>
                      <a:lnTo>
                        <a:pt x="240" y="750"/>
                      </a:lnTo>
                      <a:lnTo>
                        <a:pt x="240" y="738"/>
                      </a:lnTo>
                      <a:lnTo>
                        <a:pt x="234" y="726"/>
                      </a:lnTo>
                      <a:lnTo>
                        <a:pt x="210" y="714"/>
                      </a:lnTo>
                      <a:lnTo>
                        <a:pt x="204" y="708"/>
                      </a:lnTo>
                      <a:lnTo>
                        <a:pt x="198" y="708"/>
                      </a:lnTo>
                      <a:lnTo>
                        <a:pt x="204" y="708"/>
                      </a:lnTo>
                      <a:lnTo>
                        <a:pt x="216" y="696"/>
                      </a:lnTo>
                      <a:lnTo>
                        <a:pt x="222" y="684"/>
                      </a:lnTo>
                      <a:lnTo>
                        <a:pt x="228" y="678"/>
                      </a:lnTo>
                      <a:lnTo>
                        <a:pt x="222" y="666"/>
                      </a:lnTo>
                      <a:lnTo>
                        <a:pt x="210" y="654"/>
                      </a:lnTo>
                      <a:lnTo>
                        <a:pt x="198" y="648"/>
                      </a:lnTo>
                      <a:lnTo>
                        <a:pt x="192" y="642"/>
                      </a:lnTo>
                      <a:lnTo>
                        <a:pt x="192" y="624"/>
                      </a:lnTo>
                      <a:lnTo>
                        <a:pt x="216" y="600"/>
                      </a:lnTo>
                      <a:lnTo>
                        <a:pt x="216" y="594"/>
                      </a:lnTo>
                      <a:lnTo>
                        <a:pt x="204" y="594"/>
                      </a:lnTo>
                      <a:lnTo>
                        <a:pt x="192" y="588"/>
                      </a:lnTo>
                      <a:lnTo>
                        <a:pt x="186" y="582"/>
                      </a:lnTo>
                      <a:lnTo>
                        <a:pt x="186" y="576"/>
                      </a:lnTo>
                      <a:lnTo>
                        <a:pt x="192" y="570"/>
                      </a:lnTo>
                      <a:lnTo>
                        <a:pt x="198" y="558"/>
                      </a:lnTo>
                      <a:lnTo>
                        <a:pt x="210" y="552"/>
                      </a:lnTo>
                      <a:lnTo>
                        <a:pt x="222" y="540"/>
                      </a:lnTo>
                      <a:lnTo>
                        <a:pt x="240" y="534"/>
                      </a:lnTo>
                      <a:lnTo>
                        <a:pt x="252" y="528"/>
                      </a:lnTo>
                      <a:lnTo>
                        <a:pt x="258" y="522"/>
                      </a:lnTo>
                      <a:lnTo>
                        <a:pt x="264" y="522"/>
                      </a:lnTo>
                      <a:lnTo>
                        <a:pt x="276" y="438"/>
                      </a:lnTo>
                      <a:lnTo>
                        <a:pt x="264" y="420"/>
                      </a:lnTo>
                      <a:lnTo>
                        <a:pt x="222" y="420"/>
                      </a:lnTo>
                      <a:lnTo>
                        <a:pt x="216" y="408"/>
                      </a:lnTo>
                      <a:lnTo>
                        <a:pt x="216" y="384"/>
                      </a:lnTo>
                      <a:lnTo>
                        <a:pt x="192" y="360"/>
                      </a:lnTo>
                      <a:lnTo>
                        <a:pt x="192" y="294"/>
                      </a:lnTo>
                      <a:lnTo>
                        <a:pt x="186" y="288"/>
                      </a:lnTo>
                      <a:lnTo>
                        <a:pt x="174" y="282"/>
                      </a:lnTo>
                      <a:lnTo>
                        <a:pt x="168" y="276"/>
                      </a:lnTo>
                      <a:lnTo>
                        <a:pt x="156" y="270"/>
                      </a:lnTo>
                      <a:lnTo>
                        <a:pt x="150" y="264"/>
                      </a:lnTo>
                      <a:lnTo>
                        <a:pt x="144" y="264"/>
                      </a:lnTo>
                      <a:lnTo>
                        <a:pt x="144" y="240"/>
                      </a:lnTo>
                      <a:lnTo>
                        <a:pt x="138" y="234"/>
                      </a:lnTo>
                      <a:lnTo>
                        <a:pt x="132" y="222"/>
                      </a:lnTo>
                      <a:lnTo>
                        <a:pt x="132" y="210"/>
                      </a:lnTo>
                      <a:lnTo>
                        <a:pt x="138" y="204"/>
                      </a:lnTo>
                      <a:lnTo>
                        <a:pt x="144" y="192"/>
                      </a:lnTo>
                      <a:lnTo>
                        <a:pt x="150" y="186"/>
                      </a:lnTo>
                      <a:lnTo>
                        <a:pt x="132" y="168"/>
                      </a:lnTo>
                      <a:lnTo>
                        <a:pt x="144" y="156"/>
                      </a:lnTo>
                      <a:lnTo>
                        <a:pt x="150" y="144"/>
                      </a:lnTo>
                      <a:lnTo>
                        <a:pt x="150" y="138"/>
                      </a:lnTo>
                      <a:lnTo>
                        <a:pt x="144" y="126"/>
                      </a:lnTo>
                      <a:lnTo>
                        <a:pt x="120" y="114"/>
                      </a:lnTo>
                      <a:lnTo>
                        <a:pt x="114" y="114"/>
                      </a:lnTo>
                      <a:lnTo>
                        <a:pt x="102" y="108"/>
                      </a:lnTo>
                      <a:lnTo>
                        <a:pt x="90" y="30"/>
                      </a:lnTo>
                      <a:lnTo>
                        <a:pt x="66" y="30"/>
                      </a:lnTo>
                      <a:lnTo>
                        <a:pt x="48" y="0"/>
                      </a:lnTo>
                      <a:lnTo>
                        <a:pt x="36" y="6"/>
                      </a:lnTo>
                      <a:lnTo>
                        <a:pt x="42" y="18"/>
                      </a:lnTo>
                      <a:lnTo>
                        <a:pt x="42" y="36"/>
                      </a:lnTo>
                      <a:lnTo>
                        <a:pt x="36" y="42"/>
                      </a:lnTo>
                      <a:lnTo>
                        <a:pt x="0" y="66"/>
                      </a:lnTo>
                      <a:lnTo>
                        <a:pt x="0" y="108"/>
                      </a:lnTo>
                      <a:lnTo>
                        <a:pt x="24" y="156"/>
                      </a:lnTo>
                      <a:lnTo>
                        <a:pt x="30" y="174"/>
                      </a:lnTo>
                      <a:lnTo>
                        <a:pt x="36" y="228"/>
                      </a:lnTo>
                      <a:lnTo>
                        <a:pt x="36" y="282"/>
                      </a:lnTo>
                      <a:lnTo>
                        <a:pt x="48" y="318"/>
                      </a:lnTo>
                      <a:lnTo>
                        <a:pt x="48" y="360"/>
                      </a:lnTo>
                      <a:lnTo>
                        <a:pt x="54" y="384"/>
                      </a:lnTo>
                      <a:lnTo>
                        <a:pt x="54" y="432"/>
                      </a:lnTo>
                      <a:lnTo>
                        <a:pt x="30" y="444"/>
                      </a:lnTo>
                      <a:lnTo>
                        <a:pt x="36" y="474"/>
                      </a:lnTo>
                      <a:lnTo>
                        <a:pt x="54" y="486"/>
                      </a:lnTo>
                      <a:lnTo>
                        <a:pt x="48" y="582"/>
                      </a:lnTo>
                      <a:lnTo>
                        <a:pt x="72" y="624"/>
                      </a:lnTo>
                      <a:lnTo>
                        <a:pt x="54" y="642"/>
                      </a:lnTo>
                      <a:lnTo>
                        <a:pt x="60" y="702"/>
                      </a:lnTo>
                      <a:lnTo>
                        <a:pt x="66" y="708"/>
                      </a:lnTo>
                      <a:lnTo>
                        <a:pt x="78" y="732"/>
                      </a:lnTo>
                      <a:lnTo>
                        <a:pt x="78" y="744"/>
                      </a:lnTo>
                      <a:lnTo>
                        <a:pt x="72" y="756"/>
                      </a:lnTo>
                      <a:lnTo>
                        <a:pt x="66" y="762"/>
                      </a:lnTo>
                      <a:lnTo>
                        <a:pt x="60" y="762"/>
                      </a:lnTo>
                      <a:lnTo>
                        <a:pt x="60" y="792"/>
                      </a:lnTo>
                      <a:lnTo>
                        <a:pt x="72" y="810"/>
                      </a:lnTo>
                      <a:lnTo>
                        <a:pt x="60" y="822"/>
                      </a:lnTo>
                      <a:lnTo>
                        <a:pt x="48" y="846"/>
                      </a:lnTo>
                      <a:lnTo>
                        <a:pt x="48" y="852"/>
                      </a:lnTo>
                      <a:lnTo>
                        <a:pt x="60" y="852"/>
                      </a:lnTo>
                      <a:lnTo>
                        <a:pt x="60" y="864"/>
                      </a:lnTo>
                      <a:lnTo>
                        <a:pt x="66" y="870"/>
                      </a:lnTo>
                      <a:lnTo>
                        <a:pt x="66" y="888"/>
                      </a:lnTo>
                      <a:lnTo>
                        <a:pt x="54" y="900"/>
                      </a:lnTo>
                      <a:lnTo>
                        <a:pt x="54" y="906"/>
                      </a:lnTo>
                      <a:lnTo>
                        <a:pt x="48" y="912"/>
                      </a:lnTo>
                      <a:lnTo>
                        <a:pt x="48" y="936"/>
                      </a:lnTo>
                      <a:lnTo>
                        <a:pt x="54" y="948"/>
                      </a:lnTo>
                      <a:lnTo>
                        <a:pt x="60" y="954"/>
                      </a:lnTo>
                      <a:lnTo>
                        <a:pt x="66" y="954"/>
                      </a:lnTo>
                      <a:lnTo>
                        <a:pt x="78" y="966"/>
                      </a:lnTo>
                      <a:lnTo>
                        <a:pt x="78" y="1020"/>
                      </a:lnTo>
                      <a:lnTo>
                        <a:pt x="60" y="1020"/>
                      </a:lnTo>
                      <a:lnTo>
                        <a:pt x="60" y="1044"/>
                      </a:lnTo>
                      <a:lnTo>
                        <a:pt x="66" y="1056"/>
                      </a:lnTo>
                      <a:lnTo>
                        <a:pt x="90" y="1128"/>
                      </a:lnTo>
                      <a:lnTo>
                        <a:pt x="96" y="1140"/>
                      </a:lnTo>
                      <a:lnTo>
                        <a:pt x="102" y="1146"/>
                      </a:lnTo>
                      <a:lnTo>
                        <a:pt x="102" y="1164"/>
                      </a:lnTo>
                      <a:lnTo>
                        <a:pt x="108" y="1170"/>
                      </a:lnTo>
                      <a:lnTo>
                        <a:pt x="114" y="1182"/>
                      </a:lnTo>
                      <a:lnTo>
                        <a:pt x="120" y="1188"/>
                      </a:lnTo>
                      <a:lnTo>
                        <a:pt x="120" y="1236"/>
                      </a:lnTo>
                      <a:lnTo>
                        <a:pt x="114" y="1266"/>
                      </a:lnTo>
                      <a:lnTo>
                        <a:pt x="138" y="1290"/>
                      </a:lnTo>
                      <a:lnTo>
                        <a:pt x="138" y="1296"/>
                      </a:lnTo>
                      <a:lnTo>
                        <a:pt x="132" y="1302"/>
                      </a:lnTo>
                      <a:lnTo>
                        <a:pt x="126" y="1314"/>
                      </a:lnTo>
                      <a:lnTo>
                        <a:pt x="126" y="1326"/>
                      </a:lnTo>
                      <a:lnTo>
                        <a:pt x="120" y="1338"/>
                      </a:lnTo>
                      <a:lnTo>
                        <a:pt x="120" y="1416"/>
                      </a:lnTo>
                      <a:lnTo>
                        <a:pt x="102" y="1452"/>
                      </a:lnTo>
                      <a:lnTo>
                        <a:pt x="114" y="1464"/>
                      </a:lnTo>
                      <a:lnTo>
                        <a:pt x="114" y="1470"/>
                      </a:lnTo>
                      <a:lnTo>
                        <a:pt x="108" y="1476"/>
                      </a:lnTo>
                      <a:lnTo>
                        <a:pt x="108" y="1536"/>
                      </a:lnTo>
                      <a:lnTo>
                        <a:pt x="102" y="1554"/>
                      </a:lnTo>
                      <a:lnTo>
                        <a:pt x="102" y="1578"/>
                      </a:lnTo>
                      <a:lnTo>
                        <a:pt x="84" y="1584"/>
                      </a:lnTo>
                      <a:lnTo>
                        <a:pt x="84" y="1608"/>
                      </a:lnTo>
                      <a:lnTo>
                        <a:pt x="108" y="1650"/>
                      </a:lnTo>
                      <a:lnTo>
                        <a:pt x="108" y="1692"/>
                      </a:lnTo>
                      <a:lnTo>
                        <a:pt x="114" y="1704"/>
                      </a:lnTo>
                      <a:lnTo>
                        <a:pt x="144" y="1734"/>
                      </a:lnTo>
                      <a:lnTo>
                        <a:pt x="156" y="1758"/>
                      </a:lnTo>
                      <a:lnTo>
                        <a:pt x="156" y="1800"/>
                      </a:lnTo>
                      <a:lnTo>
                        <a:pt x="150" y="1812"/>
                      </a:lnTo>
                      <a:lnTo>
                        <a:pt x="150" y="1824"/>
                      </a:lnTo>
                      <a:lnTo>
                        <a:pt x="162" y="1836"/>
                      </a:lnTo>
                      <a:lnTo>
                        <a:pt x="162" y="1896"/>
                      </a:lnTo>
                      <a:lnTo>
                        <a:pt x="168" y="1908"/>
                      </a:lnTo>
                      <a:lnTo>
                        <a:pt x="174" y="1914"/>
                      </a:lnTo>
                      <a:lnTo>
                        <a:pt x="186" y="1920"/>
                      </a:lnTo>
                      <a:lnTo>
                        <a:pt x="192" y="1926"/>
                      </a:lnTo>
                      <a:lnTo>
                        <a:pt x="198" y="1926"/>
                      </a:lnTo>
                      <a:lnTo>
                        <a:pt x="192" y="1944"/>
                      </a:lnTo>
                      <a:lnTo>
                        <a:pt x="234" y="1944"/>
                      </a:lnTo>
                      <a:lnTo>
                        <a:pt x="234" y="1914"/>
                      </a:lnTo>
                      <a:lnTo>
                        <a:pt x="246" y="1926"/>
                      </a:lnTo>
                      <a:lnTo>
                        <a:pt x="258" y="1932"/>
                      </a:lnTo>
                      <a:lnTo>
                        <a:pt x="270" y="1932"/>
                      </a:lnTo>
                      <a:lnTo>
                        <a:pt x="276" y="1926"/>
                      </a:lnTo>
                      <a:lnTo>
                        <a:pt x="276" y="1914"/>
                      </a:lnTo>
                      <a:lnTo>
                        <a:pt x="288" y="1932"/>
                      </a:lnTo>
                      <a:lnTo>
                        <a:pt x="282" y="1938"/>
                      </a:lnTo>
                      <a:lnTo>
                        <a:pt x="270" y="1944"/>
                      </a:lnTo>
                      <a:lnTo>
                        <a:pt x="264" y="1956"/>
                      </a:lnTo>
                      <a:lnTo>
                        <a:pt x="258" y="1962"/>
                      </a:lnTo>
                      <a:lnTo>
                        <a:pt x="258" y="1968"/>
                      </a:lnTo>
                      <a:lnTo>
                        <a:pt x="288" y="1968"/>
                      </a:lnTo>
                      <a:lnTo>
                        <a:pt x="294" y="1974"/>
                      </a:lnTo>
                      <a:lnTo>
                        <a:pt x="294" y="1992"/>
                      </a:lnTo>
                      <a:lnTo>
                        <a:pt x="270" y="1986"/>
                      </a:lnTo>
                      <a:lnTo>
                        <a:pt x="288" y="2010"/>
                      </a:lnTo>
                      <a:lnTo>
                        <a:pt x="276" y="2022"/>
                      </a:lnTo>
                      <a:lnTo>
                        <a:pt x="294" y="2046"/>
                      </a:lnTo>
                      <a:lnTo>
                        <a:pt x="276" y="2064"/>
                      </a:lnTo>
                      <a:lnTo>
                        <a:pt x="270" y="2076"/>
                      </a:lnTo>
                      <a:lnTo>
                        <a:pt x="270" y="2082"/>
                      </a:lnTo>
                      <a:lnTo>
                        <a:pt x="276" y="2088"/>
                      </a:lnTo>
                      <a:lnTo>
                        <a:pt x="282" y="2088"/>
                      </a:lnTo>
                      <a:lnTo>
                        <a:pt x="306" y="2100"/>
                      </a:lnTo>
                      <a:lnTo>
                        <a:pt x="318" y="2100"/>
                      </a:lnTo>
                      <a:lnTo>
                        <a:pt x="300" y="2118"/>
                      </a:lnTo>
                      <a:lnTo>
                        <a:pt x="300" y="2130"/>
                      </a:lnTo>
                      <a:lnTo>
                        <a:pt x="312" y="2136"/>
                      </a:lnTo>
                      <a:lnTo>
                        <a:pt x="318" y="2142"/>
                      </a:lnTo>
                      <a:lnTo>
                        <a:pt x="330" y="2148"/>
                      </a:lnTo>
                      <a:lnTo>
                        <a:pt x="354" y="2148"/>
                      </a:lnTo>
                      <a:lnTo>
                        <a:pt x="360" y="2184"/>
                      </a:lnTo>
                      <a:lnTo>
                        <a:pt x="354" y="2184"/>
                      </a:lnTo>
                      <a:lnTo>
                        <a:pt x="324" y="2214"/>
                      </a:lnTo>
                      <a:lnTo>
                        <a:pt x="324" y="2220"/>
                      </a:lnTo>
                      <a:lnTo>
                        <a:pt x="330" y="2226"/>
                      </a:lnTo>
                      <a:lnTo>
                        <a:pt x="354" y="2226"/>
                      </a:lnTo>
                      <a:lnTo>
                        <a:pt x="366" y="2232"/>
                      </a:lnTo>
                      <a:lnTo>
                        <a:pt x="378" y="2244"/>
                      </a:lnTo>
                      <a:lnTo>
                        <a:pt x="348" y="2244"/>
                      </a:lnTo>
                      <a:lnTo>
                        <a:pt x="342" y="2238"/>
                      </a:lnTo>
                      <a:lnTo>
                        <a:pt x="330" y="2238"/>
                      </a:lnTo>
                      <a:lnTo>
                        <a:pt x="324" y="2244"/>
                      </a:lnTo>
                      <a:lnTo>
                        <a:pt x="324" y="2250"/>
                      </a:lnTo>
                      <a:lnTo>
                        <a:pt x="354" y="2256"/>
                      </a:lnTo>
                      <a:lnTo>
                        <a:pt x="330" y="2268"/>
                      </a:lnTo>
                      <a:lnTo>
                        <a:pt x="336" y="2292"/>
                      </a:lnTo>
                      <a:lnTo>
                        <a:pt x="348" y="2292"/>
                      </a:lnTo>
                      <a:lnTo>
                        <a:pt x="348" y="2316"/>
                      </a:lnTo>
                      <a:lnTo>
                        <a:pt x="336" y="2328"/>
                      </a:lnTo>
                      <a:lnTo>
                        <a:pt x="336" y="2322"/>
                      </a:lnTo>
                      <a:lnTo>
                        <a:pt x="330" y="2316"/>
                      </a:lnTo>
                      <a:lnTo>
                        <a:pt x="324" y="2304"/>
                      </a:lnTo>
                      <a:lnTo>
                        <a:pt x="324" y="2298"/>
                      </a:lnTo>
                      <a:lnTo>
                        <a:pt x="288" y="2298"/>
                      </a:lnTo>
                      <a:lnTo>
                        <a:pt x="306" y="2292"/>
                      </a:lnTo>
                      <a:lnTo>
                        <a:pt x="282" y="2268"/>
                      </a:lnTo>
                      <a:lnTo>
                        <a:pt x="276" y="2268"/>
                      </a:lnTo>
                      <a:lnTo>
                        <a:pt x="276" y="2280"/>
                      </a:lnTo>
                      <a:lnTo>
                        <a:pt x="270" y="2268"/>
                      </a:lnTo>
                      <a:lnTo>
                        <a:pt x="228" y="2280"/>
                      </a:lnTo>
                      <a:lnTo>
                        <a:pt x="264" y="2286"/>
                      </a:lnTo>
                      <a:lnTo>
                        <a:pt x="258" y="2292"/>
                      </a:lnTo>
                      <a:lnTo>
                        <a:pt x="252" y="2304"/>
                      </a:lnTo>
                      <a:lnTo>
                        <a:pt x="246" y="2310"/>
                      </a:lnTo>
                      <a:lnTo>
                        <a:pt x="234" y="2316"/>
                      </a:lnTo>
                      <a:lnTo>
                        <a:pt x="228" y="2328"/>
                      </a:lnTo>
                      <a:lnTo>
                        <a:pt x="222" y="2334"/>
                      </a:lnTo>
                      <a:lnTo>
                        <a:pt x="222" y="2340"/>
                      </a:lnTo>
                      <a:lnTo>
                        <a:pt x="228" y="2346"/>
                      </a:lnTo>
                      <a:lnTo>
                        <a:pt x="240" y="2352"/>
                      </a:lnTo>
                      <a:lnTo>
                        <a:pt x="252" y="2352"/>
                      </a:lnTo>
                      <a:lnTo>
                        <a:pt x="252" y="2346"/>
                      </a:lnTo>
                      <a:lnTo>
                        <a:pt x="240" y="2334"/>
                      </a:lnTo>
                      <a:lnTo>
                        <a:pt x="264" y="2328"/>
                      </a:lnTo>
                      <a:lnTo>
                        <a:pt x="282" y="2346"/>
                      </a:lnTo>
                      <a:lnTo>
                        <a:pt x="324" y="2346"/>
                      </a:lnTo>
                      <a:lnTo>
                        <a:pt x="336" y="2352"/>
                      </a:lnTo>
                      <a:lnTo>
                        <a:pt x="342" y="2364"/>
                      </a:lnTo>
                      <a:lnTo>
                        <a:pt x="354" y="2370"/>
                      </a:lnTo>
                      <a:lnTo>
                        <a:pt x="354" y="2376"/>
                      </a:lnTo>
                      <a:lnTo>
                        <a:pt x="336" y="2394"/>
                      </a:lnTo>
                      <a:lnTo>
                        <a:pt x="342" y="2406"/>
                      </a:lnTo>
                      <a:lnTo>
                        <a:pt x="360" y="2406"/>
                      </a:lnTo>
                      <a:lnTo>
                        <a:pt x="360" y="2418"/>
                      </a:lnTo>
                      <a:lnTo>
                        <a:pt x="378" y="2424"/>
                      </a:lnTo>
                      <a:lnTo>
                        <a:pt x="384" y="2406"/>
                      </a:lnTo>
                      <a:lnTo>
                        <a:pt x="402" y="2424"/>
                      </a:lnTo>
                      <a:lnTo>
                        <a:pt x="408" y="2424"/>
                      </a:lnTo>
                      <a:lnTo>
                        <a:pt x="420" y="2430"/>
                      </a:lnTo>
                      <a:lnTo>
                        <a:pt x="426" y="2436"/>
                      </a:lnTo>
                      <a:lnTo>
                        <a:pt x="426" y="2448"/>
                      </a:lnTo>
                      <a:lnTo>
                        <a:pt x="414" y="2460"/>
                      </a:lnTo>
                      <a:lnTo>
                        <a:pt x="408" y="2454"/>
                      </a:lnTo>
                      <a:lnTo>
                        <a:pt x="396" y="2454"/>
                      </a:lnTo>
                      <a:lnTo>
                        <a:pt x="384" y="2448"/>
                      </a:lnTo>
                      <a:lnTo>
                        <a:pt x="378" y="2442"/>
                      </a:lnTo>
                      <a:lnTo>
                        <a:pt x="366" y="2442"/>
                      </a:lnTo>
                      <a:lnTo>
                        <a:pt x="366" y="2454"/>
                      </a:lnTo>
                      <a:lnTo>
                        <a:pt x="372" y="2460"/>
                      </a:lnTo>
                      <a:lnTo>
                        <a:pt x="378" y="2460"/>
                      </a:lnTo>
                      <a:lnTo>
                        <a:pt x="390" y="2472"/>
                      </a:lnTo>
                      <a:lnTo>
                        <a:pt x="402" y="2496"/>
                      </a:lnTo>
                      <a:lnTo>
                        <a:pt x="402" y="2508"/>
                      </a:lnTo>
                      <a:lnTo>
                        <a:pt x="384" y="2508"/>
                      </a:lnTo>
                      <a:lnTo>
                        <a:pt x="396" y="2526"/>
                      </a:lnTo>
                      <a:lnTo>
                        <a:pt x="414" y="2562"/>
                      </a:lnTo>
                      <a:lnTo>
                        <a:pt x="426" y="2520"/>
                      </a:lnTo>
                      <a:lnTo>
                        <a:pt x="426" y="2550"/>
                      </a:lnTo>
                      <a:lnTo>
                        <a:pt x="444" y="2574"/>
                      </a:lnTo>
                      <a:lnTo>
                        <a:pt x="420" y="2574"/>
                      </a:lnTo>
                      <a:lnTo>
                        <a:pt x="426" y="2592"/>
                      </a:lnTo>
                      <a:lnTo>
                        <a:pt x="450" y="2592"/>
                      </a:lnTo>
                      <a:lnTo>
                        <a:pt x="432" y="2604"/>
                      </a:lnTo>
                      <a:lnTo>
                        <a:pt x="462" y="2616"/>
                      </a:lnTo>
                      <a:lnTo>
                        <a:pt x="444" y="2628"/>
                      </a:lnTo>
                      <a:lnTo>
                        <a:pt x="474" y="2640"/>
                      </a:lnTo>
                      <a:lnTo>
                        <a:pt x="462" y="2652"/>
                      </a:lnTo>
                      <a:lnTo>
                        <a:pt x="480" y="2658"/>
                      </a:lnTo>
                      <a:lnTo>
                        <a:pt x="480" y="2652"/>
                      </a:lnTo>
                      <a:lnTo>
                        <a:pt x="486" y="2640"/>
                      </a:lnTo>
                      <a:lnTo>
                        <a:pt x="486" y="2634"/>
                      </a:lnTo>
                      <a:lnTo>
                        <a:pt x="492" y="2634"/>
                      </a:lnTo>
                      <a:lnTo>
                        <a:pt x="498" y="2640"/>
                      </a:lnTo>
                      <a:lnTo>
                        <a:pt x="504" y="2652"/>
                      </a:lnTo>
                      <a:lnTo>
                        <a:pt x="498" y="2658"/>
                      </a:lnTo>
                      <a:lnTo>
                        <a:pt x="498" y="2664"/>
                      </a:lnTo>
                      <a:lnTo>
                        <a:pt x="492" y="2664"/>
                      </a:lnTo>
                      <a:lnTo>
                        <a:pt x="480" y="2676"/>
                      </a:lnTo>
                      <a:lnTo>
                        <a:pt x="480" y="2682"/>
                      </a:lnTo>
                      <a:lnTo>
                        <a:pt x="486" y="2688"/>
                      </a:lnTo>
                      <a:lnTo>
                        <a:pt x="516" y="2688"/>
                      </a:lnTo>
                      <a:lnTo>
                        <a:pt x="516" y="2700"/>
                      </a:lnTo>
                      <a:lnTo>
                        <a:pt x="540" y="2724"/>
                      </a:lnTo>
                      <a:lnTo>
                        <a:pt x="552" y="2730"/>
                      </a:lnTo>
                      <a:lnTo>
                        <a:pt x="558" y="2736"/>
                      </a:lnTo>
                      <a:lnTo>
                        <a:pt x="558" y="2700"/>
                      </a:lnTo>
                      <a:lnTo>
                        <a:pt x="564" y="2700"/>
                      </a:lnTo>
                      <a:lnTo>
                        <a:pt x="570" y="2706"/>
                      </a:lnTo>
                      <a:lnTo>
                        <a:pt x="582" y="2712"/>
                      </a:lnTo>
                      <a:lnTo>
                        <a:pt x="600" y="2718"/>
                      </a:lnTo>
                      <a:lnTo>
                        <a:pt x="624" y="2742"/>
                      </a:lnTo>
                      <a:lnTo>
                        <a:pt x="618" y="2748"/>
                      </a:lnTo>
                      <a:lnTo>
                        <a:pt x="618" y="2754"/>
                      </a:lnTo>
                      <a:lnTo>
                        <a:pt x="612" y="2760"/>
                      </a:lnTo>
                      <a:lnTo>
                        <a:pt x="630" y="2766"/>
                      </a:lnTo>
                      <a:lnTo>
                        <a:pt x="630" y="2790"/>
                      </a:lnTo>
                      <a:lnTo>
                        <a:pt x="684" y="2790"/>
                      </a:lnTo>
                      <a:lnTo>
                        <a:pt x="696" y="2802"/>
                      </a:lnTo>
                      <a:lnTo>
                        <a:pt x="666" y="2802"/>
                      </a:lnTo>
                      <a:lnTo>
                        <a:pt x="654" y="2814"/>
                      </a:lnTo>
                      <a:lnTo>
                        <a:pt x="630" y="2814"/>
                      </a:lnTo>
                      <a:lnTo>
                        <a:pt x="618" y="2832"/>
                      </a:lnTo>
                      <a:lnTo>
                        <a:pt x="648" y="2832"/>
                      </a:lnTo>
                      <a:lnTo>
                        <a:pt x="636" y="2850"/>
                      </a:lnTo>
                      <a:lnTo>
                        <a:pt x="666" y="2844"/>
                      </a:lnTo>
                      <a:lnTo>
                        <a:pt x="666" y="2826"/>
                      </a:lnTo>
                      <a:lnTo>
                        <a:pt x="690" y="2838"/>
                      </a:lnTo>
                      <a:lnTo>
                        <a:pt x="696" y="2826"/>
                      </a:lnTo>
                      <a:lnTo>
                        <a:pt x="702" y="2820"/>
                      </a:lnTo>
                      <a:lnTo>
                        <a:pt x="714" y="2814"/>
                      </a:lnTo>
                      <a:lnTo>
                        <a:pt x="720" y="2808"/>
                      </a:lnTo>
                      <a:lnTo>
                        <a:pt x="732" y="2808"/>
                      </a:lnTo>
                      <a:lnTo>
                        <a:pt x="732" y="2820"/>
                      </a:lnTo>
                      <a:lnTo>
                        <a:pt x="726" y="2832"/>
                      </a:lnTo>
                      <a:lnTo>
                        <a:pt x="702" y="2856"/>
                      </a:lnTo>
                      <a:lnTo>
                        <a:pt x="696" y="2850"/>
                      </a:lnTo>
                      <a:lnTo>
                        <a:pt x="678" y="2850"/>
                      </a:lnTo>
                      <a:lnTo>
                        <a:pt x="678" y="2868"/>
                      </a:lnTo>
                      <a:lnTo>
                        <a:pt x="642" y="2868"/>
                      </a:lnTo>
                      <a:lnTo>
                        <a:pt x="630" y="2880"/>
                      </a:lnTo>
                      <a:lnTo>
                        <a:pt x="642" y="2886"/>
                      </a:lnTo>
                      <a:lnTo>
                        <a:pt x="648" y="2916"/>
                      </a:lnTo>
                      <a:lnTo>
                        <a:pt x="678" y="2898"/>
                      </a:lnTo>
                      <a:lnTo>
                        <a:pt x="684" y="2910"/>
                      </a:lnTo>
                      <a:lnTo>
                        <a:pt x="684" y="2916"/>
                      </a:lnTo>
                      <a:lnTo>
                        <a:pt x="690" y="2916"/>
                      </a:lnTo>
                      <a:lnTo>
                        <a:pt x="696" y="2910"/>
                      </a:lnTo>
                      <a:lnTo>
                        <a:pt x="702" y="2898"/>
                      </a:lnTo>
                      <a:lnTo>
                        <a:pt x="702" y="2892"/>
                      </a:lnTo>
                      <a:lnTo>
                        <a:pt x="708" y="2880"/>
                      </a:lnTo>
                      <a:lnTo>
                        <a:pt x="714" y="2874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311" name="Brazil" descr="© INSCALE GmbH, 05.05.2010&#10;http://www.presentationload.com/"/>
                <p:cNvSpPr>
                  <a:spLocks noEditPoints="1"/>
                </p:cNvSpPr>
                <p:nvPr/>
              </p:nvSpPr>
              <p:spPr bwMode="gray">
                <a:xfrm>
                  <a:off x="2100263" y="3910015"/>
                  <a:ext cx="1120777" cy="1263651"/>
                </a:xfrm>
                <a:custGeom>
                  <a:avLst/>
                  <a:gdLst>
                    <a:gd name="T0" fmla="*/ 2147483647 w 2784"/>
                    <a:gd name="T1" fmla="*/ 2147483647 h 3150"/>
                    <a:gd name="T2" fmla="*/ 2147483647 w 2784"/>
                    <a:gd name="T3" fmla="*/ 2147483647 h 3150"/>
                    <a:gd name="T4" fmla="*/ 2147483647 w 2784"/>
                    <a:gd name="T5" fmla="*/ 2147483647 h 3150"/>
                    <a:gd name="T6" fmla="*/ 2147483647 w 2784"/>
                    <a:gd name="T7" fmla="*/ 2147483647 h 3150"/>
                    <a:gd name="T8" fmla="*/ 2147483647 w 2784"/>
                    <a:gd name="T9" fmla="*/ 2147483647 h 3150"/>
                    <a:gd name="T10" fmla="*/ 2147483647 w 2784"/>
                    <a:gd name="T11" fmla="*/ 2147483647 h 3150"/>
                    <a:gd name="T12" fmla="*/ 2147483647 w 2784"/>
                    <a:gd name="T13" fmla="*/ 2147483647 h 3150"/>
                    <a:gd name="T14" fmla="*/ 2147483647 w 2784"/>
                    <a:gd name="T15" fmla="*/ 2147483647 h 3150"/>
                    <a:gd name="T16" fmla="*/ 2147483647 w 2784"/>
                    <a:gd name="T17" fmla="*/ 2147483647 h 3150"/>
                    <a:gd name="T18" fmla="*/ 2147483647 w 2784"/>
                    <a:gd name="T19" fmla="*/ 2147483647 h 3150"/>
                    <a:gd name="T20" fmla="*/ 2147483647 w 2784"/>
                    <a:gd name="T21" fmla="*/ 2147483647 h 3150"/>
                    <a:gd name="T22" fmla="*/ 2147483647 w 2784"/>
                    <a:gd name="T23" fmla="*/ 2147483647 h 3150"/>
                    <a:gd name="T24" fmla="*/ 2147483647 w 2784"/>
                    <a:gd name="T25" fmla="*/ 2147483647 h 3150"/>
                    <a:gd name="T26" fmla="*/ 2147483647 w 2784"/>
                    <a:gd name="T27" fmla="*/ 2147483647 h 3150"/>
                    <a:gd name="T28" fmla="*/ 2147483647 w 2784"/>
                    <a:gd name="T29" fmla="*/ 2147483647 h 3150"/>
                    <a:gd name="T30" fmla="*/ 2147483647 w 2784"/>
                    <a:gd name="T31" fmla="*/ 2147483647 h 3150"/>
                    <a:gd name="T32" fmla="*/ 2147483647 w 2784"/>
                    <a:gd name="T33" fmla="*/ 2147483647 h 3150"/>
                    <a:gd name="T34" fmla="*/ 2147483647 w 2784"/>
                    <a:gd name="T35" fmla="*/ 2147483647 h 3150"/>
                    <a:gd name="T36" fmla="*/ 2147483647 w 2784"/>
                    <a:gd name="T37" fmla="*/ 2147483647 h 3150"/>
                    <a:gd name="T38" fmla="*/ 2147483647 w 2784"/>
                    <a:gd name="T39" fmla="*/ 2147483647 h 3150"/>
                    <a:gd name="T40" fmla="*/ 2147483647 w 2784"/>
                    <a:gd name="T41" fmla="*/ 2147483647 h 3150"/>
                    <a:gd name="T42" fmla="*/ 2147483647 w 2784"/>
                    <a:gd name="T43" fmla="*/ 2147483647 h 3150"/>
                    <a:gd name="T44" fmla="*/ 2147483647 w 2784"/>
                    <a:gd name="T45" fmla="*/ 2147483647 h 3150"/>
                    <a:gd name="T46" fmla="*/ 2147483647 w 2784"/>
                    <a:gd name="T47" fmla="*/ 2147483647 h 3150"/>
                    <a:gd name="T48" fmla="*/ 2147483647 w 2784"/>
                    <a:gd name="T49" fmla="*/ 2147483647 h 3150"/>
                    <a:gd name="T50" fmla="*/ 2147483647 w 2784"/>
                    <a:gd name="T51" fmla="*/ 2147483647 h 3150"/>
                    <a:gd name="T52" fmla="*/ 2147483647 w 2784"/>
                    <a:gd name="T53" fmla="*/ 2147483647 h 3150"/>
                    <a:gd name="T54" fmla="*/ 2147483647 w 2784"/>
                    <a:gd name="T55" fmla="*/ 2147483647 h 3150"/>
                    <a:gd name="T56" fmla="*/ 2147483647 w 2784"/>
                    <a:gd name="T57" fmla="*/ 2147483647 h 3150"/>
                    <a:gd name="T58" fmla="*/ 2147483647 w 2784"/>
                    <a:gd name="T59" fmla="*/ 2147483647 h 3150"/>
                    <a:gd name="T60" fmla="*/ 2147483647 w 2784"/>
                    <a:gd name="T61" fmla="*/ 2147483647 h 3150"/>
                    <a:gd name="T62" fmla="*/ 2147483647 w 2784"/>
                    <a:gd name="T63" fmla="*/ 2147483647 h 3150"/>
                    <a:gd name="T64" fmla="*/ 2147483647 w 2784"/>
                    <a:gd name="T65" fmla="*/ 2147483647 h 3150"/>
                    <a:gd name="T66" fmla="*/ 2147483647 w 2784"/>
                    <a:gd name="T67" fmla="*/ 2147483647 h 3150"/>
                    <a:gd name="T68" fmla="*/ 2147483647 w 2784"/>
                    <a:gd name="T69" fmla="*/ 2147483647 h 3150"/>
                    <a:gd name="T70" fmla="*/ 2147483647 w 2784"/>
                    <a:gd name="T71" fmla="*/ 2147483647 h 3150"/>
                    <a:gd name="T72" fmla="*/ 2147483647 w 2784"/>
                    <a:gd name="T73" fmla="*/ 2147483647 h 3150"/>
                    <a:gd name="T74" fmla="*/ 2147483647 w 2784"/>
                    <a:gd name="T75" fmla="*/ 2147483647 h 3150"/>
                    <a:gd name="T76" fmla="*/ 2147483647 w 2784"/>
                    <a:gd name="T77" fmla="*/ 2147483647 h 3150"/>
                    <a:gd name="T78" fmla="*/ 2147483647 w 2784"/>
                    <a:gd name="T79" fmla="*/ 2147483647 h 3150"/>
                    <a:gd name="T80" fmla="*/ 2147483647 w 2784"/>
                    <a:gd name="T81" fmla="*/ 2147483647 h 3150"/>
                    <a:gd name="T82" fmla="*/ 2147483647 w 2784"/>
                    <a:gd name="T83" fmla="*/ 2147483647 h 3150"/>
                    <a:gd name="T84" fmla="*/ 2147483647 w 2784"/>
                    <a:gd name="T85" fmla="*/ 2147483647 h 3150"/>
                    <a:gd name="T86" fmla="*/ 2147483647 w 2784"/>
                    <a:gd name="T87" fmla="*/ 2147483647 h 3150"/>
                    <a:gd name="T88" fmla="*/ 2147483647 w 2784"/>
                    <a:gd name="T89" fmla="*/ 2147483647 h 3150"/>
                    <a:gd name="T90" fmla="*/ 2147483647 w 2784"/>
                    <a:gd name="T91" fmla="*/ 2147483647 h 3150"/>
                    <a:gd name="T92" fmla="*/ 2147483647 w 2784"/>
                    <a:gd name="T93" fmla="*/ 2147483647 h 3150"/>
                    <a:gd name="T94" fmla="*/ 2147483647 w 2784"/>
                    <a:gd name="T95" fmla="*/ 2147483647 h 3150"/>
                    <a:gd name="T96" fmla="*/ 2147483647 w 2784"/>
                    <a:gd name="T97" fmla="*/ 2147483647 h 3150"/>
                    <a:gd name="T98" fmla="*/ 2147483647 w 2784"/>
                    <a:gd name="T99" fmla="*/ 2147483647 h 3150"/>
                    <a:gd name="T100" fmla="*/ 2147483647 w 2784"/>
                    <a:gd name="T101" fmla="*/ 2147483647 h 3150"/>
                    <a:gd name="T102" fmla="*/ 2147483647 w 2784"/>
                    <a:gd name="T103" fmla="*/ 2147483647 h 3150"/>
                    <a:gd name="T104" fmla="*/ 2147483647 w 2784"/>
                    <a:gd name="T105" fmla="*/ 2147483647 h 3150"/>
                    <a:gd name="T106" fmla="*/ 2147483647 w 2784"/>
                    <a:gd name="T107" fmla="*/ 2147483647 h 3150"/>
                    <a:gd name="T108" fmla="*/ 2147483647 w 2784"/>
                    <a:gd name="T109" fmla="*/ 2147483647 h 3150"/>
                    <a:gd name="T110" fmla="*/ 2147483647 w 2784"/>
                    <a:gd name="T111" fmla="*/ 2147483647 h 3150"/>
                    <a:gd name="T112" fmla="*/ 2147483647 w 2784"/>
                    <a:gd name="T113" fmla="*/ 2147483647 h 3150"/>
                    <a:gd name="T114" fmla="*/ 2147483647 w 2784"/>
                    <a:gd name="T115" fmla="*/ 2147483647 h 3150"/>
                    <a:gd name="T116" fmla="*/ 2147483647 w 2784"/>
                    <a:gd name="T117" fmla="*/ 2147483647 h 3150"/>
                    <a:gd name="T118" fmla="*/ 2147483647 w 2784"/>
                    <a:gd name="T119" fmla="*/ 2147483647 h 315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784"/>
                    <a:gd name="T181" fmla="*/ 0 h 3150"/>
                    <a:gd name="T182" fmla="*/ 2784 w 2784"/>
                    <a:gd name="T183" fmla="*/ 3150 h 315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784" h="3150">
                      <a:moveTo>
                        <a:pt x="1716" y="450"/>
                      </a:moveTo>
                      <a:lnTo>
                        <a:pt x="1710" y="450"/>
                      </a:lnTo>
                      <a:lnTo>
                        <a:pt x="1698" y="444"/>
                      </a:lnTo>
                      <a:lnTo>
                        <a:pt x="1680" y="444"/>
                      </a:lnTo>
                      <a:lnTo>
                        <a:pt x="1662" y="438"/>
                      </a:lnTo>
                      <a:lnTo>
                        <a:pt x="1650" y="438"/>
                      </a:lnTo>
                      <a:lnTo>
                        <a:pt x="1644" y="444"/>
                      </a:lnTo>
                      <a:lnTo>
                        <a:pt x="1644" y="450"/>
                      </a:lnTo>
                      <a:lnTo>
                        <a:pt x="1650" y="462"/>
                      </a:lnTo>
                      <a:lnTo>
                        <a:pt x="1650" y="468"/>
                      </a:lnTo>
                      <a:lnTo>
                        <a:pt x="1656" y="480"/>
                      </a:lnTo>
                      <a:lnTo>
                        <a:pt x="1638" y="480"/>
                      </a:lnTo>
                      <a:lnTo>
                        <a:pt x="1638" y="504"/>
                      </a:lnTo>
                      <a:lnTo>
                        <a:pt x="1656" y="516"/>
                      </a:lnTo>
                      <a:lnTo>
                        <a:pt x="1644" y="528"/>
                      </a:lnTo>
                      <a:lnTo>
                        <a:pt x="1644" y="540"/>
                      </a:lnTo>
                      <a:lnTo>
                        <a:pt x="1656" y="564"/>
                      </a:lnTo>
                      <a:lnTo>
                        <a:pt x="1668" y="570"/>
                      </a:lnTo>
                      <a:lnTo>
                        <a:pt x="1674" y="576"/>
                      </a:lnTo>
                      <a:lnTo>
                        <a:pt x="1686" y="576"/>
                      </a:lnTo>
                      <a:lnTo>
                        <a:pt x="1698" y="570"/>
                      </a:lnTo>
                      <a:lnTo>
                        <a:pt x="1710" y="570"/>
                      </a:lnTo>
                      <a:lnTo>
                        <a:pt x="1716" y="564"/>
                      </a:lnTo>
                      <a:lnTo>
                        <a:pt x="1716" y="558"/>
                      </a:lnTo>
                      <a:lnTo>
                        <a:pt x="1728" y="558"/>
                      </a:lnTo>
                      <a:lnTo>
                        <a:pt x="1740" y="552"/>
                      </a:lnTo>
                      <a:lnTo>
                        <a:pt x="1758" y="552"/>
                      </a:lnTo>
                      <a:lnTo>
                        <a:pt x="1770" y="546"/>
                      </a:lnTo>
                      <a:lnTo>
                        <a:pt x="1776" y="534"/>
                      </a:lnTo>
                      <a:lnTo>
                        <a:pt x="1788" y="492"/>
                      </a:lnTo>
                      <a:lnTo>
                        <a:pt x="1794" y="480"/>
                      </a:lnTo>
                      <a:lnTo>
                        <a:pt x="1794" y="474"/>
                      </a:lnTo>
                      <a:lnTo>
                        <a:pt x="1800" y="462"/>
                      </a:lnTo>
                      <a:lnTo>
                        <a:pt x="1800" y="444"/>
                      </a:lnTo>
                      <a:lnTo>
                        <a:pt x="1794" y="438"/>
                      </a:lnTo>
                      <a:lnTo>
                        <a:pt x="1752" y="438"/>
                      </a:lnTo>
                      <a:lnTo>
                        <a:pt x="1740" y="444"/>
                      </a:lnTo>
                      <a:lnTo>
                        <a:pt x="1734" y="444"/>
                      </a:lnTo>
                      <a:lnTo>
                        <a:pt x="1722" y="450"/>
                      </a:lnTo>
                      <a:lnTo>
                        <a:pt x="1716" y="450"/>
                      </a:lnTo>
                      <a:close/>
                      <a:moveTo>
                        <a:pt x="1716" y="438"/>
                      </a:moveTo>
                      <a:lnTo>
                        <a:pt x="1740" y="432"/>
                      </a:lnTo>
                      <a:lnTo>
                        <a:pt x="1722" y="414"/>
                      </a:lnTo>
                      <a:lnTo>
                        <a:pt x="1698" y="438"/>
                      </a:lnTo>
                      <a:lnTo>
                        <a:pt x="1716" y="438"/>
                      </a:lnTo>
                      <a:close/>
                      <a:moveTo>
                        <a:pt x="1686" y="408"/>
                      </a:moveTo>
                      <a:lnTo>
                        <a:pt x="1662" y="408"/>
                      </a:lnTo>
                      <a:lnTo>
                        <a:pt x="1662" y="426"/>
                      </a:lnTo>
                      <a:lnTo>
                        <a:pt x="1698" y="426"/>
                      </a:lnTo>
                      <a:lnTo>
                        <a:pt x="1716" y="402"/>
                      </a:lnTo>
                      <a:lnTo>
                        <a:pt x="1698" y="384"/>
                      </a:lnTo>
                      <a:lnTo>
                        <a:pt x="1686" y="408"/>
                      </a:lnTo>
                      <a:close/>
                      <a:moveTo>
                        <a:pt x="1572" y="492"/>
                      </a:moveTo>
                      <a:lnTo>
                        <a:pt x="1572" y="510"/>
                      </a:lnTo>
                      <a:lnTo>
                        <a:pt x="1554" y="546"/>
                      </a:lnTo>
                      <a:lnTo>
                        <a:pt x="1584" y="528"/>
                      </a:lnTo>
                      <a:lnTo>
                        <a:pt x="1590" y="516"/>
                      </a:lnTo>
                      <a:lnTo>
                        <a:pt x="1596" y="510"/>
                      </a:lnTo>
                      <a:lnTo>
                        <a:pt x="1608" y="486"/>
                      </a:lnTo>
                      <a:lnTo>
                        <a:pt x="1608" y="480"/>
                      </a:lnTo>
                      <a:lnTo>
                        <a:pt x="1602" y="474"/>
                      </a:lnTo>
                      <a:lnTo>
                        <a:pt x="1596" y="474"/>
                      </a:lnTo>
                      <a:lnTo>
                        <a:pt x="1584" y="480"/>
                      </a:lnTo>
                      <a:lnTo>
                        <a:pt x="1572" y="492"/>
                      </a:lnTo>
                      <a:close/>
                      <a:moveTo>
                        <a:pt x="1632" y="426"/>
                      </a:moveTo>
                      <a:lnTo>
                        <a:pt x="1608" y="450"/>
                      </a:lnTo>
                      <a:lnTo>
                        <a:pt x="1626" y="456"/>
                      </a:lnTo>
                      <a:lnTo>
                        <a:pt x="1644" y="432"/>
                      </a:lnTo>
                      <a:lnTo>
                        <a:pt x="1632" y="426"/>
                      </a:lnTo>
                      <a:close/>
                      <a:moveTo>
                        <a:pt x="2778" y="1002"/>
                      </a:moveTo>
                      <a:lnTo>
                        <a:pt x="2778" y="984"/>
                      </a:lnTo>
                      <a:lnTo>
                        <a:pt x="2772" y="972"/>
                      </a:lnTo>
                      <a:lnTo>
                        <a:pt x="2760" y="954"/>
                      </a:lnTo>
                      <a:lnTo>
                        <a:pt x="2754" y="936"/>
                      </a:lnTo>
                      <a:lnTo>
                        <a:pt x="2754" y="870"/>
                      </a:lnTo>
                      <a:lnTo>
                        <a:pt x="2724" y="840"/>
                      </a:lnTo>
                      <a:lnTo>
                        <a:pt x="2694" y="834"/>
                      </a:lnTo>
                      <a:lnTo>
                        <a:pt x="2646" y="840"/>
                      </a:lnTo>
                      <a:lnTo>
                        <a:pt x="2628" y="822"/>
                      </a:lnTo>
                      <a:lnTo>
                        <a:pt x="2610" y="822"/>
                      </a:lnTo>
                      <a:lnTo>
                        <a:pt x="2592" y="798"/>
                      </a:lnTo>
                      <a:lnTo>
                        <a:pt x="2568" y="798"/>
                      </a:lnTo>
                      <a:lnTo>
                        <a:pt x="2538" y="768"/>
                      </a:lnTo>
                      <a:lnTo>
                        <a:pt x="2526" y="750"/>
                      </a:lnTo>
                      <a:lnTo>
                        <a:pt x="2490" y="714"/>
                      </a:lnTo>
                      <a:lnTo>
                        <a:pt x="2418" y="666"/>
                      </a:lnTo>
                      <a:lnTo>
                        <a:pt x="2394" y="660"/>
                      </a:lnTo>
                      <a:lnTo>
                        <a:pt x="2316" y="660"/>
                      </a:lnTo>
                      <a:lnTo>
                        <a:pt x="2316" y="672"/>
                      </a:lnTo>
                      <a:lnTo>
                        <a:pt x="2310" y="672"/>
                      </a:lnTo>
                      <a:lnTo>
                        <a:pt x="2298" y="660"/>
                      </a:lnTo>
                      <a:lnTo>
                        <a:pt x="2286" y="654"/>
                      </a:lnTo>
                      <a:lnTo>
                        <a:pt x="2274" y="654"/>
                      </a:lnTo>
                      <a:lnTo>
                        <a:pt x="2262" y="648"/>
                      </a:lnTo>
                      <a:lnTo>
                        <a:pt x="2232" y="648"/>
                      </a:lnTo>
                      <a:lnTo>
                        <a:pt x="2226" y="642"/>
                      </a:lnTo>
                      <a:lnTo>
                        <a:pt x="2214" y="636"/>
                      </a:lnTo>
                      <a:lnTo>
                        <a:pt x="2196" y="630"/>
                      </a:lnTo>
                      <a:lnTo>
                        <a:pt x="2184" y="624"/>
                      </a:lnTo>
                      <a:lnTo>
                        <a:pt x="2166" y="618"/>
                      </a:lnTo>
                      <a:lnTo>
                        <a:pt x="2154" y="618"/>
                      </a:lnTo>
                      <a:lnTo>
                        <a:pt x="2142" y="624"/>
                      </a:lnTo>
                      <a:lnTo>
                        <a:pt x="2112" y="654"/>
                      </a:lnTo>
                      <a:lnTo>
                        <a:pt x="2106" y="666"/>
                      </a:lnTo>
                      <a:lnTo>
                        <a:pt x="2088" y="642"/>
                      </a:lnTo>
                      <a:lnTo>
                        <a:pt x="2088" y="678"/>
                      </a:lnTo>
                      <a:lnTo>
                        <a:pt x="2058" y="702"/>
                      </a:lnTo>
                      <a:lnTo>
                        <a:pt x="2076" y="636"/>
                      </a:lnTo>
                      <a:lnTo>
                        <a:pt x="2082" y="636"/>
                      </a:lnTo>
                      <a:lnTo>
                        <a:pt x="2094" y="624"/>
                      </a:lnTo>
                      <a:lnTo>
                        <a:pt x="2094" y="606"/>
                      </a:lnTo>
                      <a:lnTo>
                        <a:pt x="2088" y="600"/>
                      </a:lnTo>
                      <a:lnTo>
                        <a:pt x="2082" y="600"/>
                      </a:lnTo>
                      <a:lnTo>
                        <a:pt x="2064" y="618"/>
                      </a:lnTo>
                      <a:lnTo>
                        <a:pt x="2076" y="582"/>
                      </a:lnTo>
                      <a:lnTo>
                        <a:pt x="2070" y="582"/>
                      </a:lnTo>
                      <a:lnTo>
                        <a:pt x="2064" y="576"/>
                      </a:lnTo>
                      <a:lnTo>
                        <a:pt x="2064" y="570"/>
                      </a:lnTo>
                      <a:lnTo>
                        <a:pt x="2040" y="546"/>
                      </a:lnTo>
                      <a:lnTo>
                        <a:pt x="2034" y="546"/>
                      </a:lnTo>
                      <a:lnTo>
                        <a:pt x="2022" y="564"/>
                      </a:lnTo>
                      <a:lnTo>
                        <a:pt x="2016" y="552"/>
                      </a:lnTo>
                      <a:lnTo>
                        <a:pt x="2004" y="546"/>
                      </a:lnTo>
                      <a:lnTo>
                        <a:pt x="1998" y="534"/>
                      </a:lnTo>
                      <a:lnTo>
                        <a:pt x="1986" y="528"/>
                      </a:lnTo>
                      <a:lnTo>
                        <a:pt x="1980" y="522"/>
                      </a:lnTo>
                      <a:lnTo>
                        <a:pt x="1968" y="516"/>
                      </a:lnTo>
                      <a:lnTo>
                        <a:pt x="1944" y="516"/>
                      </a:lnTo>
                      <a:lnTo>
                        <a:pt x="1932" y="510"/>
                      </a:lnTo>
                      <a:lnTo>
                        <a:pt x="1926" y="510"/>
                      </a:lnTo>
                      <a:lnTo>
                        <a:pt x="1914" y="498"/>
                      </a:lnTo>
                      <a:lnTo>
                        <a:pt x="1902" y="492"/>
                      </a:lnTo>
                      <a:lnTo>
                        <a:pt x="1896" y="480"/>
                      </a:lnTo>
                      <a:lnTo>
                        <a:pt x="1884" y="474"/>
                      </a:lnTo>
                      <a:lnTo>
                        <a:pt x="1878" y="486"/>
                      </a:lnTo>
                      <a:lnTo>
                        <a:pt x="1824" y="486"/>
                      </a:lnTo>
                      <a:lnTo>
                        <a:pt x="1812" y="498"/>
                      </a:lnTo>
                      <a:lnTo>
                        <a:pt x="1806" y="510"/>
                      </a:lnTo>
                      <a:lnTo>
                        <a:pt x="1806" y="522"/>
                      </a:lnTo>
                      <a:lnTo>
                        <a:pt x="1800" y="528"/>
                      </a:lnTo>
                      <a:lnTo>
                        <a:pt x="1800" y="534"/>
                      </a:lnTo>
                      <a:lnTo>
                        <a:pt x="1812" y="552"/>
                      </a:lnTo>
                      <a:lnTo>
                        <a:pt x="1776" y="552"/>
                      </a:lnTo>
                      <a:lnTo>
                        <a:pt x="1770" y="564"/>
                      </a:lnTo>
                      <a:lnTo>
                        <a:pt x="1758" y="576"/>
                      </a:lnTo>
                      <a:lnTo>
                        <a:pt x="1752" y="588"/>
                      </a:lnTo>
                      <a:lnTo>
                        <a:pt x="1752" y="594"/>
                      </a:lnTo>
                      <a:lnTo>
                        <a:pt x="1746" y="600"/>
                      </a:lnTo>
                      <a:lnTo>
                        <a:pt x="1746" y="612"/>
                      </a:lnTo>
                      <a:lnTo>
                        <a:pt x="1740" y="624"/>
                      </a:lnTo>
                      <a:lnTo>
                        <a:pt x="1728" y="636"/>
                      </a:lnTo>
                      <a:lnTo>
                        <a:pt x="1722" y="636"/>
                      </a:lnTo>
                      <a:lnTo>
                        <a:pt x="1728" y="630"/>
                      </a:lnTo>
                      <a:lnTo>
                        <a:pt x="1728" y="618"/>
                      </a:lnTo>
                      <a:lnTo>
                        <a:pt x="1734" y="606"/>
                      </a:lnTo>
                      <a:lnTo>
                        <a:pt x="1734" y="600"/>
                      </a:lnTo>
                      <a:lnTo>
                        <a:pt x="1740" y="588"/>
                      </a:lnTo>
                      <a:lnTo>
                        <a:pt x="1740" y="582"/>
                      </a:lnTo>
                      <a:lnTo>
                        <a:pt x="1734" y="576"/>
                      </a:lnTo>
                      <a:lnTo>
                        <a:pt x="1728" y="576"/>
                      </a:lnTo>
                      <a:lnTo>
                        <a:pt x="1722" y="582"/>
                      </a:lnTo>
                      <a:lnTo>
                        <a:pt x="1716" y="582"/>
                      </a:lnTo>
                      <a:lnTo>
                        <a:pt x="1704" y="594"/>
                      </a:lnTo>
                      <a:lnTo>
                        <a:pt x="1692" y="588"/>
                      </a:lnTo>
                      <a:lnTo>
                        <a:pt x="1656" y="588"/>
                      </a:lnTo>
                      <a:lnTo>
                        <a:pt x="1644" y="582"/>
                      </a:lnTo>
                      <a:lnTo>
                        <a:pt x="1632" y="570"/>
                      </a:lnTo>
                      <a:lnTo>
                        <a:pt x="1632" y="522"/>
                      </a:lnTo>
                      <a:lnTo>
                        <a:pt x="1626" y="516"/>
                      </a:lnTo>
                      <a:lnTo>
                        <a:pt x="1626" y="504"/>
                      </a:lnTo>
                      <a:lnTo>
                        <a:pt x="1620" y="504"/>
                      </a:lnTo>
                      <a:lnTo>
                        <a:pt x="1614" y="510"/>
                      </a:lnTo>
                      <a:lnTo>
                        <a:pt x="1602" y="516"/>
                      </a:lnTo>
                      <a:lnTo>
                        <a:pt x="1596" y="522"/>
                      </a:lnTo>
                      <a:lnTo>
                        <a:pt x="1590" y="534"/>
                      </a:lnTo>
                      <a:lnTo>
                        <a:pt x="1584" y="540"/>
                      </a:lnTo>
                      <a:lnTo>
                        <a:pt x="1560" y="552"/>
                      </a:lnTo>
                      <a:lnTo>
                        <a:pt x="1554" y="558"/>
                      </a:lnTo>
                      <a:lnTo>
                        <a:pt x="1512" y="558"/>
                      </a:lnTo>
                      <a:lnTo>
                        <a:pt x="1500" y="552"/>
                      </a:lnTo>
                      <a:lnTo>
                        <a:pt x="1542" y="540"/>
                      </a:lnTo>
                      <a:lnTo>
                        <a:pt x="1548" y="528"/>
                      </a:lnTo>
                      <a:lnTo>
                        <a:pt x="1566" y="510"/>
                      </a:lnTo>
                      <a:lnTo>
                        <a:pt x="1566" y="492"/>
                      </a:lnTo>
                      <a:lnTo>
                        <a:pt x="1572" y="486"/>
                      </a:lnTo>
                      <a:lnTo>
                        <a:pt x="1590" y="450"/>
                      </a:lnTo>
                      <a:lnTo>
                        <a:pt x="1626" y="414"/>
                      </a:lnTo>
                      <a:lnTo>
                        <a:pt x="1638" y="408"/>
                      </a:lnTo>
                      <a:lnTo>
                        <a:pt x="1656" y="390"/>
                      </a:lnTo>
                      <a:lnTo>
                        <a:pt x="1656" y="378"/>
                      </a:lnTo>
                      <a:lnTo>
                        <a:pt x="1662" y="366"/>
                      </a:lnTo>
                      <a:lnTo>
                        <a:pt x="1674" y="354"/>
                      </a:lnTo>
                      <a:lnTo>
                        <a:pt x="1686" y="348"/>
                      </a:lnTo>
                      <a:lnTo>
                        <a:pt x="1692" y="342"/>
                      </a:lnTo>
                      <a:lnTo>
                        <a:pt x="1704" y="336"/>
                      </a:lnTo>
                      <a:lnTo>
                        <a:pt x="1680" y="330"/>
                      </a:lnTo>
                      <a:lnTo>
                        <a:pt x="1698" y="312"/>
                      </a:lnTo>
                      <a:lnTo>
                        <a:pt x="1698" y="294"/>
                      </a:lnTo>
                      <a:lnTo>
                        <a:pt x="1692" y="288"/>
                      </a:lnTo>
                      <a:lnTo>
                        <a:pt x="1680" y="282"/>
                      </a:lnTo>
                      <a:lnTo>
                        <a:pt x="1662" y="282"/>
                      </a:lnTo>
                      <a:lnTo>
                        <a:pt x="1650" y="276"/>
                      </a:lnTo>
                      <a:lnTo>
                        <a:pt x="1644" y="270"/>
                      </a:lnTo>
                      <a:lnTo>
                        <a:pt x="1638" y="252"/>
                      </a:lnTo>
                      <a:lnTo>
                        <a:pt x="1632" y="216"/>
                      </a:lnTo>
                      <a:lnTo>
                        <a:pt x="1626" y="168"/>
                      </a:lnTo>
                      <a:lnTo>
                        <a:pt x="1620" y="138"/>
                      </a:lnTo>
                      <a:lnTo>
                        <a:pt x="1614" y="114"/>
                      </a:lnTo>
                      <a:lnTo>
                        <a:pt x="1608" y="96"/>
                      </a:lnTo>
                      <a:lnTo>
                        <a:pt x="1602" y="84"/>
                      </a:lnTo>
                      <a:lnTo>
                        <a:pt x="1590" y="78"/>
                      </a:lnTo>
                      <a:lnTo>
                        <a:pt x="1584" y="78"/>
                      </a:lnTo>
                      <a:lnTo>
                        <a:pt x="1584" y="90"/>
                      </a:lnTo>
                      <a:lnTo>
                        <a:pt x="1590" y="96"/>
                      </a:lnTo>
                      <a:lnTo>
                        <a:pt x="1590" y="108"/>
                      </a:lnTo>
                      <a:lnTo>
                        <a:pt x="1572" y="108"/>
                      </a:lnTo>
                      <a:lnTo>
                        <a:pt x="1572" y="102"/>
                      </a:lnTo>
                      <a:lnTo>
                        <a:pt x="1566" y="108"/>
                      </a:lnTo>
                      <a:lnTo>
                        <a:pt x="1560" y="120"/>
                      </a:lnTo>
                      <a:lnTo>
                        <a:pt x="1560" y="126"/>
                      </a:lnTo>
                      <a:lnTo>
                        <a:pt x="1554" y="132"/>
                      </a:lnTo>
                      <a:lnTo>
                        <a:pt x="1548" y="144"/>
                      </a:lnTo>
                      <a:lnTo>
                        <a:pt x="1536" y="156"/>
                      </a:lnTo>
                      <a:lnTo>
                        <a:pt x="1518" y="192"/>
                      </a:lnTo>
                      <a:lnTo>
                        <a:pt x="1518" y="210"/>
                      </a:lnTo>
                      <a:lnTo>
                        <a:pt x="1494" y="246"/>
                      </a:lnTo>
                      <a:lnTo>
                        <a:pt x="1488" y="246"/>
                      </a:lnTo>
                      <a:lnTo>
                        <a:pt x="1482" y="252"/>
                      </a:lnTo>
                      <a:lnTo>
                        <a:pt x="1464" y="252"/>
                      </a:lnTo>
                      <a:lnTo>
                        <a:pt x="1452" y="240"/>
                      </a:lnTo>
                      <a:lnTo>
                        <a:pt x="1446" y="246"/>
                      </a:lnTo>
                      <a:lnTo>
                        <a:pt x="1434" y="246"/>
                      </a:lnTo>
                      <a:lnTo>
                        <a:pt x="1428" y="240"/>
                      </a:lnTo>
                      <a:lnTo>
                        <a:pt x="1416" y="240"/>
                      </a:lnTo>
                      <a:lnTo>
                        <a:pt x="1410" y="246"/>
                      </a:lnTo>
                      <a:lnTo>
                        <a:pt x="1410" y="252"/>
                      </a:lnTo>
                      <a:lnTo>
                        <a:pt x="1404" y="258"/>
                      </a:lnTo>
                      <a:lnTo>
                        <a:pt x="1380" y="258"/>
                      </a:lnTo>
                      <a:lnTo>
                        <a:pt x="1368" y="246"/>
                      </a:lnTo>
                      <a:lnTo>
                        <a:pt x="1368" y="240"/>
                      </a:lnTo>
                      <a:lnTo>
                        <a:pt x="1350" y="234"/>
                      </a:lnTo>
                      <a:lnTo>
                        <a:pt x="1344" y="228"/>
                      </a:lnTo>
                      <a:lnTo>
                        <a:pt x="1338" y="216"/>
                      </a:lnTo>
                      <a:lnTo>
                        <a:pt x="1332" y="216"/>
                      </a:lnTo>
                      <a:lnTo>
                        <a:pt x="1320" y="222"/>
                      </a:lnTo>
                      <a:lnTo>
                        <a:pt x="1314" y="228"/>
                      </a:lnTo>
                      <a:lnTo>
                        <a:pt x="1302" y="234"/>
                      </a:lnTo>
                      <a:lnTo>
                        <a:pt x="1278" y="234"/>
                      </a:lnTo>
                      <a:lnTo>
                        <a:pt x="1278" y="222"/>
                      </a:lnTo>
                      <a:lnTo>
                        <a:pt x="1272" y="222"/>
                      </a:lnTo>
                      <a:lnTo>
                        <a:pt x="1260" y="228"/>
                      </a:lnTo>
                      <a:lnTo>
                        <a:pt x="1260" y="252"/>
                      </a:lnTo>
                      <a:lnTo>
                        <a:pt x="1272" y="264"/>
                      </a:lnTo>
                      <a:lnTo>
                        <a:pt x="1272" y="270"/>
                      </a:lnTo>
                      <a:lnTo>
                        <a:pt x="1278" y="276"/>
                      </a:lnTo>
                      <a:lnTo>
                        <a:pt x="1272" y="282"/>
                      </a:lnTo>
                      <a:lnTo>
                        <a:pt x="1254" y="282"/>
                      </a:lnTo>
                      <a:lnTo>
                        <a:pt x="1230" y="270"/>
                      </a:lnTo>
                      <a:lnTo>
                        <a:pt x="1224" y="270"/>
                      </a:lnTo>
                      <a:lnTo>
                        <a:pt x="1212" y="264"/>
                      </a:lnTo>
                      <a:lnTo>
                        <a:pt x="1212" y="270"/>
                      </a:lnTo>
                      <a:lnTo>
                        <a:pt x="1206" y="276"/>
                      </a:lnTo>
                      <a:lnTo>
                        <a:pt x="1200" y="276"/>
                      </a:lnTo>
                      <a:lnTo>
                        <a:pt x="1188" y="264"/>
                      </a:lnTo>
                      <a:lnTo>
                        <a:pt x="1176" y="264"/>
                      </a:lnTo>
                      <a:lnTo>
                        <a:pt x="1158" y="282"/>
                      </a:lnTo>
                      <a:lnTo>
                        <a:pt x="1158" y="288"/>
                      </a:lnTo>
                      <a:lnTo>
                        <a:pt x="1128" y="288"/>
                      </a:lnTo>
                      <a:lnTo>
                        <a:pt x="1122" y="300"/>
                      </a:lnTo>
                      <a:lnTo>
                        <a:pt x="1104" y="300"/>
                      </a:lnTo>
                      <a:lnTo>
                        <a:pt x="1092" y="312"/>
                      </a:lnTo>
                      <a:lnTo>
                        <a:pt x="1092" y="324"/>
                      </a:lnTo>
                      <a:lnTo>
                        <a:pt x="1086" y="330"/>
                      </a:lnTo>
                      <a:lnTo>
                        <a:pt x="1050" y="330"/>
                      </a:lnTo>
                      <a:lnTo>
                        <a:pt x="1044" y="318"/>
                      </a:lnTo>
                      <a:lnTo>
                        <a:pt x="1032" y="318"/>
                      </a:lnTo>
                      <a:lnTo>
                        <a:pt x="1002" y="282"/>
                      </a:lnTo>
                      <a:lnTo>
                        <a:pt x="1002" y="252"/>
                      </a:lnTo>
                      <a:lnTo>
                        <a:pt x="978" y="228"/>
                      </a:lnTo>
                      <a:lnTo>
                        <a:pt x="972" y="216"/>
                      </a:lnTo>
                      <a:lnTo>
                        <a:pt x="972" y="210"/>
                      </a:lnTo>
                      <a:lnTo>
                        <a:pt x="978" y="198"/>
                      </a:lnTo>
                      <a:lnTo>
                        <a:pt x="978" y="192"/>
                      </a:lnTo>
                      <a:lnTo>
                        <a:pt x="984" y="180"/>
                      </a:lnTo>
                      <a:lnTo>
                        <a:pt x="996" y="138"/>
                      </a:lnTo>
                      <a:lnTo>
                        <a:pt x="1008" y="126"/>
                      </a:lnTo>
                      <a:lnTo>
                        <a:pt x="1014" y="114"/>
                      </a:lnTo>
                      <a:lnTo>
                        <a:pt x="1014" y="102"/>
                      </a:lnTo>
                      <a:lnTo>
                        <a:pt x="1008" y="102"/>
                      </a:lnTo>
                      <a:lnTo>
                        <a:pt x="1002" y="96"/>
                      </a:lnTo>
                      <a:lnTo>
                        <a:pt x="1002" y="66"/>
                      </a:lnTo>
                      <a:lnTo>
                        <a:pt x="996" y="66"/>
                      </a:lnTo>
                      <a:lnTo>
                        <a:pt x="984" y="72"/>
                      </a:lnTo>
                      <a:lnTo>
                        <a:pt x="978" y="72"/>
                      </a:lnTo>
                      <a:lnTo>
                        <a:pt x="972" y="66"/>
                      </a:lnTo>
                      <a:lnTo>
                        <a:pt x="972" y="60"/>
                      </a:lnTo>
                      <a:lnTo>
                        <a:pt x="978" y="54"/>
                      </a:lnTo>
                      <a:lnTo>
                        <a:pt x="984" y="42"/>
                      </a:lnTo>
                      <a:lnTo>
                        <a:pt x="984" y="24"/>
                      </a:lnTo>
                      <a:lnTo>
                        <a:pt x="978" y="12"/>
                      </a:lnTo>
                      <a:lnTo>
                        <a:pt x="966" y="0"/>
                      </a:lnTo>
                      <a:lnTo>
                        <a:pt x="960" y="12"/>
                      </a:lnTo>
                      <a:lnTo>
                        <a:pt x="936" y="6"/>
                      </a:lnTo>
                      <a:lnTo>
                        <a:pt x="936" y="42"/>
                      </a:lnTo>
                      <a:lnTo>
                        <a:pt x="930" y="48"/>
                      </a:lnTo>
                      <a:lnTo>
                        <a:pt x="918" y="48"/>
                      </a:lnTo>
                      <a:lnTo>
                        <a:pt x="918" y="60"/>
                      </a:lnTo>
                      <a:lnTo>
                        <a:pt x="894" y="60"/>
                      </a:lnTo>
                      <a:lnTo>
                        <a:pt x="882" y="66"/>
                      </a:lnTo>
                      <a:lnTo>
                        <a:pt x="858" y="90"/>
                      </a:lnTo>
                      <a:lnTo>
                        <a:pt x="846" y="96"/>
                      </a:lnTo>
                      <a:lnTo>
                        <a:pt x="828" y="96"/>
                      </a:lnTo>
                      <a:lnTo>
                        <a:pt x="822" y="90"/>
                      </a:lnTo>
                      <a:lnTo>
                        <a:pt x="804" y="90"/>
                      </a:lnTo>
                      <a:lnTo>
                        <a:pt x="798" y="96"/>
                      </a:lnTo>
                      <a:lnTo>
                        <a:pt x="798" y="108"/>
                      </a:lnTo>
                      <a:lnTo>
                        <a:pt x="792" y="120"/>
                      </a:lnTo>
                      <a:lnTo>
                        <a:pt x="792" y="138"/>
                      </a:lnTo>
                      <a:lnTo>
                        <a:pt x="786" y="144"/>
                      </a:lnTo>
                      <a:lnTo>
                        <a:pt x="774" y="138"/>
                      </a:lnTo>
                      <a:lnTo>
                        <a:pt x="762" y="126"/>
                      </a:lnTo>
                      <a:lnTo>
                        <a:pt x="756" y="114"/>
                      </a:lnTo>
                      <a:lnTo>
                        <a:pt x="750" y="108"/>
                      </a:lnTo>
                      <a:lnTo>
                        <a:pt x="738" y="108"/>
                      </a:lnTo>
                      <a:lnTo>
                        <a:pt x="732" y="114"/>
                      </a:lnTo>
                      <a:lnTo>
                        <a:pt x="720" y="108"/>
                      </a:lnTo>
                      <a:lnTo>
                        <a:pt x="708" y="114"/>
                      </a:lnTo>
                      <a:lnTo>
                        <a:pt x="696" y="114"/>
                      </a:lnTo>
                      <a:lnTo>
                        <a:pt x="696" y="96"/>
                      </a:lnTo>
                      <a:lnTo>
                        <a:pt x="690" y="90"/>
                      </a:lnTo>
                      <a:lnTo>
                        <a:pt x="648" y="90"/>
                      </a:lnTo>
                      <a:lnTo>
                        <a:pt x="648" y="84"/>
                      </a:lnTo>
                      <a:lnTo>
                        <a:pt x="642" y="78"/>
                      </a:lnTo>
                      <a:lnTo>
                        <a:pt x="642" y="108"/>
                      </a:lnTo>
                      <a:lnTo>
                        <a:pt x="660" y="126"/>
                      </a:lnTo>
                      <a:lnTo>
                        <a:pt x="672" y="132"/>
                      </a:lnTo>
                      <a:lnTo>
                        <a:pt x="678" y="138"/>
                      </a:lnTo>
                      <a:lnTo>
                        <a:pt x="678" y="168"/>
                      </a:lnTo>
                      <a:lnTo>
                        <a:pt x="672" y="174"/>
                      </a:lnTo>
                      <a:lnTo>
                        <a:pt x="684" y="186"/>
                      </a:lnTo>
                      <a:lnTo>
                        <a:pt x="690" y="198"/>
                      </a:lnTo>
                      <a:lnTo>
                        <a:pt x="690" y="228"/>
                      </a:lnTo>
                      <a:lnTo>
                        <a:pt x="738" y="234"/>
                      </a:lnTo>
                      <a:lnTo>
                        <a:pt x="744" y="240"/>
                      </a:lnTo>
                      <a:lnTo>
                        <a:pt x="744" y="246"/>
                      </a:lnTo>
                      <a:lnTo>
                        <a:pt x="738" y="258"/>
                      </a:lnTo>
                      <a:lnTo>
                        <a:pt x="732" y="264"/>
                      </a:lnTo>
                      <a:lnTo>
                        <a:pt x="690" y="264"/>
                      </a:lnTo>
                      <a:lnTo>
                        <a:pt x="690" y="294"/>
                      </a:lnTo>
                      <a:lnTo>
                        <a:pt x="684" y="306"/>
                      </a:lnTo>
                      <a:lnTo>
                        <a:pt x="648" y="324"/>
                      </a:lnTo>
                      <a:lnTo>
                        <a:pt x="642" y="330"/>
                      </a:lnTo>
                      <a:lnTo>
                        <a:pt x="624" y="330"/>
                      </a:lnTo>
                      <a:lnTo>
                        <a:pt x="612" y="342"/>
                      </a:lnTo>
                      <a:lnTo>
                        <a:pt x="600" y="366"/>
                      </a:lnTo>
                      <a:lnTo>
                        <a:pt x="588" y="378"/>
                      </a:lnTo>
                      <a:lnTo>
                        <a:pt x="582" y="378"/>
                      </a:lnTo>
                      <a:lnTo>
                        <a:pt x="582" y="354"/>
                      </a:lnTo>
                      <a:lnTo>
                        <a:pt x="576" y="348"/>
                      </a:lnTo>
                      <a:lnTo>
                        <a:pt x="570" y="354"/>
                      </a:lnTo>
                      <a:lnTo>
                        <a:pt x="558" y="360"/>
                      </a:lnTo>
                      <a:lnTo>
                        <a:pt x="552" y="366"/>
                      </a:lnTo>
                      <a:lnTo>
                        <a:pt x="540" y="372"/>
                      </a:lnTo>
                      <a:lnTo>
                        <a:pt x="534" y="372"/>
                      </a:lnTo>
                      <a:lnTo>
                        <a:pt x="522" y="366"/>
                      </a:lnTo>
                      <a:lnTo>
                        <a:pt x="516" y="366"/>
                      </a:lnTo>
                      <a:lnTo>
                        <a:pt x="504" y="354"/>
                      </a:lnTo>
                      <a:lnTo>
                        <a:pt x="504" y="348"/>
                      </a:lnTo>
                      <a:lnTo>
                        <a:pt x="498" y="336"/>
                      </a:lnTo>
                      <a:lnTo>
                        <a:pt x="492" y="330"/>
                      </a:lnTo>
                      <a:lnTo>
                        <a:pt x="468" y="330"/>
                      </a:lnTo>
                      <a:lnTo>
                        <a:pt x="468" y="300"/>
                      </a:lnTo>
                      <a:lnTo>
                        <a:pt x="462" y="288"/>
                      </a:lnTo>
                      <a:lnTo>
                        <a:pt x="462" y="276"/>
                      </a:lnTo>
                      <a:lnTo>
                        <a:pt x="456" y="270"/>
                      </a:lnTo>
                      <a:lnTo>
                        <a:pt x="456" y="258"/>
                      </a:lnTo>
                      <a:lnTo>
                        <a:pt x="450" y="258"/>
                      </a:lnTo>
                      <a:lnTo>
                        <a:pt x="420" y="288"/>
                      </a:lnTo>
                      <a:lnTo>
                        <a:pt x="396" y="264"/>
                      </a:lnTo>
                      <a:lnTo>
                        <a:pt x="390" y="264"/>
                      </a:lnTo>
                      <a:lnTo>
                        <a:pt x="384" y="270"/>
                      </a:lnTo>
                      <a:lnTo>
                        <a:pt x="384" y="288"/>
                      </a:lnTo>
                      <a:lnTo>
                        <a:pt x="318" y="294"/>
                      </a:lnTo>
                      <a:lnTo>
                        <a:pt x="306" y="282"/>
                      </a:lnTo>
                      <a:lnTo>
                        <a:pt x="288" y="282"/>
                      </a:lnTo>
                      <a:lnTo>
                        <a:pt x="282" y="288"/>
                      </a:lnTo>
                      <a:lnTo>
                        <a:pt x="276" y="300"/>
                      </a:lnTo>
                      <a:lnTo>
                        <a:pt x="276" y="312"/>
                      </a:lnTo>
                      <a:lnTo>
                        <a:pt x="282" y="324"/>
                      </a:lnTo>
                      <a:lnTo>
                        <a:pt x="282" y="336"/>
                      </a:lnTo>
                      <a:lnTo>
                        <a:pt x="306" y="348"/>
                      </a:lnTo>
                      <a:lnTo>
                        <a:pt x="318" y="342"/>
                      </a:lnTo>
                      <a:lnTo>
                        <a:pt x="330" y="354"/>
                      </a:lnTo>
                      <a:lnTo>
                        <a:pt x="330" y="360"/>
                      </a:lnTo>
                      <a:lnTo>
                        <a:pt x="336" y="366"/>
                      </a:lnTo>
                      <a:lnTo>
                        <a:pt x="336" y="372"/>
                      </a:lnTo>
                      <a:lnTo>
                        <a:pt x="330" y="378"/>
                      </a:lnTo>
                      <a:lnTo>
                        <a:pt x="300" y="378"/>
                      </a:lnTo>
                      <a:lnTo>
                        <a:pt x="294" y="372"/>
                      </a:lnTo>
                      <a:lnTo>
                        <a:pt x="264" y="378"/>
                      </a:lnTo>
                      <a:lnTo>
                        <a:pt x="258" y="444"/>
                      </a:lnTo>
                      <a:lnTo>
                        <a:pt x="264" y="444"/>
                      </a:lnTo>
                      <a:lnTo>
                        <a:pt x="276" y="456"/>
                      </a:lnTo>
                      <a:lnTo>
                        <a:pt x="288" y="462"/>
                      </a:lnTo>
                      <a:lnTo>
                        <a:pt x="294" y="468"/>
                      </a:lnTo>
                      <a:lnTo>
                        <a:pt x="294" y="492"/>
                      </a:lnTo>
                      <a:lnTo>
                        <a:pt x="300" y="498"/>
                      </a:lnTo>
                      <a:lnTo>
                        <a:pt x="300" y="504"/>
                      </a:lnTo>
                      <a:lnTo>
                        <a:pt x="312" y="516"/>
                      </a:lnTo>
                      <a:lnTo>
                        <a:pt x="318" y="528"/>
                      </a:lnTo>
                      <a:lnTo>
                        <a:pt x="318" y="540"/>
                      </a:lnTo>
                      <a:lnTo>
                        <a:pt x="312" y="552"/>
                      </a:lnTo>
                      <a:lnTo>
                        <a:pt x="300" y="564"/>
                      </a:lnTo>
                      <a:lnTo>
                        <a:pt x="306" y="612"/>
                      </a:lnTo>
                      <a:lnTo>
                        <a:pt x="288" y="660"/>
                      </a:lnTo>
                      <a:lnTo>
                        <a:pt x="282" y="732"/>
                      </a:lnTo>
                      <a:lnTo>
                        <a:pt x="282" y="762"/>
                      </a:lnTo>
                      <a:lnTo>
                        <a:pt x="276" y="774"/>
                      </a:lnTo>
                      <a:lnTo>
                        <a:pt x="270" y="780"/>
                      </a:lnTo>
                      <a:lnTo>
                        <a:pt x="252" y="780"/>
                      </a:lnTo>
                      <a:lnTo>
                        <a:pt x="252" y="774"/>
                      </a:lnTo>
                      <a:lnTo>
                        <a:pt x="240" y="762"/>
                      </a:lnTo>
                      <a:lnTo>
                        <a:pt x="222" y="762"/>
                      </a:lnTo>
                      <a:lnTo>
                        <a:pt x="216" y="768"/>
                      </a:lnTo>
                      <a:lnTo>
                        <a:pt x="210" y="780"/>
                      </a:lnTo>
                      <a:lnTo>
                        <a:pt x="204" y="786"/>
                      </a:lnTo>
                      <a:lnTo>
                        <a:pt x="174" y="780"/>
                      </a:lnTo>
                      <a:lnTo>
                        <a:pt x="168" y="792"/>
                      </a:lnTo>
                      <a:lnTo>
                        <a:pt x="138" y="792"/>
                      </a:lnTo>
                      <a:lnTo>
                        <a:pt x="126" y="798"/>
                      </a:lnTo>
                      <a:lnTo>
                        <a:pt x="120" y="804"/>
                      </a:lnTo>
                      <a:lnTo>
                        <a:pt x="108" y="810"/>
                      </a:lnTo>
                      <a:lnTo>
                        <a:pt x="96" y="822"/>
                      </a:lnTo>
                      <a:lnTo>
                        <a:pt x="96" y="828"/>
                      </a:lnTo>
                      <a:lnTo>
                        <a:pt x="90" y="834"/>
                      </a:lnTo>
                      <a:lnTo>
                        <a:pt x="90" y="840"/>
                      </a:lnTo>
                      <a:lnTo>
                        <a:pt x="66" y="840"/>
                      </a:lnTo>
                      <a:lnTo>
                        <a:pt x="66" y="894"/>
                      </a:lnTo>
                      <a:lnTo>
                        <a:pt x="48" y="912"/>
                      </a:lnTo>
                      <a:lnTo>
                        <a:pt x="48" y="924"/>
                      </a:lnTo>
                      <a:lnTo>
                        <a:pt x="54" y="930"/>
                      </a:lnTo>
                      <a:lnTo>
                        <a:pt x="54" y="948"/>
                      </a:lnTo>
                      <a:lnTo>
                        <a:pt x="60" y="954"/>
                      </a:lnTo>
                      <a:lnTo>
                        <a:pt x="54" y="954"/>
                      </a:lnTo>
                      <a:lnTo>
                        <a:pt x="48" y="948"/>
                      </a:lnTo>
                      <a:lnTo>
                        <a:pt x="18" y="978"/>
                      </a:lnTo>
                      <a:lnTo>
                        <a:pt x="12" y="990"/>
                      </a:lnTo>
                      <a:lnTo>
                        <a:pt x="12" y="1014"/>
                      </a:lnTo>
                      <a:lnTo>
                        <a:pt x="18" y="1020"/>
                      </a:lnTo>
                      <a:lnTo>
                        <a:pt x="6" y="1026"/>
                      </a:lnTo>
                      <a:lnTo>
                        <a:pt x="0" y="1032"/>
                      </a:lnTo>
                      <a:lnTo>
                        <a:pt x="0" y="1044"/>
                      </a:lnTo>
                      <a:lnTo>
                        <a:pt x="6" y="1050"/>
                      </a:lnTo>
                      <a:lnTo>
                        <a:pt x="18" y="1056"/>
                      </a:lnTo>
                      <a:lnTo>
                        <a:pt x="24" y="1080"/>
                      </a:lnTo>
                      <a:lnTo>
                        <a:pt x="24" y="1086"/>
                      </a:lnTo>
                      <a:lnTo>
                        <a:pt x="30" y="1092"/>
                      </a:lnTo>
                      <a:lnTo>
                        <a:pt x="42" y="1116"/>
                      </a:lnTo>
                      <a:lnTo>
                        <a:pt x="54" y="1128"/>
                      </a:lnTo>
                      <a:lnTo>
                        <a:pt x="66" y="1134"/>
                      </a:lnTo>
                      <a:lnTo>
                        <a:pt x="90" y="1158"/>
                      </a:lnTo>
                      <a:lnTo>
                        <a:pt x="84" y="1164"/>
                      </a:lnTo>
                      <a:lnTo>
                        <a:pt x="78" y="1176"/>
                      </a:lnTo>
                      <a:lnTo>
                        <a:pt x="66" y="1182"/>
                      </a:lnTo>
                      <a:lnTo>
                        <a:pt x="60" y="1188"/>
                      </a:lnTo>
                      <a:lnTo>
                        <a:pt x="102" y="1188"/>
                      </a:lnTo>
                      <a:lnTo>
                        <a:pt x="114" y="1194"/>
                      </a:lnTo>
                      <a:lnTo>
                        <a:pt x="120" y="1194"/>
                      </a:lnTo>
                      <a:lnTo>
                        <a:pt x="126" y="1200"/>
                      </a:lnTo>
                      <a:lnTo>
                        <a:pt x="126" y="1212"/>
                      </a:lnTo>
                      <a:lnTo>
                        <a:pt x="132" y="1224"/>
                      </a:lnTo>
                      <a:lnTo>
                        <a:pt x="138" y="1230"/>
                      </a:lnTo>
                      <a:lnTo>
                        <a:pt x="138" y="1236"/>
                      </a:lnTo>
                      <a:lnTo>
                        <a:pt x="198" y="1230"/>
                      </a:lnTo>
                      <a:lnTo>
                        <a:pt x="252" y="1182"/>
                      </a:lnTo>
                      <a:lnTo>
                        <a:pt x="252" y="1194"/>
                      </a:lnTo>
                      <a:lnTo>
                        <a:pt x="258" y="1206"/>
                      </a:lnTo>
                      <a:lnTo>
                        <a:pt x="258" y="1224"/>
                      </a:lnTo>
                      <a:lnTo>
                        <a:pt x="252" y="1230"/>
                      </a:lnTo>
                      <a:lnTo>
                        <a:pt x="252" y="1242"/>
                      </a:lnTo>
                      <a:lnTo>
                        <a:pt x="246" y="1254"/>
                      </a:lnTo>
                      <a:lnTo>
                        <a:pt x="246" y="1266"/>
                      </a:lnTo>
                      <a:lnTo>
                        <a:pt x="252" y="1284"/>
                      </a:lnTo>
                      <a:lnTo>
                        <a:pt x="252" y="1314"/>
                      </a:lnTo>
                      <a:lnTo>
                        <a:pt x="264" y="1308"/>
                      </a:lnTo>
                      <a:lnTo>
                        <a:pt x="264" y="1314"/>
                      </a:lnTo>
                      <a:lnTo>
                        <a:pt x="270" y="1320"/>
                      </a:lnTo>
                      <a:lnTo>
                        <a:pt x="282" y="1320"/>
                      </a:lnTo>
                      <a:lnTo>
                        <a:pt x="282" y="1314"/>
                      </a:lnTo>
                      <a:lnTo>
                        <a:pt x="288" y="1314"/>
                      </a:lnTo>
                      <a:lnTo>
                        <a:pt x="294" y="1308"/>
                      </a:lnTo>
                      <a:lnTo>
                        <a:pt x="324" y="1308"/>
                      </a:lnTo>
                      <a:lnTo>
                        <a:pt x="336" y="1314"/>
                      </a:lnTo>
                      <a:lnTo>
                        <a:pt x="366" y="1314"/>
                      </a:lnTo>
                      <a:lnTo>
                        <a:pt x="372" y="1320"/>
                      </a:lnTo>
                      <a:lnTo>
                        <a:pt x="372" y="1326"/>
                      </a:lnTo>
                      <a:lnTo>
                        <a:pt x="390" y="1326"/>
                      </a:lnTo>
                      <a:lnTo>
                        <a:pt x="414" y="1314"/>
                      </a:lnTo>
                      <a:lnTo>
                        <a:pt x="420" y="1308"/>
                      </a:lnTo>
                      <a:lnTo>
                        <a:pt x="432" y="1290"/>
                      </a:lnTo>
                      <a:lnTo>
                        <a:pt x="468" y="1290"/>
                      </a:lnTo>
                      <a:lnTo>
                        <a:pt x="474" y="1260"/>
                      </a:lnTo>
                      <a:lnTo>
                        <a:pt x="510" y="1260"/>
                      </a:lnTo>
                      <a:lnTo>
                        <a:pt x="510" y="1254"/>
                      </a:lnTo>
                      <a:lnTo>
                        <a:pt x="516" y="1248"/>
                      </a:lnTo>
                      <a:lnTo>
                        <a:pt x="522" y="1236"/>
                      </a:lnTo>
                      <a:lnTo>
                        <a:pt x="528" y="1230"/>
                      </a:lnTo>
                      <a:lnTo>
                        <a:pt x="540" y="1224"/>
                      </a:lnTo>
                      <a:lnTo>
                        <a:pt x="576" y="1224"/>
                      </a:lnTo>
                      <a:lnTo>
                        <a:pt x="588" y="1212"/>
                      </a:lnTo>
                      <a:lnTo>
                        <a:pt x="600" y="1224"/>
                      </a:lnTo>
                      <a:lnTo>
                        <a:pt x="606" y="1224"/>
                      </a:lnTo>
                      <a:lnTo>
                        <a:pt x="606" y="1218"/>
                      </a:lnTo>
                      <a:lnTo>
                        <a:pt x="618" y="1212"/>
                      </a:lnTo>
                      <a:lnTo>
                        <a:pt x="630" y="1212"/>
                      </a:lnTo>
                      <a:lnTo>
                        <a:pt x="630" y="1242"/>
                      </a:lnTo>
                      <a:lnTo>
                        <a:pt x="624" y="1248"/>
                      </a:lnTo>
                      <a:lnTo>
                        <a:pt x="624" y="1254"/>
                      </a:lnTo>
                      <a:lnTo>
                        <a:pt x="618" y="1260"/>
                      </a:lnTo>
                      <a:lnTo>
                        <a:pt x="618" y="1290"/>
                      </a:lnTo>
                      <a:lnTo>
                        <a:pt x="624" y="1296"/>
                      </a:lnTo>
                      <a:lnTo>
                        <a:pt x="630" y="1308"/>
                      </a:lnTo>
                      <a:lnTo>
                        <a:pt x="630" y="1326"/>
                      </a:lnTo>
                      <a:lnTo>
                        <a:pt x="624" y="1332"/>
                      </a:lnTo>
                      <a:lnTo>
                        <a:pt x="624" y="1344"/>
                      </a:lnTo>
                      <a:lnTo>
                        <a:pt x="636" y="1356"/>
                      </a:lnTo>
                      <a:lnTo>
                        <a:pt x="648" y="1362"/>
                      </a:lnTo>
                      <a:lnTo>
                        <a:pt x="654" y="1368"/>
                      </a:lnTo>
                      <a:lnTo>
                        <a:pt x="660" y="1398"/>
                      </a:lnTo>
                      <a:lnTo>
                        <a:pt x="684" y="1398"/>
                      </a:lnTo>
                      <a:lnTo>
                        <a:pt x="690" y="1404"/>
                      </a:lnTo>
                      <a:lnTo>
                        <a:pt x="690" y="1410"/>
                      </a:lnTo>
                      <a:lnTo>
                        <a:pt x="696" y="1422"/>
                      </a:lnTo>
                      <a:lnTo>
                        <a:pt x="696" y="1428"/>
                      </a:lnTo>
                      <a:lnTo>
                        <a:pt x="702" y="1434"/>
                      </a:lnTo>
                      <a:lnTo>
                        <a:pt x="714" y="1440"/>
                      </a:lnTo>
                      <a:lnTo>
                        <a:pt x="744" y="1440"/>
                      </a:lnTo>
                      <a:lnTo>
                        <a:pt x="750" y="1434"/>
                      </a:lnTo>
                      <a:lnTo>
                        <a:pt x="756" y="1446"/>
                      </a:lnTo>
                      <a:lnTo>
                        <a:pt x="768" y="1452"/>
                      </a:lnTo>
                      <a:lnTo>
                        <a:pt x="780" y="1452"/>
                      </a:lnTo>
                      <a:lnTo>
                        <a:pt x="786" y="1446"/>
                      </a:lnTo>
                      <a:lnTo>
                        <a:pt x="798" y="1446"/>
                      </a:lnTo>
                      <a:lnTo>
                        <a:pt x="798" y="1452"/>
                      </a:lnTo>
                      <a:lnTo>
                        <a:pt x="804" y="1464"/>
                      </a:lnTo>
                      <a:lnTo>
                        <a:pt x="816" y="1470"/>
                      </a:lnTo>
                      <a:lnTo>
                        <a:pt x="828" y="1482"/>
                      </a:lnTo>
                      <a:lnTo>
                        <a:pt x="840" y="1488"/>
                      </a:lnTo>
                      <a:lnTo>
                        <a:pt x="864" y="1488"/>
                      </a:lnTo>
                      <a:lnTo>
                        <a:pt x="864" y="1494"/>
                      </a:lnTo>
                      <a:lnTo>
                        <a:pt x="876" y="1506"/>
                      </a:lnTo>
                      <a:lnTo>
                        <a:pt x="888" y="1512"/>
                      </a:lnTo>
                      <a:lnTo>
                        <a:pt x="894" y="1518"/>
                      </a:lnTo>
                      <a:lnTo>
                        <a:pt x="954" y="1518"/>
                      </a:lnTo>
                      <a:lnTo>
                        <a:pt x="978" y="1530"/>
                      </a:lnTo>
                      <a:lnTo>
                        <a:pt x="984" y="1542"/>
                      </a:lnTo>
                      <a:lnTo>
                        <a:pt x="990" y="1548"/>
                      </a:lnTo>
                      <a:lnTo>
                        <a:pt x="990" y="1578"/>
                      </a:lnTo>
                      <a:lnTo>
                        <a:pt x="996" y="1590"/>
                      </a:lnTo>
                      <a:lnTo>
                        <a:pt x="1002" y="1596"/>
                      </a:lnTo>
                      <a:lnTo>
                        <a:pt x="1008" y="1608"/>
                      </a:lnTo>
                      <a:lnTo>
                        <a:pt x="1008" y="1638"/>
                      </a:lnTo>
                      <a:lnTo>
                        <a:pt x="990" y="1638"/>
                      </a:lnTo>
                      <a:lnTo>
                        <a:pt x="990" y="1644"/>
                      </a:lnTo>
                      <a:lnTo>
                        <a:pt x="996" y="1650"/>
                      </a:lnTo>
                      <a:lnTo>
                        <a:pt x="1002" y="1662"/>
                      </a:lnTo>
                      <a:lnTo>
                        <a:pt x="1014" y="1668"/>
                      </a:lnTo>
                      <a:lnTo>
                        <a:pt x="1020" y="1674"/>
                      </a:lnTo>
                      <a:lnTo>
                        <a:pt x="1014" y="1686"/>
                      </a:lnTo>
                      <a:lnTo>
                        <a:pt x="1014" y="1728"/>
                      </a:lnTo>
                      <a:lnTo>
                        <a:pt x="1020" y="1734"/>
                      </a:lnTo>
                      <a:lnTo>
                        <a:pt x="1050" y="1740"/>
                      </a:lnTo>
                      <a:lnTo>
                        <a:pt x="1098" y="1746"/>
                      </a:lnTo>
                      <a:lnTo>
                        <a:pt x="1158" y="1746"/>
                      </a:lnTo>
                      <a:lnTo>
                        <a:pt x="1158" y="1752"/>
                      </a:lnTo>
                      <a:lnTo>
                        <a:pt x="1152" y="1758"/>
                      </a:lnTo>
                      <a:lnTo>
                        <a:pt x="1152" y="1770"/>
                      </a:lnTo>
                      <a:lnTo>
                        <a:pt x="1146" y="1788"/>
                      </a:lnTo>
                      <a:lnTo>
                        <a:pt x="1146" y="1800"/>
                      </a:lnTo>
                      <a:lnTo>
                        <a:pt x="1152" y="1812"/>
                      </a:lnTo>
                      <a:lnTo>
                        <a:pt x="1164" y="1818"/>
                      </a:lnTo>
                      <a:lnTo>
                        <a:pt x="1170" y="1824"/>
                      </a:lnTo>
                      <a:lnTo>
                        <a:pt x="1194" y="1836"/>
                      </a:lnTo>
                      <a:lnTo>
                        <a:pt x="1206" y="1848"/>
                      </a:lnTo>
                      <a:lnTo>
                        <a:pt x="1212" y="1860"/>
                      </a:lnTo>
                      <a:lnTo>
                        <a:pt x="1224" y="1896"/>
                      </a:lnTo>
                      <a:lnTo>
                        <a:pt x="1224" y="1908"/>
                      </a:lnTo>
                      <a:lnTo>
                        <a:pt x="1218" y="1920"/>
                      </a:lnTo>
                      <a:lnTo>
                        <a:pt x="1218" y="1944"/>
                      </a:lnTo>
                      <a:lnTo>
                        <a:pt x="1212" y="1950"/>
                      </a:lnTo>
                      <a:lnTo>
                        <a:pt x="1212" y="1956"/>
                      </a:lnTo>
                      <a:lnTo>
                        <a:pt x="1218" y="1968"/>
                      </a:lnTo>
                      <a:lnTo>
                        <a:pt x="1212" y="1980"/>
                      </a:lnTo>
                      <a:lnTo>
                        <a:pt x="1206" y="1986"/>
                      </a:lnTo>
                      <a:lnTo>
                        <a:pt x="1200" y="1998"/>
                      </a:lnTo>
                      <a:lnTo>
                        <a:pt x="1200" y="2022"/>
                      </a:lnTo>
                      <a:lnTo>
                        <a:pt x="1206" y="2028"/>
                      </a:lnTo>
                      <a:lnTo>
                        <a:pt x="1218" y="2034"/>
                      </a:lnTo>
                      <a:lnTo>
                        <a:pt x="1212" y="2040"/>
                      </a:lnTo>
                      <a:lnTo>
                        <a:pt x="1200" y="2046"/>
                      </a:lnTo>
                      <a:lnTo>
                        <a:pt x="1194" y="2052"/>
                      </a:lnTo>
                      <a:lnTo>
                        <a:pt x="1194" y="2064"/>
                      </a:lnTo>
                      <a:lnTo>
                        <a:pt x="1200" y="2070"/>
                      </a:lnTo>
                      <a:lnTo>
                        <a:pt x="1212" y="2076"/>
                      </a:lnTo>
                      <a:lnTo>
                        <a:pt x="1212" y="2112"/>
                      </a:lnTo>
                      <a:lnTo>
                        <a:pt x="1224" y="2112"/>
                      </a:lnTo>
                      <a:lnTo>
                        <a:pt x="1224" y="2130"/>
                      </a:lnTo>
                      <a:lnTo>
                        <a:pt x="1218" y="2142"/>
                      </a:lnTo>
                      <a:lnTo>
                        <a:pt x="1218" y="2184"/>
                      </a:lnTo>
                      <a:lnTo>
                        <a:pt x="1224" y="2196"/>
                      </a:lnTo>
                      <a:lnTo>
                        <a:pt x="1230" y="2202"/>
                      </a:lnTo>
                      <a:lnTo>
                        <a:pt x="1266" y="2214"/>
                      </a:lnTo>
                      <a:lnTo>
                        <a:pt x="1308" y="2220"/>
                      </a:lnTo>
                      <a:lnTo>
                        <a:pt x="1380" y="2220"/>
                      </a:lnTo>
                      <a:lnTo>
                        <a:pt x="1392" y="2226"/>
                      </a:lnTo>
                      <a:lnTo>
                        <a:pt x="1398" y="2232"/>
                      </a:lnTo>
                      <a:lnTo>
                        <a:pt x="1398" y="2256"/>
                      </a:lnTo>
                      <a:lnTo>
                        <a:pt x="1404" y="2274"/>
                      </a:lnTo>
                      <a:lnTo>
                        <a:pt x="1404" y="2298"/>
                      </a:lnTo>
                      <a:lnTo>
                        <a:pt x="1410" y="2316"/>
                      </a:lnTo>
                      <a:lnTo>
                        <a:pt x="1410" y="2334"/>
                      </a:lnTo>
                      <a:lnTo>
                        <a:pt x="1422" y="2358"/>
                      </a:lnTo>
                      <a:lnTo>
                        <a:pt x="1434" y="2364"/>
                      </a:lnTo>
                      <a:lnTo>
                        <a:pt x="1446" y="2364"/>
                      </a:lnTo>
                      <a:lnTo>
                        <a:pt x="1464" y="2346"/>
                      </a:lnTo>
                      <a:lnTo>
                        <a:pt x="1476" y="2346"/>
                      </a:lnTo>
                      <a:lnTo>
                        <a:pt x="1488" y="2352"/>
                      </a:lnTo>
                      <a:lnTo>
                        <a:pt x="1500" y="2364"/>
                      </a:lnTo>
                      <a:lnTo>
                        <a:pt x="1506" y="2376"/>
                      </a:lnTo>
                      <a:lnTo>
                        <a:pt x="1506" y="2394"/>
                      </a:lnTo>
                      <a:lnTo>
                        <a:pt x="1500" y="2412"/>
                      </a:lnTo>
                      <a:lnTo>
                        <a:pt x="1500" y="2442"/>
                      </a:lnTo>
                      <a:lnTo>
                        <a:pt x="1494" y="2448"/>
                      </a:lnTo>
                      <a:lnTo>
                        <a:pt x="1494" y="2454"/>
                      </a:lnTo>
                      <a:lnTo>
                        <a:pt x="1488" y="2466"/>
                      </a:lnTo>
                      <a:lnTo>
                        <a:pt x="1488" y="2478"/>
                      </a:lnTo>
                      <a:lnTo>
                        <a:pt x="1494" y="2496"/>
                      </a:lnTo>
                      <a:lnTo>
                        <a:pt x="1506" y="2490"/>
                      </a:lnTo>
                      <a:lnTo>
                        <a:pt x="1512" y="2484"/>
                      </a:lnTo>
                      <a:lnTo>
                        <a:pt x="1530" y="2484"/>
                      </a:lnTo>
                      <a:lnTo>
                        <a:pt x="1536" y="2490"/>
                      </a:lnTo>
                      <a:lnTo>
                        <a:pt x="1548" y="2514"/>
                      </a:lnTo>
                      <a:lnTo>
                        <a:pt x="1548" y="2526"/>
                      </a:lnTo>
                      <a:lnTo>
                        <a:pt x="1554" y="2526"/>
                      </a:lnTo>
                      <a:lnTo>
                        <a:pt x="1560" y="2532"/>
                      </a:lnTo>
                      <a:lnTo>
                        <a:pt x="1560" y="2562"/>
                      </a:lnTo>
                      <a:lnTo>
                        <a:pt x="1566" y="2580"/>
                      </a:lnTo>
                      <a:lnTo>
                        <a:pt x="1566" y="2616"/>
                      </a:lnTo>
                      <a:lnTo>
                        <a:pt x="1512" y="2634"/>
                      </a:lnTo>
                      <a:lnTo>
                        <a:pt x="1506" y="2640"/>
                      </a:lnTo>
                      <a:lnTo>
                        <a:pt x="1500" y="2652"/>
                      </a:lnTo>
                      <a:lnTo>
                        <a:pt x="1500" y="2670"/>
                      </a:lnTo>
                      <a:lnTo>
                        <a:pt x="1464" y="2670"/>
                      </a:lnTo>
                      <a:lnTo>
                        <a:pt x="1464" y="2688"/>
                      </a:lnTo>
                      <a:lnTo>
                        <a:pt x="1458" y="2694"/>
                      </a:lnTo>
                      <a:lnTo>
                        <a:pt x="1452" y="2718"/>
                      </a:lnTo>
                      <a:lnTo>
                        <a:pt x="1428" y="2724"/>
                      </a:lnTo>
                      <a:lnTo>
                        <a:pt x="1428" y="2736"/>
                      </a:lnTo>
                      <a:lnTo>
                        <a:pt x="1422" y="2748"/>
                      </a:lnTo>
                      <a:lnTo>
                        <a:pt x="1422" y="2760"/>
                      </a:lnTo>
                      <a:lnTo>
                        <a:pt x="1404" y="2778"/>
                      </a:lnTo>
                      <a:lnTo>
                        <a:pt x="1392" y="2778"/>
                      </a:lnTo>
                      <a:lnTo>
                        <a:pt x="1392" y="2802"/>
                      </a:lnTo>
                      <a:lnTo>
                        <a:pt x="1386" y="2808"/>
                      </a:lnTo>
                      <a:lnTo>
                        <a:pt x="1380" y="2820"/>
                      </a:lnTo>
                      <a:lnTo>
                        <a:pt x="1374" y="2826"/>
                      </a:lnTo>
                      <a:lnTo>
                        <a:pt x="1356" y="2826"/>
                      </a:lnTo>
                      <a:lnTo>
                        <a:pt x="1350" y="2832"/>
                      </a:lnTo>
                      <a:lnTo>
                        <a:pt x="1350" y="2844"/>
                      </a:lnTo>
                      <a:lnTo>
                        <a:pt x="1344" y="2856"/>
                      </a:lnTo>
                      <a:lnTo>
                        <a:pt x="1344" y="2868"/>
                      </a:lnTo>
                      <a:lnTo>
                        <a:pt x="1368" y="2868"/>
                      </a:lnTo>
                      <a:lnTo>
                        <a:pt x="1374" y="2862"/>
                      </a:lnTo>
                      <a:lnTo>
                        <a:pt x="1386" y="2856"/>
                      </a:lnTo>
                      <a:lnTo>
                        <a:pt x="1398" y="2856"/>
                      </a:lnTo>
                      <a:lnTo>
                        <a:pt x="1404" y="2862"/>
                      </a:lnTo>
                      <a:lnTo>
                        <a:pt x="1428" y="2874"/>
                      </a:lnTo>
                      <a:lnTo>
                        <a:pt x="1434" y="2886"/>
                      </a:lnTo>
                      <a:lnTo>
                        <a:pt x="1446" y="2892"/>
                      </a:lnTo>
                      <a:lnTo>
                        <a:pt x="1452" y="2898"/>
                      </a:lnTo>
                      <a:lnTo>
                        <a:pt x="1458" y="2910"/>
                      </a:lnTo>
                      <a:lnTo>
                        <a:pt x="1470" y="2922"/>
                      </a:lnTo>
                      <a:lnTo>
                        <a:pt x="1470" y="2934"/>
                      </a:lnTo>
                      <a:lnTo>
                        <a:pt x="1482" y="2934"/>
                      </a:lnTo>
                      <a:lnTo>
                        <a:pt x="1482" y="2928"/>
                      </a:lnTo>
                      <a:lnTo>
                        <a:pt x="1494" y="2916"/>
                      </a:lnTo>
                      <a:lnTo>
                        <a:pt x="1500" y="2916"/>
                      </a:lnTo>
                      <a:lnTo>
                        <a:pt x="1512" y="2922"/>
                      </a:lnTo>
                      <a:lnTo>
                        <a:pt x="1518" y="2934"/>
                      </a:lnTo>
                      <a:lnTo>
                        <a:pt x="1536" y="2952"/>
                      </a:lnTo>
                      <a:lnTo>
                        <a:pt x="1554" y="2952"/>
                      </a:lnTo>
                      <a:lnTo>
                        <a:pt x="1572" y="2970"/>
                      </a:lnTo>
                      <a:lnTo>
                        <a:pt x="1578" y="2970"/>
                      </a:lnTo>
                      <a:lnTo>
                        <a:pt x="1578" y="2982"/>
                      </a:lnTo>
                      <a:lnTo>
                        <a:pt x="1584" y="2988"/>
                      </a:lnTo>
                      <a:lnTo>
                        <a:pt x="1596" y="2994"/>
                      </a:lnTo>
                      <a:lnTo>
                        <a:pt x="1614" y="3000"/>
                      </a:lnTo>
                      <a:lnTo>
                        <a:pt x="1626" y="3000"/>
                      </a:lnTo>
                      <a:lnTo>
                        <a:pt x="1632" y="3012"/>
                      </a:lnTo>
                      <a:lnTo>
                        <a:pt x="1638" y="3018"/>
                      </a:lnTo>
                      <a:lnTo>
                        <a:pt x="1644" y="3030"/>
                      </a:lnTo>
                      <a:lnTo>
                        <a:pt x="1662" y="3048"/>
                      </a:lnTo>
                      <a:lnTo>
                        <a:pt x="1668" y="3048"/>
                      </a:lnTo>
                      <a:lnTo>
                        <a:pt x="1680" y="3054"/>
                      </a:lnTo>
                      <a:lnTo>
                        <a:pt x="1686" y="3054"/>
                      </a:lnTo>
                      <a:lnTo>
                        <a:pt x="1686" y="3066"/>
                      </a:lnTo>
                      <a:lnTo>
                        <a:pt x="1674" y="3090"/>
                      </a:lnTo>
                      <a:lnTo>
                        <a:pt x="1668" y="3096"/>
                      </a:lnTo>
                      <a:lnTo>
                        <a:pt x="1668" y="3120"/>
                      </a:lnTo>
                      <a:lnTo>
                        <a:pt x="1674" y="3120"/>
                      </a:lnTo>
                      <a:lnTo>
                        <a:pt x="1674" y="3150"/>
                      </a:lnTo>
                      <a:lnTo>
                        <a:pt x="1692" y="3150"/>
                      </a:lnTo>
                      <a:lnTo>
                        <a:pt x="1692" y="3144"/>
                      </a:lnTo>
                      <a:lnTo>
                        <a:pt x="1698" y="3132"/>
                      </a:lnTo>
                      <a:lnTo>
                        <a:pt x="1710" y="3126"/>
                      </a:lnTo>
                      <a:lnTo>
                        <a:pt x="1716" y="3114"/>
                      </a:lnTo>
                      <a:lnTo>
                        <a:pt x="1728" y="3102"/>
                      </a:lnTo>
                      <a:lnTo>
                        <a:pt x="1734" y="3090"/>
                      </a:lnTo>
                      <a:lnTo>
                        <a:pt x="1734" y="3060"/>
                      </a:lnTo>
                      <a:lnTo>
                        <a:pt x="1728" y="3054"/>
                      </a:lnTo>
                      <a:lnTo>
                        <a:pt x="1728" y="3048"/>
                      </a:lnTo>
                      <a:lnTo>
                        <a:pt x="1746" y="3018"/>
                      </a:lnTo>
                      <a:lnTo>
                        <a:pt x="1734" y="3012"/>
                      </a:lnTo>
                      <a:lnTo>
                        <a:pt x="1728" y="3000"/>
                      </a:lnTo>
                      <a:lnTo>
                        <a:pt x="1728" y="2988"/>
                      </a:lnTo>
                      <a:lnTo>
                        <a:pt x="1740" y="2976"/>
                      </a:lnTo>
                      <a:lnTo>
                        <a:pt x="1746" y="2976"/>
                      </a:lnTo>
                      <a:lnTo>
                        <a:pt x="1746" y="2952"/>
                      </a:lnTo>
                      <a:lnTo>
                        <a:pt x="1764" y="2952"/>
                      </a:lnTo>
                      <a:lnTo>
                        <a:pt x="1776" y="2940"/>
                      </a:lnTo>
                      <a:lnTo>
                        <a:pt x="1776" y="2904"/>
                      </a:lnTo>
                      <a:lnTo>
                        <a:pt x="1782" y="2898"/>
                      </a:lnTo>
                      <a:lnTo>
                        <a:pt x="1788" y="2886"/>
                      </a:lnTo>
                      <a:lnTo>
                        <a:pt x="1800" y="2874"/>
                      </a:lnTo>
                      <a:lnTo>
                        <a:pt x="1812" y="2868"/>
                      </a:lnTo>
                      <a:lnTo>
                        <a:pt x="1818" y="2862"/>
                      </a:lnTo>
                      <a:lnTo>
                        <a:pt x="1824" y="2862"/>
                      </a:lnTo>
                      <a:lnTo>
                        <a:pt x="1824" y="2898"/>
                      </a:lnTo>
                      <a:lnTo>
                        <a:pt x="1818" y="2904"/>
                      </a:lnTo>
                      <a:lnTo>
                        <a:pt x="1818" y="2910"/>
                      </a:lnTo>
                      <a:lnTo>
                        <a:pt x="1812" y="2916"/>
                      </a:lnTo>
                      <a:lnTo>
                        <a:pt x="1812" y="2934"/>
                      </a:lnTo>
                      <a:lnTo>
                        <a:pt x="1800" y="2940"/>
                      </a:lnTo>
                      <a:lnTo>
                        <a:pt x="1800" y="2952"/>
                      </a:lnTo>
                      <a:lnTo>
                        <a:pt x="1776" y="2982"/>
                      </a:lnTo>
                      <a:lnTo>
                        <a:pt x="1746" y="3006"/>
                      </a:lnTo>
                      <a:lnTo>
                        <a:pt x="1752" y="3012"/>
                      </a:lnTo>
                      <a:lnTo>
                        <a:pt x="1770" y="3012"/>
                      </a:lnTo>
                      <a:lnTo>
                        <a:pt x="1770" y="2994"/>
                      </a:lnTo>
                      <a:lnTo>
                        <a:pt x="1776" y="2988"/>
                      </a:lnTo>
                      <a:lnTo>
                        <a:pt x="1788" y="2988"/>
                      </a:lnTo>
                      <a:lnTo>
                        <a:pt x="1794" y="2982"/>
                      </a:lnTo>
                      <a:lnTo>
                        <a:pt x="1800" y="2982"/>
                      </a:lnTo>
                      <a:lnTo>
                        <a:pt x="1812" y="2964"/>
                      </a:lnTo>
                      <a:lnTo>
                        <a:pt x="1824" y="2940"/>
                      </a:lnTo>
                      <a:lnTo>
                        <a:pt x="1848" y="2880"/>
                      </a:lnTo>
                      <a:lnTo>
                        <a:pt x="1860" y="2832"/>
                      </a:lnTo>
                      <a:lnTo>
                        <a:pt x="1872" y="2808"/>
                      </a:lnTo>
                      <a:lnTo>
                        <a:pt x="1878" y="2790"/>
                      </a:lnTo>
                      <a:lnTo>
                        <a:pt x="1884" y="2778"/>
                      </a:lnTo>
                      <a:lnTo>
                        <a:pt x="1896" y="2772"/>
                      </a:lnTo>
                      <a:lnTo>
                        <a:pt x="1902" y="2760"/>
                      </a:lnTo>
                      <a:lnTo>
                        <a:pt x="1926" y="2736"/>
                      </a:lnTo>
                      <a:lnTo>
                        <a:pt x="1926" y="2724"/>
                      </a:lnTo>
                      <a:lnTo>
                        <a:pt x="1920" y="2718"/>
                      </a:lnTo>
                      <a:lnTo>
                        <a:pt x="1938" y="2706"/>
                      </a:lnTo>
                      <a:lnTo>
                        <a:pt x="1932" y="2670"/>
                      </a:lnTo>
                      <a:lnTo>
                        <a:pt x="1938" y="2646"/>
                      </a:lnTo>
                      <a:lnTo>
                        <a:pt x="1926" y="2640"/>
                      </a:lnTo>
                      <a:lnTo>
                        <a:pt x="1932" y="2634"/>
                      </a:lnTo>
                      <a:lnTo>
                        <a:pt x="1938" y="2622"/>
                      </a:lnTo>
                      <a:lnTo>
                        <a:pt x="1938" y="2610"/>
                      </a:lnTo>
                      <a:lnTo>
                        <a:pt x="1932" y="2604"/>
                      </a:lnTo>
                      <a:lnTo>
                        <a:pt x="1920" y="2598"/>
                      </a:lnTo>
                      <a:lnTo>
                        <a:pt x="1914" y="2592"/>
                      </a:lnTo>
                      <a:lnTo>
                        <a:pt x="1914" y="2556"/>
                      </a:lnTo>
                      <a:lnTo>
                        <a:pt x="1896" y="2544"/>
                      </a:lnTo>
                      <a:lnTo>
                        <a:pt x="1920" y="2544"/>
                      </a:lnTo>
                      <a:lnTo>
                        <a:pt x="1914" y="2520"/>
                      </a:lnTo>
                      <a:lnTo>
                        <a:pt x="1902" y="2508"/>
                      </a:lnTo>
                      <a:lnTo>
                        <a:pt x="1908" y="2508"/>
                      </a:lnTo>
                      <a:lnTo>
                        <a:pt x="1920" y="2502"/>
                      </a:lnTo>
                      <a:lnTo>
                        <a:pt x="1920" y="2490"/>
                      </a:lnTo>
                      <a:lnTo>
                        <a:pt x="1914" y="2490"/>
                      </a:lnTo>
                      <a:lnTo>
                        <a:pt x="1902" y="2484"/>
                      </a:lnTo>
                      <a:lnTo>
                        <a:pt x="1896" y="2478"/>
                      </a:lnTo>
                      <a:lnTo>
                        <a:pt x="1920" y="2460"/>
                      </a:lnTo>
                      <a:lnTo>
                        <a:pt x="1932" y="2472"/>
                      </a:lnTo>
                      <a:lnTo>
                        <a:pt x="1944" y="2478"/>
                      </a:lnTo>
                      <a:lnTo>
                        <a:pt x="1950" y="2478"/>
                      </a:lnTo>
                      <a:lnTo>
                        <a:pt x="1950" y="2448"/>
                      </a:lnTo>
                      <a:lnTo>
                        <a:pt x="1962" y="2424"/>
                      </a:lnTo>
                      <a:lnTo>
                        <a:pt x="1974" y="2418"/>
                      </a:lnTo>
                      <a:lnTo>
                        <a:pt x="1980" y="2418"/>
                      </a:lnTo>
                      <a:lnTo>
                        <a:pt x="2004" y="2406"/>
                      </a:lnTo>
                      <a:lnTo>
                        <a:pt x="2010" y="2394"/>
                      </a:lnTo>
                      <a:lnTo>
                        <a:pt x="2010" y="2382"/>
                      </a:lnTo>
                      <a:lnTo>
                        <a:pt x="2016" y="2376"/>
                      </a:lnTo>
                      <a:lnTo>
                        <a:pt x="2028" y="2376"/>
                      </a:lnTo>
                      <a:lnTo>
                        <a:pt x="2034" y="2370"/>
                      </a:lnTo>
                      <a:lnTo>
                        <a:pt x="2046" y="2370"/>
                      </a:lnTo>
                      <a:lnTo>
                        <a:pt x="2046" y="2358"/>
                      </a:lnTo>
                      <a:lnTo>
                        <a:pt x="2070" y="2358"/>
                      </a:lnTo>
                      <a:lnTo>
                        <a:pt x="2070" y="2340"/>
                      </a:lnTo>
                      <a:lnTo>
                        <a:pt x="2118" y="2340"/>
                      </a:lnTo>
                      <a:lnTo>
                        <a:pt x="2124" y="2358"/>
                      </a:lnTo>
                      <a:lnTo>
                        <a:pt x="2136" y="2352"/>
                      </a:lnTo>
                      <a:lnTo>
                        <a:pt x="2118" y="2334"/>
                      </a:lnTo>
                      <a:lnTo>
                        <a:pt x="2136" y="2316"/>
                      </a:lnTo>
                      <a:lnTo>
                        <a:pt x="2142" y="2316"/>
                      </a:lnTo>
                      <a:lnTo>
                        <a:pt x="2154" y="2310"/>
                      </a:lnTo>
                      <a:lnTo>
                        <a:pt x="2178" y="2310"/>
                      </a:lnTo>
                      <a:lnTo>
                        <a:pt x="2160" y="2292"/>
                      </a:lnTo>
                      <a:lnTo>
                        <a:pt x="2172" y="2286"/>
                      </a:lnTo>
                      <a:lnTo>
                        <a:pt x="2178" y="2280"/>
                      </a:lnTo>
                      <a:lnTo>
                        <a:pt x="2190" y="2280"/>
                      </a:lnTo>
                      <a:lnTo>
                        <a:pt x="2190" y="2304"/>
                      </a:lnTo>
                      <a:lnTo>
                        <a:pt x="2196" y="2304"/>
                      </a:lnTo>
                      <a:lnTo>
                        <a:pt x="2196" y="2298"/>
                      </a:lnTo>
                      <a:lnTo>
                        <a:pt x="2202" y="2286"/>
                      </a:lnTo>
                      <a:lnTo>
                        <a:pt x="2208" y="2280"/>
                      </a:lnTo>
                      <a:lnTo>
                        <a:pt x="2244" y="2286"/>
                      </a:lnTo>
                      <a:lnTo>
                        <a:pt x="2244" y="2280"/>
                      </a:lnTo>
                      <a:lnTo>
                        <a:pt x="2250" y="2274"/>
                      </a:lnTo>
                      <a:lnTo>
                        <a:pt x="2250" y="2268"/>
                      </a:lnTo>
                      <a:lnTo>
                        <a:pt x="2256" y="2262"/>
                      </a:lnTo>
                      <a:lnTo>
                        <a:pt x="2268" y="2256"/>
                      </a:lnTo>
                      <a:lnTo>
                        <a:pt x="2274" y="2256"/>
                      </a:lnTo>
                      <a:lnTo>
                        <a:pt x="2280" y="2262"/>
                      </a:lnTo>
                      <a:lnTo>
                        <a:pt x="2280" y="2286"/>
                      </a:lnTo>
                      <a:lnTo>
                        <a:pt x="2346" y="2280"/>
                      </a:lnTo>
                      <a:lnTo>
                        <a:pt x="2352" y="2262"/>
                      </a:lnTo>
                      <a:lnTo>
                        <a:pt x="2346" y="2250"/>
                      </a:lnTo>
                      <a:lnTo>
                        <a:pt x="2352" y="2244"/>
                      </a:lnTo>
                      <a:lnTo>
                        <a:pt x="2358" y="2232"/>
                      </a:lnTo>
                      <a:lnTo>
                        <a:pt x="2370" y="2220"/>
                      </a:lnTo>
                      <a:lnTo>
                        <a:pt x="2406" y="2202"/>
                      </a:lnTo>
                      <a:lnTo>
                        <a:pt x="2418" y="2202"/>
                      </a:lnTo>
                      <a:lnTo>
                        <a:pt x="2412" y="2190"/>
                      </a:lnTo>
                      <a:lnTo>
                        <a:pt x="2412" y="2112"/>
                      </a:lnTo>
                      <a:lnTo>
                        <a:pt x="2442" y="2082"/>
                      </a:lnTo>
                      <a:lnTo>
                        <a:pt x="2442" y="2058"/>
                      </a:lnTo>
                      <a:lnTo>
                        <a:pt x="2460" y="2052"/>
                      </a:lnTo>
                      <a:lnTo>
                        <a:pt x="2460" y="2022"/>
                      </a:lnTo>
                      <a:lnTo>
                        <a:pt x="2466" y="2022"/>
                      </a:lnTo>
                      <a:lnTo>
                        <a:pt x="2472" y="2016"/>
                      </a:lnTo>
                      <a:lnTo>
                        <a:pt x="2478" y="2016"/>
                      </a:lnTo>
                      <a:lnTo>
                        <a:pt x="2478" y="2010"/>
                      </a:lnTo>
                      <a:lnTo>
                        <a:pt x="2484" y="2004"/>
                      </a:lnTo>
                      <a:lnTo>
                        <a:pt x="2484" y="1956"/>
                      </a:lnTo>
                      <a:lnTo>
                        <a:pt x="2478" y="1944"/>
                      </a:lnTo>
                      <a:lnTo>
                        <a:pt x="2478" y="1926"/>
                      </a:lnTo>
                      <a:lnTo>
                        <a:pt x="2472" y="1908"/>
                      </a:lnTo>
                      <a:lnTo>
                        <a:pt x="2484" y="1884"/>
                      </a:lnTo>
                      <a:lnTo>
                        <a:pt x="2514" y="1854"/>
                      </a:lnTo>
                      <a:lnTo>
                        <a:pt x="2514" y="1848"/>
                      </a:lnTo>
                      <a:lnTo>
                        <a:pt x="2508" y="1836"/>
                      </a:lnTo>
                      <a:lnTo>
                        <a:pt x="2508" y="1830"/>
                      </a:lnTo>
                      <a:lnTo>
                        <a:pt x="2502" y="1818"/>
                      </a:lnTo>
                      <a:lnTo>
                        <a:pt x="2508" y="1764"/>
                      </a:lnTo>
                      <a:lnTo>
                        <a:pt x="2508" y="1758"/>
                      </a:lnTo>
                      <a:lnTo>
                        <a:pt x="2514" y="1752"/>
                      </a:lnTo>
                      <a:lnTo>
                        <a:pt x="2514" y="1722"/>
                      </a:lnTo>
                      <a:lnTo>
                        <a:pt x="2520" y="1710"/>
                      </a:lnTo>
                      <a:lnTo>
                        <a:pt x="2520" y="1680"/>
                      </a:lnTo>
                      <a:lnTo>
                        <a:pt x="2508" y="1644"/>
                      </a:lnTo>
                      <a:lnTo>
                        <a:pt x="2502" y="1608"/>
                      </a:lnTo>
                      <a:lnTo>
                        <a:pt x="2502" y="1596"/>
                      </a:lnTo>
                      <a:lnTo>
                        <a:pt x="2508" y="1560"/>
                      </a:lnTo>
                      <a:lnTo>
                        <a:pt x="2508" y="1548"/>
                      </a:lnTo>
                      <a:lnTo>
                        <a:pt x="2502" y="1536"/>
                      </a:lnTo>
                      <a:lnTo>
                        <a:pt x="2502" y="1500"/>
                      </a:lnTo>
                      <a:lnTo>
                        <a:pt x="2508" y="1488"/>
                      </a:lnTo>
                      <a:lnTo>
                        <a:pt x="2520" y="1476"/>
                      </a:lnTo>
                      <a:lnTo>
                        <a:pt x="2508" y="1458"/>
                      </a:lnTo>
                      <a:lnTo>
                        <a:pt x="2520" y="1446"/>
                      </a:lnTo>
                      <a:lnTo>
                        <a:pt x="2532" y="1446"/>
                      </a:lnTo>
                      <a:lnTo>
                        <a:pt x="2532" y="1452"/>
                      </a:lnTo>
                      <a:lnTo>
                        <a:pt x="2538" y="1464"/>
                      </a:lnTo>
                      <a:lnTo>
                        <a:pt x="2544" y="1470"/>
                      </a:lnTo>
                      <a:lnTo>
                        <a:pt x="2556" y="1464"/>
                      </a:lnTo>
                      <a:lnTo>
                        <a:pt x="2562" y="1452"/>
                      </a:lnTo>
                      <a:lnTo>
                        <a:pt x="2574" y="1446"/>
                      </a:lnTo>
                      <a:lnTo>
                        <a:pt x="2580" y="1434"/>
                      </a:lnTo>
                      <a:lnTo>
                        <a:pt x="2586" y="1428"/>
                      </a:lnTo>
                      <a:lnTo>
                        <a:pt x="2592" y="1416"/>
                      </a:lnTo>
                      <a:lnTo>
                        <a:pt x="2592" y="1404"/>
                      </a:lnTo>
                      <a:lnTo>
                        <a:pt x="2598" y="1386"/>
                      </a:lnTo>
                      <a:lnTo>
                        <a:pt x="2598" y="1374"/>
                      </a:lnTo>
                      <a:lnTo>
                        <a:pt x="2604" y="1356"/>
                      </a:lnTo>
                      <a:lnTo>
                        <a:pt x="2604" y="1344"/>
                      </a:lnTo>
                      <a:lnTo>
                        <a:pt x="2610" y="1338"/>
                      </a:lnTo>
                      <a:lnTo>
                        <a:pt x="2616" y="1338"/>
                      </a:lnTo>
                      <a:lnTo>
                        <a:pt x="2628" y="1326"/>
                      </a:lnTo>
                      <a:lnTo>
                        <a:pt x="2634" y="1314"/>
                      </a:lnTo>
                      <a:lnTo>
                        <a:pt x="2640" y="1308"/>
                      </a:lnTo>
                      <a:lnTo>
                        <a:pt x="2640" y="1296"/>
                      </a:lnTo>
                      <a:lnTo>
                        <a:pt x="2652" y="1290"/>
                      </a:lnTo>
                      <a:lnTo>
                        <a:pt x="2658" y="1284"/>
                      </a:lnTo>
                      <a:lnTo>
                        <a:pt x="2670" y="1284"/>
                      </a:lnTo>
                      <a:lnTo>
                        <a:pt x="2682" y="1272"/>
                      </a:lnTo>
                      <a:lnTo>
                        <a:pt x="2682" y="1254"/>
                      </a:lnTo>
                      <a:lnTo>
                        <a:pt x="2688" y="1254"/>
                      </a:lnTo>
                      <a:lnTo>
                        <a:pt x="2724" y="1218"/>
                      </a:lnTo>
                      <a:lnTo>
                        <a:pt x="2736" y="1188"/>
                      </a:lnTo>
                      <a:lnTo>
                        <a:pt x="2754" y="1158"/>
                      </a:lnTo>
                      <a:lnTo>
                        <a:pt x="2760" y="1134"/>
                      </a:lnTo>
                      <a:lnTo>
                        <a:pt x="2766" y="1122"/>
                      </a:lnTo>
                      <a:lnTo>
                        <a:pt x="2772" y="1116"/>
                      </a:lnTo>
                      <a:lnTo>
                        <a:pt x="2778" y="1104"/>
                      </a:lnTo>
                      <a:lnTo>
                        <a:pt x="2784" y="1098"/>
                      </a:lnTo>
                      <a:lnTo>
                        <a:pt x="2784" y="1080"/>
                      </a:lnTo>
                      <a:lnTo>
                        <a:pt x="2778" y="1068"/>
                      </a:lnTo>
                      <a:lnTo>
                        <a:pt x="2778" y="1002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312" name="Bolivia" descr="© INSCALE GmbH, 05.05.2010&#10;http://www.presentationload.com/"/>
                <p:cNvSpPr>
                  <a:spLocks/>
                </p:cNvSpPr>
                <p:nvPr/>
              </p:nvSpPr>
              <p:spPr bwMode="gray">
                <a:xfrm>
                  <a:off x="2233614" y="4392616"/>
                  <a:ext cx="358775" cy="427037"/>
                </a:xfrm>
                <a:custGeom>
                  <a:avLst/>
                  <a:gdLst>
                    <a:gd name="T0" fmla="*/ 2147483647 w 894"/>
                    <a:gd name="T1" fmla="*/ 2147483647 h 1056"/>
                    <a:gd name="T2" fmla="*/ 2147483647 w 894"/>
                    <a:gd name="T3" fmla="*/ 2147483647 h 1056"/>
                    <a:gd name="T4" fmla="*/ 2147483647 w 894"/>
                    <a:gd name="T5" fmla="*/ 2147483647 h 1056"/>
                    <a:gd name="T6" fmla="*/ 2147483647 w 894"/>
                    <a:gd name="T7" fmla="*/ 2147483647 h 1056"/>
                    <a:gd name="T8" fmla="*/ 2147483647 w 894"/>
                    <a:gd name="T9" fmla="*/ 2147483647 h 1056"/>
                    <a:gd name="T10" fmla="*/ 2147483647 w 894"/>
                    <a:gd name="T11" fmla="*/ 2147483647 h 1056"/>
                    <a:gd name="T12" fmla="*/ 2147483647 w 894"/>
                    <a:gd name="T13" fmla="*/ 2147483647 h 1056"/>
                    <a:gd name="T14" fmla="*/ 2147483647 w 894"/>
                    <a:gd name="T15" fmla="*/ 2147483647 h 1056"/>
                    <a:gd name="T16" fmla="*/ 2147483647 w 894"/>
                    <a:gd name="T17" fmla="*/ 2147483647 h 1056"/>
                    <a:gd name="T18" fmla="*/ 2147483647 w 894"/>
                    <a:gd name="T19" fmla="*/ 2147483647 h 1056"/>
                    <a:gd name="T20" fmla="*/ 2147483647 w 894"/>
                    <a:gd name="T21" fmla="*/ 2147483647 h 1056"/>
                    <a:gd name="T22" fmla="*/ 2147483647 w 894"/>
                    <a:gd name="T23" fmla="*/ 2147483647 h 1056"/>
                    <a:gd name="T24" fmla="*/ 2147483647 w 894"/>
                    <a:gd name="T25" fmla="*/ 2147483647 h 1056"/>
                    <a:gd name="T26" fmla="*/ 2147483647 w 894"/>
                    <a:gd name="T27" fmla="*/ 2147483647 h 1056"/>
                    <a:gd name="T28" fmla="*/ 2147483647 w 894"/>
                    <a:gd name="T29" fmla="*/ 2147483647 h 1056"/>
                    <a:gd name="T30" fmla="*/ 2147483647 w 894"/>
                    <a:gd name="T31" fmla="*/ 2147483647 h 1056"/>
                    <a:gd name="T32" fmla="*/ 2147483647 w 894"/>
                    <a:gd name="T33" fmla="*/ 2147483647 h 1056"/>
                    <a:gd name="T34" fmla="*/ 2147483647 w 894"/>
                    <a:gd name="T35" fmla="*/ 2147483647 h 1056"/>
                    <a:gd name="T36" fmla="*/ 2147483647 w 894"/>
                    <a:gd name="T37" fmla="*/ 2147483647 h 1056"/>
                    <a:gd name="T38" fmla="*/ 2147483647 w 894"/>
                    <a:gd name="T39" fmla="*/ 2147483647 h 1056"/>
                    <a:gd name="T40" fmla="*/ 2147483647 w 894"/>
                    <a:gd name="T41" fmla="*/ 2147483647 h 1056"/>
                    <a:gd name="T42" fmla="*/ 2147483647 w 894"/>
                    <a:gd name="T43" fmla="*/ 2147483647 h 1056"/>
                    <a:gd name="T44" fmla="*/ 2147483647 w 894"/>
                    <a:gd name="T45" fmla="*/ 2147483647 h 1056"/>
                    <a:gd name="T46" fmla="*/ 2147483647 w 894"/>
                    <a:gd name="T47" fmla="*/ 2147483647 h 1056"/>
                    <a:gd name="T48" fmla="*/ 0 w 894"/>
                    <a:gd name="T49" fmla="*/ 2147483647 h 1056"/>
                    <a:gd name="T50" fmla="*/ 2147483647 w 894"/>
                    <a:gd name="T51" fmla="*/ 2147483647 h 1056"/>
                    <a:gd name="T52" fmla="*/ 2147483647 w 894"/>
                    <a:gd name="T53" fmla="*/ 2147483647 h 1056"/>
                    <a:gd name="T54" fmla="*/ 2147483647 w 894"/>
                    <a:gd name="T55" fmla="*/ 2147483647 h 1056"/>
                    <a:gd name="T56" fmla="*/ 2147483647 w 894"/>
                    <a:gd name="T57" fmla="*/ 2147483647 h 1056"/>
                    <a:gd name="T58" fmla="*/ 2147483647 w 894"/>
                    <a:gd name="T59" fmla="*/ 2147483647 h 1056"/>
                    <a:gd name="T60" fmla="*/ 2147483647 w 894"/>
                    <a:gd name="T61" fmla="*/ 2147483647 h 1056"/>
                    <a:gd name="T62" fmla="*/ 2147483647 w 894"/>
                    <a:gd name="T63" fmla="*/ 2147483647 h 1056"/>
                    <a:gd name="T64" fmla="*/ 2147483647 w 894"/>
                    <a:gd name="T65" fmla="*/ 2147483647 h 1056"/>
                    <a:gd name="T66" fmla="*/ 2147483647 w 894"/>
                    <a:gd name="T67" fmla="*/ 2147483647 h 1056"/>
                    <a:gd name="T68" fmla="*/ 2147483647 w 894"/>
                    <a:gd name="T69" fmla="*/ 2147483647 h 1056"/>
                    <a:gd name="T70" fmla="*/ 2147483647 w 894"/>
                    <a:gd name="T71" fmla="*/ 2147483647 h 1056"/>
                    <a:gd name="T72" fmla="*/ 2147483647 w 894"/>
                    <a:gd name="T73" fmla="*/ 2147483647 h 1056"/>
                    <a:gd name="T74" fmla="*/ 2147483647 w 894"/>
                    <a:gd name="T75" fmla="*/ 2147483647 h 1056"/>
                    <a:gd name="T76" fmla="*/ 2147483647 w 894"/>
                    <a:gd name="T77" fmla="*/ 2147483647 h 1056"/>
                    <a:gd name="T78" fmla="*/ 2147483647 w 894"/>
                    <a:gd name="T79" fmla="*/ 2147483647 h 1056"/>
                    <a:gd name="T80" fmla="*/ 2147483647 w 894"/>
                    <a:gd name="T81" fmla="*/ 2147483647 h 1056"/>
                    <a:gd name="T82" fmla="*/ 2147483647 w 894"/>
                    <a:gd name="T83" fmla="*/ 2147483647 h 1056"/>
                    <a:gd name="T84" fmla="*/ 2147483647 w 894"/>
                    <a:gd name="T85" fmla="*/ 2147483647 h 1056"/>
                    <a:gd name="T86" fmla="*/ 2147483647 w 894"/>
                    <a:gd name="T87" fmla="*/ 2147483647 h 1056"/>
                    <a:gd name="T88" fmla="*/ 2147483647 w 894"/>
                    <a:gd name="T89" fmla="*/ 2147483647 h 1056"/>
                    <a:gd name="T90" fmla="*/ 2147483647 w 894"/>
                    <a:gd name="T91" fmla="*/ 2147483647 h 1056"/>
                    <a:gd name="T92" fmla="*/ 2147483647 w 894"/>
                    <a:gd name="T93" fmla="*/ 2147483647 h 1056"/>
                    <a:gd name="T94" fmla="*/ 2147483647 w 894"/>
                    <a:gd name="T95" fmla="*/ 2147483647 h 1056"/>
                    <a:gd name="T96" fmla="*/ 2147483647 w 894"/>
                    <a:gd name="T97" fmla="*/ 2147483647 h 1056"/>
                    <a:gd name="T98" fmla="*/ 2147483647 w 894"/>
                    <a:gd name="T99" fmla="*/ 2147483647 h 1056"/>
                    <a:gd name="T100" fmla="*/ 2147483647 w 894"/>
                    <a:gd name="T101" fmla="*/ 2147483647 h 105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894"/>
                    <a:gd name="T154" fmla="*/ 0 h 1056"/>
                    <a:gd name="T155" fmla="*/ 894 w 894"/>
                    <a:gd name="T156" fmla="*/ 1056 h 105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894" h="1056">
                      <a:moveTo>
                        <a:pt x="882" y="744"/>
                      </a:moveTo>
                      <a:lnTo>
                        <a:pt x="882" y="738"/>
                      </a:lnTo>
                      <a:lnTo>
                        <a:pt x="888" y="732"/>
                      </a:lnTo>
                      <a:lnTo>
                        <a:pt x="888" y="708"/>
                      </a:lnTo>
                      <a:lnTo>
                        <a:pt x="894" y="696"/>
                      </a:lnTo>
                      <a:lnTo>
                        <a:pt x="894" y="684"/>
                      </a:lnTo>
                      <a:lnTo>
                        <a:pt x="882" y="648"/>
                      </a:lnTo>
                      <a:lnTo>
                        <a:pt x="876" y="636"/>
                      </a:lnTo>
                      <a:lnTo>
                        <a:pt x="864" y="624"/>
                      </a:lnTo>
                      <a:lnTo>
                        <a:pt x="840" y="612"/>
                      </a:lnTo>
                      <a:lnTo>
                        <a:pt x="834" y="606"/>
                      </a:lnTo>
                      <a:lnTo>
                        <a:pt x="822" y="600"/>
                      </a:lnTo>
                      <a:lnTo>
                        <a:pt x="816" y="588"/>
                      </a:lnTo>
                      <a:lnTo>
                        <a:pt x="816" y="576"/>
                      </a:lnTo>
                      <a:lnTo>
                        <a:pt x="822" y="558"/>
                      </a:lnTo>
                      <a:lnTo>
                        <a:pt x="822" y="546"/>
                      </a:lnTo>
                      <a:lnTo>
                        <a:pt x="828" y="540"/>
                      </a:lnTo>
                      <a:lnTo>
                        <a:pt x="828" y="534"/>
                      </a:lnTo>
                      <a:lnTo>
                        <a:pt x="768" y="534"/>
                      </a:lnTo>
                      <a:lnTo>
                        <a:pt x="720" y="528"/>
                      </a:lnTo>
                      <a:lnTo>
                        <a:pt x="690" y="522"/>
                      </a:lnTo>
                      <a:lnTo>
                        <a:pt x="684" y="516"/>
                      </a:lnTo>
                      <a:lnTo>
                        <a:pt x="684" y="474"/>
                      </a:lnTo>
                      <a:lnTo>
                        <a:pt x="690" y="462"/>
                      </a:lnTo>
                      <a:lnTo>
                        <a:pt x="684" y="456"/>
                      </a:lnTo>
                      <a:lnTo>
                        <a:pt x="672" y="450"/>
                      </a:lnTo>
                      <a:lnTo>
                        <a:pt x="666" y="438"/>
                      </a:lnTo>
                      <a:lnTo>
                        <a:pt x="660" y="432"/>
                      </a:lnTo>
                      <a:lnTo>
                        <a:pt x="660" y="426"/>
                      </a:lnTo>
                      <a:lnTo>
                        <a:pt x="678" y="426"/>
                      </a:lnTo>
                      <a:lnTo>
                        <a:pt x="678" y="396"/>
                      </a:lnTo>
                      <a:lnTo>
                        <a:pt x="672" y="384"/>
                      </a:lnTo>
                      <a:lnTo>
                        <a:pt x="666" y="378"/>
                      </a:lnTo>
                      <a:lnTo>
                        <a:pt x="660" y="366"/>
                      </a:lnTo>
                      <a:lnTo>
                        <a:pt x="660" y="336"/>
                      </a:lnTo>
                      <a:lnTo>
                        <a:pt x="654" y="330"/>
                      </a:lnTo>
                      <a:lnTo>
                        <a:pt x="648" y="318"/>
                      </a:lnTo>
                      <a:lnTo>
                        <a:pt x="624" y="306"/>
                      </a:lnTo>
                      <a:lnTo>
                        <a:pt x="564" y="306"/>
                      </a:lnTo>
                      <a:lnTo>
                        <a:pt x="558" y="300"/>
                      </a:lnTo>
                      <a:lnTo>
                        <a:pt x="546" y="294"/>
                      </a:lnTo>
                      <a:lnTo>
                        <a:pt x="534" y="282"/>
                      </a:lnTo>
                      <a:lnTo>
                        <a:pt x="534" y="276"/>
                      </a:lnTo>
                      <a:lnTo>
                        <a:pt x="510" y="276"/>
                      </a:lnTo>
                      <a:lnTo>
                        <a:pt x="498" y="270"/>
                      </a:lnTo>
                      <a:lnTo>
                        <a:pt x="486" y="258"/>
                      </a:lnTo>
                      <a:lnTo>
                        <a:pt x="474" y="252"/>
                      </a:lnTo>
                      <a:lnTo>
                        <a:pt x="468" y="240"/>
                      </a:lnTo>
                      <a:lnTo>
                        <a:pt x="468" y="234"/>
                      </a:lnTo>
                      <a:lnTo>
                        <a:pt x="456" y="234"/>
                      </a:lnTo>
                      <a:lnTo>
                        <a:pt x="450" y="240"/>
                      </a:lnTo>
                      <a:lnTo>
                        <a:pt x="438" y="240"/>
                      </a:lnTo>
                      <a:lnTo>
                        <a:pt x="426" y="234"/>
                      </a:lnTo>
                      <a:lnTo>
                        <a:pt x="420" y="222"/>
                      </a:lnTo>
                      <a:lnTo>
                        <a:pt x="414" y="228"/>
                      </a:lnTo>
                      <a:lnTo>
                        <a:pt x="384" y="228"/>
                      </a:lnTo>
                      <a:lnTo>
                        <a:pt x="372" y="222"/>
                      </a:lnTo>
                      <a:lnTo>
                        <a:pt x="366" y="216"/>
                      </a:lnTo>
                      <a:lnTo>
                        <a:pt x="366" y="210"/>
                      </a:lnTo>
                      <a:lnTo>
                        <a:pt x="360" y="198"/>
                      </a:lnTo>
                      <a:lnTo>
                        <a:pt x="360" y="192"/>
                      </a:lnTo>
                      <a:lnTo>
                        <a:pt x="354" y="186"/>
                      </a:lnTo>
                      <a:lnTo>
                        <a:pt x="330" y="186"/>
                      </a:lnTo>
                      <a:lnTo>
                        <a:pt x="324" y="156"/>
                      </a:lnTo>
                      <a:lnTo>
                        <a:pt x="318" y="150"/>
                      </a:lnTo>
                      <a:lnTo>
                        <a:pt x="306" y="144"/>
                      </a:lnTo>
                      <a:lnTo>
                        <a:pt x="294" y="132"/>
                      </a:lnTo>
                      <a:lnTo>
                        <a:pt x="294" y="120"/>
                      </a:lnTo>
                      <a:lnTo>
                        <a:pt x="300" y="114"/>
                      </a:lnTo>
                      <a:lnTo>
                        <a:pt x="300" y="96"/>
                      </a:lnTo>
                      <a:lnTo>
                        <a:pt x="294" y="84"/>
                      </a:lnTo>
                      <a:lnTo>
                        <a:pt x="288" y="78"/>
                      </a:lnTo>
                      <a:lnTo>
                        <a:pt x="288" y="48"/>
                      </a:lnTo>
                      <a:lnTo>
                        <a:pt x="294" y="42"/>
                      </a:lnTo>
                      <a:lnTo>
                        <a:pt x="294" y="36"/>
                      </a:lnTo>
                      <a:lnTo>
                        <a:pt x="300" y="30"/>
                      </a:lnTo>
                      <a:lnTo>
                        <a:pt x="300" y="0"/>
                      </a:lnTo>
                      <a:lnTo>
                        <a:pt x="288" y="0"/>
                      </a:lnTo>
                      <a:lnTo>
                        <a:pt x="276" y="6"/>
                      </a:lnTo>
                      <a:lnTo>
                        <a:pt x="276" y="12"/>
                      </a:lnTo>
                      <a:lnTo>
                        <a:pt x="270" y="12"/>
                      </a:lnTo>
                      <a:lnTo>
                        <a:pt x="258" y="0"/>
                      </a:lnTo>
                      <a:lnTo>
                        <a:pt x="246" y="12"/>
                      </a:lnTo>
                      <a:lnTo>
                        <a:pt x="210" y="12"/>
                      </a:lnTo>
                      <a:lnTo>
                        <a:pt x="198" y="18"/>
                      </a:lnTo>
                      <a:lnTo>
                        <a:pt x="192" y="24"/>
                      </a:lnTo>
                      <a:lnTo>
                        <a:pt x="186" y="36"/>
                      </a:lnTo>
                      <a:lnTo>
                        <a:pt x="180" y="42"/>
                      </a:lnTo>
                      <a:lnTo>
                        <a:pt x="180" y="48"/>
                      </a:lnTo>
                      <a:lnTo>
                        <a:pt x="144" y="48"/>
                      </a:lnTo>
                      <a:lnTo>
                        <a:pt x="138" y="78"/>
                      </a:lnTo>
                      <a:lnTo>
                        <a:pt x="102" y="78"/>
                      </a:lnTo>
                      <a:lnTo>
                        <a:pt x="90" y="96"/>
                      </a:lnTo>
                      <a:lnTo>
                        <a:pt x="84" y="102"/>
                      </a:lnTo>
                      <a:lnTo>
                        <a:pt x="60" y="114"/>
                      </a:lnTo>
                      <a:lnTo>
                        <a:pt x="42" y="114"/>
                      </a:lnTo>
                      <a:lnTo>
                        <a:pt x="42" y="108"/>
                      </a:lnTo>
                      <a:lnTo>
                        <a:pt x="36" y="102"/>
                      </a:lnTo>
                      <a:lnTo>
                        <a:pt x="12" y="102"/>
                      </a:lnTo>
                      <a:lnTo>
                        <a:pt x="0" y="96"/>
                      </a:lnTo>
                      <a:lnTo>
                        <a:pt x="0" y="114"/>
                      </a:lnTo>
                      <a:lnTo>
                        <a:pt x="6" y="132"/>
                      </a:lnTo>
                      <a:lnTo>
                        <a:pt x="18" y="144"/>
                      </a:lnTo>
                      <a:lnTo>
                        <a:pt x="30" y="162"/>
                      </a:lnTo>
                      <a:lnTo>
                        <a:pt x="42" y="174"/>
                      </a:lnTo>
                      <a:lnTo>
                        <a:pt x="54" y="192"/>
                      </a:lnTo>
                      <a:lnTo>
                        <a:pt x="66" y="216"/>
                      </a:lnTo>
                      <a:lnTo>
                        <a:pt x="66" y="228"/>
                      </a:lnTo>
                      <a:lnTo>
                        <a:pt x="60" y="234"/>
                      </a:lnTo>
                      <a:lnTo>
                        <a:pt x="54" y="246"/>
                      </a:lnTo>
                      <a:lnTo>
                        <a:pt x="48" y="252"/>
                      </a:lnTo>
                      <a:lnTo>
                        <a:pt x="60" y="300"/>
                      </a:lnTo>
                      <a:lnTo>
                        <a:pt x="42" y="330"/>
                      </a:lnTo>
                      <a:lnTo>
                        <a:pt x="48" y="330"/>
                      </a:lnTo>
                      <a:lnTo>
                        <a:pt x="60" y="342"/>
                      </a:lnTo>
                      <a:lnTo>
                        <a:pt x="66" y="354"/>
                      </a:lnTo>
                      <a:lnTo>
                        <a:pt x="66" y="360"/>
                      </a:lnTo>
                      <a:lnTo>
                        <a:pt x="60" y="372"/>
                      </a:lnTo>
                      <a:lnTo>
                        <a:pt x="48" y="384"/>
                      </a:lnTo>
                      <a:lnTo>
                        <a:pt x="36" y="408"/>
                      </a:lnTo>
                      <a:lnTo>
                        <a:pt x="42" y="426"/>
                      </a:lnTo>
                      <a:lnTo>
                        <a:pt x="48" y="438"/>
                      </a:lnTo>
                      <a:lnTo>
                        <a:pt x="54" y="444"/>
                      </a:lnTo>
                      <a:lnTo>
                        <a:pt x="54" y="450"/>
                      </a:lnTo>
                      <a:lnTo>
                        <a:pt x="42" y="468"/>
                      </a:lnTo>
                      <a:lnTo>
                        <a:pt x="54" y="480"/>
                      </a:lnTo>
                      <a:lnTo>
                        <a:pt x="78" y="498"/>
                      </a:lnTo>
                      <a:lnTo>
                        <a:pt x="78" y="516"/>
                      </a:lnTo>
                      <a:lnTo>
                        <a:pt x="102" y="528"/>
                      </a:lnTo>
                      <a:lnTo>
                        <a:pt x="90" y="558"/>
                      </a:lnTo>
                      <a:lnTo>
                        <a:pt x="78" y="546"/>
                      </a:lnTo>
                      <a:lnTo>
                        <a:pt x="78" y="558"/>
                      </a:lnTo>
                      <a:lnTo>
                        <a:pt x="66" y="582"/>
                      </a:lnTo>
                      <a:lnTo>
                        <a:pt x="54" y="588"/>
                      </a:lnTo>
                      <a:lnTo>
                        <a:pt x="36" y="606"/>
                      </a:lnTo>
                      <a:lnTo>
                        <a:pt x="48" y="630"/>
                      </a:lnTo>
                      <a:lnTo>
                        <a:pt x="42" y="636"/>
                      </a:lnTo>
                      <a:lnTo>
                        <a:pt x="60" y="666"/>
                      </a:lnTo>
                      <a:lnTo>
                        <a:pt x="84" y="666"/>
                      </a:lnTo>
                      <a:lnTo>
                        <a:pt x="96" y="744"/>
                      </a:lnTo>
                      <a:lnTo>
                        <a:pt x="108" y="750"/>
                      </a:lnTo>
                      <a:lnTo>
                        <a:pt x="114" y="750"/>
                      </a:lnTo>
                      <a:lnTo>
                        <a:pt x="138" y="762"/>
                      </a:lnTo>
                      <a:lnTo>
                        <a:pt x="144" y="774"/>
                      </a:lnTo>
                      <a:lnTo>
                        <a:pt x="144" y="780"/>
                      </a:lnTo>
                      <a:lnTo>
                        <a:pt x="138" y="792"/>
                      </a:lnTo>
                      <a:lnTo>
                        <a:pt x="126" y="804"/>
                      </a:lnTo>
                      <a:lnTo>
                        <a:pt x="144" y="822"/>
                      </a:lnTo>
                      <a:lnTo>
                        <a:pt x="138" y="828"/>
                      </a:lnTo>
                      <a:lnTo>
                        <a:pt x="132" y="840"/>
                      </a:lnTo>
                      <a:lnTo>
                        <a:pt x="126" y="846"/>
                      </a:lnTo>
                      <a:lnTo>
                        <a:pt x="126" y="858"/>
                      </a:lnTo>
                      <a:lnTo>
                        <a:pt x="132" y="870"/>
                      </a:lnTo>
                      <a:lnTo>
                        <a:pt x="138" y="876"/>
                      </a:lnTo>
                      <a:lnTo>
                        <a:pt x="138" y="900"/>
                      </a:lnTo>
                      <a:lnTo>
                        <a:pt x="144" y="900"/>
                      </a:lnTo>
                      <a:lnTo>
                        <a:pt x="150" y="906"/>
                      </a:lnTo>
                      <a:lnTo>
                        <a:pt x="162" y="912"/>
                      </a:lnTo>
                      <a:lnTo>
                        <a:pt x="168" y="918"/>
                      </a:lnTo>
                      <a:lnTo>
                        <a:pt x="180" y="924"/>
                      </a:lnTo>
                      <a:lnTo>
                        <a:pt x="186" y="930"/>
                      </a:lnTo>
                      <a:lnTo>
                        <a:pt x="186" y="996"/>
                      </a:lnTo>
                      <a:lnTo>
                        <a:pt x="210" y="1020"/>
                      </a:lnTo>
                      <a:lnTo>
                        <a:pt x="210" y="1044"/>
                      </a:lnTo>
                      <a:lnTo>
                        <a:pt x="216" y="1056"/>
                      </a:lnTo>
                      <a:lnTo>
                        <a:pt x="270" y="1056"/>
                      </a:lnTo>
                      <a:lnTo>
                        <a:pt x="270" y="1026"/>
                      </a:lnTo>
                      <a:lnTo>
                        <a:pt x="282" y="1026"/>
                      </a:lnTo>
                      <a:lnTo>
                        <a:pt x="282" y="1008"/>
                      </a:lnTo>
                      <a:lnTo>
                        <a:pt x="306" y="1002"/>
                      </a:lnTo>
                      <a:lnTo>
                        <a:pt x="318" y="978"/>
                      </a:lnTo>
                      <a:lnTo>
                        <a:pt x="324" y="984"/>
                      </a:lnTo>
                      <a:lnTo>
                        <a:pt x="348" y="996"/>
                      </a:lnTo>
                      <a:lnTo>
                        <a:pt x="360" y="996"/>
                      </a:lnTo>
                      <a:lnTo>
                        <a:pt x="378" y="1002"/>
                      </a:lnTo>
                      <a:lnTo>
                        <a:pt x="432" y="1002"/>
                      </a:lnTo>
                      <a:lnTo>
                        <a:pt x="462" y="1050"/>
                      </a:lnTo>
                      <a:lnTo>
                        <a:pt x="474" y="996"/>
                      </a:lnTo>
                      <a:lnTo>
                        <a:pt x="546" y="990"/>
                      </a:lnTo>
                      <a:lnTo>
                        <a:pt x="582" y="1014"/>
                      </a:lnTo>
                      <a:lnTo>
                        <a:pt x="582" y="996"/>
                      </a:lnTo>
                      <a:lnTo>
                        <a:pt x="594" y="924"/>
                      </a:lnTo>
                      <a:lnTo>
                        <a:pt x="594" y="900"/>
                      </a:lnTo>
                      <a:lnTo>
                        <a:pt x="588" y="894"/>
                      </a:lnTo>
                      <a:lnTo>
                        <a:pt x="588" y="888"/>
                      </a:lnTo>
                      <a:lnTo>
                        <a:pt x="576" y="864"/>
                      </a:lnTo>
                      <a:lnTo>
                        <a:pt x="576" y="852"/>
                      </a:lnTo>
                      <a:lnTo>
                        <a:pt x="582" y="846"/>
                      </a:lnTo>
                      <a:lnTo>
                        <a:pt x="594" y="840"/>
                      </a:lnTo>
                      <a:lnTo>
                        <a:pt x="606" y="828"/>
                      </a:lnTo>
                      <a:lnTo>
                        <a:pt x="612" y="798"/>
                      </a:lnTo>
                      <a:lnTo>
                        <a:pt x="714" y="780"/>
                      </a:lnTo>
                      <a:lnTo>
                        <a:pt x="792" y="768"/>
                      </a:lnTo>
                      <a:lnTo>
                        <a:pt x="846" y="810"/>
                      </a:lnTo>
                      <a:lnTo>
                        <a:pt x="864" y="846"/>
                      </a:lnTo>
                      <a:lnTo>
                        <a:pt x="864" y="840"/>
                      </a:lnTo>
                      <a:lnTo>
                        <a:pt x="870" y="834"/>
                      </a:lnTo>
                      <a:lnTo>
                        <a:pt x="882" y="828"/>
                      </a:lnTo>
                      <a:lnTo>
                        <a:pt x="888" y="822"/>
                      </a:lnTo>
                      <a:lnTo>
                        <a:pt x="876" y="816"/>
                      </a:lnTo>
                      <a:lnTo>
                        <a:pt x="870" y="810"/>
                      </a:lnTo>
                      <a:lnTo>
                        <a:pt x="870" y="786"/>
                      </a:lnTo>
                      <a:lnTo>
                        <a:pt x="876" y="774"/>
                      </a:lnTo>
                      <a:lnTo>
                        <a:pt x="882" y="768"/>
                      </a:lnTo>
                      <a:lnTo>
                        <a:pt x="888" y="756"/>
                      </a:lnTo>
                      <a:lnTo>
                        <a:pt x="882" y="744"/>
                      </a:ln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spcBef>
                      <a:spcPct val="0"/>
                    </a:spcBef>
                    <a:defRPr/>
                  </a:pPr>
                  <a:endParaRPr lang="en-US" dirty="0">
                    <a:solidFill>
                      <a:srgbClr val="000000"/>
                    </a:solidFill>
                    <a:latin typeface="Calibri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313" name="Argentina" descr="© INSCALE GmbH, 05.05.2010&#10;http://www.presentationload.com/"/>
                <p:cNvSpPr>
                  <a:spLocks noEditPoints="1"/>
                </p:cNvSpPr>
                <p:nvPr/>
              </p:nvSpPr>
              <p:spPr bwMode="gray">
                <a:xfrm>
                  <a:off x="2292351" y="4787904"/>
                  <a:ext cx="439738" cy="982663"/>
                </a:xfrm>
                <a:custGeom>
                  <a:avLst/>
                  <a:gdLst>
                    <a:gd name="T0" fmla="*/ 2147483647 w 1092"/>
                    <a:gd name="T1" fmla="*/ 2147483647 h 2442"/>
                    <a:gd name="T2" fmla="*/ 2147483647 w 1092"/>
                    <a:gd name="T3" fmla="*/ 2147483647 h 2442"/>
                    <a:gd name="T4" fmla="*/ 2147483647 w 1092"/>
                    <a:gd name="T5" fmla="*/ 2147483647 h 2442"/>
                    <a:gd name="T6" fmla="*/ 2147483647 w 1092"/>
                    <a:gd name="T7" fmla="*/ 2147483647 h 2442"/>
                    <a:gd name="T8" fmla="*/ 2147483647 w 1092"/>
                    <a:gd name="T9" fmla="*/ 2147483647 h 2442"/>
                    <a:gd name="T10" fmla="*/ 2147483647 w 1092"/>
                    <a:gd name="T11" fmla="*/ 2147483647 h 2442"/>
                    <a:gd name="T12" fmla="*/ 2147483647 w 1092"/>
                    <a:gd name="T13" fmla="*/ 2147483647 h 2442"/>
                    <a:gd name="T14" fmla="*/ 2147483647 w 1092"/>
                    <a:gd name="T15" fmla="*/ 2147483647 h 2442"/>
                    <a:gd name="T16" fmla="*/ 2147483647 w 1092"/>
                    <a:gd name="T17" fmla="*/ 2147483647 h 2442"/>
                    <a:gd name="T18" fmla="*/ 2147483647 w 1092"/>
                    <a:gd name="T19" fmla="*/ 2147483647 h 2442"/>
                    <a:gd name="T20" fmla="*/ 2147483647 w 1092"/>
                    <a:gd name="T21" fmla="*/ 0 h 2442"/>
                    <a:gd name="T22" fmla="*/ 2147483647 w 1092"/>
                    <a:gd name="T23" fmla="*/ 2147483647 h 2442"/>
                    <a:gd name="T24" fmla="*/ 2147483647 w 1092"/>
                    <a:gd name="T25" fmla="*/ 2147483647 h 2442"/>
                    <a:gd name="T26" fmla="*/ 2147483647 w 1092"/>
                    <a:gd name="T27" fmla="*/ 2147483647 h 2442"/>
                    <a:gd name="T28" fmla="*/ 2147483647 w 1092"/>
                    <a:gd name="T29" fmla="*/ 2147483647 h 2442"/>
                    <a:gd name="T30" fmla="*/ 2147483647 w 1092"/>
                    <a:gd name="T31" fmla="*/ 2147483647 h 2442"/>
                    <a:gd name="T32" fmla="*/ 2147483647 w 1092"/>
                    <a:gd name="T33" fmla="*/ 2147483647 h 2442"/>
                    <a:gd name="T34" fmla="*/ 2147483647 w 1092"/>
                    <a:gd name="T35" fmla="*/ 2147483647 h 2442"/>
                    <a:gd name="T36" fmla="*/ 2147483647 w 1092"/>
                    <a:gd name="T37" fmla="*/ 2147483647 h 2442"/>
                    <a:gd name="T38" fmla="*/ 2147483647 w 1092"/>
                    <a:gd name="T39" fmla="*/ 2147483647 h 2442"/>
                    <a:gd name="T40" fmla="*/ 2147483647 w 1092"/>
                    <a:gd name="T41" fmla="*/ 2147483647 h 2442"/>
                    <a:gd name="T42" fmla="*/ 2147483647 w 1092"/>
                    <a:gd name="T43" fmla="*/ 2147483647 h 2442"/>
                    <a:gd name="T44" fmla="*/ 2147483647 w 1092"/>
                    <a:gd name="T45" fmla="*/ 2147483647 h 2442"/>
                    <a:gd name="T46" fmla="*/ 2147483647 w 1092"/>
                    <a:gd name="T47" fmla="*/ 2147483647 h 2442"/>
                    <a:gd name="T48" fmla="*/ 2147483647 w 1092"/>
                    <a:gd name="T49" fmla="*/ 2147483647 h 2442"/>
                    <a:gd name="T50" fmla="*/ 2147483647 w 1092"/>
                    <a:gd name="T51" fmla="*/ 2147483647 h 2442"/>
                    <a:gd name="T52" fmla="*/ 2147483647 w 1092"/>
                    <a:gd name="T53" fmla="*/ 2147483647 h 2442"/>
                    <a:gd name="T54" fmla="*/ 2147483647 w 1092"/>
                    <a:gd name="T55" fmla="*/ 2147483647 h 2442"/>
                    <a:gd name="T56" fmla="*/ 2147483647 w 1092"/>
                    <a:gd name="T57" fmla="*/ 2147483647 h 2442"/>
                    <a:gd name="T58" fmla="*/ 2147483647 w 1092"/>
                    <a:gd name="T59" fmla="*/ 2147483647 h 2442"/>
                    <a:gd name="T60" fmla="*/ 2147483647 w 1092"/>
                    <a:gd name="T61" fmla="*/ 2147483647 h 2442"/>
                    <a:gd name="T62" fmla="*/ 2147483647 w 1092"/>
                    <a:gd name="T63" fmla="*/ 2147483647 h 2442"/>
                    <a:gd name="T64" fmla="*/ 2147483647 w 1092"/>
                    <a:gd name="T65" fmla="*/ 2147483647 h 2442"/>
                    <a:gd name="T66" fmla="*/ 2147483647 w 1092"/>
                    <a:gd name="T67" fmla="*/ 2147483647 h 2442"/>
                    <a:gd name="T68" fmla="*/ 2147483647 w 1092"/>
                    <a:gd name="T69" fmla="*/ 2147483647 h 2442"/>
                    <a:gd name="T70" fmla="*/ 2147483647 w 1092"/>
                    <a:gd name="T71" fmla="*/ 2147483647 h 2442"/>
                    <a:gd name="T72" fmla="*/ 2147483647 w 1092"/>
                    <a:gd name="T73" fmla="*/ 2147483647 h 2442"/>
                    <a:gd name="T74" fmla="*/ 2147483647 w 1092"/>
                    <a:gd name="T75" fmla="*/ 2147483647 h 2442"/>
                    <a:gd name="T76" fmla="*/ 2147483647 w 1092"/>
                    <a:gd name="T77" fmla="*/ 2147483647 h 2442"/>
                    <a:gd name="T78" fmla="*/ 2147483647 w 1092"/>
                    <a:gd name="T79" fmla="*/ 2147483647 h 2442"/>
                    <a:gd name="T80" fmla="*/ 2147483647 w 1092"/>
                    <a:gd name="T81" fmla="*/ 2147483647 h 2442"/>
                    <a:gd name="T82" fmla="*/ 2147483647 w 1092"/>
                    <a:gd name="T83" fmla="*/ 2147483647 h 2442"/>
                    <a:gd name="T84" fmla="*/ 2147483647 w 1092"/>
                    <a:gd name="T85" fmla="*/ 2147483647 h 2442"/>
                    <a:gd name="T86" fmla="*/ 2147483647 w 1092"/>
                    <a:gd name="T87" fmla="*/ 2147483647 h 2442"/>
                    <a:gd name="T88" fmla="*/ 2147483647 w 1092"/>
                    <a:gd name="T89" fmla="*/ 2147483647 h 2442"/>
                    <a:gd name="T90" fmla="*/ 2147483647 w 1092"/>
                    <a:gd name="T91" fmla="*/ 2147483647 h 2442"/>
                    <a:gd name="T92" fmla="*/ 2147483647 w 1092"/>
                    <a:gd name="T93" fmla="*/ 2147483647 h 2442"/>
                    <a:gd name="T94" fmla="*/ 2147483647 w 1092"/>
                    <a:gd name="T95" fmla="*/ 2147483647 h 2442"/>
                    <a:gd name="T96" fmla="*/ 2147483647 w 1092"/>
                    <a:gd name="T97" fmla="*/ 2147483647 h 2442"/>
                    <a:gd name="T98" fmla="*/ 2147483647 w 1092"/>
                    <a:gd name="T99" fmla="*/ 2147483647 h 2442"/>
                    <a:gd name="T100" fmla="*/ 2147483647 w 1092"/>
                    <a:gd name="T101" fmla="*/ 2147483647 h 2442"/>
                    <a:gd name="T102" fmla="*/ 2147483647 w 1092"/>
                    <a:gd name="T103" fmla="*/ 2147483647 h 2442"/>
                    <a:gd name="T104" fmla="*/ 2147483647 w 1092"/>
                    <a:gd name="T105" fmla="*/ 2147483647 h 2442"/>
                    <a:gd name="T106" fmla="*/ 2147483647 w 1092"/>
                    <a:gd name="T107" fmla="*/ 2147483647 h 2442"/>
                    <a:gd name="T108" fmla="*/ 2147483647 w 1092"/>
                    <a:gd name="T109" fmla="*/ 2147483647 h 2442"/>
                    <a:gd name="T110" fmla="*/ 2147483647 w 1092"/>
                    <a:gd name="T111" fmla="*/ 2147483647 h 2442"/>
                    <a:gd name="T112" fmla="*/ 2147483647 w 1092"/>
                    <a:gd name="T113" fmla="*/ 2147483647 h 2442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092"/>
                    <a:gd name="T172" fmla="*/ 0 h 2442"/>
                    <a:gd name="T173" fmla="*/ 1092 w 1092"/>
                    <a:gd name="T174" fmla="*/ 2442 h 2442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092" h="2442">
                      <a:moveTo>
                        <a:pt x="954" y="534"/>
                      </a:moveTo>
                      <a:lnTo>
                        <a:pt x="978" y="528"/>
                      </a:lnTo>
                      <a:lnTo>
                        <a:pt x="984" y="504"/>
                      </a:lnTo>
                      <a:lnTo>
                        <a:pt x="990" y="498"/>
                      </a:lnTo>
                      <a:lnTo>
                        <a:pt x="990" y="480"/>
                      </a:lnTo>
                      <a:lnTo>
                        <a:pt x="1026" y="480"/>
                      </a:lnTo>
                      <a:lnTo>
                        <a:pt x="1026" y="462"/>
                      </a:lnTo>
                      <a:lnTo>
                        <a:pt x="1032" y="450"/>
                      </a:lnTo>
                      <a:lnTo>
                        <a:pt x="1038" y="444"/>
                      </a:lnTo>
                      <a:lnTo>
                        <a:pt x="1092" y="426"/>
                      </a:lnTo>
                      <a:lnTo>
                        <a:pt x="1092" y="390"/>
                      </a:lnTo>
                      <a:lnTo>
                        <a:pt x="1086" y="372"/>
                      </a:lnTo>
                      <a:lnTo>
                        <a:pt x="1086" y="342"/>
                      </a:lnTo>
                      <a:lnTo>
                        <a:pt x="1080" y="336"/>
                      </a:lnTo>
                      <a:lnTo>
                        <a:pt x="1074" y="336"/>
                      </a:lnTo>
                      <a:lnTo>
                        <a:pt x="1074" y="324"/>
                      </a:lnTo>
                      <a:lnTo>
                        <a:pt x="1062" y="300"/>
                      </a:lnTo>
                      <a:lnTo>
                        <a:pt x="1056" y="294"/>
                      </a:lnTo>
                      <a:lnTo>
                        <a:pt x="1038" y="294"/>
                      </a:lnTo>
                      <a:lnTo>
                        <a:pt x="1032" y="300"/>
                      </a:lnTo>
                      <a:lnTo>
                        <a:pt x="1020" y="306"/>
                      </a:lnTo>
                      <a:lnTo>
                        <a:pt x="1020" y="384"/>
                      </a:lnTo>
                      <a:lnTo>
                        <a:pt x="1008" y="390"/>
                      </a:lnTo>
                      <a:lnTo>
                        <a:pt x="1002" y="402"/>
                      </a:lnTo>
                      <a:lnTo>
                        <a:pt x="990" y="408"/>
                      </a:lnTo>
                      <a:lnTo>
                        <a:pt x="984" y="414"/>
                      </a:lnTo>
                      <a:lnTo>
                        <a:pt x="978" y="414"/>
                      </a:lnTo>
                      <a:lnTo>
                        <a:pt x="966" y="426"/>
                      </a:lnTo>
                      <a:lnTo>
                        <a:pt x="954" y="450"/>
                      </a:lnTo>
                      <a:lnTo>
                        <a:pt x="948" y="456"/>
                      </a:lnTo>
                      <a:lnTo>
                        <a:pt x="948" y="450"/>
                      </a:lnTo>
                      <a:lnTo>
                        <a:pt x="942" y="444"/>
                      </a:lnTo>
                      <a:lnTo>
                        <a:pt x="930" y="444"/>
                      </a:lnTo>
                      <a:lnTo>
                        <a:pt x="924" y="450"/>
                      </a:lnTo>
                      <a:lnTo>
                        <a:pt x="924" y="468"/>
                      </a:lnTo>
                      <a:lnTo>
                        <a:pt x="912" y="450"/>
                      </a:lnTo>
                      <a:lnTo>
                        <a:pt x="852" y="450"/>
                      </a:lnTo>
                      <a:lnTo>
                        <a:pt x="834" y="444"/>
                      </a:lnTo>
                      <a:lnTo>
                        <a:pt x="822" y="438"/>
                      </a:lnTo>
                      <a:lnTo>
                        <a:pt x="816" y="432"/>
                      </a:lnTo>
                      <a:lnTo>
                        <a:pt x="804" y="426"/>
                      </a:lnTo>
                      <a:lnTo>
                        <a:pt x="798" y="426"/>
                      </a:lnTo>
                      <a:lnTo>
                        <a:pt x="786" y="432"/>
                      </a:lnTo>
                      <a:lnTo>
                        <a:pt x="762" y="432"/>
                      </a:lnTo>
                      <a:lnTo>
                        <a:pt x="756" y="426"/>
                      </a:lnTo>
                      <a:lnTo>
                        <a:pt x="756" y="414"/>
                      </a:lnTo>
                      <a:lnTo>
                        <a:pt x="762" y="402"/>
                      </a:lnTo>
                      <a:lnTo>
                        <a:pt x="768" y="396"/>
                      </a:lnTo>
                      <a:lnTo>
                        <a:pt x="774" y="384"/>
                      </a:lnTo>
                      <a:lnTo>
                        <a:pt x="780" y="378"/>
                      </a:lnTo>
                      <a:lnTo>
                        <a:pt x="780" y="342"/>
                      </a:lnTo>
                      <a:lnTo>
                        <a:pt x="798" y="342"/>
                      </a:lnTo>
                      <a:lnTo>
                        <a:pt x="804" y="336"/>
                      </a:lnTo>
                      <a:lnTo>
                        <a:pt x="804" y="330"/>
                      </a:lnTo>
                      <a:lnTo>
                        <a:pt x="798" y="318"/>
                      </a:lnTo>
                      <a:lnTo>
                        <a:pt x="792" y="312"/>
                      </a:lnTo>
                      <a:lnTo>
                        <a:pt x="798" y="300"/>
                      </a:lnTo>
                      <a:lnTo>
                        <a:pt x="804" y="294"/>
                      </a:lnTo>
                      <a:lnTo>
                        <a:pt x="804" y="282"/>
                      </a:lnTo>
                      <a:lnTo>
                        <a:pt x="810" y="276"/>
                      </a:lnTo>
                      <a:lnTo>
                        <a:pt x="804" y="270"/>
                      </a:lnTo>
                      <a:lnTo>
                        <a:pt x="792" y="264"/>
                      </a:lnTo>
                      <a:lnTo>
                        <a:pt x="774" y="258"/>
                      </a:lnTo>
                      <a:lnTo>
                        <a:pt x="762" y="252"/>
                      </a:lnTo>
                      <a:lnTo>
                        <a:pt x="750" y="252"/>
                      </a:lnTo>
                      <a:lnTo>
                        <a:pt x="744" y="246"/>
                      </a:lnTo>
                      <a:lnTo>
                        <a:pt x="708" y="228"/>
                      </a:lnTo>
                      <a:lnTo>
                        <a:pt x="690" y="216"/>
                      </a:lnTo>
                      <a:lnTo>
                        <a:pt x="678" y="210"/>
                      </a:lnTo>
                      <a:lnTo>
                        <a:pt x="672" y="204"/>
                      </a:lnTo>
                      <a:lnTo>
                        <a:pt x="666" y="204"/>
                      </a:lnTo>
                      <a:lnTo>
                        <a:pt x="660" y="198"/>
                      </a:lnTo>
                      <a:lnTo>
                        <a:pt x="648" y="192"/>
                      </a:lnTo>
                      <a:lnTo>
                        <a:pt x="642" y="186"/>
                      </a:lnTo>
                      <a:lnTo>
                        <a:pt x="630" y="180"/>
                      </a:lnTo>
                      <a:lnTo>
                        <a:pt x="600" y="180"/>
                      </a:lnTo>
                      <a:lnTo>
                        <a:pt x="564" y="162"/>
                      </a:lnTo>
                      <a:lnTo>
                        <a:pt x="558" y="156"/>
                      </a:lnTo>
                      <a:lnTo>
                        <a:pt x="552" y="156"/>
                      </a:lnTo>
                      <a:lnTo>
                        <a:pt x="546" y="138"/>
                      </a:lnTo>
                      <a:lnTo>
                        <a:pt x="534" y="132"/>
                      </a:lnTo>
                      <a:lnTo>
                        <a:pt x="516" y="114"/>
                      </a:lnTo>
                      <a:lnTo>
                        <a:pt x="492" y="102"/>
                      </a:lnTo>
                      <a:lnTo>
                        <a:pt x="486" y="96"/>
                      </a:lnTo>
                      <a:lnTo>
                        <a:pt x="480" y="84"/>
                      </a:lnTo>
                      <a:lnTo>
                        <a:pt x="468" y="78"/>
                      </a:lnTo>
                      <a:lnTo>
                        <a:pt x="462" y="66"/>
                      </a:lnTo>
                      <a:lnTo>
                        <a:pt x="456" y="60"/>
                      </a:lnTo>
                      <a:lnTo>
                        <a:pt x="456" y="54"/>
                      </a:lnTo>
                      <a:lnTo>
                        <a:pt x="438" y="36"/>
                      </a:lnTo>
                      <a:lnTo>
                        <a:pt x="402" y="12"/>
                      </a:lnTo>
                      <a:lnTo>
                        <a:pt x="330" y="18"/>
                      </a:lnTo>
                      <a:lnTo>
                        <a:pt x="318" y="72"/>
                      </a:lnTo>
                      <a:lnTo>
                        <a:pt x="288" y="24"/>
                      </a:lnTo>
                      <a:lnTo>
                        <a:pt x="234" y="24"/>
                      </a:lnTo>
                      <a:lnTo>
                        <a:pt x="216" y="18"/>
                      </a:lnTo>
                      <a:lnTo>
                        <a:pt x="204" y="18"/>
                      </a:lnTo>
                      <a:lnTo>
                        <a:pt x="180" y="6"/>
                      </a:lnTo>
                      <a:lnTo>
                        <a:pt x="174" y="0"/>
                      </a:lnTo>
                      <a:lnTo>
                        <a:pt x="162" y="24"/>
                      </a:lnTo>
                      <a:lnTo>
                        <a:pt x="138" y="30"/>
                      </a:lnTo>
                      <a:lnTo>
                        <a:pt x="138" y="48"/>
                      </a:lnTo>
                      <a:lnTo>
                        <a:pt x="126" y="48"/>
                      </a:lnTo>
                      <a:lnTo>
                        <a:pt x="126" y="78"/>
                      </a:lnTo>
                      <a:lnTo>
                        <a:pt x="114" y="78"/>
                      </a:lnTo>
                      <a:lnTo>
                        <a:pt x="126" y="96"/>
                      </a:lnTo>
                      <a:lnTo>
                        <a:pt x="114" y="180"/>
                      </a:lnTo>
                      <a:lnTo>
                        <a:pt x="108" y="180"/>
                      </a:lnTo>
                      <a:lnTo>
                        <a:pt x="102" y="186"/>
                      </a:lnTo>
                      <a:lnTo>
                        <a:pt x="90" y="192"/>
                      </a:lnTo>
                      <a:lnTo>
                        <a:pt x="72" y="198"/>
                      </a:lnTo>
                      <a:lnTo>
                        <a:pt x="60" y="210"/>
                      </a:lnTo>
                      <a:lnTo>
                        <a:pt x="48" y="216"/>
                      </a:lnTo>
                      <a:lnTo>
                        <a:pt x="42" y="228"/>
                      </a:lnTo>
                      <a:lnTo>
                        <a:pt x="36" y="234"/>
                      </a:lnTo>
                      <a:lnTo>
                        <a:pt x="36" y="240"/>
                      </a:lnTo>
                      <a:lnTo>
                        <a:pt x="42" y="246"/>
                      </a:lnTo>
                      <a:lnTo>
                        <a:pt x="54" y="252"/>
                      </a:lnTo>
                      <a:lnTo>
                        <a:pt x="66" y="252"/>
                      </a:lnTo>
                      <a:lnTo>
                        <a:pt x="66" y="258"/>
                      </a:lnTo>
                      <a:lnTo>
                        <a:pt x="42" y="282"/>
                      </a:lnTo>
                      <a:lnTo>
                        <a:pt x="42" y="300"/>
                      </a:lnTo>
                      <a:lnTo>
                        <a:pt x="48" y="306"/>
                      </a:lnTo>
                      <a:lnTo>
                        <a:pt x="60" y="312"/>
                      </a:lnTo>
                      <a:lnTo>
                        <a:pt x="72" y="324"/>
                      </a:lnTo>
                      <a:lnTo>
                        <a:pt x="78" y="336"/>
                      </a:lnTo>
                      <a:lnTo>
                        <a:pt x="72" y="342"/>
                      </a:lnTo>
                      <a:lnTo>
                        <a:pt x="66" y="354"/>
                      </a:lnTo>
                      <a:lnTo>
                        <a:pt x="54" y="366"/>
                      </a:lnTo>
                      <a:lnTo>
                        <a:pt x="48" y="366"/>
                      </a:lnTo>
                      <a:lnTo>
                        <a:pt x="54" y="366"/>
                      </a:lnTo>
                      <a:lnTo>
                        <a:pt x="60" y="372"/>
                      </a:lnTo>
                      <a:lnTo>
                        <a:pt x="84" y="384"/>
                      </a:lnTo>
                      <a:lnTo>
                        <a:pt x="90" y="396"/>
                      </a:lnTo>
                      <a:lnTo>
                        <a:pt x="90" y="408"/>
                      </a:lnTo>
                      <a:lnTo>
                        <a:pt x="78" y="414"/>
                      </a:lnTo>
                      <a:lnTo>
                        <a:pt x="72" y="420"/>
                      </a:lnTo>
                      <a:lnTo>
                        <a:pt x="54" y="420"/>
                      </a:lnTo>
                      <a:lnTo>
                        <a:pt x="54" y="432"/>
                      </a:lnTo>
                      <a:lnTo>
                        <a:pt x="48" y="450"/>
                      </a:lnTo>
                      <a:lnTo>
                        <a:pt x="48" y="462"/>
                      </a:lnTo>
                      <a:lnTo>
                        <a:pt x="42" y="474"/>
                      </a:lnTo>
                      <a:lnTo>
                        <a:pt x="42" y="486"/>
                      </a:lnTo>
                      <a:lnTo>
                        <a:pt x="30" y="498"/>
                      </a:lnTo>
                      <a:lnTo>
                        <a:pt x="24" y="510"/>
                      </a:lnTo>
                      <a:lnTo>
                        <a:pt x="18" y="516"/>
                      </a:lnTo>
                      <a:lnTo>
                        <a:pt x="18" y="582"/>
                      </a:lnTo>
                      <a:lnTo>
                        <a:pt x="6" y="594"/>
                      </a:lnTo>
                      <a:lnTo>
                        <a:pt x="6" y="606"/>
                      </a:lnTo>
                      <a:lnTo>
                        <a:pt x="18" y="630"/>
                      </a:lnTo>
                      <a:lnTo>
                        <a:pt x="30" y="666"/>
                      </a:lnTo>
                      <a:lnTo>
                        <a:pt x="36" y="678"/>
                      </a:lnTo>
                      <a:lnTo>
                        <a:pt x="36" y="684"/>
                      </a:lnTo>
                      <a:lnTo>
                        <a:pt x="12" y="684"/>
                      </a:lnTo>
                      <a:lnTo>
                        <a:pt x="18" y="738"/>
                      </a:lnTo>
                      <a:lnTo>
                        <a:pt x="6" y="744"/>
                      </a:lnTo>
                      <a:lnTo>
                        <a:pt x="0" y="744"/>
                      </a:lnTo>
                      <a:lnTo>
                        <a:pt x="0" y="768"/>
                      </a:lnTo>
                      <a:lnTo>
                        <a:pt x="6" y="774"/>
                      </a:lnTo>
                      <a:lnTo>
                        <a:pt x="6" y="780"/>
                      </a:lnTo>
                      <a:lnTo>
                        <a:pt x="18" y="786"/>
                      </a:lnTo>
                      <a:lnTo>
                        <a:pt x="36" y="804"/>
                      </a:lnTo>
                      <a:lnTo>
                        <a:pt x="36" y="816"/>
                      </a:lnTo>
                      <a:lnTo>
                        <a:pt x="30" y="822"/>
                      </a:lnTo>
                      <a:lnTo>
                        <a:pt x="30" y="828"/>
                      </a:lnTo>
                      <a:lnTo>
                        <a:pt x="48" y="846"/>
                      </a:lnTo>
                      <a:lnTo>
                        <a:pt x="60" y="876"/>
                      </a:lnTo>
                      <a:lnTo>
                        <a:pt x="66" y="888"/>
                      </a:lnTo>
                      <a:lnTo>
                        <a:pt x="60" y="894"/>
                      </a:lnTo>
                      <a:lnTo>
                        <a:pt x="60" y="906"/>
                      </a:lnTo>
                      <a:lnTo>
                        <a:pt x="72" y="918"/>
                      </a:lnTo>
                      <a:lnTo>
                        <a:pt x="96" y="918"/>
                      </a:lnTo>
                      <a:lnTo>
                        <a:pt x="102" y="960"/>
                      </a:lnTo>
                      <a:lnTo>
                        <a:pt x="108" y="972"/>
                      </a:lnTo>
                      <a:lnTo>
                        <a:pt x="114" y="978"/>
                      </a:lnTo>
                      <a:lnTo>
                        <a:pt x="120" y="990"/>
                      </a:lnTo>
                      <a:lnTo>
                        <a:pt x="120" y="996"/>
                      </a:lnTo>
                      <a:lnTo>
                        <a:pt x="102" y="1014"/>
                      </a:lnTo>
                      <a:lnTo>
                        <a:pt x="102" y="1038"/>
                      </a:lnTo>
                      <a:lnTo>
                        <a:pt x="96" y="1056"/>
                      </a:lnTo>
                      <a:lnTo>
                        <a:pt x="96" y="1086"/>
                      </a:lnTo>
                      <a:lnTo>
                        <a:pt x="84" y="1086"/>
                      </a:lnTo>
                      <a:lnTo>
                        <a:pt x="90" y="1092"/>
                      </a:lnTo>
                      <a:lnTo>
                        <a:pt x="96" y="1104"/>
                      </a:lnTo>
                      <a:lnTo>
                        <a:pt x="102" y="1110"/>
                      </a:lnTo>
                      <a:lnTo>
                        <a:pt x="108" y="1122"/>
                      </a:lnTo>
                      <a:lnTo>
                        <a:pt x="114" y="1128"/>
                      </a:lnTo>
                      <a:lnTo>
                        <a:pt x="114" y="1140"/>
                      </a:lnTo>
                      <a:lnTo>
                        <a:pt x="108" y="1152"/>
                      </a:lnTo>
                      <a:lnTo>
                        <a:pt x="108" y="1158"/>
                      </a:lnTo>
                      <a:lnTo>
                        <a:pt x="102" y="1176"/>
                      </a:lnTo>
                      <a:lnTo>
                        <a:pt x="78" y="1182"/>
                      </a:lnTo>
                      <a:lnTo>
                        <a:pt x="78" y="1188"/>
                      </a:lnTo>
                      <a:lnTo>
                        <a:pt x="84" y="1194"/>
                      </a:lnTo>
                      <a:lnTo>
                        <a:pt x="84" y="1206"/>
                      </a:lnTo>
                      <a:lnTo>
                        <a:pt x="90" y="1224"/>
                      </a:lnTo>
                      <a:lnTo>
                        <a:pt x="96" y="1236"/>
                      </a:lnTo>
                      <a:lnTo>
                        <a:pt x="96" y="1284"/>
                      </a:lnTo>
                      <a:lnTo>
                        <a:pt x="126" y="1308"/>
                      </a:lnTo>
                      <a:lnTo>
                        <a:pt x="126" y="1326"/>
                      </a:lnTo>
                      <a:lnTo>
                        <a:pt x="132" y="1326"/>
                      </a:lnTo>
                      <a:lnTo>
                        <a:pt x="150" y="1344"/>
                      </a:lnTo>
                      <a:lnTo>
                        <a:pt x="150" y="1350"/>
                      </a:lnTo>
                      <a:lnTo>
                        <a:pt x="144" y="1362"/>
                      </a:lnTo>
                      <a:lnTo>
                        <a:pt x="132" y="1368"/>
                      </a:lnTo>
                      <a:lnTo>
                        <a:pt x="126" y="1374"/>
                      </a:lnTo>
                      <a:lnTo>
                        <a:pt x="120" y="1374"/>
                      </a:lnTo>
                      <a:lnTo>
                        <a:pt x="132" y="1416"/>
                      </a:lnTo>
                      <a:lnTo>
                        <a:pt x="114" y="1428"/>
                      </a:lnTo>
                      <a:lnTo>
                        <a:pt x="132" y="1446"/>
                      </a:lnTo>
                      <a:lnTo>
                        <a:pt x="132" y="1452"/>
                      </a:lnTo>
                      <a:lnTo>
                        <a:pt x="126" y="1464"/>
                      </a:lnTo>
                      <a:lnTo>
                        <a:pt x="126" y="1470"/>
                      </a:lnTo>
                      <a:lnTo>
                        <a:pt x="144" y="1482"/>
                      </a:lnTo>
                      <a:lnTo>
                        <a:pt x="144" y="1494"/>
                      </a:lnTo>
                      <a:lnTo>
                        <a:pt x="138" y="1500"/>
                      </a:lnTo>
                      <a:lnTo>
                        <a:pt x="138" y="1530"/>
                      </a:lnTo>
                      <a:lnTo>
                        <a:pt x="144" y="1536"/>
                      </a:lnTo>
                      <a:lnTo>
                        <a:pt x="150" y="1548"/>
                      </a:lnTo>
                      <a:lnTo>
                        <a:pt x="150" y="1572"/>
                      </a:lnTo>
                      <a:lnTo>
                        <a:pt x="156" y="1584"/>
                      </a:lnTo>
                      <a:lnTo>
                        <a:pt x="174" y="1602"/>
                      </a:lnTo>
                      <a:lnTo>
                        <a:pt x="186" y="1608"/>
                      </a:lnTo>
                      <a:lnTo>
                        <a:pt x="198" y="1620"/>
                      </a:lnTo>
                      <a:lnTo>
                        <a:pt x="192" y="1620"/>
                      </a:lnTo>
                      <a:lnTo>
                        <a:pt x="180" y="1626"/>
                      </a:lnTo>
                      <a:lnTo>
                        <a:pt x="174" y="1632"/>
                      </a:lnTo>
                      <a:lnTo>
                        <a:pt x="174" y="1644"/>
                      </a:lnTo>
                      <a:lnTo>
                        <a:pt x="180" y="1656"/>
                      </a:lnTo>
                      <a:lnTo>
                        <a:pt x="180" y="1674"/>
                      </a:lnTo>
                      <a:lnTo>
                        <a:pt x="186" y="1686"/>
                      </a:lnTo>
                      <a:lnTo>
                        <a:pt x="186" y="1698"/>
                      </a:lnTo>
                      <a:lnTo>
                        <a:pt x="192" y="1704"/>
                      </a:lnTo>
                      <a:lnTo>
                        <a:pt x="216" y="1716"/>
                      </a:lnTo>
                      <a:lnTo>
                        <a:pt x="210" y="1746"/>
                      </a:lnTo>
                      <a:lnTo>
                        <a:pt x="216" y="1746"/>
                      </a:lnTo>
                      <a:lnTo>
                        <a:pt x="228" y="1752"/>
                      </a:lnTo>
                      <a:lnTo>
                        <a:pt x="234" y="1758"/>
                      </a:lnTo>
                      <a:lnTo>
                        <a:pt x="234" y="1764"/>
                      </a:lnTo>
                      <a:lnTo>
                        <a:pt x="240" y="1776"/>
                      </a:lnTo>
                      <a:lnTo>
                        <a:pt x="240" y="1806"/>
                      </a:lnTo>
                      <a:lnTo>
                        <a:pt x="252" y="1818"/>
                      </a:lnTo>
                      <a:lnTo>
                        <a:pt x="282" y="1818"/>
                      </a:lnTo>
                      <a:lnTo>
                        <a:pt x="294" y="1824"/>
                      </a:lnTo>
                      <a:lnTo>
                        <a:pt x="294" y="1830"/>
                      </a:lnTo>
                      <a:lnTo>
                        <a:pt x="288" y="1836"/>
                      </a:lnTo>
                      <a:lnTo>
                        <a:pt x="276" y="1836"/>
                      </a:lnTo>
                      <a:lnTo>
                        <a:pt x="264" y="1842"/>
                      </a:lnTo>
                      <a:lnTo>
                        <a:pt x="246" y="1842"/>
                      </a:lnTo>
                      <a:lnTo>
                        <a:pt x="252" y="1848"/>
                      </a:lnTo>
                      <a:lnTo>
                        <a:pt x="258" y="1848"/>
                      </a:lnTo>
                      <a:lnTo>
                        <a:pt x="270" y="1854"/>
                      </a:lnTo>
                      <a:lnTo>
                        <a:pt x="276" y="1860"/>
                      </a:lnTo>
                      <a:lnTo>
                        <a:pt x="288" y="1860"/>
                      </a:lnTo>
                      <a:lnTo>
                        <a:pt x="312" y="1884"/>
                      </a:lnTo>
                      <a:lnTo>
                        <a:pt x="306" y="1890"/>
                      </a:lnTo>
                      <a:lnTo>
                        <a:pt x="300" y="1902"/>
                      </a:lnTo>
                      <a:lnTo>
                        <a:pt x="288" y="1914"/>
                      </a:lnTo>
                      <a:lnTo>
                        <a:pt x="312" y="1932"/>
                      </a:lnTo>
                      <a:lnTo>
                        <a:pt x="306" y="1956"/>
                      </a:lnTo>
                      <a:lnTo>
                        <a:pt x="330" y="1980"/>
                      </a:lnTo>
                      <a:lnTo>
                        <a:pt x="324" y="2016"/>
                      </a:lnTo>
                      <a:lnTo>
                        <a:pt x="336" y="2040"/>
                      </a:lnTo>
                      <a:lnTo>
                        <a:pt x="324" y="2046"/>
                      </a:lnTo>
                      <a:lnTo>
                        <a:pt x="318" y="2088"/>
                      </a:lnTo>
                      <a:lnTo>
                        <a:pt x="324" y="2088"/>
                      </a:lnTo>
                      <a:lnTo>
                        <a:pt x="348" y="2112"/>
                      </a:lnTo>
                      <a:lnTo>
                        <a:pt x="348" y="2118"/>
                      </a:lnTo>
                      <a:lnTo>
                        <a:pt x="342" y="2118"/>
                      </a:lnTo>
                      <a:lnTo>
                        <a:pt x="330" y="2124"/>
                      </a:lnTo>
                      <a:lnTo>
                        <a:pt x="324" y="2130"/>
                      </a:lnTo>
                      <a:lnTo>
                        <a:pt x="348" y="2154"/>
                      </a:lnTo>
                      <a:lnTo>
                        <a:pt x="348" y="2160"/>
                      </a:lnTo>
                      <a:lnTo>
                        <a:pt x="342" y="2166"/>
                      </a:lnTo>
                      <a:lnTo>
                        <a:pt x="336" y="2166"/>
                      </a:lnTo>
                      <a:lnTo>
                        <a:pt x="330" y="2172"/>
                      </a:lnTo>
                      <a:lnTo>
                        <a:pt x="324" y="2172"/>
                      </a:lnTo>
                      <a:lnTo>
                        <a:pt x="324" y="2196"/>
                      </a:lnTo>
                      <a:lnTo>
                        <a:pt x="312" y="2202"/>
                      </a:lnTo>
                      <a:lnTo>
                        <a:pt x="312" y="2214"/>
                      </a:lnTo>
                      <a:lnTo>
                        <a:pt x="318" y="2226"/>
                      </a:lnTo>
                      <a:lnTo>
                        <a:pt x="324" y="2232"/>
                      </a:lnTo>
                      <a:lnTo>
                        <a:pt x="324" y="2268"/>
                      </a:lnTo>
                      <a:lnTo>
                        <a:pt x="354" y="2274"/>
                      </a:lnTo>
                      <a:lnTo>
                        <a:pt x="354" y="2280"/>
                      </a:lnTo>
                      <a:lnTo>
                        <a:pt x="360" y="2286"/>
                      </a:lnTo>
                      <a:lnTo>
                        <a:pt x="360" y="2298"/>
                      </a:lnTo>
                      <a:lnTo>
                        <a:pt x="366" y="2304"/>
                      </a:lnTo>
                      <a:lnTo>
                        <a:pt x="378" y="2310"/>
                      </a:lnTo>
                      <a:lnTo>
                        <a:pt x="384" y="2310"/>
                      </a:lnTo>
                      <a:lnTo>
                        <a:pt x="396" y="2298"/>
                      </a:lnTo>
                      <a:lnTo>
                        <a:pt x="414" y="2298"/>
                      </a:lnTo>
                      <a:lnTo>
                        <a:pt x="426" y="2304"/>
                      </a:lnTo>
                      <a:lnTo>
                        <a:pt x="438" y="2316"/>
                      </a:lnTo>
                      <a:lnTo>
                        <a:pt x="438" y="2340"/>
                      </a:lnTo>
                      <a:lnTo>
                        <a:pt x="456" y="2364"/>
                      </a:lnTo>
                      <a:lnTo>
                        <a:pt x="468" y="2382"/>
                      </a:lnTo>
                      <a:lnTo>
                        <a:pt x="504" y="2400"/>
                      </a:lnTo>
                      <a:lnTo>
                        <a:pt x="522" y="2418"/>
                      </a:lnTo>
                      <a:lnTo>
                        <a:pt x="534" y="2418"/>
                      </a:lnTo>
                      <a:lnTo>
                        <a:pt x="546" y="2412"/>
                      </a:lnTo>
                      <a:lnTo>
                        <a:pt x="642" y="2412"/>
                      </a:lnTo>
                      <a:lnTo>
                        <a:pt x="666" y="2430"/>
                      </a:lnTo>
                      <a:lnTo>
                        <a:pt x="660" y="2442"/>
                      </a:lnTo>
                      <a:lnTo>
                        <a:pt x="666" y="2424"/>
                      </a:lnTo>
                      <a:lnTo>
                        <a:pt x="672" y="2418"/>
                      </a:lnTo>
                      <a:lnTo>
                        <a:pt x="684" y="2418"/>
                      </a:lnTo>
                      <a:lnTo>
                        <a:pt x="690" y="2424"/>
                      </a:lnTo>
                      <a:lnTo>
                        <a:pt x="702" y="2424"/>
                      </a:lnTo>
                      <a:lnTo>
                        <a:pt x="714" y="2430"/>
                      </a:lnTo>
                      <a:lnTo>
                        <a:pt x="720" y="2436"/>
                      </a:lnTo>
                      <a:lnTo>
                        <a:pt x="678" y="2382"/>
                      </a:lnTo>
                      <a:lnTo>
                        <a:pt x="660" y="2382"/>
                      </a:lnTo>
                      <a:lnTo>
                        <a:pt x="666" y="2370"/>
                      </a:lnTo>
                      <a:lnTo>
                        <a:pt x="630" y="2340"/>
                      </a:lnTo>
                      <a:lnTo>
                        <a:pt x="630" y="2310"/>
                      </a:lnTo>
                      <a:lnTo>
                        <a:pt x="618" y="2298"/>
                      </a:lnTo>
                      <a:lnTo>
                        <a:pt x="624" y="2286"/>
                      </a:lnTo>
                      <a:lnTo>
                        <a:pt x="630" y="2286"/>
                      </a:lnTo>
                      <a:lnTo>
                        <a:pt x="642" y="2274"/>
                      </a:lnTo>
                      <a:lnTo>
                        <a:pt x="642" y="2268"/>
                      </a:lnTo>
                      <a:lnTo>
                        <a:pt x="636" y="2268"/>
                      </a:lnTo>
                      <a:lnTo>
                        <a:pt x="624" y="2262"/>
                      </a:lnTo>
                      <a:lnTo>
                        <a:pt x="606" y="2262"/>
                      </a:lnTo>
                      <a:lnTo>
                        <a:pt x="618" y="2250"/>
                      </a:lnTo>
                      <a:lnTo>
                        <a:pt x="618" y="2232"/>
                      </a:lnTo>
                      <a:lnTo>
                        <a:pt x="636" y="2256"/>
                      </a:lnTo>
                      <a:lnTo>
                        <a:pt x="648" y="2262"/>
                      </a:lnTo>
                      <a:lnTo>
                        <a:pt x="666" y="2262"/>
                      </a:lnTo>
                      <a:lnTo>
                        <a:pt x="672" y="2256"/>
                      </a:lnTo>
                      <a:lnTo>
                        <a:pt x="678" y="2244"/>
                      </a:lnTo>
                      <a:lnTo>
                        <a:pt x="678" y="2226"/>
                      </a:lnTo>
                      <a:lnTo>
                        <a:pt x="672" y="2208"/>
                      </a:lnTo>
                      <a:lnTo>
                        <a:pt x="666" y="2196"/>
                      </a:lnTo>
                      <a:lnTo>
                        <a:pt x="666" y="2178"/>
                      </a:lnTo>
                      <a:lnTo>
                        <a:pt x="678" y="2154"/>
                      </a:lnTo>
                      <a:lnTo>
                        <a:pt x="690" y="2142"/>
                      </a:lnTo>
                      <a:lnTo>
                        <a:pt x="708" y="2130"/>
                      </a:lnTo>
                      <a:lnTo>
                        <a:pt x="738" y="2100"/>
                      </a:lnTo>
                      <a:lnTo>
                        <a:pt x="726" y="2088"/>
                      </a:lnTo>
                      <a:lnTo>
                        <a:pt x="702" y="2088"/>
                      </a:lnTo>
                      <a:lnTo>
                        <a:pt x="726" y="2082"/>
                      </a:lnTo>
                      <a:lnTo>
                        <a:pt x="726" y="2064"/>
                      </a:lnTo>
                      <a:lnTo>
                        <a:pt x="714" y="2040"/>
                      </a:lnTo>
                      <a:lnTo>
                        <a:pt x="708" y="2034"/>
                      </a:lnTo>
                      <a:lnTo>
                        <a:pt x="696" y="2028"/>
                      </a:lnTo>
                      <a:lnTo>
                        <a:pt x="690" y="2028"/>
                      </a:lnTo>
                      <a:lnTo>
                        <a:pt x="684" y="2034"/>
                      </a:lnTo>
                      <a:lnTo>
                        <a:pt x="672" y="2016"/>
                      </a:lnTo>
                      <a:lnTo>
                        <a:pt x="642" y="2016"/>
                      </a:lnTo>
                      <a:lnTo>
                        <a:pt x="636" y="2010"/>
                      </a:lnTo>
                      <a:lnTo>
                        <a:pt x="624" y="2004"/>
                      </a:lnTo>
                      <a:lnTo>
                        <a:pt x="606" y="1992"/>
                      </a:lnTo>
                      <a:lnTo>
                        <a:pt x="582" y="1968"/>
                      </a:lnTo>
                      <a:lnTo>
                        <a:pt x="570" y="1950"/>
                      </a:lnTo>
                      <a:lnTo>
                        <a:pt x="564" y="1938"/>
                      </a:lnTo>
                      <a:lnTo>
                        <a:pt x="564" y="1926"/>
                      </a:lnTo>
                      <a:lnTo>
                        <a:pt x="570" y="1914"/>
                      </a:lnTo>
                      <a:lnTo>
                        <a:pt x="570" y="1908"/>
                      </a:lnTo>
                      <a:lnTo>
                        <a:pt x="576" y="1908"/>
                      </a:lnTo>
                      <a:lnTo>
                        <a:pt x="582" y="1902"/>
                      </a:lnTo>
                      <a:lnTo>
                        <a:pt x="594" y="1878"/>
                      </a:lnTo>
                      <a:lnTo>
                        <a:pt x="606" y="1878"/>
                      </a:lnTo>
                      <a:lnTo>
                        <a:pt x="612" y="1860"/>
                      </a:lnTo>
                      <a:lnTo>
                        <a:pt x="666" y="1860"/>
                      </a:lnTo>
                      <a:lnTo>
                        <a:pt x="654" y="1848"/>
                      </a:lnTo>
                      <a:lnTo>
                        <a:pt x="654" y="1824"/>
                      </a:lnTo>
                      <a:lnTo>
                        <a:pt x="666" y="1824"/>
                      </a:lnTo>
                      <a:lnTo>
                        <a:pt x="666" y="1794"/>
                      </a:lnTo>
                      <a:lnTo>
                        <a:pt x="660" y="1788"/>
                      </a:lnTo>
                      <a:lnTo>
                        <a:pt x="654" y="1776"/>
                      </a:lnTo>
                      <a:lnTo>
                        <a:pt x="642" y="1764"/>
                      </a:lnTo>
                      <a:lnTo>
                        <a:pt x="642" y="1746"/>
                      </a:lnTo>
                      <a:lnTo>
                        <a:pt x="648" y="1728"/>
                      </a:lnTo>
                      <a:lnTo>
                        <a:pt x="654" y="1716"/>
                      </a:lnTo>
                      <a:lnTo>
                        <a:pt x="666" y="1710"/>
                      </a:lnTo>
                      <a:lnTo>
                        <a:pt x="672" y="1704"/>
                      </a:lnTo>
                      <a:lnTo>
                        <a:pt x="684" y="1704"/>
                      </a:lnTo>
                      <a:lnTo>
                        <a:pt x="684" y="1692"/>
                      </a:lnTo>
                      <a:lnTo>
                        <a:pt x="660" y="1692"/>
                      </a:lnTo>
                      <a:lnTo>
                        <a:pt x="648" y="1686"/>
                      </a:lnTo>
                      <a:lnTo>
                        <a:pt x="642" y="1680"/>
                      </a:lnTo>
                      <a:lnTo>
                        <a:pt x="642" y="1674"/>
                      </a:lnTo>
                      <a:lnTo>
                        <a:pt x="654" y="1668"/>
                      </a:lnTo>
                      <a:lnTo>
                        <a:pt x="666" y="1668"/>
                      </a:lnTo>
                      <a:lnTo>
                        <a:pt x="702" y="1686"/>
                      </a:lnTo>
                      <a:lnTo>
                        <a:pt x="708" y="1692"/>
                      </a:lnTo>
                      <a:lnTo>
                        <a:pt x="714" y="1692"/>
                      </a:lnTo>
                      <a:lnTo>
                        <a:pt x="720" y="1686"/>
                      </a:lnTo>
                      <a:lnTo>
                        <a:pt x="732" y="1680"/>
                      </a:lnTo>
                      <a:lnTo>
                        <a:pt x="732" y="1656"/>
                      </a:lnTo>
                      <a:lnTo>
                        <a:pt x="726" y="1644"/>
                      </a:lnTo>
                      <a:lnTo>
                        <a:pt x="708" y="1626"/>
                      </a:lnTo>
                      <a:lnTo>
                        <a:pt x="696" y="1626"/>
                      </a:lnTo>
                      <a:lnTo>
                        <a:pt x="690" y="1632"/>
                      </a:lnTo>
                      <a:lnTo>
                        <a:pt x="690" y="1650"/>
                      </a:lnTo>
                      <a:lnTo>
                        <a:pt x="684" y="1656"/>
                      </a:lnTo>
                      <a:lnTo>
                        <a:pt x="666" y="1656"/>
                      </a:lnTo>
                      <a:lnTo>
                        <a:pt x="654" y="1650"/>
                      </a:lnTo>
                      <a:lnTo>
                        <a:pt x="648" y="1644"/>
                      </a:lnTo>
                      <a:lnTo>
                        <a:pt x="648" y="1638"/>
                      </a:lnTo>
                      <a:lnTo>
                        <a:pt x="612" y="1638"/>
                      </a:lnTo>
                      <a:lnTo>
                        <a:pt x="606" y="1632"/>
                      </a:lnTo>
                      <a:lnTo>
                        <a:pt x="606" y="1572"/>
                      </a:lnTo>
                      <a:lnTo>
                        <a:pt x="600" y="1566"/>
                      </a:lnTo>
                      <a:lnTo>
                        <a:pt x="594" y="1554"/>
                      </a:lnTo>
                      <a:lnTo>
                        <a:pt x="588" y="1536"/>
                      </a:lnTo>
                      <a:lnTo>
                        <a:pt x="588" y="1524"/>
                      </a:lnTo>
                      <a:lnTo>
                        <a:pt x="594" y="1518"/>
                      </a:lnTo>
                      <a:lnTo>
                        <a:pt x="600" y="1518"/>
                      </a:lnTo>
                      <a:lnTo>
                        <a:pt x="606" y="1524"/>
                      </a:lnTo>
                      <a:lnTo>
                        <a:pt x="618" y="1524"/>
                      </a:lnTo>
                      <a:lnTo>
                        <a:pt x="624" y="1530"/>
                      </a:lnTo>
                      <a:lnTo>
                        <a:pt x="636" y="1536"/>
                      </a:lnTo>
                      <a:lnTo>
                        <a:pt x="672" y="1548"/>
                      </a:lnTo>
                      <a:lnTo>
                        <a:pt x="690" y="1560"/>
                      </a:lnTo>
                      <a:lnTo>
                        <a:pt x="708" y="1560"/>
                      </a:lnTo>
                      <a:lnTo>
                        <a:pt x="726" y="1554"/>
                      </a:lnTo>
                      <a:lnTo>
                        <a:pt x="738" y="1542"/>
                      </a:lnTo>
                      <a:lnTo>
                        <a:pt x="750" y="1536"/>
                      </a:lnTo>
                      <a:lnTo>
                        <a:pt x="768" y="1530"/>
                      </a:lnTo>
                      <a:lnTo>
                        <a:pt x="774" y="1524"/>
                      </a:lnTo>
                      <a:lnTo>
                        <a:pt x="774" y="1512"/>
                      </a:lnTo>
                      <a:lnTo>
                        <a:pt x="762" y="1506"/>
                      </a:lnTo>
                      <a:lnTo>
                        <a:pt x="750" y="1494"/>
                      </a:lnTo>
                      <a:lnTo>
                        <a:pt x="738" y="1488"/>
                      </a:lnTo>
                      <a:lnTo>
                        <a:pt x="738" y="1464"/>
                      </a:lnTo>
                      <a:lnTo>
                        <a:pt x="744" y="1452"/>
                      </a:lnTo>
                      <a:lnTo>
                        <a:pt x="750" y="1446"/>
                      </a:lnTo>
                      <a:lnTo>
                        <a:pt x="750" y="1434"/>
                      </a:lnTo>
                      <a:lnTo>
                        <a:pt x="756" y="1422"/>
                      </a:lnTo>
                      <a:lnTo>
                        <a:pt x="744" y="1410"/>
                      </a:lnTo>
                      <a:lnTo>
                        <a:pt x="726" y="1410"/>
                      </a:lnTo>
                      <a:lnTo>
                        <a:pt x="720" y="1386"/>
                      </a:lnTo>
                      <a:lnTo>
                        <a:pt x="714" y="1380"/>
                      </a:lnTo>
                      <a:lnTo>
                        <a:pt x="714" y="1368"/>
                      </a:lnTo>
                      <a:lnTo>
                        <a:pt x="720" y="1362"/>
                      </a:lnTo>
                      <a:lnTo>
                        <a:pt x="726" y="1362"/>
                      </a:lnTo>
                      <a:lnTo>
                        <a:pt x="732" y="1374"/>
                      </a:lnTo>
                      <a:lnTo>
                        <a:pt x="738" y="1380"/>
                      </a:lnTo>
                      <a:lnTo>
                        <a:pt x="738" y="1386"/>
                      </a:lnTo>
                      <a:lnTo>
                        <a:pt x="744" y="1398"/>
                      </a:lnTo>
                      <a:lnTo>
                        <a:pt x="756" y="1398"/>
                      </a:lnTo>
                      <a:lnTo>
                        <a:pt x="750" y="1380"/>
                      </a:lnTo>
                      <a:lnTo>
                        <a:pt x="828" y="1386"/>
                      </a:lnTo>
                      <a:lnTo>
                        <a:pt x="834" y="1380"/>
                      </a:lnTo>
                      <a:lnTo>
                        <a:pt x="840" y="1380"/>
                      </a:lnTo>
                      <a:lnTo>
                        <a:pt x="846" y="1374"/>
                      </a:lnTo>
                      <a:lnTo>
                        <a:pt x="864" y="1368"/>
                      </a:lnTo>
                      <a:lnTo>
                        <a:pt x="894" y="1362"/>
                      </a:lnTo>
                      <a:lnTo>
                        <a:pt x="930" y="1350"/>
                      </a:lnTo>
                      <a:lnTo>
                        <a:pt x="972" y="1338"/>
                      </a:lnTo>
                      <a:lnTo>
                        <a:pt x="1002" y="1326"/>
                      </a:lnTo>
                      <a:lnTo>
                        <a:pt x="1014" y="1320"/>
                      </a:lnTo>
                      <a:lnTo>
                        <a:pt x="1014" y="1284"/>
                      </a:lnTo>
                      <a:lnTo>
                        <a:pt x="1032" y="1272"/>
                      </a:lnTo>
                      <a:lnTo>
                        <a:pt x="1044" y="1218"/>
                      </a:lnTo>
                      <a:lnTo>
                        <a:pt x="1038" y="1194"/>
                      </a:lnTo>
                      <a:lnTo>
                        <a:pt x="1038" y="1170"/>
                      </a:lnTo>
                      <a:lnTo>
                        <a:pt x="1032" y="1170"/>
                      </a:lnTo>
                      <a:lnTo>
                        <a:pt x="1026" y="1164"/>
                      </a:lnTo>
                      <a:lnTo>
                        <a:pt x="1002" y="1152"/>
                      </a:lnTo>
                      <a:lnTo>
                        <a:pt x="990" y="1152"/>
                      </a:lnTo>
                      <a:lnTo>
                        <a:pt x="984" y="1146"/>
                      </a:lnTo>
                      <a:lnTo>
                        <a:pt x="978" y="1146"/>
                      </a:lnTo>
                      <a:lnTo>
                        <a:pt x="972" y="1140"/>
                      </a:lnTo>
                      <a:lnTo>
                        <a:pt x="990" y="1122"/>
                      </a:lnTo>
                      <a:lnTo>
                        <a:pt x="990" y="1092"/>
                      </a:lnTo>
                      <a:lnTo>
                        <a:pt x="984" y="1080"/>
                      </a:lnTo>
                      <a:lnTo>
                        <a:pt x="978" y="1074"/>
                      </a:lnTo>
                      <a:lnTo>
                        <a:pt x="954" y="1062"/>
                      </a:lnTo>
                      <a:lnTo>
                        <a:pt x="918" y="1050"/>
                      </a:lnTo>
                      <a:lnTo>
                        <a:pt x="906" y="1044"/>
                      </a:lnTo>
                      <a:lnTo>
                        <a:pt x="888" y="1032"/>
                      </a:lnTo>
                      <a:lnTo>
                        <a:pt x="876" y="1020"/>
                      </a:lnTo>
                      <a:lnTo>
                        <a:pt x="876" y="1002"/>
                      </a:lnTo>
                      <a:lnTo>
                        <a:pt x="882" y="990"/>
                      </a:lnTo>
                      <a:lnTo>
                        <a:pt x="888" y="990"/>
                      </a:lnTo>
                      <a:lnTo>
                        <a:pt x="888" y="984"/>
                      </a:lnTo>
                      <a:lnTo>
                        <a:pt x="858" y="948"/>
                      </a:lnTo>
                      <a:lnTo>
                        <a:pt x="858" y="900"/>
                      </a:lnTo>
                      <a:lnTo>
                        <a:pt x="882" y="900"/>
                      </a:lnTo>
                      <a:lnTo>
                        <a:pt x="888" y="894"/>
                      </a:lnTo>
                      <a:lnTo>
                        <a:pt x="894" y="894"/>
                      </a:lnTo>
                      <a:lnTo>
                        <a:pt x="894" y="888"/>
                      </a:lnTo>
                      <a:lnTo>
                        <a:pt x="888" y="876"/>
                      </a:lnTo>
                      <a:lnTo>
                        <a:pt x="876" y="870"/>
                      </a:lnTo>
                      <a:lnTo>
                        <a:pt x="870" y="858"/>
                      </a:lnTo>
                      <a:lnTo>
                        <a:pt x="864" y="852"/>
                      </a:lnTo>
                      <a:lnTo>
                        <a:pt x="876" y="834"/>
                      </a:lnTo>
                      <a:lnTo>
                        <a:pt x="864" y="822"/>
                      </a:lnTo>
                      <a:lnTo>
                        <a:pt x="858" y="810"/>
                      </a:lnTo>
                      <a:lnTo>
                        <a:pt x="852" y="804"/>
                      </a:lnTo>
                      <a:lnTo>
                        <a:pt x="864" y="792"/>
                      </a:lnTo>
                      <a:lnTo>
                        <a:pt x="882" y="792"/>
                      </a:lnTo>
                      <a:lnTo>
                        <a:pt x="858" y="774"/>
                      </a:lnTo>
                      <a:lnTo>
                        <a:pt x="858" y="738"/>
                      </a:lnTo>
                      <a:lnTo>
                        <a:pt x="882" y="726"/>
                      </a:lnTo>
                      <a:lnTo>
                        <a:pt x="876" y="726"/>
                      </a:lnTo>
                      <a:lnTo>
                        <a:pt x="852" y="702"/>
                      </a:lnTo>
                      <a:lnTo>
                        <a:pt x="852" y="696"/>
                      </a:lnTo>
                      <a:lnTo>
                        <a:pt x="870" y="678"/>
                      </a:lnTo>
                      <a:lnTo>
                        <a:pt x="870" y="666"/>
                      </a:lnTo>
                      <a:lnTo>
                        <a:pt x="876" y="654"/>
                      </a:lnTo>
                      <a:lnTo>
                        <a:pt x="876" y="642"/>
                      </a:lnTo>
                      <a:lnTo>
                        <a:pt x="882" y="636"/>
                      </a:lnTo>
                      <a:lnTo>
                        <a:pt x="900" y="636"/>
                      </a:lnTo>
                      <a:lnTo>
                        <a:pt x="906" y="630"/>
                      </a:lnTo>
                      <a:lnTo>
                        <a:pt x="912" y="618"/>
                      </a:lnTo>
                      <a:lnTo>
                        <a:pt x="918" y="612"/>
                      </a:lnTo>
                      <a:lnTo>
                        <a:pt x="918" y="588"/>
                      </a:lnTo>
                      <a:lnTo>
                        <a:pt x="930" y="588"/>
                      </a:lnTo>
                      <a:lnTo>
                        <a:pt x="948" y="570"/>
                      </a:lnTo>
                      <a:lnTo>
                        <a:pt x="948" y="558"/>
                      </a:lnTo>
                      <a:lnTo>
                        <a:pt x="954" y="546"/>
                      </a:lnTo>
                      <a:lnTo>
                        <a:pt x="954" y="534"/>
                      </a:lnTo>
                      <a:close/>
                      <a:moveTo>
                        <a:pt x="930" y="1020"/>
                      </a:moveTo>
                      <a:lnTo>
                        <a:pt x="942" y="1020"/>
                      </a:lnTo>
                      <a:lnTo>
                        <a:pt x="930" y="1014"/>
                      </a:lnTo>
                      <a:lnTo>
                        <a:pt x="930" y="1020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314" name="USA" descr="© INSCALE GmbH, 05.05.2010&#10;http://www.presentationload.com/"/>
                <p:cNvSpPr>
                  <a:spLocks noEditPoints="1"/>
                </p:cNvSpPr>
                <p:nvPr/>
              </p:nvSpPr>
              <p:spPr bwMode="gray">
                <a:xfrm>
                  <a:off x="952499" y="2479677"/>
                  <a:ext cx="1576391" cy="782638"/>
                </a:xfrm>
                <a:custGeom>
                  <a:avLst/>
                  <a:gdLst>
                    <a:gd name="T0" fmla="*/ 2147483647 w 3918"/>
                    <a:gd name="T1" fmla="*/ 2147483647 h 1944"/>
                    <a:gd name="T2" fmla="*/ 2147483647 w 3918"/>
                    <a:gd name="T3" fmla="*/ 2147483647 h 1944"/>
                    <a:gd name="T4" fmla="*/ 2147483647 w 3918"/>
                    <a:gd name="T5" fmla="*/ 2147483647 h 1944"/>
                    <a:gd name="T6" fmla="*/ 2147483647 w 3918"/>
                    <a:gd name="T7" fmla="*/ 2147483647 h 1944"/>
                    <a:gd name="T8" fmla="*/ 2147483647 w 3918"/>
                    <a:gd name="T9" fmla="*/ 2147483647 h 1944"/>
                    <a:gd name="T10" fmla="*/ 2147483647 w 3918"/>
                    <a:gd name="T11" fmla="*/ 2147483647 h 1944"/>
                    <a:gd name="T12" fmla="*/ 2147483647 w 3918"/>
                    <a:gd name="T13" fmla="*/ 2147483647 h 1944"/>
                    <a:gd name="T14" fmla="*/ 2147483647 w 3918"/>
                    <a:gd name="T15" fmla="*/ 2147483647 h 1944"/>
                    <a:gd name="T16" fmla="*/ 2147483647 w 3918"/>
                    <a:gd name="T17" fmla="*/ 2147483647 h 1944"/>
                    <a:gd name="T18" fmla="*/ 2147483647 w 3918"/>
                    <a:gd name="T19" fmla="*/ 2147483647 h 1944"/>
                    <a:gd name="T20" fmla="*/ 2147483647 w 3918"/>
                    <a:gd name="T21" fmla="*/ 2147483647 h 1944"/>
                    <a:gd name="T22" fmla="*/ 2147483647 w 3918"/>
                    <a:gd name="T23" fmla="*/ 2147483647 h 1944"/>
                    <a:gd name="T24" fmla="*/ 2147483647 w 3918"/>
                    <a:gd name="T25" fmla="*/ 2147483647 h 1944"/>
                    <a:gd name="T26" fmla="*/ 2147483647 w 3918"/>
                    <a:gd name="T27" fmla="*/ 2147483647 h 1944"/>
                    <a:gd name="T28" fmla="*/ 2147483647 w 3918"/>
                    <a:gd name="T29" fmla="*/ 2147483647 h 1944"/>
                    <a:gd name="T30" fmla="*/ 2147483647 w 3918"/>
                    <a:gd name="T31" fmla="*/ 2147483647 h 1944"/>
                    <a:gd name="T32" fmla="*/ 2147483647 w 3918"/>
                    <a:gd name="T33" fmla="*/ 2147483647 h 1944"/>
                    <a:gd name="T34" fmla="*/ 2147483647 w 3918"/>
                    <a:gd name="T35" fmla="*/ 2147483647 h 1944"/>
                    <a:gd name="T36" fmla="*/ 2147483647 w 3918"/>
                    <a:gd name="T37" fmla="*/ 2147483647 h 1944"/>
                    <a:gd name="T38" fmla="*/ 2147483647 w 3918"/>
                    <a:gd name="T39" fmla="*/ 2147483647 h 1944"/>
                    <a:gd name="T40" fmla="*/ 2147483647 w 3918"/>
                    <a:gd name="T41" fmla="*/ 2147483647 h 1944"/>
                    <a:gd name="T42" fmla="*/ 2147483647 w 3918"/>
                    <a:gd name="T43" fmla="*/ 2147483647 h 1944"/>
                    <a:gd name="T44" fmla="*/ 2147483647 w 3918"/>
                    <a:gd name="T45" fmla="*/ 2147483647 h 1944"/>
                    <a:gd name="T46" fmla="*/ 2147483647 w 3918"/>
                    <a:gd name="T47" fmla="*/ 2147483647 h 1944"/>
                    <a:gd name="T48" fmla="*/ 2147483647 w 3918"/>
                    <a:gd name="T49" fmla="*/ 2147483647 h 1944"/>
                    <a:gd name="T50" fmla="*/ 2147483647 w 3918"/>
                    <a:gd name="T51" fmla="*/ 2147483647 h 1944"/>
                    <a:gd name="T52" fmla="*/ 2147483647 w 3918"/>
                    <a:gd name="T53" fmla="*/ 2147483647 h 1944"/>
                    <a:gd name="T54" fmla="*/ 2147483647 w 3918"/>
                    <a:gd name="T55" fmla="*/ 2147483647 h 1944"/>
                    <a:gd name="T56" fmla="*/ 2147483647 w 3918"/>
                    <a:gd name="T57" fmla="*/ 2147483647 h 1944"/>
                    <a:gd name="T58" fmla="*/ 2147483647 w 3918"/>
                    <a:gd name="T59" fmla="*/ 2147483647 h 1944"/>
                    <a:gd name="T60" fmla="*/ 2147483647 w 3918"/>
                    <a:gd name="T61" fmla="*/ 2147483647 h 1944"/>
                    <a:gd name="T62" fmla="*/ 2147483647 w 3918"/>
                    <a:gd name="T63" fmla="*/ 2147483647 h 1944"/>
                    <a:gd name="T64" fmla="*/ 2147483647 w 3918"/>
                    <a:gd name="T65" fmla="*/ 2147483647 h 1944"/>
                    <a:gd name="T66" fmla="*/ 2147483647 w 3918"/>
                    <a:gd name="T67" fmla="*/ 2147483647 h 1944"/>
                    <a:gd name="T68" fmla="*/ 2147483647 w 3918"/>
                    <a:gd name="T69" fmla="*/ 2147483647 h 1944"/>
                    <a:gd name="T70" fmla="*/ 2147483647 w 3918"/>
                    <a:gd name="T71" fmla="*/ 2147483647 h 1944"/>
                    <a:gd name="T72" fmla="*/ 2147483647 w 3918"/>
                    <a:gd name="T73" fmla="*/ 2147483647 h 1944"/>
                    <a:gd name="T74" fmla="*/ 2147483647 w 3918"/>
                    <a:gd name="T75" fmla="*/ 2147483647 h 1944"/>
                    <a:gd name="T76" fmla="*/ 2147483647 w 3918"/>
                    <a:gd name="T77" fmla="*/ 2147483647 h 1944"/>
                    <a:gd name="T78" fmla="*/ 2147483647 w 3918"/>
                    <a:gd name="T79" fmla="*/ 2147483647 h 1944"/>
                    <a:gd name="T80" fmla="*/ 2147483647 w 3918"/>
                    <a:gd name="T81" fmla="*/ 2147483647 h 1944"/>
                    <a:gd name="T82" fmla="*/ 2147483647 w 3918"/>
                    <a:gd name="T83" fmla="*/ 2147483647 h 1944"/>
                    <a:gd name="T84" fmla="*/ 2147483647 w 3918"/>
                    <a:gd name="T85" fmla="*/ 2147483647 h 1944"/>
                    <a:gd name="T86" fmla="*/ 2147483647 w 3918"/>
                    <a:gd name="T87" fmla="*/ 2147483647 h 1944"/>
                    <a:gd name="T88" fmla="*/ 2147483647 w 3918"/>
                    <a:gd name="T89" fmla="*/ 2147483647 h 1944"/>
                    <a:gd name="T90" fmla="*/ 2147483647 w 3918"/>
                    <a:gd name="T91" fmla="*/ 2147483647 h 1944"/>
                    <a:gd name="T92" fmla="*/ 2147483647 w 3918"/>
                    <a:gd name="T93" fmla="*/ 2147483647 h 1944"/>
                    <a:gd name="T94" fmla="*/ 2147483647 w 3918"/>
                    <a:gd name="T95" fmla="*/ 2147483647 h 1944"/>
                    <a:gd name="T96" fmla="*/ 2147483647 w 3918"/>
                    <a:gd name="T97" fmla="*/ 2147483647 h 1944"/>
                    <a:gd name="T98" fmla="*/ 2147483647 w 3918"/>
                    <a:gd name="T99" fmla="*/ 2147483647 h 1944"/>
                    <a:gd name="T100" fmla="*/ 2147483647 w 3918"/>
                    <a:gd name="T101" fmla="*/ 2147483647 h 1944"/>
                    <a:gd name="T102" fmla="*/ 2147483647 w 3918"/>
                    <a:gd name="T103" fmla="*/ 2147483647 h 1944"/>
                    <a:gd name="T104" fmla="*/ 2147483647 w 3918"/>
                    <a:gd name="T105" fmla="*/ 2147483647 h 1944"/>
                    <a:gd name="T106" fmla="*/ 2147483647 w 3918"/>
                    <a:gd name="T107" fmla="*/ 2147483647 h 1944"/>
                    <a:gd name="T108" fmla="*/ 2147483647 w 3918"/>
                    <a:gd name="T109" fmla="*/ 2147483647 h 1944"/>
                    <a:gd name="T110" fmla="*/ 2147483647 w 3918"/>
                    <a:gd name="T111" fmla="*/ 2147483647 h 1944"/>
                    <a:gd name="T112" fmla="*/ 2147483647 w 3918"/>
                    <a:gd name="T113" fmla="*/ 2147483647 h 1944"/>
                    <a:gd name="T114" fmla="*/ 2147483647 w 3918"/>
                    <a:gd name="T115" fmla="*/ 2147483647 h 1944"/>
                    <a:gd name="T116" fmla="*/ 2147483647 w 3918"/>
                    <a:gd name="T117" fmla="*/ 2147483647 h 1944"/>
                    <a:gd name="T118" fmla="*/ 2147483647 w 3918"/>
                    <a:gd name="T119" fmla="*/ 2147483647 h 1944"/>
                    <a:gd name="T120" fmla="*/ 2147483647 w 3918"/>
                    <a:gd name="T121" fmla="*/ 2147483647 h 1944"/>
                    <a:gd name="T122" fmla="*/ 2147483647 w 3918"/>
                    <a:gd name="T123" fmla="*/ 2147483647 h 1944"/>
                    <a:gd name="T124" fmla="*/ 2147483647 w 3918"/>
                    <a:gd name="T125" fmla="*/ 2147483647 h 194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918"/>
                    <a:gd name="T190" fmla="*/ 0 h 1944"/>
                    <a:gd name="T191" fmla="*/ 3918 w 3918"/>
                    <a:gd name="T192" fmla="*/ 1944 h 194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918" h="1944">
                      <a:moveTo>
                        <a:pt x="3858" y="168"/>
                      </a:moveTo>
                      <a:lnTo>
                        <a:pt x="3852" y="168"/>
                      </a:lnTo>
                      <a:lnTo>
                        <a:pt x="3846" y="162"/>
                      </a:lnTo>
                      <a:lnTo>
                        <a:pt x="3846" y="156"/>
                      </a:lnTo>
                      <a:lnTo>
                        <a:pt x="3840" y="150"/>
                      </a:lnTo>
                      <a:lnTo>
                        <a:pt x="3828" y="150"/>
                      </a:lnTo>
                      <a:lnTo>
                        <a:pt x="3804" y="174"/>
                      </a:lnTo>
                      <a:lnTo>
                        <a:pt x="3798" y="186"/>
                      </a:lnTo>
                      <a:lnTo>
                        <a:pt x="3756" y="210"/>
                      </a:lnTo>
                      <a:lnTo>
                        <a:pt x="3756" y="234"/>
                      </a:lnTo>
                      <a:lnTo>
                        <a:pt x="3744" y="246"/>
                      </a:lnTo>
                      <a:lnTo>
                        <a:pt x="3738" y="246"/>
                      </a:lnTo>
                      <a:lnTo>
                        <a:pt x="3726" y="258"/>
                      </a:lnTo>
                      <a:lnTo>
                        <a:pt x="3720" y="270"/>
                      </a:lnTo>
                      <a:lnTo>
                        <a:pt x="3720" y="294"/>
                      </a:lnTo>
                      <a:lnTo>
                        <a:pt x="3714" y="294"/>
                      </a:lnTo>
                      <a:lnTo>
                        <a:pt x="3708" y="288"/>
                      </a:lnTo>
                      <a:lnTo>
                        <a:pt x="3696" y="288"/>
                      </a:lnTo>
                      <a:lnTo>
                        <a:pt x="3690" y="294"/>
                      </a:lnTo>
                      <a:lnTo>
                        <a:pt x="3678" y="300"/>
                      </a:lnTo>
                      <a:lnTo>
                        <a:pt x="3666" y="312"/>
                      </a:lnTo>
                      <a:lnTo>
                        <a:pt x="3666" y="318"/>
                      </a:lnTo>
                      <a:lnTo>
                        <a:pt x="3660" y="318"/>
                      </a:lnTo>
                      <a:lnTo>
                        <a:pt x="3648" y="324"/>
                      </a:lnTo>
                      <a:lnTo>
                        <a:pt x="3630" y="324"/>
                      </a:lnTo>
                      <a:lnTo>
                        <a:pt x="3618" y="336"/>
                      </a:lnTo>
                      <a:lnTo>
                        <a:pt x="3618" y="342"/>
                      </a:lnTo>
                      <a:lnTo>
                        <a:pt x="3384" y="342"/>
                      </a:lnTo>
                      <a:lnTo>
                        <a:pt x="3372" y="354"/>
                      </a:lnTo>
                      <a:lnTo>
                        <a:pt x="3360" y="360"/>
                      </a:lnTo>
                      <a:lnTo>
                        <a:pt x="3336" y="384"/>
                      </a:lnTo>
                      <a:lnTo>
                        <a:pt x="3324" y="390"/>
                      </a:lnTo>
                      <a:lnTo>
                        <a:pt x="3312" y="402"/>
                      </a:lnTo>
                      <a:lnTo>
                        <a:pt x="3282" y="402"/>
                      </a:lnTo>
                      <a:lnTo>
                        <a:pt x="3282" y="408"/>
                      </a:lnTo>
                      <a:lnTo>
                        <a:pt x="3276" y="408"/>
                      </a:lnTo>
                      <a:lnTo>
                        <a:pt x="3282" y="414"/>
                      </a:lnTo>
                      <a:lnTo>
                        <a:pt x="3282" y="420"/>
                      </a:lnTo>
                      <a:lnTo>
                        <a:pt x="3288" y="426"/>
                      </a:lnTo>
                      <a:lnTo>
                        <a:pt x="3282" y="432"/>
                      </a:lnTo>
                      <a:lnTo>
                        <a:pt x="3282" y="438"/>
                      </a:lnTo>
                      <a:lnTo>
                        <a:pt x="3276" y="444"/>
                      </a:lnTo>
                      <a:lnTo>
                        <a:pt x="3270" y="456"/>
                      </a:lnTo>
                      <a:lnTo>
                        <a:pt x="3264" y="462"/>
                      </a:lnTo>
                      <a:lnTo>
                        <a:pt x="3264" y="468"/>
                      </a:lnTo>
                      <a:lnTo>
                        <a:pt x="3246" y="468"/>
                      </a:lnTo>
                      <a:lnTo>
                        <a:pt x="3246" y="474"/>
                      </a:lnTo>
                      <a:lnTo>
                        <a:pt x="3240" y="474"/>
                      </a:lnTo>
                      <a:lnTo>
                        <a:pt x="3228" y="480"/>
                      </a:lnTo>
                      <a:lnTo>
                        <a:pt x="3204" y="480"/>
                      </a:lnTo>
                      <a:lnTo>
                        <a:pt x="3198" y="474"/>
                      </a:lnTo>
                      <a:lnTo>
                        <a:pt x="3186" y="486"/>
                      </a:lnTo>
                      <a:lnTo>
                        <a:pt x="3162" y="486"/>
                      </a:lnTo>
                      <a:lnTo>
                        <a:pt x="3150" y="480"/>
                      </a:lnTo>
                      <a:lnTo>
                        <a:pt x="3144" y="474"/>
                      </a:lnTo>
                      <a:lnTo>
                        <a:pt x="3114" y="474"/>
                      </a:lnTo>
                      <a:lnTo>
                        <a:pt x="3096" y="486"/>
                      </a:lnTo>
                      <a:lnTo>
                        <a:pt x="3078" y="492"/>
                      </a:lnTo>
                      <a:lnTo>
                        <a:pt x="3072" y="492"/>
                      </a:lnTo>
                      <a:lnTo>
                        <a:pt x="3072" y="516"/>
                      </a:lnTo>
                      <a:lnTo>
                        <a:pt x="3066" y="522"/>
                      </a:lnTo>
                      <a:lnTo>
                        <a:pt x="3078" y="522"/>
                      </a:lnTo>
                      <a:lnTo>
                        <a:pt x="3066" y="528"/>
                      </a:lnTo>
                      <a:lnTo>
                        <a:pt x="3036" y="546"/>
                      </a:lnTo>
                      <a:lnTo>
                        <a:pt x="3000" y="564"/>
                      </a:lnTo>
                      <a:lnTo>
                        <a:pt x="2964" y="576"/>
                      </a:lnTo>
                      <a:lnTo>
                        <a:pt x="2946" y="588"/>
                      </a:lnTo>
                      <a:lnTo>
                        <a:pt x="2934" y="594"/>
                      </a:lnTo>
                      <a:lnTo>
                        <a:pt x="2928" y="594"/>
                      </a:lnTo>
                      <a:lnTo>
                        <a:pt x="2856" y="618"/>
                      </a:lnTo>
                      <a:lnTo>
                        <a:pt x="2850" y="624"/>
                      </a:lnTo>
                      <a:lnTo>
                        <a:pt x="2838" y="624"/>
                      </a:lnTo>
                      <a:lnTo>
                        <a:pt x="2826" y="630"/>
                      </a:lnTo>
                      <a:lnTo>
                        <a:pt x="2808" y="630"/>
                      </a:lnTo>
                      <a:lnTo>
                        <a:pt x="2802" y="636"/>
                      </a:lnTo>
                      <a:lnTo>
                        <a:pt x="2778" y="636"/>
                      </a:lnTo>
                      <a:lnTo>
                        <a:pt x="2772" y="630"/>
                      </a:lnTo>
                      <a:lnTo>
                        <a:pt x="2772" y="624"/>
                      </a:lnTo>
                      <a:lnTo>
                        <a:pt x="2760" y="624"/>
                      </a:lnTo>
                      <a:lnTo>
                        <a:pt x="2748" y="618"/>
                      </a:lnTo>
                      <a:lnTo>
                        <a:pt x="2736" y="606"/>
                      </a:lnTo>
                      <a:lnTo>
                        <a:pt x="2742" y="606"/>
                      </a:lnTo>
                      <a:lnTo>
                        <a:pt x="2748" y="600"/>
                      </a:lnTo>
                      <a:lnTo>
                        <a:pt x="2772" y="588"/>
                      </a:lnTo>
                      <a:lnTo>
                        <a:pt x="2772" y="582"/>
                      </a:lnTo>
                      <a:lnTo>
                        <a:pt x="2796" y="558"/>
                      </a:lnTo>
                      <a:lnTo>
                        <a:pt x="2832" y="540"/>
                      </a:lnTo>
                      <a:lnTo>
                        <a:pt x="2838" y="540"/>
                      </a:lnTo>
                      <a:lnTo>
                        <a:pt x="2844" y="534"/>
                      </a:lnTo>
                      <a:lnTo>
                        <a:pt x="2844" y="510"/>
                      </a:lnTo>
                      <a:lnTo>
                        <a:pt x="2850" y="504"/>
                      </a:lnTo>
                      <a:lnTo>
                        <a:pt x="2856" y="492"/>
                      </a:lnTo>
                      <a:lnTo>
                        <a:pt x="2850" y="486"/>
                      </a:lnTo>
                      <a:lnTo>
                        <a:pt x="2850" y="480"/>
                      </a:lnTo>
                      <a:lnTo>
                        <a:pt x="2856" y="468"/>
                      </a:lnTo>
                      <a:lnTo>
                        <a:pt x="2856" y="444"/>
                      </a:lnTo>
                      <a:lnTo>
                        <a:pt x="2862" y="432"/>
                      </a:lnTo>
                      <a:lnTo>
                        <a:pt x="2862" y="426"/>
                      </a:lnTo>
                      <a:lnTo>
                        <a:pt x="2856" y="420"/>
                      </a:lnTo>
                      <a:lnTo>
                        <a:pt x="2850" y="420"/>
                      </a:lnTo>
                      <a:lnTo>
                        <a:pt x="2844" y="426"/>
                      </a:lnTo>
                      <a:lnTo>
                        <a:pt x="2832" y="426"/>
                      </a:lnTo>
                      <a:lnTo>
                        <a:pt x="2814" y="444"/>
                      </a:lnTo>
                      <a:lnTo>
                        <a:pt x="2802" y="450"/>
                      </a:lnTo>
                      <a:lnTo>
                        <a:pt x="2796" y="456"/>
                      </a:lnTo>
                      <a:lnTo>
                        <a:pt x="2778" y="456"/>
                      </a:lnTo>
                      <a:lnTo>
                        <a:pt x="2772" y="450"/>
                      </a:lnTo>
                      <a:lnTo>
                        <a:pt x="2778" y="444"/>
                      </a:lnTo>
                      <a:lnTo>
                        <a:pt x="2784" y="432"/>
                      </a:lnTo>
                      <a:lnTo>
                        <a:pt x="2808" y="420"/>
                      </a:lnTo>
                      <a:lnTo>
                        <a:pt x="2826" y="402"/>
                      </a:lnTo>
                      <a:lnTo>
                        <a:pt x="2850" y="390"/>
                      </a:lnTo>
                      <a:lnTo>
                        <a:pt x="2856" y="384"/>
                      </a:lnTo>
                      <a:lnTo>
                        <a:pt x="2856" y="366"/>
                      </a:lnTo>
                      <a:lnTo>
                        <a:pt x="2850" y="360"/>
                      </a:lnTo>
                      <a:lnTo>
                        <a:pt x="2850" y="348"/>
                      </a:lnTo>
                      <a:lnTo>
                        <a:pt x="2856" y="348"/>
                      </a:lnTo>
                      <a:lnTo>
                        <a:pt x="2862" y="342"/>
                      </a:lnTo>
                      <a:lnTo>
                        <a:pt x="2868" y="330"/>
                      </a:lnTo>
                      <a:lnTo>
                        <a:pt x="2868" y="318"/>
                      </a:lnTo>
                      <a:lnTo>
                        <a:pt x="2862" y="312"/>
                      </a:lnTo>
                      <a:lnTo>
                        <a:pt x="2850" y="312"/>
                      </a:lnTo>
                      <a:lnTo>
                        <a:pt x="2838" y="306"/>
                      </a:lnTo>
                      <a:lnTo>
                        <a:pt x="2832" y="306"/>
                      </a:lnTo>
                      <a:lnTo>
                        <a:pt x="2826" y="294"/>
                      </a:lnTo>
                      <a:lnTo>
                        <a:pt x="2820" y="288"/>
                      </a:lnTo>
                      <a:lnTo>
                        <a:pt x="2820" y="282"/>
                      </a:lnTo>
                      <a:lnTo>
                        <a:pt x="2814" y="288"/>
                      </a:lnTo>
                      <a:lnTo>
                        <a:pt x="2808" y="288"/>
                      </a:lnTo>
                      <a:lnTo>
                        <a:pt x="2808" y="264"/>
                      </a:lnTo>
                      <a:lnTo>
                        <a:pt x="2844" y="270"/>
                      </a:lnTo>
                      <a:lnTo>
                        <a:pt x="2850" y="264"/>
                      </a:lnTo>
                      <a:lnTo>
                        <a:pt x="2850" y="246"/>
                      </a:lnTo>
                      <a:lnTo>
                        <a:pt x="2862" y="246"/>
                      </a:lnTo>
                      <a:lnTo>
                        <a:pt x="2868" y="228"/>
                      </a:lnTo>
                      <a:lnTo>
                        <a:pt x="2850" y="228"/>
                      </a:lnTo>
                      <a:lnTo>
                        <a:pt x="2844" y="240"/>
                      </a:lnTo>
                      <a:lnTo>
                        <a:pt x="2820" y="228"/>
                      </a:lnTo>
                      <a:lnTo>
                        <a:pt x="2820" y="210"/>
                      </a:lnTo>
                      <a:lnTo>
                        <a:pt x="2802" y="210"/>
                      </a:lnTo>
                      <a:lnTo>
                        <a:pt x="2790" y="216"/>
                      </a:lnTo>
                      <a:lnTo>
                        <a:pt x="2736" y="216"/>
                      </a:lnTo>
                      <a:lnTo>
                        <a:pt x="2724" y="222"/>
                      </a:lnTo>
                      <a:lnTo>
                        <a:pt x="2712" y="222"/>
                      </a:lnTo>
                      <a:lnTo>
                        <a:pt x="2700" y="228"/>
                      </a:lnTo>
                      <a:lnTo>
                        <a:pt x="2682" y="228"/>
                      </a:lnTo>
                      <a:lnTo>
                        <a:pt x="2658" y="216"/>
                      </a:lnTo>
                      <a:lnTo>
                        <a:pt x="2658" y="210"/>
                      </a:lnTo>
                      <a:lnTo>
                        <a:pt x="2652" y="204"/>
                      </a:lnTo>
                      <a:lnTo>
                        <a:pt x="2652" y="198"/>
                      </a:lnTo>
                      <a:lnTo>
                        <a:pt x="2646" y="192"/>
                      </a:lnTo>
                      <a:lnTo>
                        <a:pt x="2628" y="192"/>
                      </a:lnTo>
                      <a:lnTo>
                        <a:pt x="2622" y="198"/>
                      </a:lnTo>
                      <a:lnTo>
                        <a:pt x="2616" y="198"/>
                      </a:lnTo>
                      <a:lnTo>
                        <a:pt x="2610" y="192"/>
                      </a:lnTo>
                      <a:lnTo>
                        <a:pt x="2670" y="162"/>
                      </a:lnTo>
                      <a:lnTo>
                        <a:pt x="2658" y="150"/>
                      </a:lnTo>
                      <a:lnTo>
                        <a:pt x="2640" y="150"/>
                      </a:lnTo>
                      <a:lnTo>
                        <a:pt x="2628" y="162"/>
                      </a:lnTo>
                      <a:lnTo>
                        <a:pt x="2616" y="168"/>
                      </a:lnTo>
                      <a:lnTo>
                        <a:pt x="2610" y="174"/>
                      </a:lnTo>
                      <a:lnTo>
                        <a:pt x="2604" y="174"/>
                      </a:lnTo>
                      <a:lnTo>
                        <a:pt x="2580" y="186"/>
                      </a:lnTo>
                      <a:lnTo>
                        <a:pt x="2562" y="192"/>
                      </a:lnTo>
                      <a:lnTo>
                        <a:pt x="2538" y="204"/>
                      </a:lnTo>
                      <a:lnTo>
                        <a:pt x="2508" y="204"/>
                      </a:lnTo>
                      <a:lnTo>
                        <a:pt x="2496" y="216"/>
                      </a:lnTo>
                      <a:lnTo>
                        <a:pt x="2448" y="216"/>
                      </a:lnTo>
                      <a:lnTo>
                        <a:pt x="2448" y="210"/>
                      </a:lnTo>
                      <a:lnTo>
                        <a:pt x="2454" y="204"/>
                      </a:lnTo>
                      <a:lnTo>
                        <a:pt x="2460" y="204"/>
                      </a:lnTo>
                      <a:lnTo>
                        <a:pt x="2472" y="192"/>
                      </a:lnTo>
                      <a:lnTo>
                        <a:pt x="2460" y="192"/>
                      </a:lnTo>
                      <a:lnTo>
                        <a:pt x="2448" y="198"/>
                      </a:lnTo>
                      <a:lnTo>
                        <a:pt x="2412" y="198"/>
                      </a:lnTo>
                      <a:lnTo>
                        <a:pt x="2400" y="204"/>
                      </a:lnTo>
                      <a:lnTo>
                        <a:pt x="2394" y="210"/>
                      </a:lnTo>
                      <a:lnTo>
                        <a:pt x="2370" y="210"/>
                      </a:lnTo>
                      <a:lnTo>
                        <a:pt x="2370" y="198"/>
                      </a:lnTo>
                      <a:lnTo>
                        <a:pt x="2400" y="180"/>
                      </a:lnTo>
                      <a:lnTo>
                        <a:pt x="2442" y="168"/>
                      </a:lnTo>
                      <a:lnTo>
                        <a:pt x="2502" y="138"/>
                      </a:lnTo>
                      <a:lnTo>
                        <a:pt x="2520" y="126"/>
                      </a:lnTo>
                      <a:lnTo>
                        <a:pt x="2544" y="120"/>
                      </a:lnTo>
                      <a:lnTo>
                        <a:pt x="2574" y="114"/>
                      </a:lnTo>
                      <a:lnTo>
                        <a:pt x="2580" y="114"/>
                      </a:lnTo>
                      <a:lnTo>
                        <a:pt x="2592" y="108"/>
                      </a:lnTo>
                      <a:lnTo>
                        <a:pt x="2574" y="108"/>
                      </a:lnTo>
                      <a:lnTo>
                        <a:pt x="2562" y="102"/>
                      </a:lnTo>
                      <a:lnTo>
                        <a:pt x="2556" y="102"/>
                      </a:lnTo>
                      <a:lnTo>
                        <a:pt x="2556" y="96"/>
                      </a:lnTo>
                      <a:lnTo>
                        <a:pt x="2508" y="102"/>
                      </a:lnTo>
                      <a:lnTo>
                        <a:pt x="2508" y="84"/>
                      </a:lnTo>
                      <a:lnTo>
                        <a:pt x="2502" y="90"/>
                      </a:lnTo>
                      <a:lnTo>
                        <a:pt x="2490" y="96"/>
                      </a:lnTo>
                      <a:lnTo>
                        <a:pt x="2478" y="108"/>
                      </a:lnTo>
                      <a:lnTo>
                        <a:pt x="2466" y="108"/>
                      </a:lnTo>
                      <a:lnTo>
                        <a:pt x="2448" y="90"/>
                      </a:lnTo>
                      <a:lnTo>
                        <a:pt x="2418" y="90"/>
                      </a:lnTo>
                      <a:lnTo>
                        <a:pt x="2412" y="84"/>
                      </a:lnTo>
                      <a:lnTo>
                        <a:pt x="2412" y="78"/>
                      </a:lnTo>
                      <a:lnTo>
                        <a:pt x="2400" y="66"/>
                      </a:lnTo>
                      <a:lnTo>
                        <a:pt x="2388" y="60"/>
                      </a:lnTo>
                      <a:lnTo>
                        <a:pt x="2376" y="60"/>
                      </a:lnTo>
                      <a:lnTo>
                        <a:pt x="2364" y="72"/>
                      </a:lnTo>
                      <a:lnTo>
                        <a:pt x="2364" y="78"/>
                      </a:lnTo>
                      <a:lnTo>
                        <a:pt x="2352" y="78"/>
                      </a:lnTo>
                      <a:lnTo>
                        <a:pt x="2334" y="60"/>
                      </a:lnTo>
                      <a:lnTo>
                        <a:pt x="2322" y="60"/>
                      </a:lnTo>
                      <a:lnTo>
                        <a:pt x="2304" y="54"/>
                      </a:lnTo>
                      <a:lnTo>
                        <a:pt x="2292" y="48"/>
                      </a:lnTo>
                      <a:lnTo>
                        <a:pt x="2292" y="36"/>
                      </a:lnTo>
                      <a:lnTo>
                        <a:pt x="2298" y="24"/>
                      </a:lnTo>
                      <a:lnTo>
                        <a:pt x="2310" y="12"/>
                      </a:lnTo>
                      <a:lnTo>
                        <a:pt x="2298" y="0"/>
                      </a:lnTo>
                      <a:lnTo>
                        <a:pt x="2286" y="6"/>
                      </a:lnTo>
                      <a:lnTo>
                        <a:pt x="2280" y="12"/>
                      </a:lnTo>
                      <a:lnTo>
                        <a:pt x="2274" y="24"/>
                      </a:lnTo>
                      <a:lnTo>
                        <a:pt x="2274" y="30"/>
                      </a:lnTo>
                      <a:lnTo>
                        <a:pt x="2268" y="42"/>
                      </a:lnTo>
                      <a:lnTo>
                        <a:pt x="558" y="42"/>
                      </a:lnTo>
                      <a:lnTo>
                        <a:pt x="552" y="54"/>
                      </a:lnTo>
                      <a:lnTo>
                        <a:pt x="552" y="60"/>
                      </a:lnTo>
                      <a:lnTo>
                        <a:pt x="546" y="60"/>
                      </a:lnTo>
                      <a:lnTo>
                        <a:pt x="546" y="72"/>
                      </a:lnTo>
                      <a:lnTo>
                        <a:pt x="540" y="84"/>
                      </a:lnTo>
                      <a:lnTo>
                        <a:pt x="540" y="108"/>
                      </a:lnTo>
                      <a:lnTo>
                        <a:pt x="510" y="126"/>
                      </a:lnTo>
                      <a:lnTo>
                        <a:pt x="504" y="144"/>
                      </a:lnTo>
                      <a:lnTo>
                        <a:pt x="486" y="168"/>
                      </a:lnTo>
                      <a:lnTo>
                        <a:pt x="438" y="180"/>
                      </a:lnTo>
                      <a:lnTo>
                        <a:pt x="474" y="162"/>
                      </a:lnTo>
                      <a:lnTo>
                        <a:pt x="450" y="162"/>
                      </a:lnTo>
                      <a:lnTo>
                        <a:pt x="456" y="156"/>
                      </a:lnTo>
                      <a:lnTo>
                        <a:pt x="462" y="144"/>
                      </a:lnTo>
                      <a:lnTo>
                        <a:pt x="486" y="120"/>
                      </a:lnTo>
                      <a:lnTo>
                        <a:pt x="492" y="120"/>
                      </a:lnTo>
                      <a:lnTo>
                        <a:pt x="504" y="108"/>
                      </a:lnTo>
                      <a:lnTo>
                        <a:pt x="504" y="102"/>
                      </a:lnTo>
                      <a:lnTo>
                        <a:pt x="456" y="102"/>
                      </a:lnTo>
                      <a:lnTo>
                        <a:pt x="450" y="96"/>
                      </a:lnTo>
                      <a:lnTo>
                        <a:pt x="438" y="90"/>
                      </a:lnTo>
                      <a:lnTo>
                        <a:pt x="432" y="84"/>
                      </a:lnTo>
                      <a:lnTo>
                        <a:pt x="420" y="78"/>
                      </a:lnTo>
                      <a:lnTo>
                        <a:pt x="402" y="78"/>
                      </a:lnTo>
                      <a:lnTo>
                        <a:pt x="390" y="90"/>
                      </a:lnTo>
                      <a:lnTo>
                        <a:pt x="384" y="102"/>
                      </a:lnTo>
                      <a:lnTo>
                        <a:pt x="384" y="150"/>
                      </a:lnTo>
                      <a:lnTo>
                        <a:pt x="378" y="156"/>
                      </a:lnTo>
                      <a:lnTo>
                        <a:pt x="378" y="162"/>
                      </a:lnTo>
                      <a:lnTo>
                        <a:pt x="360" y="180"/>
                      </a:lnTo>
                      <a:lnTo>
                        <a:pt x="390" y="186"/>
                      </a:lnTo>
                      <a:lnTo>
                        <a:pt x="360" y="192"/>
                      </a:lnTo>
                      <a:lnTo>
                        <a:pt x="366" y="210"/>
                      </a:lnTo>
                      <a:lnTo>
                        <a:pt x="348" y="234"/>
                      </a:lnTo>
                      <a:lnTo>
                        <a:pt x="354" y="234"/>
                      </a:lnTo>
                      <a:lnTo>
                        <a:pt x="366" y="246"/>
                      </a:lnTo>
                      <a:lnTo>
                        <a:pt x="372" y="246"/>
                      </a:lnTo>
                      <a:lnTo>
                        <a:pt x="378" y="252"/>
                      </a:lnTo>
                      <a:lnTo>
                        <a:pt x="330" y="252"/>
                      </a:lnTo>
                      <a:lnTo>
                        <a:pt x="324" y="264"/>
                      </a:lnTo>
                      <a:lnTo>
                        <a:pt x="306" y="282"/>
                      </a:lnTo>
                      <a:lnTo>
                        <a:pt x="270" y="342"/>
                      </a:lnTo>
                      <a:lnTo>
                        <a:pt x="258" y="360"/>
                      </a:lnTo>
                      <a:lnTo>
                        <a:pt x="216" y="402"/>
                      </a:lnTo>
                      <a:lnTo>
                        <a:pt x="192" y="432"/>
                      </a:lnTo>
                      <a:lnTo>
                        <a:pt x="174" y="456"/>
                      </a:lnTo>
                      <a:lnTo>
                        <a:pt x="168" y="462"/>
                      </a:lnTo>
                      <a:lnTo>
                        <a:pt x="174" y="480"/>
                      </a:lnTo>
                      <a:lnTo>
                        <a:pt x="168" y="480"/>
                      </a:lnTo>
                      <a:lnTo>
                        <a:pt x="162" y="486"/>
                      </a:lnTo>
                      <a:lnTo>
                        <a:pt x="150" y="492"/>
                      </a:lnTo>
                      <a:lnTo>
                        <a:pt x="126" y="516"/>
                      </a:lnTo>
                      <a:lnTo>
                        <a:pt x="120" y="534"/>
                      </a:lnTo>
                      <a:lnTo>
                        <a:pt x="120" y="546"/>
                      </a:lnTo>
                      <a:lnTo>
                        <a:pt x="102" y="570"/>
                      </a:lnTo>
                      <a:lnTo>
                        <a:pt x="96" y="618"/>
                      </a:lnTo>
                      <a:lnTo>
                        <a:pt x="90" y="630"/>
                      </a:lnTo>
                      <a:lnTo>
                        <a:pt x="72" y="648"/>
                      </a:lnTo>
                      <a:lnTo>
                        <a:pt x="60" y="672"/>
                      </a:lnTo>
                      <a:lnTo>
                        <a:pt x="54" y="678"/>
                      </a:lnTo>
                      <a:lnTo>
                        <a:pt x="42" y="684"/>
                      </a:lnTo>
                      <a:lnTo>
                        <a:pt x="18" y="708"/>
                      </a:lnTo>
                      <a:lnTo>
                        <a:pt x="12" y="720"/>
                      </a:lnTo>
                      <a:lnTo>
                        <a:pt x="18" y="732"/>
                      </a:lnTo>
                      <a:lnTo>
                        <a:pt x="36" y="750"/>
                      </a:lnTo>
                      <a:lnTo>
                        <a:pt x="36" y="762"/>
                      </a:lnTo>
                      <a:lnTo>
                        <a:pt x="30" y="774"/>
                      </a:lnTo>
                      <a:lnTo>
                        <a:pt x="18" y="786"/>
                      </a:lnTo>
                      <a:lnTo>
                        <a:pt x="12" y="798"/>
                      </a:lnTo>
                      <a:lnTo>
                        <a:pt x="6" y="816"/>
                      </a:lnTo>
                      <a:lnTo>
                        <a:pt x="0" y="828"/>
                      </a:lnTo>
                      <a:lnTo>
                        <a:pt x="0" y="840"/>
                      </a:lnTo>
                      <a:lnTo>
                        <a:pt x="6" y="852"/>
                      </a:lnTo>
                      <a:lnTo>
                        <a:pt x="12" y="870"/>
                      </a:lnTo>
                      <a:lnTo>
                        <a:pt x="12" y="882"/>
                      </a:lnTo>
                      <a:lnTo>
                        <a:pt x="18" y="900"/>
                      </a:lnTo>
                      <a:lnTo>
                        <a:pt x="24" y="906"/>
                      </a:lnTo>
                      <a:lnTo>
                        <a:pt x="24" y="912"/>
                      </a:lnTo>
                      <a:lnTo>
                        <a:pt x="48" y="894"/>
                      </a:lnTo>
                      <a:lnTo>
                        <a:pt x="114" y="900"/>
                      </a:lnTo>
                      <a:lnTo>
                        <a:pt x="78" y="900"/>
                      </a:lnTo>
                      <a:lnTo>
                        <a:pt x="66" y="906"/>
                      </a:lnTo>
                      <a:lnTo>
                        <a:pt x="60" y="906"/>
                      </a:lnTo>
                      <a:lnTo>
                        <a:pt x="48" y="918"/>
                      </a:lnTo>
                      <a:lnTo>
                        <a:pt x="48" y="942"/>
                      </a:lnTo>
                      <a:lnTo>
                        <a:pt x="30" y="924"/>
                      </a:lnTo>
                      <a:lnTo>
                        <a:pt x="24" y="924"/>
                      </a:lnTo>
                      <a:lnTo>
                        <a:pt x="18" y="936"/>
                      </a:lnTo>
                      <a:lnTo>
                        <a:pt x="18" y="942"/>
                      </a:lnTo>
                      <a:lnTo>
                        <a:pt x="12" y="960"/>
                      </a:lnTo>
                      <a:lnTo>
                        <a:pt x="12" y="978"/>
                      </a:lnTo>
                      <a:lnTo>
                        <a:pt x="18" y="984"/>
                      </a:lnTo>
                      <a:lnTo>
                        <a:pt x="30" y="990"/>
                      </a:lnTo>
                      <a:lnTo>
                        <a:pt x="42" y="990"/>
                      </a:lnTo>
                      <a:lnTo>
                        <a:pt x="42" y="1002"/>
                      </a:lnTo>
                      <a:lnTo>
                        <a:pt x="36" y="1008"/>
                      </a:lnTo>
                      <a:lnTo>
                        <a:pt x="36" y="1014"/>
                      </a:lnTo>
                      <a:lnTo>
                        <a:pt x="18" y="1032"/>
                      </a:lnTo>
                      <a:lnTo>
                        <a:pt x="12" y="1044"/>
                      </a:lnTo>
                      <a:lnTo>
                        <a:pt x="12" y="1056"/>
                      </a:lnTo>
                      <a:lnTo>
                        <a:pt x="18" y="1068"/>
                      </a:lnTo>
                      <a:lnTo>
                        <a:pt x="24" y="1074"/>
                      </a:lnTo>
                      <a:lnTo>
                        <a:pt x="36" y="1098"/>
                      </a:lnTo>
                      <a:lnTo>
                        <a:pt x="42" y="1104"/>
                      </a:lnTo>
                      <a:lnTo>
                        <a:pt x="54" y="1128"/>
                      </a:lnTo>
                      <a:lnTo>
                        <a:pt x="60" y="1134"/>
                      </a:lnTo>
                      <a:lnTo>
                        <a:pt x="60" y="1146"/>
                      </a:lnTo>
                      <a:lnTo>
                        <a:pt x="54" y="1152"/>
                      </a:lnTo>
                      <a:lnTo>
                        <a:pt x="42" y="1176"/>
                      </a:lnTo>
                      <a:lnTo>
                        <a:pt x="36" y="1182"/>
                      </a:lnTo>
                      <a:lnTo>
                        <a:pt x="36" y="1188"/>
                      </a:lnTo>
                      <a:lnTo>
                        <a:pt x="42" y="1194"/>
                      </a:lnTo>
                      <a:lnTo>
                        <a:pt x="54" y="1194"/>
                      </a:lnTo>
                      <a:lnTo>
                        <a:pt x="72" y="1200"/>
                      </a:lnTo>
                      <a:lnTo>
                        <a:pt x="102" y="1200"/>
                      </a:lnTo>
                      <a:lnTo>
                        <a:pt x="102" y="1212"/>
                      </a:lnTo>
                      <a:lnTo>
                        <a:pt x="120" y="1230"/>
                      </a:lnTo>
                      <a:lnTo>
                        <a:pt x="132" y="1230"/>
                      </a:lnTo>
                      <a:lnTo>
                        <a:pt x="144" y="1224"/>
                      </a:lnTo>
                      <a:lnTo>
                        <a:pt x="150" y="1224"/>
                      </a:lnTo>
                      <a:lnTo>
                        <a:pt x="162" y="1218"/>
                      </a:lnTo>
                      <a:lnTo>
                        <a:pt x="168" y="1248"/>
                      </a:lnTo>
                      <a:lnTo>
                        <a:pt x="174" y="1248"/>
                      </a:lnTo>
                      <a:lnTo>
                        <a:pt x="180" y="1254"/>
                      </a:lnTo>
                      <a:lnTo>
                        <a:pt x="204" y="1266"/>
                      </a:lnTo>
                      <a:lnTo>
                        <a:pt x="216" y="1290"/>
                      </a:lnTo>
                      <a:lnTo>
                        <a:pt x="216" y="1314"/>
                      </a:lnTo>
                      <a:lnTo>
                        <a:pt x="210" y="1338"/>
                      </a:lnTo>
                      <a:lnTo>
                        <a:pt x="216" y="1344"/>
                      </a:lnTo>
                      <a:lnTo>
                        <a:pt x="360" y="1338"/>
                      </a:lnTo>
                      <a:lnTo>
                        <a:pt x="354" y="1344"/>
                      </a:lnTo>
                      <a:lnTo>
                        <a:pt x="354" y="1350"/>
                      </a:lnTo>
                      <a:lnTo>
                        <a:pt x="360" y="1350"/>
                      </a:lnTo>
                      <a:lnTo>
                        <a:pt x="570" y="1446"/>
                      </a:lnTo>
                      <a:lnTo>
                        <a:pt x="774" y="1446"/>
                      </a:lnTo>
                      <a:lnTo>
                        <a:pt x="774" y="1440"/>
                      </a:lnTo>
                      <a:lnTo>
                        <a:pt x="780" y="1428"/>
                      </a:lnTo>
                      <a:lnTo>
                        <a:pt x="780" y="1410"/>
                      </a:lnTo>
                      <a:lnTo>
                        <a:pt x="786" y="1404"/>
                      </a:lnTo>
                      <a:lnTo>
                        <a:pt x="900" y="1404"/>
                      </a:lnTo>
                      <a:lnTo>
                        <a:pt x="912" y="1416"/>
                      </a:lnTo>
                      <a:lnTo>
                        <a:pt x="912" y="1440"/>
                      </a:lnTo>
                      <a:lnTo>
                        <a:pt x="942" y="1452"/>
                      </a:lnTo>
                      <a:lnTo>
                        <a:pt x="948" y="1482"/>
                      </a:lnTo>
                      <a:lnTo>
                        <a:pt x="960" y="1482"/>
                      </a:lnTo>
                      <a:lnTo>
                        <a:pt x="972" y="1488"/>
                      </a:lnTo>
                      <a:lnTo>
                        <a:pt x="984" y="1500"/>
                      </a:lnTo>
                      <a:lnTo>
                        <a:pt x="990" y="1512"/>
                      </a:lnTo>
                      <a:lnTo>
                        <a:pt x="990" y="1554"/>
                      </a:lnTo>
                      <a:lnTo>
                        <a:pt x="984" y="1566"/>
                      </a:lnTo>
                      <a:lnTo>
                        <a:pt x="984" y="1578"/>
                      </a:lnTo>
                      <a:lnTo>
                        <a:pt x="1014" y="1608"/>
                      </a:lnTo>
                      <a:lnTo>
                        <a:pt x="1026" y="1614"/>
                      </a:lnTo>
                      <a:lnTo>
                        <a:pt x="1044" y="1626"/>
                      </a:lnTo>
                      <a:lnTo>
                        <a:pt x="1056" y="1626"/>
                      </a:lnTo>
                      <a:lnTo>
                        <a:pt x="1080" y="1614"/>
                      </a:lnTo>
                      <a:lnTo>
                        <a:pt x="1092" y="1602"/>
                      </a:lnTo>
                      <a:lnTo>
                        <a:pt x="1104" y="1578"/>
                      </a:lnTo>
                      <a:lnTo>
                        <a:pt x="1116" y="1566"/>
                      </a:lnTo>
                      <a:lnTo>
                        <a:pt x="1134" y="1566"/>
                      </a:lnTo>
                      <a:lnTo>
                        <a:pt x="1134" y="1560"/>
                      </a:lnTo>
                      <a:lnTo>
                        <a:pt x="1152" y="1566"/>
                      </a:lnTo>
                      <a:lnTo>
                        <a:pt x="1194" y="1566"/>
                      </a:lnTo>
                      <a:lnTo>
                        <a:pt x="1200" y="1578"/>
                      </a:lnTo>
                      <a:lnTo>
                        <a:pt x="1206" y="1584"/>
                      </a:lnTo>
                      <a:lnTo>
                        <a:pt x="1212" y="1596"/>
                      </a:lnTo>
                      <a:lnTo>
                        <a:pt x="1224" y="1608"/>
                      </a:lnTo>
                      <a:lnTo>
                        <a:pt x="1230" y="1620"/>
                      </a:lnTo>
                      <a:lnTo>
                        <a:pt x="1242" y="1632"/>
                      </a:lnTo>
                      <a:lnTo>
                        <a:pt x="1242" y="1656"/>
                      </a:lnTo>
                      <a:lnTo>
                        <a:pt x="1236" y="1668"/>
                      </a:lnTo>
                      <a:lnTo>
                        <a:pt x="1236" y="1680"/>
                      </a:lnTo>
                      <a:lnTo>
                        <a:pt x="1242" y="1692"/>
                      </a:lnTo>
                      <a:lnTo>
                        <a:pt x="1254" y="1698"/>
                      </a:lnTo>
                      <a:lnTo>
                        <a:pt x="1254" y="1722"/>
                      </a:lnTo>
                      <a:lnTo>
                        <a:pt x="1260" y="1728"/>
                      </a:lnTo>
                      <a:lnTo>
                        <a:pt x="1272" y="1734"/>
                      </a:lnTo>
                      <a:lnTo>
                        <a:pt x="1284" y="1746"/>
                      </a:lnTo>
                      <a:lnTo>
                        <a:pt x="1284" y="1752"/>
                      </a:lnTo>
                      <a:lnTo>
                        <a:pt x="1278" y="1758"/>
                      </a:lnTo>
                      <a:lnTo>
                        <a:pt x="1272" y="1758"/>
                      </a:lnTo>
                      <a:lnTo>
                        <a:pt x="1272" y="1794"/>
                      </a:lnTo>
                      <a:lnTo>
                        <a:pt x="1284" y="1806"/>
                      </a:lnTo>
                      <a:lnTo>
                        <a:pt x="1284" y="1836"/>
                      </a:lnTo>
                      <a:lnTo>
                        <a:pt x="1296" y="1848"/>
                      </a:lnTo>
                      <a:lnTo>
                        <a:pt x="1314" y="1854"/>
                      </a:lnTo>
                      <a:lnTo>
                        <a:pt x="1326" y="1854"/>
                      </a:lnTo>
                      <a:lnTo>
                        <a:pt x="1338" y="1866"/>
                      </a:lnTo>
                      <a:lnTo>
                        <a:pt x="1380" y="1866"/>
                      </a:lnTo>
                      <a:lnTo>
                        <a:pt x="1380" y="1872"/>
                      </a:lnTo>
                      <a:lnTo>
                        <a:pt x="1386" y="1884"/>
                      </a:lnTo>
                      <a:lnTo>
                        <a:pt x="1410" y="1884"/>
                      </a:lnTo>
                      <a:lnTo>
                        <a:pt x="1410" y="1878"/>
                      </a:lnTo>
                      <a:lnTo>
                        <a:pt x="1398" y="1806"/>
                      </a:lnTo>
                      <a:lnTo>
                        <a:pt x="1416" y="1788"/>
                      </a:lnTo>
                      <a:lnTo>
                        <a:pt x="1398" y="1776"/>
                      </a:lnTo>
                      <a:lnTo>
                        <a:pt x="1398" y="1758"/>
                      </a:lnTo>
                      <a:lnTo>
                        <a:pt x="1404" y="1764"/>
                      </a:lnTo>
                      <a:lnTo>
                        <a:pt x="1422" y="1764"/>
                      </a:lnTo>
                      <a:lnTo>
                        <a:pt x="1428" y="1758"/>
                      </a:lnTo>
                      <a:lnTo>
                        <a:pt x="1428" y="1728"/>
                      </a:lnTo>
                      <a:lnTo>
                        <a:pt x="1452" y="1722"/>
                      </a:lnTo>
                      <a:lnTo>
                        <a:pt x="1458" y="1698"/>
                      </a:lnTo>
                      <a:lnTo>
                        <a:pt x="1476" y="1704"/>
                      </a:lnTo>
                      <a:lnTo>
                        <a:pt x="1494" y="1692"/>
                      </a:lnTo>
                      <a:lnTo>
                        <a:pt x="1488" y="1668"/>
                      </a:lnTo>
                      <a:lnTo>
                        <a:pt x="1500" y="1680"/>
                      </a:lnTo>
                      <a:lnTo>
                        <a:pt x="1500" y="1668"/>
                      </a:lnTo>
                      <a:lnTo>
                        <a:pt x="1506" y="1656"/>
                      </a:lnTo>
                      <a:lnTo>
                        <a:pt x="1512" y="1650"/>
                      </a:lnTo>
                      <a:lnTo>
                        <a:pt x="1518" y="1650"/>
                      </a:lnTo>
                      <a:lnTo>
                        <a:pt x="1524" y="1656"/>
                      </a:lnTo>
                      <a:lnTo>
                        <a:pt x="1524" y="1668"/>
                      </a:lnTo>
                      <a:lnTo>
                        <a:pt x="1542" y="1668"/>
                      </a:lnTo>
                      <a:lnTo>
                        <a:pt x="1554" y="1662"/>
                      </a:lnTo>
                      <a:lnTo>
                        <a:pt x="1572" y="1656"/>
                      </a:lnTo>
                      <a:lnTo>
                        <a:pt x="1596" y="1644"/>
                      </a:lnTo>
                      <a:lnTo>
                        <a:pt x="1602" y="1638"/>
                      </a:lnTo>
                      <a:lnTo>
                        <a:pt x="1608" y="1626"/>
                      </a:lnTo>
                      <a:lnTo>
                        <a:pt x="1620" y="1620"/>
                      </a:lnTo>
                      <a:lnTo>
                        <a:pt x="1626" y="1608"/>
                      </a:lnTo>
                      <a:lnTo>
                        <a:pt x="1632" y="1602"/>
                      </a:lnTo>
                      <a:lnTo>
                        <a:pt x="1632" y="1590"/>
                      </a:lnTo>
                      <a:lnTo>
                        <a:pt x="1626" y="1584"/>
                      </a:lnTo>
                      <a:lnTo>
                        <a:pt x="1626" y="1566"/>
                      </a:lnTo>
                      <a:lnTo>
                        <a:pt x="1632" y="1566"/>
                      </a:lnTo>
                      <a:lnTo>
                        <a:pt x="1656" y="1578"/>
                      </a:lnTo>
                      <a:lnTo>
                        <a:pt x="1662" y="1584"/>
                      </a:lnTo>
                      <a:lnTo>
                        <a:pt x="1674" y="1590"/>
                      </a:lnTo>
                      <a:lnTo>
                        <a:pt x="1686" y="1590"/>
                      </a:lnTo>
                      <a:lnTo>
                        <a:pt x="1692" y="1584"/>
                      </a:lnTo>
                      <a:lnTo>
                        <a:pt x="1710" y="1548"/>
                      </a:lnTo>
                      <a:lnTo>
                        <a:pt x="1716" y="1548"/>
                      </a:lnTo>
                      <a:lnTo>
                        <a:pt x="1734" y="1566"/>
                      </a:lnTo>
                      <a:lnTo>
                        <a:pt x="1746" y="1566"/>
                      </a:lnTo>
                      <a:lnTo>
                        <a:pt x="1752" y="1560"/>
                      </a:lnTo>
                      <a:lnTo>
                        <a:pt x="1758" y="1548"/>
                      </a:lnTo>
                      <a:lnTo>
                        <a:pt x="1764" y="1542"/>
                      </a:lnTo>
                      <a:lnTo>
                        <a:pt x="1770" y="1554"/>
                      </a:lnTo>
                      <a:lnTo>
                        <a:pt x="1776" y="1560"/>
                      </a:lnTo>
                      <a:lnTo>
                        <a:pt x="1782" y="1572"/>
                      </a:lnTo>
                      <a:lnTo>
                        <a:pt x="1794" y="1578"/>
                      </a:lnTo>
                      <a:lnTo>
                        <a:pt x="1800" y="1584"/>
                      </a:lnTo>
                      <a:lnTo>
                        <a:pt x="1818" y="1584"/>
                      </a:lnTo>
                      <a:lnTo>
                        <a:pt x="1824" y="1578"/>
                      </a:lnTo>
                      <a:lnTo>
                        <a:pt x="1830" y="1566"/>
                      </a:lnTo>
                      <a:lnTo>
                        <a:pt x="1842" y="1554"/>
                      </a:lnTo>
                      <a:lnTo>
                        <a:pt x="1848" y="1554"/>
                      </a:lnTo>
                      <a:lnTo>
                        <a:pt x="1860" y="1560"/>
                      </a:lnTo>
                      <a:lnTo>
                        <a:pt x="1872" y="1572"/>
                      </a:lnTo>
                      <a:lnTo>
                        <a:pt x="1872" y="1584"/>
                      </a:lnTo>
                      <a:lnTo>
                        <a:pt x="1878" y="1596"/>
                      </a:lnTo>
                      <a:lnTo>
                        <a:pt x="1878" y="1614"/>
                      </a:lnTo>
                      <a:lnTo>
                        <a:pt x="1914" y="1614"/>
                      </a:lnTo>
                      <a:lnTo>
                        <a:pt x="1920" y="1620"/>
                      </a:lnTo>
                      <a:lnTo>
                        <a:pt x="1926" y="1620"/>
                      </a:lnTo>
                      <a:lnTo>
                        <a:pt x="1926" y="1608"/>
                      </a:lnTo>
                      <a:lnTo>
                        <a:pt x="1932" y="1602"/>
                      </a:lnTo>
                      <a:lnTo>
                        <a:pt x="1932" y="1608"/>
                      </a:lnTo>
                      <a:lnTo>
                        <a:pt x="1956" y="1632"/>
                      </a:lnTo>
                      <a:lnTo>
                        <a:pt x="1962" y="1626"/>
                      </a:lnTo>
                      <a:lnTo>
                        <a:pt x="1968" y="1614"/>
                      </a:lnTo>
                      <a:lnTo>
                        <a:pt x="1968" y="1596"/>
                      </a:lnTo>
                      <a:lnTo>
                        <a:pt x="1962" y="1584"/>
                      </a:lnTo>
                      <a:lnTo>
                        <a:pt x="1980" y="1590"/>
                      </a:lnTo>
                      <a:lnTo>
                        <a:pt x="1992" y="1608"/>
                      </a:lnTo>
                      <a:lnTo>
                        <a:pt x="2004" y="1614"/>
                      </a:lnTo>
                      <a:lnTo>
                        <a:pt x="2004" y="1626"/>
                      </a:lnTo>
                      <a:lnTo>
                        <a:pt x="2010" y="1626"/>
                      </a:lnTo>
                      <a:lnTo>
                        <a:pt x="2016" y="1632"/>
                      </a:lnTo>
                      <a:lnTo>
                        <a:pt x="2028" y="1632"/>
                      </a:lnTo>
                      <a:lnTo>
                        <a:pt x="2034" y="1626"/>
                      </a:lnTo>
                      <a:lnTo>
                        <a:pt x="2034" y="1620"/>
                      </a:lnTo>
                      <a:lnTo>
                        <a:pt x="2028" y="1608"/>
                      </a:lnTo>
                      <a:lnTo>
                        <a:pt x="2022" y="1602"/>
                      </a:lnTo>
                      <a:lnTo>
                        <a:pt x="2010" y="1596"/>
                      </a:lnTo>
                      <a:lnTo>
                        <a:pt x="2004" y="1590"/>
                      </a:lnTo>
                      <a:lnTo>
                        <a:pt x="1998" y="1578"/>
                      </a:lnTo>
                      <a:lnTo>
                        <a:pt x="2010" y="1578"/>
                      </a:lnTo>
                      <a:lnTo>
                        <a:pt x="2022" y="1566"/>
                      </a:lnTo>
                      <a:lnTo>
                        <a:pt x="2022" y="1554"/>
                      </a:lnTo>
                      <a:lnTo>
                        <a:pt x="2016" y="1548"/>
                      </a:lnTo>
                      <a:lnTo>
                        <a:pt x="1968" y="1548"/>
                      </a:lnTo>
                      <a:lnTo>
                        <a:pt x="1962" y="1542"/>
                      </a:lnTo>
                      <a:lnTo>
                        <a:pt x="1962" y="1530"/>
                      </a:lnTo>
                      <a:lnTo>
                        <a:pt x="1968" y="1524"/>
                      </a:lnTo>
                      <a:lnTo>
                        <a:pt x="1986" y="1524"/>
                      </a:lnTo>
                      <a:lnTo>
                        <a:pt x="1998" y="1530"/>
                      </a:lnTo>
                      <a:lnTo>
                        <a:pt x="2004" y="1530"/>
                      </a:lnTo>
                      <a:lnTo>
                        <a:pt x="2016" y="1536"/>
                      </a:lnTo>
                      <a:lnTo>
                        <a:pt x="2028" y="1536"/>
                      </a:lnTo>
                      <a:lnTo>
                        <a:pt x="2064" y="1518"/>
                      </a:lnTo>
                      <a:lnTo>
                        <a:pt x="2070" y="1512"/>
                      </a:lnTo>
                      <a:lnTo>
                        <a:pt x="2082" y="1512"/>
                      </a:lnTo>
                      <a:lnTo>
                        <a:pt x="2082" y="1518"/>
                      </a:lnTo>
                      <a:lnTo>
                        <a:pt x="2106" y="1518"/>
                      </a:lnTo>
                      <a:lnTo>
                        <a:pt x="2118" y="1512"/>
                      </a:lnTo>
                      <a:lnTo>
                        <a:pt x="2124" y="1512"/>
                      </a:lnTo>
                      <a:lnTo>
                        <a:pt x="2130" y="1506"/>
                      </a:lnTo>
                      <a:lnTo>
                        <a:pt x="2130" y="1500"/>
                      </a:lnTo>
                      <a:lnTo>
                        <a:pt x="2136" y="1488"/>
                      </a:lnTo>
                      <a:lnTo>
                        <a:pt x="2136" y="1482"/>
                      </a:lnTo>
                      <a:lnTo>
                        <a:pt x="2142" y="1482"/>
                      </a:lnTo>
                      <a:lnTo>
                        <a:pt x="2142" y="1488"/>
                      </a:lnTo>
                      <a:lnTo>
                        <a:pt x="2148" y="1500"/>
                      </a:lnTo>
                      <a:lnTo>
                        <a:pt x="2148" y="1524"/>
                      </a:lnTo>
                      <a:lnTo>
                        <a:pt x="2154" y="1524"/>
                      </a:lnTo>
                      <a:lnTo>
                        <a:pt x="2160" y="1518"/>
                      </a:lnTo>
                      <a:lnTo>
                        <a:pt x="2172" y="1512"/>
                      </a:lnTo>
                      <a:lnTo>
                        <a:pt x="2190" y="1512"/>
                      </a:lnTo>
                      <a:lnTo>
                        <a:pt x="2202" y="1506"/>
                      </a:lnTo>
                      <a:lnTo>
                        <a:pt x="2214" y="1506"/>
                      </a:lnTo>
                      <a:lnTo>
                        <a:pt x="2226" y="1512"/>
                      </a:lnTo>
                      <a:lnTo>
                        <a:pt x="2232" y="1524"/>
                      </a:lnTo>
                      <a:lnTo>
                        <a:pt x="2232" y="1506"/>
                      </a:lnTo>
                      <a:lnTo>
                        <a:pt x="2244" y="1506"/>
                      </a:lnTo>
                      <a:lnTo>
                        <a:pt x="2256" y="1518"/>
                      </a:lnTo>
                      <a:lnTo>
                        <a:pt x="2256" y="1530"/>
                      </a:lnTo>
                      <a:lnTo>
                        <a:pt x="2286" y="1524"/>
                      </a:lnTo>
                      <a:lnTo>
                        <a:pt x="2280" y="1536"/>
                      </a:lnTo>
                      <a:lnTo>
                        <a:pt x="2280" y="1548"/>
                      </a:lnTo>
                      <a:lnTo>
                        <a:pt x="2286" y="1554"/>
                      </a:lnTo>
                      <a:lnTo>
                        <a:pt x="2286" y="1566"/>
                      </a:lnTo>
                      <a:lnTo>
                        <a:pt x="2298" y="1578"/>
                      </a:lnTo>
                      <a:lnTo>
                        <a:pt x="2310" y="1578"/>
                      </a:lnTo>
                      <a:lnTo>
                        <a:pt x="2328" y="1572"/>
                      </a:lnTo>
                      <a:lnTo>
                        <a:pt x="2352" y="1548"/>
                      </a:lnTo>
                      <a:lnTo>
                        <a:pt x="2370" y="1542"/>
                      </a:lnTo>
                      <a:lnTo>
                        <a:pt x="2382" y="1542"/>
                      </a:lnTo>
                      <a:lnTo>
                        <a:pt x="2394" y="1548"/>
                      </a:lnTo>
                      <a:lnTo>
                        <a:pt x="2400" y="1554"/>
                      </a:lnTo>
                      <a:lnTo>
                        <a:pt x="2418" y="1590"/>
                      </a:lnTo>
                      <a:lnTo>
                        <a:pt x="2418" y="1602"/>
                      </a:lnTo>
                      <a:lnTo>
                        <a:pt x="2424" y="1608"/>
                      </a:lnTo>
                      <a:lnTo>
                        <a:pt x="2436" y="1614"/>
                      </a:lnTo>
                      <a:lnTo>
                        <a:pt x="2466" y="1614"/>
                      </a:lnTo>
                      <a:lnTo>
                        <a:pt x="2460" y="1656"/>
                      </a:lnTo>
                      <a:lnTo>
                        <a:pt x="2460" y="1662"/>
                      </a:lnTo>
                      <a:lnTo>
                        <a:pt x="2454" y="1668"/>
                      </a:lnTo>
                      <a:lnTo>
                        <a:pt x="2436" y="1704"/>
                      </a:lnTo>
                      <a:lnTo>
                        <a:pt x="2436" y="1710"/>
                      </a:lnTo>
                      <a:lnTo>
                        <a:pt x="2448" y="1722"/>
                      </a:lnTo>
                      <a:lnTo>
                        <a:pt x="2454" y="1722"/>
                      </a:lnTo>
                      <a:lnTo>
                        <a:pt x="2460" y="1734"/>
                      </a:lnTo>
                      <a:lnTo>
                        <a:pt x="2436" y="1758"/>
                      </a:lnTo>
                      <a:lnTo>
                        <a:pt x="2454" y="1806"/>
                      </a:lnTo>
                      <a:lnTo>
                        <a:pt x="2472" y="1788"/>
                      </a:lnTo>
                      <a:lnTo>
                        <a:pt x="2478" y="1788"/>
                      </a:lnTo>
                      <a:lnTo>
                        <a:pt x="2478" y="1794"/>
                      </a:lnTo>
                      <a:lnTo>
                        <a:pt x="2472" y="1800"/>
                      </a:lnTo>
                      <a:lnTo>
                        <a:pt x="2466" y="1812"/>
                      </a:lnTo>
                      <a:lnTo>
                        <a:pt x="2466" y="1818"/>
                      </a:lnTo>
                      <a:lnTo>
                        <a:pt x="2460" y="1830"/>
                      </a:lnTo>
                      <a:lnTo>
                        <a:pt x="2478" y="1830"/>
                      </a:lnTo>
                      <a:lnTo>
                        <a:pt x="2478" y="1878"/>
                      </a:lnTo>
                      <a:lnTo>
                        <a:pt x="2496" y="1878"/>
                      </a:lnTo>
                      <a:lnTo>
                        <a:pt x="2502" y="1884"/>
                      </a:lnTo>
                      <a:lnTo>
                        <a:pt x="2508" y="1884"/>
                      </a:lnTo>
                      <a:lnTo>
                        <a:pt x="2508" y="1896"/>
                      </a:lnTo>
                      <a:lnTo>
                        <a:pt x="2502" y="1908"/>
                      </a:lnTo>
                      <a:lnTo>
                        <a:pt x="2502" y="1920"/>
                      </a:lnTo>
                      <a:lnTo>
                        <a:pt x="2526" y="1944"/>
                      </a:lnTo>
                      <a:lnTo>
                        <a:pt x="2532" y="1944"/>
                      </a:lnTo>
                      <a:lnTo>
                        <a:pt x="2538" y="1938"/>
                      </a:lnTo>
                      <a:lnTo>
                        <a:pt x="2550" y="1932"/>
                      </a:lnTo>
                      <a:lnTo>
                        <a:pt x="2556" y="1932"/>
                      </a:lnTo>
                      <a:lnTo>
                        <a:pt x="2562" y="1926"/>
                      </a:lnTo>
                      <a:lnTo>
                        <a:pt x="2568" y="1914"/>
                      </a:lnTo>
                      <a:lnTo>
                        <a:pt x="2568" y="1896"/>
                      </a:lnTo>
                      <a:lnTo>
                        <a:pt x="2586" y="1896"/>
                      </a:lnTo>
                      <a:lnTo>
                        <a:pt x="2586" y="1872"/>
                      </a:lnTo>
                      <a:lnTo>
                        <a:pt x="2604" y="1836"/>
                      </a:lnTo>
                      <a:lnTo>
                        <a:pt x="2604" y="1818"/>
                      </a:lnTo>
                      <a:lnTo>
                        <a:pt x="2610" y="1806"/>
                      </a:lnTo>
                      <a:lnTo>
                        <a:pt x="2610" y="1794"/>
                      </a:lnTo>
                      <a:lnTo>
                        <a:pt x="2604" y="1782"/>
                      </a:lnTo>
                      <a:lnTo>
                        <a:pt x="2604" y="1770"/>
                      </a:lnTo>
                      <a:lnTo>
                        <a:pt x="2598" y="1752"/>
                      </a:lnTo>
                      <a:lnTo>
                        <a:pt x="2592" y="1740"/>
                      </a:lnTo>
                      <a:lnTo>
                        <a:pt x="2586" y="1722"/>
                      </a:lnTo>
                      <a:lnTo>
                        <a:pt x="2586" y="1704"/>
                      </a:lnTo>
                      <a:lnTo>
                        <a:pt x="2592" y="1686"/>
                      </a:lnTo>
                      <a:lnTo>
                        <a:pt x="2598" y="1674"/>
                      </a:lnTo>
                      <a:lnTo>
                        <a:pt x="2598" y="1644"/>
                      </a:lnTo>
                      <a:lnTo>
                        <a:pt x="2592" y="1626"/>
                      </a:lnTo>
                      <a:lnTo>
                        <a:pt x="2586" y="1614"/>
                      </a:lnTo>
                      <a:lnTo>
                        <a:pt x="2580" y="1596"/>
                      </a:lnTo>
                      <a:lnTo>
                        <a:pt x="2574" y="1584"/>
                      </a:lnTo>
                      <a:lnTo>
                        <a:pt x="2574" y="1518"/>
                      </a:lnTo>
                      <a:lnTo>
                        <a:pt x="2580" y="1488"/>
                      </a:lnTo>
                      <a:lnTo>
                        <a:pt x="2586" y="1470"/>
                      </a:lnTo>
                      <a:lnTo>
                        <a:pt x="2598" y="1452"/>
                      </a:lnTo>
                      <a:lnTo>
                        <a:pt x="2604" y="1440"/>
                      </a:lnTo>
                      <a:lnTo>
                        <a:pt x="2610" y="1422"/>
                      </a:lnTo>
                      <a:lnTo>
                        <a:pt x="2616" y="1416"/>
                      </a:lnTo>
                      <a:lnTo>
                        <a:pt x="2616" y="1410"/>
                      </a:lnTo>
                      <a:lnTo>
                        <a:pt x="2628" y="1398"/>
                      </a:lnTo>
                      <a:lnTo>
                        <a:pt x="2652" y="1380"/>
                      </a:lnTo>
                      <a:lnTo>
                        <a:pt x="2658" y="1356"/>
                      </a:lnTo>
                      <a:lnTo>
                        <a:pt x="2670" y="1368"/>
                      </a:lnTo>
                      <a:lnTo>
                        <a:pt x="2676" y="1344"/>
                      </a:lnTo>
                      <a:lnTo>
                        <a:pt x="2730" y="1344"/>
                      </a:lnTo>
                      <a:lnTo>
                        <a:pt x="2730" y="1314"/>
                      </a:lnTo>
                      <a:lnTo>
                        <a:pt x="2748" y="1320"/>
                      </a:lnTo>
                      <a:lnTo>
                        <a:pt x="2754" y="1308"/>
                      </a:lnTo>
                      <a:lnTo>
                        <a:pt x="2772" y="1308"/>
                      </a:lnTo>
                      <a:lnTo>
                        <a:pt x="2796" y="1278"/>
                      </a:lnTo>
                      <a:lnTo>
                        <a:pt x="2796" y="1272"/>
                      </a:lnTo>
                      <a:lnTo>
                        <a:pt x="2802" y="1266"/>
                      </a:lnTo>
                      <a:lnTo>
                        <a:pt x="2814" y="1242"/>
                      </a:lnTo>
                      <a:lnTo>
                        <a:pt x="2832" y="1236"/>
                      </a:lnTo>
                      <a:lnTo>
                        <a:pt x="2862" y="1236"/>
                      </a:lnTo>
                      <a:lnTo>
                        <a:pt x="2874" y="1242"/>
                      </a:lnTo>
                      <a:lnTo>
                        <a:pt x="2886" y="1242"/>
                      </a:lnTo>
                      <a:lnTo>
                        <a:pt x="2892" y="1236"/>
                      </a:lnTo>
                      <a:lnTo>
                        <a:pt x="2904" y="1212"/>
                      </a:lnTo>
                      <a:lnTo>
                        <a:pt x="2910" y="1206"/>
                      </a:lnTo>
                      <a:lnTo>
                        <a:pt x="2916" y="1194"/>
                      </a:lnTo>
                      <a:lnTo>
                        <a:pt x="2928" y="1200"/>
                      </a:lnTo>
                      <a:lnTo>
                        <a:pt x="2934" y="1176"/>
                      </a:lnTo>
                      <a:lnTo>
                        <a:pt x="3018" y="1170"/>
                      </a:lnTo>
                      <a:lnTo>
                        <a:pt x="3024" y="1146"/>
                      </a:lnTo>
                      <a:lnTo>
                        <a:pt x="2982" y="1152"/>
                      </a:lnTo>
                      <a:lnTo>
                        <a:pt x="2988" y="1146"/>
                      </a:lnTo>
                      <a:lnTo>
                        <a:pt x="3000" y="1140"/>
                      </a:lnTo>
                      <a:lnTo>
                        <a:pt x="3006" y="1140"/>
                      </a:lnTo>
                      <a:lnTo>
                        <a:pt x="3006" y="1134"/>
                      </a:lnTo>
                      <a:lnTo>
                        <a:pt x="3000" y="1128"/>
                      </a:lnTo>
                      <a:lnTo>
                        <a:pt x="2994" y="1116"/>
                      </a:lnTo>
                      <a:lnTo>
                        <a:pt x="2988" y="1110"/>
                      </a:lnTo>
                      <a:lnTo>
                        <a:pt x="3024" y="1104"/>
                      </a:lnTo>
                      <a:lnTo>
                        <a:pt x="3048" y="1116"/>
                      </a:lnTo>
                      <a:lnTo>
                        <a:pt x="3078" y="1080"/>
                      </a:lnTo>
                      <a:lnTo>
                        <a:pt x="3024" y="1074"/>
                      </a:lnTo>
                      <a:lnTo>
                        <a:pt x="3024" y="1050"/>
                      </a:lnTo>
                      <a:lnTo>
                        <a:pt x="3036" y="1062"/>
                      </a:lnTo>
                      <a:lnTo>
                        <a:pt x="3078" y="1050"/>
                      </a:lnTo>
                      <a:lnTo>
                        <a:pt x="3084" y="990"/>
                      </a:lnTo>
                      <a:lnTo>
                        <a:pt x="3054" y="1002"/>
                      </a:lnTo>
                      <a:lnTo>
                        <a:pt x="3048" y="972"/>
                      </a:lnTo>
                      <a:lnTo>
                        <a:pt x="3024" y="960"/>
                      </a:lnTo>
                      <a:lnTo>
                        <a:pt x="3072" y="978"/>
                      </a:lnTo>
                      <a:lnTo>
                        <a:pt x="3078" y="972"/>
                      </a:lnTo>
                      <a:lnTo>
                        <a:pt x="3060" y="954"/>
                      </a:lnTo>
                      <a:lnTo>
                        <a:pt x="3090" y="954"/>
                      </a:lnTo>
                      <a:lnTo>
                        <a:pt x="3084" y="948"/>
                      </a:lnTo>
                      <a:lnTo>
                        <a:pt x="3078" y="936"/>
                      </a:lnTo>
                      <a:lnTo>
                        <a:pt x="3060" y="918"/>
                      </a:lnTo>
                      <a:lnTo>
                        <a:pt x="3054" y="906"/>
                      </a:lnTo>
                      <a:lnTo>
                        <a:pt x="3054" y="894"/>
                      </a:lnTo>
                      <a:lnTo>
                        <a:pt x="3060" y="888"/>
                      </a:lnTo>
                      <a:lnTo>
                        <a:pt x="3042" y="870"/>
                      </a:lnTo>
                      <a:lnTo>
                        <a:pt x="3042" y="864"/>
                      </a:lnTo>
                      <a:lnTo>
                        <a:pt x="3048" y="864"/>
                      </a:lnTo>
                      <a:lnTo>
                        <a:pt x="3066" y="846"/>
                      </a:lnTo>
                      <a:lnTo>
                        <a:pt x="3072" y="846"/>
                      </a:lnTo>
                      <a:lnTo>
                        <a:pt x="3066" y="870"/>
                      </a:lnTo>
                      <a:lnTo>
                        <a:pt x="3096" y="894"/>
                      </a:lnTo>
                      <a:lnTo>
                        <a:pt x="3096" y="888"/>
                      </a:lnTo>
                      <a:lnTo>
                        <a:pt x="3102" y="882"/>
                      </a:lnTo>
                      <a:lnTo>
                        <a:pt x="3102" y="864"/>
                      </a:lnTo>
                      <a:lnTo>
                        <a:pt x="3108" y="852"/>
                      </a:lnTo>
                      <a:lnTo>
                        <a:pt x="3108" y="834"/>
                      </a:lnTo>
                      <a:lnTo>
                        <a:pt x="3114" y="822"/>
                      </a:lnTo>
                      <a:lnTo>
                        <a:pt x="3144" y="792"/>
                      </a:lnTo>
                      <a:lnTo>
                        <a:pt x="3156" y="786"/>
                      </a:lnTo>
                      <a:lnTo>
                        <a:pt x="3162" y="786"/>
                      </a:lnTo>
                      <a:lnTo>
                        <a:pt x="3162" y="792"/>
                      </a:lnTo>
                      <a:lnTo>
                        <a:pt x="3150" y="816"/>
                      </a:lnTo>
                      <a:lnTo>
                        <a:pt x="3132" y="834"/>
                      </a:lnTo>
                      <a:lnTo>
                        <a:pt x="3126" y="846"/>
                      </a:lnTo>
                      <a:lnTo>
                        <a:pt x="3120" y="882"/>
                      </a:lnTo>
                      <a:lnTo>
                        <a:pt x="3138" y="882"/>
                      </a:lnTo>
                      <a:lnTo>
                        <a:pt x="3138" y="894"/>
                      </a:lnTo>
                      <a:lnTo>
                        <a:pt x="3132" y="906"/>
                      </a:lnTo>
                      <a:lnTo>
                        <a:pt x="3132" y="918"/>
                      </a:lnTo>
                      <a:lnTo>
                        <a:pt x="3114" y="936"/>
                      </a:lnTo>
                      <a:lnTo>
                        <a:pt x="3102" y="960"/>
                      </a:lnTo>
                      <a:lnTo>
                        <a:pt x="3102" y="978"/>
                      </a:lnTo>
                      <a:lnTo>
                        <a:pt x="3126" y="954"/>
                      </a:lnTo>
                      <a:lnTo>
                        <a:pt x="3132" y="942"/>
                      </a:lnTo>
                      <a:lnTo>
                        <a:pt x="3144" y="930"/>
                      </a:lnTo>
                      <a:lnTo>
                        <a:pt x="3168" y="918"/>
                      </a:lnTo>
                      <a:lnTo>
                        <a:pt x="3180" y="906"/>
                      </a:lnTo>
                      <a:lnTo>
                        <a:pt x="3192" y="882"/>
                      </a:lnTo>
                      <a:lnTo>
                        <a:pt x="3192" y="798"/>
                      </a:lnTo>
                      <a:lnTo>
                        <a:pt x="3198" y="780"/>
                      </a:lnTo>
                      <a:lnTo>
                        <a:pt x="3198" y="768"/>
                      </a:lnTo>
                      <a:lnTo>
                        <a:pt x="3204" y="756"/>
                      </a:lnTo>
                      <a:lnTo>
                        <a:pt x="3210" y="756"/>
                      </a:lnTo>
                      <a:lnTo>
                        <a:pt x="3210" y="768"/>
                      </a:lnTo>
                      <a:lnTo>
                        <a:pt x="3204" y="780"/>
                      </a:lnTo>
                      <a:lnTo>
                        <a:pt x="3204" y="798"/>
                      </a:lnTo>
                      <a:lnTo>
                        <a:pt x="3210" y="798"/>
                      </a:lnTo>
                      <a:lnTo>
                        <a:pt x="3216" y="804"/>
                      </a:lnTo>
                      <a:lnTo>
                        <a:pt x="3216" y="840"/>
                      </a:lnTo>
                      <a:lnTo>
                        <a:pt x="3234" y="822"/>
                      </a:lnTo>
                      <a:lnTo>
                        <a:pt x="3240" y="810"/>
                      </a:lnTo>
                      <a:lnTo>
                        <a:pt x="3288" y="762"/>
                      </a:lnTo>
                      <a:lnTo>
                        <a:pt x="3300" y="756"/>
                      </a:lnTo>
                      <a:lnTo>
                        <a:pt x="3324" y="732"/>
                      </a:lnTo>
                      <a:lnTo>
                        <a:pt x="3324" y="726"/>
                      </a:lnTo>
                      <a:lnTo>
                        <a:pt x="3318" y="720"/>
                      </a:lnTo>
                      <a:lnTo>
                        <a:pt x="3312" y="720"/>
                      </a:lnTo>
                      <a:lnTo>
                        <a:pt x="3306" y="714"/>
                      </a:lnTo>
                      <a:lnTo>
                        <a:pt x="3306" y="702"/>
                      </a:lnTo>
                      <a:lnTo>
                        <a:pt x="3312" y="696"/>
                      </a:lnTo>
                      <a:lnTo>
                        <a:pt x="3324" y="696"/>
                      </a:lnTo>
                      <a:lnTo>
                        <a:pt x="3330" y="702"/>
                      </a:lnTo>
                      <a:lnTo>
                        <a:pt x="3360" y="702"/>
                      </a:lnTo>
                      <a:lnTo>
                        <a:pt x="3390" y="696"/>
                      </a:lnTo>
                      <a:lnTo>
                        <a:pt x="3450" y="672"/>
                      </a:lnTo>
                      <a:lnTo>
                        <a:pt x="3462" y="666"/>
                      </a:lnTo>
                      <a:lnTo>
                        <a:pt x="3444" y="660"/>
                      </a:lnTo>
                      <a:lnTo>
                        <a:pt x="3438" y="660"/>
                      </a:lnTo>
                      <a:lnTo>
                        <a:pt x="3432" y="666"/>
                      </a:lnTo>
                      <a:lnTo>
                        <a:pt x="3414" y="672"/>
                      </a:lnTo>
                      <a:lnTo>
                        <a:pt x="3402" y="672"/>
                      </a:lnTo>
                      <a:lnTo>
                        <a:pt x="3390" y="678"/>
                      </a:lnTo>
                      <a:lnTo>
                        <a:pt x="3372" y="678"/>
                      </a:lnTo>
                      <a:lnTo>
                        <a:pt x="3360" y="684"/>
                      </a:lnTo>
                      <a:lnTo>
                        <a:pt x="3348" y="684"/>
                      </a:lnTo>
                      <a:lnTo>
                        <a:pt x="3342" y="678"/>
                      </a:lnTo>
                      <a:lnTo>
                        <a:pt x="3342" y="672"/>
                      </a:lnTo>
                      <a:lnTo>
                        <a:pt x="3348" y="666"/>
                      </a:lnTo>
                      <a:lnTo>
                        <a:pt x="3354" y="654"/>
                      </a:lnTo>
                      <a:lnTo>
                        <a:pt x="3366" y="654"/>
                      </a:lnTo>
                      <a:lnTo>
                        <a:pt x="3378" y="648"/>
                      </a:lnTo>
                      <a:lnTo>
                        <a:pt x="3402" y="648"/>
                      </a:lnTo>
                      <a:lnTo>
                        <a:pt x="3492" y="642"/>
                      </a:lnTo>
                      <a:lnTo>
                        <a:pt x="3534" y="606"/>
                      </a:lnTo>
                      <a:lnTo>
                        <a:pt x="3546" y="618"/>
                      </a:lnTo>
                      <a:lnTo>
                        <a:pt x="3570" y="606"/>
                      </a:lnTo>
                      <a:lnTo>
                        <a:pt x="3570" y="642"/>
                      </a:lnTo>
                      <a:lnTo>
                        <a:pt x="3600" y="618"/>
                      </a:lnTo>
                      <a:lnTo>
                        <a:pt x="3624" y="612"/>
                      </a:lnTo>
                      <a:lnTo>
                        <a:pt x="3630" y="582"/>
                      </a:lnTo>
                      <a:lnTo>
                        <a:pt x="3618" y="570"/>
                      </a:lnTo>
                      <a:lnTo>
                        <a:pt x="3612" y="600"/>
                      </a:lnTo>
                      <a:lnTo>
                        <a:pt x="3588" y="600"/>
                      </a:lnTo>
                      <a:lnTo>
                        <a:pt x="3588" y="576"/>
                      </a:lnTo>
                      <a:lnTo>
                        <a:pt x="3570" y="552"/>
                      </a:lnTo>
                      <a:lnTo>
                        <a:pt x="3594" y="540"/>
                      </a:lnTo>
                      <a:lnTo>
                        <a:pt x="3600" y="504"/>
                      </a:lnTo>
                      <a:lnTo>
                        <a:pt x="3612" y="498"/>
                      </a:lnTo>
                      <a:lnTo>
                        <a:pt x="3618" y="486"/>
                      </a:lnTo>
                      <a:lnTo>
                        <a:pt x="3630" y="480"/>
                      </a:lnTo>
                      <a:lnTo>
                        <a:pt x="3636" y="474"/>
                      </a:lnTo>
                      <a:lnTo>
                        <a:pt x="3648" y="468"/>
                      </a:lnTo>
                      <a:lnTo>
                        <a:pt x="3654" y="456"/>
                      </a:lnTo>
                      <a:lnTo>
                        <a:pt x="3654" y="450"/>
                      </a:lnTo>
                      <a:lnTo>
                        <a:pt x="3660" y="444"/>
                      </a:lnTo>
                      <a:lnTo>
                        <a:pt x="3660" y="438"/>
                      </a:lnTo>
                      <a:lnTo>
                        <a:pt x="3690" y="444"/>
                      </a:lnTo>
                      <a:lnTo>
                        <a:pt x="3702" y="426"/>
                      </a:lnTo>
                      <a:lnTo>
                        <a:pt x="3708" y="432"/>
                      </a:lnTo>
                      <a:lnTo>
                        <a:pt x="3720" y="432"/>
                      </a:lnTo>
                      <a:lnTo>
                        <a:pt x="3726" y="426"/>
                      </a:lnTo>
                      <a:lnTo>
                        <a:pt x="3738" y="420"/>
                      </a:lnTo>
                      <a:lnTo>
                        <a:pt x="3744" y="408"/>
                      </a:lnTo>
                      <a:lnTo>
                        <a:pt x="3756" y="402"/>
                      </a:lnTo>
                      <a:lnTo>
                        <a:pt x="3774" y="384"/>
                      </a:lnTo>
                      <a:lnTo>
                        <a:pt x="3774" y="414"/>
                      </a:lnTo>
                      <a:lnTo>
                        <a:pt x="3786" y="408"/>
                      </a:lnTo>
                      <a:lnTo>
                        <a:pt x="3792" y="402"/>
                      </a:lnTo>
                      <a:lnTo>
                        <a:pt x="3828" y="384"/>
                      </a:lnTo>
                      <a:lnTo>
                        <a:pt x="3834" y="378"/>
                      </a:lnTo>
                      <a:lnTo>
                        <a:pt x="3846" y="378"/>
                      </a:lnTo>
                      <a:lnTo>
                        <a:pt x="3858" y="372"/>
                      </a:lnTo>
                      <a:lnTo>
                        <a:pt x="3876" y="372"/>
                      </a:lnTo>
                      <a:lnTo>
                        <a:pt x="3888" y="366"/>
                      </a:lnTo>
                      <a:lnTo>
                        <a:pt x="3900" y="366"/>
                      </a:lnTo>
                      <a:lnTo>
                        <a:pt x="3900" y="330"/>
                      </a:lnTo>
                      <a:lnTo>
                        <a:pt x="3876" y="330"/>
                      </a:lnTo>
                      <a:lnTo>
                        <a:pt x="3876" y="324"/>
                      </a:lnTo>
                      <a:lnTo>
                        <a:pt x="3882" y="312"/>
                      </a:lnTo>
                      <a:lnTo>
                        <a:pt x="3894" y="300"/>
                      </a:lnTo>
                      <a:lnTo>
                        <a:pt x="3888" y="294"/>
                      </a:lnTo>
                      <a:lnTo>
                        <a:pt x="3882" y="294"/>
                      </a:lnTo>
                      <a:lnTo>
                        <a:pt x="3876" y="288"/>
                      </a:lnTo>
                      <a:lnTo>
                        <a:pt x="3876" y="276"/>
                      </a:lnTo>
                      <a:lnTo>
                        <a:pt x="3888" y="252"/>
                      </a:lnTo>
                      <a:lnTo>
                        <a:pt x="3900" y="222"/>
                      </a:lnTo>
                      <a:lnTo>
                        <a:pt x="3912" y="198"/>
                      </a:lnTo>
                      <a:lnTo>
                        <a:pt x="3918" y="174"/>
                      </a:lnTo>
                      <a:lnTo>
                        <a:pt x="3918" y="168"/>
                      </a:lnTo>
                      <a:lnTo>
                        <a:pt x="3912" y="162"/>
                      </a:lnTo>
                      <a:lnTo>
                        <a:pt x="3876" y="162"/>
                      </a:lnTo>
                      <a:lnTo>
                        <a:pt x="3864" y="168"/>
                      </a:lnTo>
                      <a:lnTo>
                        <a:pt x="3858" y="168"/>
                      </a:lnTo>
                      <a:close/>
                      <a:moveTo>
                        <a:pt x="2718" y="366"/>
                      </a:moveTo>
                      <a:lnTo>
                        <a:pt x="2712" y="366"/>
                      </a:lnTo>
                      <a:lnTo>
                        <a:pt x="2712" y="354"/>
                      </a:lnTo>
                      <a:lnTo>
                        <a:pt x="2718" y="348"/>
                      </a:lnTo>
                      <a:lnTo>
                        <a:pt x="2718" y="336"/>
                      </a:lnTo>
                      <a:lnTo>
                        <a:pt x="2712" y="336"/>
                      </a:lnTo>
                      <a:lnTo>
                        <a:pt x="2700" y="342"/>
                      </a:lnTo>
                      <a:lnTo>
                        <a:pt x="2694" y="348"/>
                      </a:lnTo>
                      <a:lnTo>
                        <a:pt x="2682" y="354"/>
                      </a:lnTo>
                      <a:lnTo>
                        <a:pt x="2676" y="372"/>
                      </a:lnTo>
                      <a:lnTo>
                        <a:pt x="2664" y="366"/>
                      </a:lnTo>
                      <a:lnTo>
                        <a:pt x="2664" y="378"/>
                      </a:lnTo>
                      <a:lnTo>
                        <a:pt x="2652" y="402"/>
                      </a:lnTo>
                      <a:lnTo>
                        <a:pt x="2628" y="414"/>
                      </a:lnTo>
                      <a:lnTo>
                        <a:pt x="2628" y="426"/>
                      </a:lnTo>
                      <a:lnTo>
                        <a:pt x="2634" y="432"/>
                      </a:lnTo>
                      <a:lnTo>
                        <a:pt x="2628" y="432"/>
                      </a:lnTo>
                      <a:lnTo>
                        <a:pt x="2598" y="462"/>
                      </a:lnTo>
                      <a:lnTo>
                        <a:pt x="2598" y="468"/>
                      </a:lnTo>
                      <a:lnTo>
                        <a:pt x="2604" y="474"/>
                      </a:lnTo>
                      <a:lnTo>
                        <a:pt x="2610" y="474"/>
                      </a:lnTo>
                      <a:lnTo>
                        <a:pt x="2616" y="480"/>
                      </a:lnTo>
                      <a:lnTo>
                        <a:pt x="2616" y="492"/>
                      </a:lnTo>
                      <a:lnTo>
                        <a:pt x="2610" y="498"/>
                      </a:lnTo>
                      <a:lnTo>
                        <a:pt x="2604" y="498"/>
                      </a:lnTo>
                      <a:lnTo>
                        <a:pt x="2604" y="510"/>
                      </a:lnTo>
                      <a:lnTo>
                        <a:pt x="2592" y="534"/>
                      </a:lnTo>
                      <a:lnTo>
                        <a:pt x="2580" y="552"/>
                      </a:lnTo>
                      <a:lnTo>
                        <a:pt x="2550" y="582"/>
                      </a:lnTo>
                      <a:lnTo>
                        <a:pt x="2478" y="618"/>
                      </a:lnTo>
                      <a:lnTo>
                        <a:pt x="2484" y="588"/>
                      </a:lnTo>
                      <a:lnTo>
                        <a:pt x="2478" y="582"/>
                      </a:lnTo>
                      <a:lnTo>
                        <a:pt x="2478" y="576"/>
                      </a:lnTo>
                      <a:lnTo>
                        <a:pt x="2472" y="570"/>
                      </a:lnTo>
                      <a:lnTo>
                        <a:pt x="2472" y="564"/>
                      </a:lnTo>
                      <a:lnTo>
                        <a:pt x="2478" y="552"/>
                      </a:lnTo>
                      <a:lnTo>
                        <a:pt x="2496" y="534"/>
                      </a:lnTo>
                      <a:lnTo>
                        <a:pt x="2502" y="522"/>
                      </a:lnTo>
                      <a:lnTo>
                        <a:pt x="2502" y="516"/>
                      </a:lnTo>
                      <a:lnTo>
                        <a:pt x="2496" y="510"/>
                      </a:lnTo>
                      <a:lnTo>
                        <a:pt x="2496" y="492"/>
                      </a:lnTo>
                      <a:lnTo>
                        <a:pt x="2502" y="480"/>
                      </a:lnTo>
                      <a:lnTo>
                        <a:pt x="2508" y="474"/>
                      </a:lnTo>
                      <a:lnTo>
                        <a:pt x="2514" y="462"/>
                      </a:lnTo>
                      <a:lnTo>
                        <a:pt x="2526" y="456"/>
                      </a:lnTo>
                      <a:lnTo>
                        <a:pt x="2532" y="450"/>
                      </a:lnTo>
                      <a:lnTo>
                        <a:pt x="2532" y="432"/>
                      </a:lnTo>
                      <a:lnTo>
                        <a:pt x="2538" y="432"/>
                      </a:lnTo>
                      <a:lnTo>
                        <a:pt x="2622" y="348"/>
                      </a:lnTo>
                      <a:lnTo>
                        <a:pt x="2592" y="354"/>
                      </a:lnTo>
                      <a:lnTo>
                        <a:pt x="2580" y="360"/>
                      </a:lnTo>
                      <a:lnTo>
                        <a:pt x="2574" y="366"/>
                      </a:lnTo>
                      <a:lnTo>
                        <a:pt x="2562" y="372"/>
                      </a:lnTo>
                      <a:lnTo>
                        <a:pt x="2556" y="378"/>
                      </a:lnTo>
                      <a:lnTo>
                        <a:pt x="2550" y="378"/>
                      </a:lnTo>
                      <a:lnTo>
                        <a:pt x="2550" y="372"/>
                      </a:lnTo>
                      <a:lnTo>
                        <a:pt x="2556" y="366"/>
                      </a:lnTo>
                      <a:lnTo>
                        <a:pt x="2568" y="360"/>
                      </a:lnTo>
                      <a:lnTo>
                        <a:pt x="2592" y="336"/>
                      </a:lnTo>
                      <a:lnTo>
                        <a:pt x="2604" y="330"/>
                      </a:lnTo>
                      <a:lnTo>
                        <a:pt x="2658" y="276"/>
                      </a:lnTo>
                      <a:lnTo>
                        <a:pt x="2670" y="288"/>
                      </a:lnTo>
                      <a:lnTo>
                        <a:pt x="2682" y="276"/>
                      </a:lnTo>
                      <a:lnTo>
                        <a:pt x="2682" y="288"/>
                      </a:lnTo>
                      <a:lnTo>
                        <a:pt x="2694" y="288"/>
                      </a:lnTo>
                      <a:lnTo>
                        <a:pt x="2700" y="282"/>
                      </a:lnTo>
                      <a:lnTo>
                        <a:pt x="2700" y="270"/>
                      </a:lnTo>
                      <a:lnTo>
                        <a:pt x="2724" y="276"/>
                      </a:lnTo>
                      <a:lnTo>
                        <a:pt x="2736" y="270"/>
                      </a:lnTo>
                      <a:lnTo>
                        <a:pt x="2742" y="270"/>
                      </a:lnTo>
                      <a:lnTo>
                        <a:pt x="2754" y="264"/>
                      </a:lnTo>
                      <a:lnTo>
                        <a:pt x="2772" y="264"/>
                      </a:lnTo>
                      <a:lnTo>
                        <a:pt x="2784" y="270"/>
                      </a:lnTo>
                      <a:lnTo>
                        <a:pt x="2790" y="276"/>
                      </a:lnTo>
                      <a:lnTo>
                        <a:pt x="2796" y="288"/>
                      </a:lnTo>
                      <a:lnTo>
                        <a:pt x="2772" y="294"/>
                      </a:lnTo>
                      <a:lnTo>
                        <a:pt x="2772" y="318"/>
                      </a:lnTo>
                      <a:lnTo>
                        <a:pt x="2742" y="318"/>
                      </a:lnTo>
                      <a:lnTo>
                        <a:pt x="2736" y="324"/>
                      </a:lnTo>
                      <a:lnTo>
                        <a:pt x="2736" y="360"/>
                      </a:lnTo>
                      <a:lnTo>
                        <a:pt x="2730" y="366"/>
                      </a:lnTo>
                      <a:lnTo>
                        <a:pt x="2718" y="366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/>
                  <a:endParaRPr lang="en-US">
                    <a:solidFill>
                      <a:srgbClr val="000000"/>
                    </a:solidFill>
                    <a:latin typeface="Verdana" panose="020B0604030504040204"/>
                  </a:endParaRPr>
                </a:p>
              </p:txBody>
            </p:sp>
          </p:grpSp>
          <p:grpSp>
            <p:nvGrpSpPr>
              <p:cNvPr id="276" name="Gruppieren 486"/>
              <p:cNvGrpSpPr/>
              <p:nvPr/>
            </p:nvGrpSpPr>
            <p:grpSpPr>
              <a:xfrm>
                <a:off x="2588646" y="2132013"/>
                <a:ext cx="1623317" cy="2975107"/>
                <a:chOff x="2588643" y="2255045"/>
                <a:chExt cx="1469891" cy="2865655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278" name="Ellipse 487"/>
                <p:cNvSpPr/>
                <p:nvPr/>
              </p:nvSpPr>
              <p:spPr>
                <a:xfrm>
                  <a:off x="3419872" y="2479677"/>
                  <a:ext cx="72008" cy="90487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685800">
                    <a:defRPr/>
                  </a:pPr>
                  <a:endParaRPr lang="de-DE">
                    <a:solidFill>
                      <a:srgbClr val="FFFFFF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79" name="Ellipse 488"/>
                <p:cNvSpPr/>
                <p:nvPr/>
              </p:nvSpPr>
              <p:spPr>
                <a:xfrm>
                  <a:off x="2588643" y="2852936"/>
                  <a:ext cx="72008" cy="90487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685800">
                    <a:defRPr/>
                  </a:pPr>
                  <a:endParaRPr lang="de-DE">
                    <a:solidFill>
                      <a:srgbClr val="FFFFFF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80" name="Ellipse 489"/>
                <p:cNvSpPr/>
                <p:nvPr/>
              </p:nvSpPr>
              <p:spPr>
                <a:xfrm>
                  <a:off x="3243774" y="3018805"/>
                  <a:ext cx="72008" cy="90487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685800">
                    <a:defRPr/>
                  </a:pPr>
                  <a:endParaRPr lang="de-DE">
                    <a:solidFill>
                      <a:srgbClr val="FFFFFF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81" name="Ellipse 490"/>
                <p:cNvSpPr/>
                <p:nvPr/>
              </p:nvSpPr>
              <p:spPr>
                <a:xfrm>
                  <a:off x="3131840" y="3434959"/>
                  <a:ext cx="72008" cy="90487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685800">
                    <a:defRPr/>
                  </a:pPr>
                  <a:endParaRPr lang="de-DE">
                    <a:solidFill>
                      <a:srgbClr val="FFFFFF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82" name="Ellipse 491"/>
                <p:cNvSpPr/>
                <p:nvPr/>
              </p:nvSpPr>
              <p:spPr>
                <a:xfrm>
                  <a:off x="2800861" y="5030213"/>
                  <a:ext cx="72008" cy="90487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685800">
                    <a:defRPr/>
                  </a:pPr>
                  <a:endParaRPr lang="de-DE">
                    <a:solidFill>
                      <a:srgbClr val="FFFFFF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83" name="Ellipse 492"/>
                <p:cNvSpPr/>
                <p:nvPr/>
              </p:nvSpPr>
              <p:spPr>
                <a:xfrm>
                  <a:off x="3334504" y="4614060"/>
                  <a:ext cx="72008" cy="90487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685800">
                    <a:defRPr/>
                  </a:pPr>
                  <a:endParaRPr lang="de-DE">
                    <a:solidFill>
                      <a:srgbClr val="FFFFFF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84" name="Ellipse 493"/>
                <p:cNvSpPr/>
                <p:nvPr/>
              </p:nvSpPr>
              <p:spPr>
                <a:xfrm>
                  <a:off x="3986526" y="4059188"/>
                  <a:ext cx="72008" cy="90487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685800">
                    <a:defRPr/>
                  </a:pPr>
                  <a:endParaRPr lang="de-DE">
                    <a:solidFill>
                      <a:srgbClr val="FFFFFF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85" name="Ellipse 494"/>
                <p:cNvSpPr/>
                <p:nvPr/>
              </p:nvSpPr>
              <p:spPr>
                <a:xfrm>
                  <a:off x="3595312" y="3948116"/>
                  <a:ext cx="72008" cy="90487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685800">
                    <a:defRPr/>
                  </a:pPr>
                  <a:endParaRPr lang="de-DE">
                    <a:solidFill>
                      <a:srgbClr val="FFFFFF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86" name="Ellipse 495"/>
                <p:cNvSpPr/>
                <p:nvPr/>
              </p:nvSpPr>
              <p:spPr>
                <a:xfrm>
                  <a:off x="3298519" y="3851112"/>
                  <a:ext cx="72008" cy="90487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685800">
                    <a:defRPr/>
                  </a:pPr>
                  <a:endParaRPr lang="de-DE">
                    <a:solidFill>
                      <a:srgbClr val="FFFFFF"/>
                    </a:solidFill>
                    <a:latin typeface="Verdana" panose="020B0604030504040204"/>
                  </a:endParaRPr>
                </a:p>
              </p:txBody>
            </p:sp>
            <p:sp>
              <p:nvSpPr>
                <p:cNvPr id="287" name="Ellipse 496"/>
                <p:cNvSpPr/>
                <p:nvPr/>
              </p:nvSpPr>
              <p:spPr>
                <a:xfrm>
                  <a:off x="3133796" y="2255045"/>
                  <a:ext cx="72008" cy="90487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685800">
                    <a:defRPr/>
                  </a:pPr>
                  <a:endParaRPr lang="de-DE">
                    <a:solidFill>
                      <a:srgbClr val="FFFFFF"/>
                    </a:solidFill>
                    <a:latin typeface="Verdana" panose="020B0604030504040204"/>
                  </a:endParaRPr>
                </a:p>
              </p:txBody>
            </p:sp>
          </p:grpSp>
          <p:sp>
            <p:nvSpPr>
              <p:cNvPr id="277" name="Freihandform 485"/>
              <p:cNvSpPr/>
              <p:nvPr/>
            </p:nvSpPr>
            <p:spPr>
              <a:xfrm>
                <a:off x="1173163" y="1965326"/>
                <a:ext cx="4360076" cy="3225804"/>
              </a:xfrm>
              <a:custGeom>
                <a:avLst/>
                <a:gdLst>
                  <a:gd name="connsiteX0" fmla="*/ 376881 w 3991817"/>
                  <a:gd name="connsiteY0" fmla="*/ 827484 h 3633790"/>
                  <a:gd name="connsiteX1" fmla="*/ 3453713 w 3991817"/>
                  <a:gd name="connsiteY1" fmla="*/ 506208 h 3633790"/>
                  <a:gd name="connsiteX2" fmla="*/ 1643449 w 3991817"/>
                  <a:gd name="connsiteY2" fmla="*/ 2396792 h 3633790"/>
                  <a:gd name="connsiteX3" fmla="*/ 3707027 w 3991817"/>
                  <a:gd name="connsiteY3" fmla="*/ 11938 h 3633790"/>
                  <a:gd name="connsiteX4" fmla="*/ 278027 w 3991817"/>
                  <a:gd name="connsiteY4" fmla="*/ 1445322 h 3633790"/>
                  <a:gd name="connsiteX5" fmla="*/ 2953265 w 3991817"/>
                  <a:gd name="connsiteY5" fmla="*/ 734808 h 3633790"/>
                  <a:gd name="connsiteX6" fmla="*/ 877330 w 3991817"/>
                  <a:gd name="connsiteY6" fmla="*/ 2291760 h 3633790"/>
                  <a:gd name="connsiteX7" fmla="*/ 3150973 w 3991817"/>
                  <a:gd name="connsiteY7" fmla="*/ 518565 h 3633790"/>
                  <a:gd name="connsiteX8" fmla="*/ 1062681 w 3991817"/>
                  <a:gd name="connsiteY8" fmla="*/ 1420608 h 3633790"/>
                  <a:gd name="connsiteX9" fmla="*/ 3991232 w 3991817"/>
                  <a:gd name="connsiteY9" fmla="*/ 759522 h 3633790"/>
                  <a:gd name="connsiteX10" fmla="*/ 1334530 w 3991817"/>
                  <a:gd name="connsiteY10" fmla="*/ 3632468 h 3633790"/>
                  <a:gd name="connsiteX11" fmla="*/ 3379573 w 3991817"/>
                  <a:gd name="connsiteY11" fmla="*/ 351749 h 3633790"/>
                  <a:gd name="connsiteX12" fmla="*/ 0 w 3991817"/>
                  <a:gd name="connsiteY12" fmla="*/ 629776 h 3633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91817" h="3633790">
                    <a:moveTo>
                      <a:pt x="376881" y="827484"/>
                    </a:moveTo>
                    <a:cubicBezTo>
                      <a:pt x="1809749" y="536070"/>
                      <a:pt x="3242618" y="244657"/>
                      <a:pt x="3453713" y="506208"/>
                    </a:cubicBezTo>
                    <a:cubicBezTo>
                      <a:pt x="3664808" y="767759"/>
                      <a:pt x="1601230" y="2479170"/>
                      <a:pt x="1643449" y="2396792"/>
                    </a:cubicBezTo>
                    <a:cubicBezTo>
                      <a:pt x="1685668" y="2314414"/>
                      <a:pt x="3934597" y="170516"/>
                      <a:pt x="3707027" y="11938"/>
                    </a:cubicBezTo>
                    <a:cubicBezTo>
                      <a:pt x="3479457" y="-146640"/>
                      <a:pt x="403654" y="1324844"/>
                      <a:pt x="278027" y="1445322"/>
                    </a:cubicBezTo>
                    <a:cubicBezTo>
                      <a:pt x="152400" y="1565800"/>
                      <a:pt x="2853381" y="593735"/>
                      <a:pt x="2953265" y="734808"/>
                    </a:cubicBezTo>
                    <a:cubicBezTo>
                      <a:pt x="3053149" y="875881"/>
                      <a:pt x="844379" y="2327800"/>
                      <a:pt x="877330" y="2291760"/>
                    </a:cubicBezTo>
                    <a:cubicBezTo>
                      <a:pt x="910281" y="2255720"/>
                      <a:pt x="3120081" y="663757"/>
                      <a:pt x="3150973" y="518565"/>
                    </a:cubicBezTo>
                    <a:cubicBezTo>
                      <a:pt x="3181865" y="373373"/>
                      <a:pt x="922638" y="1380449"/>
                      <a:pt x="1062681" y="1420608"/>
                    </a:cubicBezTo>
                    <a:cubicBezTo>
                      <a:pt x="1202724" y="1460767"/>
                      <a:pt x="3945924" y="390879"/>
                      <a:pt x="3991232" y="759522"/>
                    </a:cubicBezTo>
                    <a:cubicBezTo>
                      <a:pt x="4036540" y="1128165"/>
                      <a:pt x="1436473" y="3700430"/>
                      <a:pt x="1334530" y="3632468"/>
                    </a:cubicBezTo>
                    <a:cubicBezTo>
                      <a:pt x="1232587" y="3564506"/>
                      <a:pt x="3601995" y="852198"/>
                      <a:pt x="3379573" y="351749"/>
                    </a:cubicBezTo>
                    <a:cubicBezTo>
                      <a:pt x="3157151" y="-148700"/>
                      <a:pt x="368643" y="615360"/>
                      <a:pt x="0" y="629776"/>
                    </a:cubicBezTo>
                  </a:path>
                </a:pathLst>
              </a:custGeom>
              <a:noFill/>
              <a:ln w="3175">
                <a:solidFill>
                  <a:srgbClr val="2664C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defTabSz="685800">
                  <a:defRPr/>
                </a:pPr>
                <a:endParaRPr lang="de-DE">
                  <a:solidFill>
                    <a:srgbClr val="FFFFFF"/>
                  </a:solidFill>
                  <a:latin typeface="Verdana" panose="020B0604030504040204"/>
                </a:endParaRPr>
              </a:p>
            </p:txBody>
          </p:sp>
        </p:grpSp>
        <p:sp>
          <p:nvSpPr>
            <p:cNvPr id="192" name="Oval 191"/>
            <p:cNvSpPr/>
            <p:nvPr/>
          </p:nvSpPr>
          <p:spPr>
            <a:xfrm>
              <a:off x="7086610" y="1432339"/>
              <a:ext cx="1056515" cy="1060244"/>
            </a:xfrm>
            <a:prstGeom prst="ellipse">
              <a:avLst/>
            </a:prstGeom>
            <a:noFill/>
            <a:ln w="19050">
              <a:solidFill>
                <a:srgbClr val="A511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bg-BG">
                <a:solidFill>
                  <a:srgbClr val="FFFFFF"/>
                </a:solidFill>
                <a:latin typeface="Verdana" panose="020B0604030504040204"/>
              </a:endParaRPr>
            </a:p>
          </p:txBody>
        </p:sp>
        <p:pic>
          <p:nvPicPr>
            <p:cNvPr id="193" name="Picture 192"/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462" b="12822"/>
            <a:stretch/>
          </p:blipFill>
          <p:spPr>
            <a:xfrm>
              <a:off x="6883752" y="3792403"/>
              <a:ext cx="2069209" cy="915739"/>
            </a:xfrm>
            <a:prstGeom prst="rect">
              <a:avLst/>
            </a:prstGeom>
          </p:spPr>
        </p:pic>
      </p:grpSp>
      <p:cxnSp>
        <p:nvCxnSpPr>
          <p:cNvPr id="360" name="Straight Connector 359"/>
          <p:cNvCxnSpPr>
            <a:stCxn id="192" idx="4"/>
          </p:cNvCxnSpPr>
          <p:nvPr/>
        </p:nvCxnSpPr>
        <p:spPr>
          <a:xfrm>
            <a:off x="5173558" y="1914893"/>
            <a:ext cx="212669" cy="931115"/>
          </a:xfrm>
          <a:prstGeom prst="line">
            <a:avLst/>
          </a:prstGeom>
          <a:ln>
            <a:solidFill>
              <a:srgbClr val="CD20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Straight Connector 360"/>
          <p:cNvCxnSpPr/>
          <p:nvPr/>
        </p:nvCxnSpPr>
        <p:spPr>
          <a:xfrm flipV="1">
            <a:off x="4802615" y="3560270"/>
            <a:ext cx="2709703" cy="7396"/>
          </a:xfrm>
          <a:prstGeom prst="line">
            <a:avLst/>
          </a:prstGeom>
          <a:ln>
            <a:solidFill>
              <a:srgbClr val="CD20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2" name="Rectangle 361"/>
          <p:cNvSpPr/>
          <p:nvPr/>
        </p:nvSpPr>
        <p:spPr>
          <a:xfrm>
            <a:off x="4826197" y="3571621"/>
            <a:ext cx="3840865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2250" b="1" dirty="0" smtClean="0">
                <a:solidFill>
                  <a:srgbClr val="DA291C"/>
                </a:solidFill>
                <a:latin typeface="Verdana" panose="020B0604030504040204"/>
                <a:ea typeface="ＭＳ Ｐゴシック" pitchFamily="-106" charset="-128"/>
                <a:cs typeface="ＭＳ Ｐゴシック" pitchFamily="-106" charset="-128"/>
              </a:rPr>
              <a:t>7</a:t>
            </a:r>
            <a:r>
              <a:rPr lang="bg-BG" sz="2250" b="1" dirty="0" smtClean="0">
                <a:solidFill>
                  <a:srgbClr val="DA291C"/>
                </a:solidFill>
                <a:latin typeface="Verdana" panose="020B0604030504040204"/>
                <a:ea typeface="ＭＳ Ｐゴシック" pitchFamily="-106" charset="-128"/>
                <a:cs typeface="ＭＳ Ｐゴシック" pitchFamily="-106" charset="-128"/>
              </a:rPr>
              <a:t> </a:t>
            </a:r>
            <a:r>
              <a:rPr lang="bg-BG" sz="2250" b="1" dirty="0">
                <a:solidFill>
                  <a:srgbClr val="DA291C"/>
                </a:solidFill>
                <a:latin typeface="Verdana" panose="020B0604030504040204"/>
                <a:ea typeface="ＭＳ Ｐゴシック" pitchFamily="-106" charset="-128"/>
                <a:cs typeface="ＭＳ Ｐゴシック" pitchFamily="-106" charset="-128"/>
              </a:rPr>
              <a:t>страни</a:t>
            </a:r>
            <a:endParaRPr lang="en-GB" sz="1350" dirty="0">
              <a:solidFill>
                <a:srgbClr val="DA291C"/>
              </a:solidFill>
              <a:latin typeface="Verdana" panose="020B0604030504040204"/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363" name="Rectangle 362"/>
          <p:cNvSpPr/>
          <p:nvPr/>
        </p:nvSpPr>
        <p:spPr>
          <a:xfrm>
            <a:off x="4790861" y="3954840"/>
            <a:ext cx="3800453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bg-BG" sz="2250" b="1" dirty="0" smtClean="0">
                <a:solidFill>
                  <a:srgbClr val="DA291C"/>
                </a:solidFill>
                <a:latin typeface="Verdana" panose="020B0604030504040204"/>
                <a:ea typeface="ＭＳ Ｐゴシック" pitchFamily="-106" charset="-128"/>
                <a:cs typeface="ＭＳ Ｐゴシック" pitchFamily="-106" charset="-128"/>
              </a:rPr>
              <a:t>1</a:t>
            </a:r>
            <a:r>
              <a:rPr lang="en-US" sz="2250" b="1" dirty="0" smtClean="0">
                <a:solidFill>
                  <a:srgbClr val="DA291C"/>
                </a:solidFill>
                <a:latin typeface="Verdana" panose="020B0604030504040204"/>
                <a:ea typeface="ＭＳ Ｐゴシック" pitchFamily="-106" charset="-128"/>
                <a:cs typeface="ＭＳ Ｐゴシック" pitchFamily="-106" charset="-128"/>
              </a:rPr>
              <a:t>9</a:t>
            </a:r>
            <a:r>
              <a:rPr lang="bg-BG" sz="2250" b="1" dirty="0" smtClean="0">
                <a:solidFill>
                  <a:srgbClr val="DA291C"/>
                </a:solidFill>
                <a:latin typeface="Verdana" panose="020B0604030504040204"/>
                <a:ea typeface="ＭＳ Ｐゴシック" pitchFamily="-106" charset="-128"/>
                <a:cs typeface="ＭＳ Ｐゴシック" pitchFamily="-106" charset="-128"/>
              </a:rPr>
              <a:t> </a:t>
            </a:r>
            <a:r>
              <a:rPr lang="bg-BG" sz="2250" b="1" dirty="0">
                <a:solidFill>
                  <a:srgbClr val="DA291C"/>
                </a:solidFill>
                <a:latin typeface="Verdana" panose="020B0604030504040204"/>
                <a:ea typeface="ＭＳ Ｐゴシック" pitchFamily="-106" charset="-128"/>
                <a:cs typeface="ＭＳ Ｐゴシック" pitchFamily="-106" charset="-128"/>
              </a:rPr>
              <a:t>хил. служители</a:t>
            </a:r>
            <a:endParaRPr lang="en-GB" sz="2250" b="1" dirty="0">
              <a:solidFill>
                <a:srgbClr val="DA291C"/>
              </a:solidFill>
              <a:latin typeface="Verdana" panose="020B0604030504040204"/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364" name="Rectangle 363"/>
          <p:cNvSpPr/>
          <p:nvPr/>
        </p:nvSpPr>
        <p:spPr>
          <a:xfrm>
            <a:off x="4813025" y="4449967"/>
            <a:ext cx="2910799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bg-BG" sz="2250" b="1" dirty="0" smtClean="0">
                <a:solidFill>
                  <a:srgbClr val="DA291C"/>
                </a:solidFill>
                <a:latin typeface="Verdana" panose="020B0604030504040204"/>
                <a:ea typeface="ＭＳ Ｐゴシック" pitchFamily="-106" charset="-128"/>
                <a:cs typeface="ＭＳ Ｐゴシック" pitchFamily="-106" charset="-128"/>
              </a:rPr>
              <a:t>2</a:t>
            </a:r>
            <a:r>
              <a:rPr lang="en-US" sz="2250" b="1" dirty="0" smtClean="0">
                <a:solidFill>
                  <a:srgbClr val="DA291C"/>
                </a:solidFill>
                <a:latin typeface="Verdana" panose="020B0604030504040204"/>
                <a:ea typeface="ＭＳ Ｐゴシック" pitchFamily="-106" charset="-128"/>
                <a:cs typeface="ＭＳ Ｐゴシック" pitchFamily="-106" charset="-128"/>
              </a:rPr>
              <a:t>4</a:t>
            </a:r>
            <a:r>
              <a:rPr lang="bg-BG" dirty="0" smtClean="0">
                <a:solidFill>
                  <a:srgbClr val="DA291C"/>
                </a:solidFill>
                <a:latin typeface="Verdana" panose="020B0604030504040204"/>
                <a:ea typeface="ＭＳ Ｐゴシック" pitchFamily="-106" charset="-128"/>
                <a:cs typeface="ＭＳ Ｐゴシック" pitchFamily="-106" charset="-128"/>
              </a:rPr>
              <a:t> </a:t>
            </a:r>
            <a:r>
              <a:rPr lang="bg-BG" sz="2250" b="1" dirty="0">
                <a:solidFill>
                  <a:srgbClr val="DA291C"/>
                </a:solidFill>
                <a:latin typeface="Verdana" panose="020B0604030504040204"/>
                <a:ea typeface="ＭＳ Ｐゴシック" pitchFamily="-106" charset="-128"/>
                <a:cs typeface="ＭＳ Ｐゴシック" pitchFamily="-106" charset="-128"/>
              </a:rPr>
              <a:t>млн. клиенти </a:t>
            </a:r>
            <a:endParaRPr lang="en-GB" sz="2250" b="1" dirty="0">
              <a:solidFill>
                <a:srgbClr val="DA291C"/>
              </a:solidFill>
              <a:latin typeface="Verdana" panose="020B0604030504040204"/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366" name="Rectangle 365"/>
          <p:cNvSpPr/>
          <p:nvPr/>
        </p:nvSpPr>
        <p:spPr>
          <a:xfrm>
            <a:off x="77531" y="3412177"/>
            <a:ext cx="3741655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bg-BG" sz="2250" b="1" dirty="0" smtClean="0">
                <a:solidFill>
                  <a:srgbClr val="DA291C"/>
                </a:solidFill>
                <a:latin typeface="Verdana" panose="020B0604030504040204"/>
                <a:ea typeface="ＭＳ Ｐゴシック" pitchFamily="-106" charset="-128"/>
                <a:cs typeface="ＭＳ Ｐゴシック" pitchFamily="-106" charset="-128"/>
              </a:rPr>
              <a:t>2</a:t>
            </a:r>
            <a:r>
              <a:rPr lang="en-US" sz="2250" b="1" dirty="0">
                <a:solidFill>
                  <a:srgbClr val="DA291C"/>
                </a:solidFill>
                <a:latin typeface="Verdana" panose="020B0604030504040204"/>
                <a:ea typeface="ＭＳ Ｐゴシック" pitchFamily="-106" charset="-128"/>
                <a:cs typeface="ＭＳ Ｐゴシック" pitchFamily="-106" charset="-128"/>
              </a:rPr>
              <a:t>5</a:t>
            </a:r>
            <a:r>
              <a:rPr lang="bg-BG" sz="2250" b="1" dirty="0">
                <a:solidFill>
                  <a:srgbClr val="DA291C"/>
                </a:solidFill>
                <a:latin typeface="Verdana" panose="020B0604030504040204"/>
                <a:ea typeface="ＭＳ Ｐゴシック" pitchFamily="-106" charset="-128"/>
                <a:cs typeface="ＭＳ Ｐゴシック" pitchFamily="-106" charset="-128"/>
              </a:rPr>
              <a:t> </a:t>
            </a:r>
            <a:r>
              <a:rPr lang="bg-BG" sz="2250" b="1" dirty="0" smtClean="0">
                <a:solidFill>
                  <a:srgbClr val="DA291C"/>
                </a:solidFill>
                <a:latin typeface="Verdana" panose="020B0604030504040204"/>
                <a:ea typeface="ＭＳ Ｐゴシック" pitchFamily="-106" charset="-128"/>
                <a:cs typeface="ＭＳ Ｐゴシック" pitchFamily="-106" charset="-128"/>
              </a:rPr>
              <a:t>страни</a:t>
            </a:r>
            <a:endParaRPr lang="en-GB" sz="2250" b="1" dirty="0">
              <a:solidFill>
                <a:srgbClr val="DA291C"/>
              </a:solidFill>
              <a:latin typeface="Verdana" panose="020B0604030504040204"/>
              <a:ea typeface="ＭＳ Ｐゴシック" pitchFamily="-106" charset="-128"/>
              <a:cs typeface="ＭＳ Ｐゴシック" pitchFamily="-106" charset="-128"/>
            </a:endParaRPr>
          </a:p>
        </p:txBody>
      </p:sp>
      <p:pic>
        <p:nvPicPr>
          <p:cNvPr id="367" name="Picture 366">
            <a:extLst>
              <a:ext uri="{FF2B5EF4-FFF2-40B4-BE49-F238E27FC236}">
                <a16:creationId xmlns:a16="http://schemas.microsoft.com/office/drawing/2014/main" xmlns="" id="{630FBFA4-6588-CF4A-A33B-D82458FD3F7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20040" y="553606"/>
            <a:ext cx="2155112" cy="2155112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368" name="Titel 1"/>
          <p:cNvSpPr>
            <a:spLocks noGrp="1"/>
          </p:cNvSpPr>
          <p:nvPr>
            <p:ph type="title"/>
          </p:nvPr>
        </p:nvSpPr>
        <p:spPr>
          <a:xfrm>
            <a:off x="4320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bg-BG" dirty="0" smtClean="0">
                <a:solidFill>
                  <a:srgbClr val="DA291C"/>
                </a:solidFill>
              </a:rPr>
              <a:t>А1 </a:t>
            </a:r>
            <a:r>
              <a:rPr lang="en-US" dirty="0" smtClean="0">
                <a:solidFill>
                  <a:srgbClr val="DA291C"/>
                </a:solidFill>
              </a:rPr>
              <a:t>Group </a:t>
            </a:r>
            <a:r>
              <a:rPr lang="bg-BG" dirty="0" smtClean="0">
                <a:solidFill>
                  <a:srgbClr val="DA291C"/>
                </a:solidFill>
              </a:rPr>
              <a:t>и </a:t>
            </a:r>
            <a:r>
              <a:rPr lang="en-US" dirty="0" err="1">
                <a:solidFill>
                  <a:srgbClr val="DA291C"/>
                </a:solidFill>
              </a:rPr>
              <a:t>América</a:t>
            </a:r>
            <a:r>
              <a:rPr lang="en-US" dirty="0">
                <a:solidFill>
                  <a:srgbClr val="DA291C"/>
                </a:solidFill>
              </a:rPr>
              <a:t> </a:t>
            </a:r>
            <a:r>
              <a:rPr lang="en-US" dirty="0" err="1">
                <a:solidFill>
                  <a:srgbClr val="DA291C"/>
                </a:solidFill>
              </a:rPr>
              <a:t>Móvil</a:t>
            </a:r>
            <a:r>
              <a:rPr lang="en-US" dirty="0">
                <a:solidFill>
                  <a:srgbClr val="DA291C"/>
                </a:solidFill>
              </a:rPr>
              <a:t/>
            </a:r>
            <a:br>
              <a:rPr lang="en-US" dirty="0">
                <a:solidFill>
                  <a:srgbClr val="DA291C"/>
                </a:solidFill>
              </a:rPr>
            </a:br>
            <a:endParaRPr lang="de-AT" dirty="0">
              <a:solidFill>
                <a:srgbClr val="DA291C"/>
              </a:solidFill>
            </a:endParaRPr>
          </a:p>
        </p:txBody>
      </p:sp>
      <p:sp>
        <p:nvSpPr>
          <p:cNvPr id="369" name="Titel 1"/>
          <p:cNvSpPr txBox="1">
            <a:spLocks/>
          </p:cNvSpPr>
          <p:nvPr/>
        </p:nvSpPr>
        <p:spPr>
          <a:xfrm>
            <a:off x="3177" y="4904040"/>
            <a:ext cx="2397946" cy="260095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kern="1200">
                <a:solidFill>
                  <a:schemeClr val="accent1"/>
                </a:solidFill>
                <a:latin typeface="+mn-lt"/>
                <a:ea typeface="A1 Einfach Fett" charset="0"/>
                <a:cs typeface="A1 Einfach Fett" charset="0"/>
              </a:defRPr>
            </a:lvl1pPr>
          </a:lstStyle>
          <a:p>
            <a:r>
              <a:rPr lang="bg-BG" sz="800" dirty="0" smtClean="0">
                <a:solidFill>
                  <a:schemeClr val="tx1"/>
                </a:solidFill>
              </a:rPr>
              <a:t>Данните са за финансовата 2018 година.</a:t>
            </a:r>
            <a:endParaRPr lang="de-AT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472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20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20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1000"/>
                                        <p:tgtEl>
                                          <p:spTgt spid="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2" grpId="0"/>
      <p:bldP spid="363" grpId="0"/>
      <p:bldP spid="364" grpId="0"/>
      <p:bldP spid="36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52" name="think-cell Folie" r:id="rId6" imgW="359" imgH="355" progId="TCLayout.ActiveDocument.1">
                  <p:embed/>
                </p:oleObj>
              </mc:Choice>
              <mc:Fallback>
                <p:oleObj name="think-cell Folie" r:id="rId6" imgW="359" imgH="35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AT" sz="2000" dirty="0">
              <a:latin typeface="Verdana" panose="020B0604030504040204" pitchFamily="34" charset="0"/>
              <a:ea typeface="+mj-ea"/>
              <a:sym typeface="Verdana" panose="020B0604030504040204" pitchFamily="34" charset="0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104" y="2102471"/>
            <a:ext cx="1940834" cy="1577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8421" y="2039098"/>
            <a:ext cx="2011776" cy="1737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Gestreifter Pfeil nach rechts 9"/>
          <p:cNvSpPr/>
          <p:nvPr/>
        </p:nvSpPr>
        <p:spPr>
          <a:xfrm>
            <a:off x="3176" y="704850"/>
            <a:ext cx="9140824" cy="1174281"/>
          </a:xfrm>
          <a:prstGeom prst="stripedRightArrow">
            <a:avLst>
              <a:gd name="adj1" fmla="val 97959"/>
              <a:gd name="adj2" fmla="val 50000"/>
            </a:avLst>
          </a:prstGeom>
          <a:solidFill>
            <a:srgbClr val="666666">
              <a:alpha val="95686"/>
            </a:srgbClr>
          </a:solidFill>
          <a:ln>
            <a:noFill/>
          </a:ln>
          <a:effectLst/>
          <a:scene3d>
            <a:camera prst="perspectiveRelaxedModerately"/>
            <a:lightRig rig="threePt" dir="t"/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bg-BG" dirty="0" smtClean="0">
                <a:solidFill>
                  <a:srgbClr val="DA291C"/>
                </a:solidFill>
              </a:rPr>
              <a:t>Еволюцията на мобилните мрежи и комуникации</a:t>
            </a:r>
            <a:endParaRPr lang="de-AT" dirty="0">
              <a:solidFill>
                <a:srgbClr val="DA291C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20351" y="3924000"/>
            <a:ext cx="1313053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bg-BG" b="1" dirty="0" smtClean="0">
                <a:solidFill>
                  <a:srgbClr val="DA291C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Текст</a:t>
            </a:r>
            <a:endParaRPr lang="de-AT" b="1" dirty="0">
              <a:solidFill>
                <a:srgbClr val="DA291C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de-AT" sz="1400" dirty="0">
                <a:ea typeface="Verdana" panose="020B0604030504040204" pitchFamily="34" charset="0"/>
                <a:cs typeface="Verdana" panose="020B0604030504040204" pitchFamily="34" charset="0"/>
              </a:rPr>
              <a:t>GPRS, EDGE</a:t>
            </a:r>
            <a:br>
              <a:rPr lang="de-AT" sz="1400" dirty="0"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bg-BG" sz="1400" dirty="0" smtClean="0">
                <a:ea typeface="Verdana" panose="020B0604030504040204" pitchFamily="34" charset="0"/>
                <a:cs typeface="Verdana" panose="020B0604030504040204" pitchFamily="34" charset="0"/>
              </a:rPr>
              <a:t>14.4</a:t>
            </a:r>
            <a:r>
              <a:rPr lang="de-AT" sz="14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400" dirty="0">
                <a:ea typeface="Verdana" panose="020B0604030504040204" pitchFamily="34" charset="0"/>
                <a:cs typeface="Verdana" panose="020B0604030504040204" pitchFamily="34" charset="0"/>
              </a:rPr>
              <a:t>K</a:t>
            </a:r>
            <a:r>
              <a:rPr lang="de-AT" sz="1400" dirty="0" smtClean="0">
                <a:ea typeface="Verdana" panose="020B0604030504040204" pitchFamily="34" charset="0"/>
                <a:cs typeface="Verdana" panose="020B0604030504040204" pitchFamily="34" charset="0"/>
              </a:rPr>
              <a:t>bits</a:t>
            </a:r>
            <a:endParaRPr lang="de-AT" sz="14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892798" y="966854"/>
            <a:ext cx="76816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AT" sz="2800" b="1" dirty="0">
                <a:solidFill>
                  <a:srgbClr val="DA291C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2G</a:t>
            </a:r>
          </a:p>
          <a:p>
            <a:pPr algn="ctr"/>
            <a:r>
              <a:rPr lang="de-AT" sz="1600" b="1" dirty="0">
                <a:ea typeface="Verdana" panose="020B0604030504040204" pitchFamily="34" charset="0"/>
                <a:cs typeface="Verdana" panose="020B0604030504040204" pitchFamily="34" charset="0"/>
              </a:rPr>
              <a:t>1990</a:t>
            </a:r>
            <a:endParaRPr lang="de-AT" sz="2800" b="1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2781169" y="966854"/>
            <a:ext cx="76816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AT" sz="2800" b="1" dirty="0">
                <a:solidFill>
                  <a:srgbClr val="DA291C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3G</a:t>
            </a:r>
          </a:p>
          <a:p>
            <a:pPr algn="ctr"/>
            <a:r>
              <a:rPr lang="de-AT" sz="1600" b="1" dirty="0">
                <a:ea typeface="Verdana" panose="020B0604030504040204" pitchFamily="34" charset="0"/>
                <a:cs typeface="Verdana" panose="020B0604030504040204" pitchFamily="34" charset="0"/>
              </a:rPr>
              <a:t>2000</a:t>
            </a:r>
            <a:endParaRPr lang="de-AT" sz="2800" b="1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2509012" y="3924000"/>
            <a:ext cx="1312475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bg-BG" b="1" dirty="0" smtClean="0">
                <a:solidFill>
                  <a:srgbClr val="DA291C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Снимки</a:t>
            </a:r>
            <a:endParaRPr lang="de-AT" b="1" dirty="0">
              <a:solidFill>
                <a:srgbClr val="DA291C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de-AT" sz="1400" dirty="0">
                <a:ea typeface="Verdana" panose="020B0604030504040204" pitchFamily="34" charset="0"/>
                <a:cs typeface="Verdana" panose="020B0604030504040204" pitchFamily="34" charset="0"/>
              </a:rPr>
              <a:t>UMTS, HSPA</a:t>
            </a:r>
            <a:br>
              <a:rPr lang="de-AT" sz="1400" dirty="0"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e-AT" sz="1400" dirty="0" smtClean="0">
                <a:ea typeface="Verdana" panose="020B0604030504040204" pitchFamily="34" charset="0"/>
                <a:cs typeface="Verdana" panose="020B0604030504040204" pitchFamily="34" charset="0"/>
              </a:rPr>
              <a:t>21 Mbps</a:t>
            </a:r>
            <a:endParaRPr lang="de-AT" sz="14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4762441" y="966854"/>
            <a:ext cx="76816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AT" sz="2800" b="1" dirty="0">
                <a:solidFill>
                  <a:srgbClr val="DA291C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4G</a:t>
            </a:r>
          </a:p>
          <a:p>
            <a:pPr algn="ctr"/>
            <a:r>
              <a:rPr lang="de-AT" sz="1600" b="1" dirty="0">
                <a:ea typeface="Verdana" panose="020B0604030504040204" pitchFamily="34" charset="0"/>
                <a:cs typeface="Verdana" panose="020B0604030504040204" pitchFamily="34" charset="0"/>
              </a:rPr>
              <a:t>2010</a:t>
            </a:r>
            <a:endParaRPr lang="de-AT" sz="2800" b="1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800560" y="3924000"/>
            <a:ext cx="107022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bg-BG" b="1" dirty="0" smtClean="0">
                <a:solidFill>
                  <a:srgbClr val="DA291C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Видео</a:t>
            </a:r>
            <a:endParaRPr lang="de-AT" b="1" dirty="0">
              <a:solidFill>
                <a:srgbClr val="DA291C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de-AT" sz="1400" dirty="0">
                <a:ea typeface="Verdana" panose="020B0604030504040204" pitchFamily="34" charset="0"/>
                <a:cs typeface="Verdana" panose="020B0604030504040204" pitchFamily="34" charset="0"/>
              </a:rPr>
              <a:t>LTE/LTE </a:t>
            </a:r>
            <a:r>
              <a:rPr lang="de-AT" sz="1400" dirty="0" smtClean="0"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lang="de-AT" sz="1400" dirty="0"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de-AT" sz="1400" dirty="0"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e-AT" sz="1400" dirty="0">
                <a:ea typeface="Verdana" panose="020B0604030504040204" pitchFamily="34" charset="0"/>
                <a:cs typeface="Verdana" panose="020B0604030504040204" pitchFamily="34" charset="0"/>
              </a:rPr>
              <a:t>130 Mbps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7030229" y="966854"/>
            <a:ext cx="76816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AT" sz="2800" b="1" dirty="0">
                <a:solidFill>
                  <a:srgbClr val="DA291C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5G</a:t>
            </a:r>
          </a:p>
          <a:p>
            <a:pPr algn="ctr"/>
            <a:r>
              <a:rPr lang="de-AT" sz="1600" b="1" dirty="0">
                <a:ea typeface="Verdana" panose="020B0604030504040204" pitchFamily="34" charset="0"/>
                <a:cs typeface="Verdana" panose="020B0604030504040204" pitchFamily="34" charset="0"/>
              </a:rPr>
              <a:t>2020</a:t>
            </a:r>
            <a:endParaRPr lang="de-AT" sz="2800" b="1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7124005" y="3924000"/>
            <a:ext cx="580608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AT" sz="5000" b="1" dirty="0" smtClean="0">
                <a:solidFill>
                  <a:srgbClr val="DA291C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  <a:endParaRPr lang="de-AT" sz="50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930" y="2023741"/>
            <a:ext cx="1767893" cy="1767893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45" r="54832" b="7111"/>
          <a:stretch/>
        </p:blipFill>
        <p:spPr>
          <a:xfrm>
            <a:off x="2699673" y="2179648"/>
            <a:ext cx="931151" cy="1456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606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5" name="Straight Connector 64"/>
          <p:cNvCxnSpPr/>
          <p:nvPr/>
        </p:nvCxnSpPr>
        <p:spPr>
          <a:xfrm flipV="1">
            <a:off x="7334939" y="1944000"/>
            <a:ext cx="10172" cy="684000"/>
          </a:xfrm>
          <a:prstGeom prst="line">
            <a:avLst/>
          </a:prstGeom>
          <a:ln>
            <a:solidFill>
              <a:srgbClr val="666666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el 1"/>
          <p:cNvSpPr>
            <a:spLocks noGrp="1"/>
          </p:cNvSpPr>
          <p:nvPr>
            <p:ph type="title"/>
          </p:nvPr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bg-BG" dirty="0" smtClean="0">
                <a:solidFill>
                  <a:srgbClr val="DA291C"/>
                </a:solidFill>
              </a:rPr>
              <a:t>А1 България – технологичен лидер</a:t>
            </a:r>
            <a:endParaRPr lang="de-AT" dirty="0">
              <a:solidFill>
                <a:srgbClr val="DA291C"/>
              </a:solidFill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 flipH="1">
            <a:off x="1107731" y="2960908"/>
            <a:ext cx="9349" cy="972000"/>
          </a:xfrm>
          <a:prstGeom prst="line">
            <a:avLst/>
          </a:prstGeom>
          <a:ln>
            <a:solidFill>
              <a:srgbClr val="DA291C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V="1">
            <a:off x="459968" y="1944000"/>
            <a:ext cx="10172" cy="684000"/>
          </a:xfrm>
          <a:prstGeom prst="line">
            <a:avLst/>
          </a:prstGeom>
          <a:ln>
            <a:solidFill>
              <a:srgbClr val="666666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-56527" y="3073772"/>
            <a:ext cx="106188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арт на </a:t>
            </a:r>
            <a:r>
              <a:rPr lang="en-US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G </a:t>
            </a:r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ласови услуги</a:t>
            </a:r>
            <a:endParaRPr lang="en-US" sz="105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62120" y="2117798"/>
            <a:ext cx="118289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ърви </a:t>
            </a:r>
            <a:r>
              <a:rPr lang="en-US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MS </a:t>
            </a:r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България</a:t>
            </a:r>
            <a:endParaRPr lang="en-US" sz="105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166723" y="3082453"/>
            <a:ext cx="123125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обилни данни през 2,5</a:t>
            </a:r>
            <a:r>
              <a:rPr lang="en-US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 </a:t>
            </a:r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режа</a:t>
            </a:r>
            <a:endParaRPr lang="en-US" sz="105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812779" y="3078765"/>
            <a:ext cx="161807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емонстрация </a:t>
            </a:r>
          </a:p>
          <a:p>
            <a:pPr algn="ctr"/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 4</a:t>
            </a:r>
            <a:r>
              <a:rPr lang="en-US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 </a:t>
            </a:r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режа в България</a:t>
            </a:r>
            <a:endParaRPr lang="en-US" sz="105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310955" y="3071352"/>
            <a:ext cx="148401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ърви </a:t>
            </a:r>
          </a:p>
          <a:p>
            <a:pPr algn="ctr"/>
            <a:r>
              <a:rPr lang="en-US" sz="105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all</a:t>
            </a:r>
            <a:endParaRPr lang="en-US" sz="105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илот</a:t>
            </a:r>
            <a:endParaRPr lang="en-US" sz="105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610140" y="3094607"/>
            <a:ext cx="123125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SDPA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554527" y="2086503"/>
            <a:ext cx="158376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  <a:r>
              <a:rPr lang="en-US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 </a:t>
            </a:r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 бизнес клиенти</a:t>
            </a:r>
            <a:r>
              <a:rPr lang="en-US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 </a:t>
            </a:r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илот</a:t>
            </a:r>
            <a:endParaRPr lang="en-US" sz="105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955075" y="1989049"/>
            <a:ext cx="148177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  <a:r>
              <a:rPr lang="en-US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 </a:t>
            </a:r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режа за всички клиенти и старт на 4,5</a:t>
            </a:r>
            <a:r>
              <a:rPr lang="en-US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</a:t>
            </a:r>
          </a:p>
        </p:txBody>
      </p:sp>
      <p:sp>
        <p:nvSpPr>
          <p:cNvPr id="44" name="Oval 43"/>
          <p:cNvSpPr/>
          <p:nvPr/>
        </p:nvSpPr>
        <p:spPr>
          <a:xfrm>
            <a:off x="34649" y="1044000"/>
            <a:ext cx="864000" cy="864000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G</a:t>
            </a:r>
            <a:endParaRPr lang="bg-BG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685080" y="3989227"/>
            <a:ext cx="864000" cy="864000"/>
          </a:xfrm>
          <a:prstGeom prst="ellipse">
            <a:avLst/>
          </a:prstGeom>
          <a:solidFill>
            <a:srgbClr val="DA291C"/>
          </a:solidFill>
          <a:ln>
            <a:solidFill>
              <a:srgbClr val="DA29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MS</a:t>
            </a:r>
            <a:endParaRPr lang="bg-BG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 flipV="1">
            <a:off x="1842628" y="1944000"/>
            <a:ext cx="10172" cy="684000"/>
          </a:xfrm>
          <a:prstGeom prst="line">
            <a:avLst/>
          </a:prstGeom>
          <a:ln>
            <a:solidFill>
              <a:srgbClr val="666666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/>
          <p:cNvSpPr/>
          <p:nvPr/>
        </p:nvSpPr>
        <p:spPr>
          <a:xfrm>
            <a:off x="1419217" y="1044000"/>
            <a:ext cx="864000" cy="864000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r>
              <a:rPr lang="bg-BG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5</a:t>
            </a: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</a:t>
            </a:r>
            <a:endParaRPr lang="bg-BG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2534637" y="2960908"/>
            <a:ext cx="0" cy="972000"/>
          </a:xfrm>
          <a:prstGeom prst="line">
            <a:avLst/>
          </a:prstGeom>
          <a:ln>
            <a:solidFill>
              <a:srgbClr val="DA291C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val 49"/>
          <p:cNvSpPr/>
          <p:nvPr/>
        </p:nvSpPr>
        <p:spPr>
          <a:xfrm>
            <a:off x="2105213" y="3989227"/>
            <a:ext cx="864000" cy="864000"/>
          </a:xfrm>
          <a:prstGeom prst="ellipse">
            <a:avLst/>
          </a:prstGeom>
          <a:solidFill>
            <a:srgbClr val="DA291C"/>
          </a:solidFill>
          <a:ln>
            <a:solidFill>
              <a:srgbClr val="DA29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G</a:t>
            </a:r>
            <a:endParaRPr lang="bg-BG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 flipV="1">
            <a:off x="3210544" y="1944000"/>
            <a:ext cx="10172" cy="684000"/>
          </a:xfrm>
          <a:prstGeom prst="line">
            <a:avLst/>
          </a:prstGeom>
          <a:ln>
            <a:solidFill>
              <a:srgbClr val="666666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/>
          <p:cNvSpPr/>
          <p:nvPr/>
        </p:nvSpPr>
        <p:spPr>
          <a:xfrm>
            <a:off x="2791998" y="1044000"/>
            <a:ext cx="864000" cy="864000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5G</a:t>
            </a:r>
            <a:endParaRPr lang="bg-BG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>
            <a:off x="3902551" y="2960908"/>
            <a:ext cx="0" cy="972000"/>
          </a:xfrm>
          <a:prstGeom prst="line">
            <a:avLst/>
          </a:prstGeom>
          <a:ln>
            <a:solidFill>
              <a:srgbClr val="DA291C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53"/>
          <p:cNvSpPr/>
          <p:nvPr/>
        </p:nvSpPr>
        <p:spPr>
          <a:xfrm>
            <a:off x="3473127" y="3989227"/>
            <a:ext cx="864000" cy="864000"/>
          </a:xfrm>
          <a:prstGeom prst="ellipse">
            <a:avLst/>
          </a:prstGeom>
          <a:solidFill>
            <a:srgbClr val="DA291C"/>
          </a:solidFill>
          <a:ln>
            <a:solidFill>
              <a:srgbClr val="DA29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,5G</a:t>
            </a:r>
            <a:endParaRPr lang="bg-BG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141305" y="2151534"/>
            <a:ext cx="158376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SPA+</a:t>
            </a:r>
            <a:endParaRPr lang="en-US" sz="105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6" name="Straight Connector 55"/>
          <p:cNvCxnSpPr/>
          <p:nvPr/>
        </p:nvCxnSpPr>
        <p:spPr>
          <a:xfrm flipV="1">
            <a:off x="4611646" y="1944000"/>
            <a:ext cx="10172" cy="684000"/>
          </a:xfrm>
          <a:prstGeom prst="line">
            <a:avLst/>
          </a:prstGeom>
          <a:ln>
            <a:solidFill>
              <a:srgbClr val="666666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/>
          <p:cNvSpPr/>
          <p:nvPr/>
        </p:nvSpPr>
        <p:spPr>
          <a:xfrm>
            <a:off x="4188234" y="1044000"/>
            <a:ext cx="864000" cy="864000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G</a:t>
            </a:r>
            <a:endParaRPr lang="bg-BG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8" name="Straight Connector 57"/>
          <p:cNvCxnSpPr/>
          <p:nvPr/>
        </p:nvCxnSpPr>
        <p:spPr>
          <a:xfrm>
            <a:off x="5307332" y="2960908"/>
            <a:ext cx="0" cy="972000"/>
          </a:xfrm>
          <a:prstGeom prst="line">
            <a:avLst/>
          </a:prstGeom>
          <a:ln>
            <a:solidFill>
              <a:srgbClr val="DA291C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Oval 58"/>
          <p:cNvSpPr/>
          <p:nvPr/>
        </p:nvSpPr>
        <p:spPr>
          <a:xfrm>
            <a:off x="4884681" y="3989227"/>
            <a:ext cx="864000" cy="864000"/>
          </a:xfrm>
          <a:prstGeom prst="ellipse">
            <a:avLst/>
          </a:prstGeom>
          <a:solidFill>
            <a:srgbClr val="DA291C"/>
          </a:solidFill>
          <a:ln>
            <a:solidFill>
              <a:srgbClr val="DA29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bg-BG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</a:t>
            </a:r>
            <a:endParaRPr lang="bg-BG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0" name="Straight Connector 59"/>
          <p:cNvCxnSpPr/>
          <p:nvPr/>
        </p:nvCxnSpPr>
        <p:spPr>
          <a:xfrm flipV="1">
            <a:off x="6001681" y="1944000"/>
            <a:ext cx="10172" cy="684000"/>
          </a:xfrm>
          <a:prstGeom prst="line">
            <a:avLst/>
          </a:prstGeom>
          <a:ln>
            <a:solidFill>
              <a:srgbClr val="666666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60"/>
          <p:cNvSpPr/>
          <p:nvPr/>
        </p:nvSpPr>
        <p:spPr>
          <a:xfrm>
            <a:off x="5585043" y="1044000"/>
            <a:ext cx="864000" cy="864000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bg-BG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</a:t>
            </a: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ll</a:t>
            </a:r>
            <a:endParaRPr lang="bg-BG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2" name="Straight Connector 61"/>
          <p:cNvCxnSpPr/>
          <p:nvPr/>
        </p:nvCxnSpPr>
        <p:spPr>
          <a:xfrm>
            <a:off x="6700493" y="2960908"/>
            <a:ext cx="0" cy="972000"/>
          </a:xfrm>
          <a:prstGeom prst="line">
            <a:avLst/>
          </a:prstGeom>
          <a:ln>
            <a:solidFill>
              <a:srgbClr val="DA291C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62"/>
          <p:cNvSpPr/>
          <p:nvPr/>
        </p:nvSpPr>
        <p:spPr>
          <a:xfrm>
            <a:off x="6272914" y="3989227"/>
            <a:ext cx="864000" cy="864000"/>
          </a:xfrm>
          <a:prstGeom prst="ellipse">
            <a:avLst/>
          </a:prstGeom>
          <a:solidFill>
            <a:srgbClr val="DA291C"/>
          </a:solidFill>
          <a:ln>
            <a:solidFill>
              <a:srgbClr val="DA29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bg-BG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.5</a:t>
            </a: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</a:t>
            </a:r>
            <a:endParaRPr lang="bg-BG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64" name="Table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7614537"/>
              </p:ext>
            </p:extLst>
          </p:nvPr>
        </p:nvGraphicFramePr>
        <p:xfrm>
          <a:off x="125010" y="2565895"/>
          <a:ext cx="8924162" cy="4397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6474">
                  <a:extLst>
                    <a:ext uri="{9D8B030D-6E8A-4147-A177-3AD203B41FA5}">
                      <a16:colId xmlns:a16="http://schemas.microsoft.com/office/drawing/2014/main" xmlns="" val="2963365436"/>
                    </a:ext>
                  </a:extLst>
                </a:gridCol>
                <a:gridCol w="686474">
                  <a:extLst>
                    <a:ext uri="{9D8B030D-6E8A-4147-A177-3AD203B41FA5}">
                      <a16:colId xmlns:a16="http://schemas.microsoft.com/office/drawing/2014/main" xmlns="" val="686787577"/>
                    </a:ext>
                  </a:extLst>
                </a:gridCol>
                <a:gridCol w="686474">
                  <a:extLst>
                    <a:ext uri="{9D8B030D-6E8A-4147-A177-3AD203B41FA5}">
                      <a16:colId xmlns:a16="http://schemas.microsoft.com/office/drawing/2014/main" xmlns="" val="467572444"/>
                    </a:ext>
                  </a:extLst>
                </a:gridCol>
                <a:gridCol w="686474">
                  <a:extLst>
                    <a:ext uri="{9D8B030D-6E8A-4147-A177-3AD203B41FA5}">
                      <a16:colId xmlns:a16="http://schemas.microsoft.com/office/drawing/2014/main" xmlns="" val="2490382738"/>
                    </a:ext>
                  </a:extLst>
                </a:gridCol>
                <a:gridCol w="686474">
                  <a:extLst>
                    <a:ext uri="{9D8B030D-6E8A-4147-A177-3AD203B41FA5}">
                      <a16:colId xmlns:a16="http://schemas.microsoft.com/office/drawing/2014/main" xmlns="" val="1746430995"/>
                    </a:ext>
                  </a:extLst>
                </a:gridCol>
                <a:gridCol w="686474">
                  <a:extLst>
                    <a:ext uri="{9D8B030D-6E8A-4147-A177-3AD203B41FA5}">
                      <a16:colId xmlns:a16="http://schemas.microsoft.com/office/drawing/2014/main" xmlns="" val="531308445"/>
                    </a:ext>
                  </a:extLst>
                </a:gridCol>
                <a:gridCol w="686474">
                  <a:extLst>
                    <a:ext uri="{9D8B030D-6E8A-4147-A177-3AD203B41FA5}">
                      <a16:colId xmlns:a16="http://schemas.microsoft.com/office/drawing/2014/main" xmlns="" val="4250934472"/>
                    </a:ext>
                  </a:extLst>
                </a:gridCol>
                <a:gridCol w="686474">
                  <a:extLst>
                    <a:ext uri="{9D8B030D-6E8A-4147-A177-3AD203B41FA5}">
                      <a16:colId xmlns:a16="http://schemas.microsoft.com/office/drawing/2014/main" xmlns="" val="223658578"/>
                    </a:ext>
                  </a:extLst>
                </a:gridCol>
                <a:gridCol w="686474">
                  <a:extLst>
                    <a:ext uri="{9D8B030D-6E8A-4147-A177-3AD203B41FA5}">
                      <a16:colId xmlns:a16="http://schemas.microsoft.com/office/drawing/2014/main" xmlns="" val="2270745250"/>
                    </a:ext>
                  </a:extLst>
                </a:gridCol>
                <a:gridCol w="686474">
                  <a:extLst>
                    <a:ext uri="{9D8B030D-6E8A-4147-A177-3AD203B41FA5}">
                      <a16:colId xmlns:a16="http://schemas.microsoft.com/office/drawing/2014/main" xmlns="" val="1072445329"/>
                    </a:ext>
                  </a:extLst>
                </a:gridCol>
                <a:gridCol w="686474">
                  <a:extLst>
                    <a:ext uri="{9D8B030D-6E8A-4147-A177-3AD203B41FA5}">
                      <a16:colId xmlns:a16="http://schemas.microsoft.com/office/drawing/2014/main" xmlns="" val="2522262756"/>
                    </a:ext>
                  </a:extLst>
                </a:gridCol>
                <a:gridCol w="686474">
                  <a:extLst>
                    <a:ext uri="{9D8B030D-6E8A-4147-A177-3AD203B41FA5}">
                      <a16:colId xmlns:a16="http://schemas.microsoft.com/office/drawing/2014/main" xmlns="" val="3815174830"/>
                    </a:ext>
                  </a:extLst>
                </a:gridCol>
                <a:gridCol w="686474">
                  <a:extLst>
                    <a:ext uri="{9D8B030D-6E8A-4147-A177-3AD203B41FA5}">
                      <a16:colId xmlns:a16="http://schemas.microsoft.com/office/drawing/2014/main" xmlns="" val="976586929"/>
                    </a:ext>
                  </a:extLst>
                </a:gridCol>
              </a:tblGrid>
              <a:tr h="43978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995</a:t>
                      </a:r>
                      <a:endParaRPr lang="bg-BG" sz="14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6666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999</a:t>
                      </a:r>
                      <a:endParaRPr lang="bg-BG" sz="1400" b="1" kern="1200" dirty="0">
                        <a:solidFill>
                          <a:schemeClr val="l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04</a:t>
                      </a:r>
                    </a:p>
                  </a:txBody>
                  <a:tcPr marL="68580" marR="68580" marT="34290" marB="34290" anchor="ctr">
                    <a:solidFill>
                      <a:srgbClr val="6666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05</a:t>
                      </a:r>
                      <a:endParaRPr lang="bg-BG" sz="1400" b="1" kern="1200" dirty="0">
                        <a:solidFill>
                          <a:schemeClr val="l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09</a:t>
                      </a:r>
                      <a:endParaRPr lang="bg-BG" sz="1400" b="1" kern="1200" dirty="0">
                        <a:solidFill>
                          <a:schemeClr val="l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6666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10</a:t>
                      </a:r>
                      <a:endParaRPr lang="bg-BG" sz="1400" b="1" kern="1200" dirty="0">
                        <a:solidFill>
                          <a:schemeClr val="l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11</a:t>
                      </a:r>
                      <a:endParaRPr lang="bg-BG" sz="1400" b="1" kern="1200" dirty="0">
                        <a:solidFill>
                          <a:schemeClr val="l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6666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12</a:t>
                      </a:r>
                      <a:endParaRPr lang="bg-BG" sz="1400" b="1" kern="1200" dirty="0">
                        <a:solidFill>
                          <a:schemeClr val="l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14</a:t>
                      </a:r>
                      <a:endParaRPr lang="bg-BG" sz="1400" b="1" kern="1200" dirty="0">
                        <a:solidFill>
                          <a:schemeClr val="l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6666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16</a:t>
                      </a:r>
                      <a:endParaRPr lang="bg-BG" sz="1400" b="1" kern="1200" dirty="0">
                        <a:solidFill>
                          <a:schemeClr val="l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17</a:t>
                      </a:r>
                      <a:endParaRPr lang="bg-BG" sz="1400" b="1" kern="1200" dirty="0">
                        <a:solidFill>
                          <a:schemeClr val="l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6666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 smtClean="0">
                          <a:solidFill>
                            <a:schemeClr val="lt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18</a:t>
                      </a:r>
                      <a:endParaRPr lang="bg-BG" sz="1400" b="1" kern="1200" dirty="0">
                        <a:solidFill>
                          <a:schemeClr val="l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DA291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bg-BG" sz="1400" b="1" kern="1200" dirty="0" smtClean="0">
                          <a:solidFill>
                            <a:schemeClr val="lt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19</a:t>
                      </a:r>
                      <a:endParaRPr lang="bg-BG" sz="1400" b="1" kern="1200" dirty="0">
                        <a:solidFill>
                          <a:schemeClr val="l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66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14697118"/>
                  </a:ext>
                </a:extLst>
              </a:tr>
            </a:tbl>
          </a:graphicData>
        </a:graphic>
      </p:graphicFrame>
      <p:sp>
        <p:nvSpPr>
          <p:cNvPr id="66" name="Oval 65"/>
          <p:cNvSpPr/>
          <p:nvPr/>
        </p:nvSpPr>
        <p:spPr>
          <a:xfrm>
            <a:off x="6913111" y="1044000"/>
            <a:ext cx="864000" cy="864000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oice Over</a:t>
            </a:r>
          </a:p>
          <a:p>
            <a:pPr algn="ctr"/>
            <a:r>
              <a:rPr lang="en-US" sz="11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TE</a:t>
            </a:r>
            <a:endParaRPr lang="bg-BG" sz="11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7" name="Straight Connector 66"/>
          <p:cNvCxnSpPr/>
          <p:nvPr/>
        </p:nvCxnSpPr>
        <p:spPr>
          <a:xfrm>
            <a:off x="8037150" y="2960908"/>
            <a:ext cx="0" cy="972000"/>
          </a:xfrm>
          <a:prstGeom prst="line">
            <a:avLst/>
          </a:prstGeom>
          <a:ln>
            <a:solidFill>
              <a:srgbClr val="DA291C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Oval 67"/>
          <p:cNvSpPr/>
          <p:nvPr/>
        </p:nvSpPr>
        <p:spPr>
          <a:xfrm>
            <a:off x="7605151" y="3989227"/>
            <a:ext cx="864000" cy="864000"/>
          </a:xfrm>
          <a:prstGeom prst="ellipse">
            <a:avLst/>
          </a:prstGeom>
          <a:solidFill>
            <a:srgbClr val="DA291C"/>
          </a:solidFill>
          <a:ln>
            <a:solidFill>
              <a:srgbClr val="DA29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G</a:t>
            </a:r>
            <a:r>
              <a:rPr lang="bg-BG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amp; NB-</a:t>
            </a:r>
            <a:r>
              <a:rPr lang="en-US" sz="1000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oT</a:t>
            </a:r>
            <a:endParaRPr lang="bg-BG" sz="1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6741356" y="3071352"/>
            <a:ext cx="129579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ърви разговор</a:t>
            </a:r>
            <a:endParaRPr lang="en-US" sz="105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84" name="Straight Connector 83"/>
          <p:cNvCxnSpPr/>
          <p:nvPr/>
        </p:nvCxnSpPr>
        <p:spPr>
          <a:xfrm flipV="1">
            <a:off x="8676239" y="1944000"/>
            <a:ext cx="10172" cy="684000"/>
          </a:xfrm>
          <a:prstGeom prst="line">
            <a:avLst/>
          </a:prstGeom>
          <a:ln>
            <a:solidFill>
              <a:srgbClr val="666666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84"/>
          <p:cNvSpPr/>
          <p:nvPr/>
        </p:nvSpPr>
        <p:spPr>
          <a:xfrm>
            <a:off x="8254411" y="1044000"/>
            <a:ext cx="864000" cy="864000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G</a:t>
            </a:r>
            <a:endParaRPr lang="bg-BG" sz="12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251313" y="2238889"/>
            <a:ext cx="148177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105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емо</a:t>
            </a:r>
            <a:endParaRPr lang="en-US" sz="105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7970131" y="3059982"/>
            <a:ext cx="122649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105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стове на приложения</a:t>
            </a:r>
            <a:endParaRPr lang="en-US" sz="105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5140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el 1"/>
          <p:cNvSpPr>
            <a:spLocks noGrp="1"/>
          </p:cNvSpPr>
          <p:nvPr>
            <p:ph type="title"/>
          </p:nvPr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bg-BG" dirty="0" smtClean="0">
                <a:solidFill>
                  <a:srgbClr val="DA291C"/>
                </a:solidFill>
              </a:rPr>
              <a:t>А1 България и 5</a:t>
            </a:r>
            <a:r>
              <a:rPr lang="en-US" dirty="0" smtClean="0">
                <a:solidFill>
                  <a:srgbClr val="DA291C"/>
                </a:solidFill>
              </a:rPr>
              <a:t>G</a:t>
            </a:r>
            <a:endParaRPr lang="de-AT" dirty="0">
              <a:solidFill>
                <a:srgbClr val="DA291C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53" y="2921258"/>
            <a:ext cx="2154588" cy="142048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53" y="1394657"/>
            <a:ext cx="2154588" cy="143854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342"/>
          <a:stretch/>
        </p:blipFill>
        <p:spPr>
          <a:xfrm>
            <a:off x="4683359" y="1394656"/>
            <a:ext cx="2171209" cy="2947083"/>
          </a:xfrm>
          <a:prstGeom prst="rect">
            <a:avLst/>
          </a:prstGeom>
        </p:spPr>
      </p:pic>
      <p:sp>
        <p:nvSpPr>
          <p:cNvPr id="7" name="Textfeld 18"/>
          <p:cNvSpPr txBox="1"/>
          <p:nvPr/>
        </p:nvSpPr>
        <p:spPr>
          <a:xfrm>
            <a:off x="117988" y="857245"/>
            <a:ext cx="120417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bg-BG" sz="2800" b="1" dirty="0" smtClean="0">
                <a:ea typeface="Verdana" panose="020B0604030504040204" pitchFamily="34" charset="0"/>
                <a:cs typeface="Verdana" panose="020B0604030504040204" pitchFamily="34" charset="0"/>
              </a:rPr>
              <a:t>2018</a:t>
            </a:r>
            <a:endParaRPr lang="de-AT" sz="2800" b="1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feld 18"/>
          <p:cNvSpPr txBox="1"/>
          <p:nvPr/>
        </p:nvSpPr>
        <p:spPr>
          <a:xfrm>
            <a:off x="4683359" y="856601"/>
            <a:ext cx="120417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bg-BG" sz="2800" b="1" dirty="0" smtClean="0">
                <a:ea typeface="Verdana" panose="020B0604030504040204" pitchFamily="34" charset="0"/>
                <a:cs typeface="Verdana" panose="020B0604030504040204" pitchFamily="34" charset="0"/>
              </a:rPr>
              <a:t>2019</a:t>
            </a:r>
            <a:endParaRPr lang="de-AT" sz="2800" b="1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AutoShape 6" descr="Bildergebnis für Schloss icon"/>
          <p:cNvSpPr>
            <a:spLocks noGrp="1" noChangeAspect="1" noChangeArrowheads="1"/>
          </p:cNvSpPr>
          <p:nvPr>
            <p:ph type="body" sz="quarter" idx="12"/>
          </p:nvPr>
        </p:nvSpPr>
        <p:spPr bwMode="auto">
          <a:xfrm>
            <a:off x="2322241" y="1394656"/>
            <a:ext cx="2381327" cy="317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r>
              <a:rPr lang="bg-BG" sz="1400" b="1" dirty="0" smtClean="0">
                <a:solidFill>
                  <a:srgbClr val="DA291C"/>
                </a:solidFill>
              </a:rPr>
              <a:t>Първо 5</a:t>
            </a:r>
            <a:r>
              <a:rPr lang="en-US" sz="1400" b="1" dirty="0" smtClean="0">
                <a:solidFill>
                  <a:srgbClr val="DA291C"/>
                </a:solidFill>
              </a:rPr>
              <a:t>G </a:t>
            </a:r>
            <a:r>
              <a:rPr lang="bg-BG" sz="1400" b="1" dirty="0" smtClean="0">
                <a:solidFill>
                  <a:srgbClr val="DA291C"/>
                </a:solidFill>
              </a:rPr>
              <a:t>демо</a:t>
            </a:r>
            <a:r>
              <a:rPr lang="en-US" sz="1400" b="1" dirty="0" smtClean="0">
                <a:solidFill>
                  <a:srgbClr val="DA291C"/>
                </a:solidFill>
              </a:rPr>
              <a:t> </a:t>
            </a:r>
            <a:endParaRPr lang="bg-BG" sz="1400" b="1" dirty="0" smtClean="0">
              <a:solidFill>
                <a:srgbClr val="DA291C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(</a:t>
            </a:r>
            <a:r>
              <a:rPr lang="bg-BG" dirty="0" smtClean="0"/>
              <a:t>15 февруари)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bg-BG" sz="1400" dirty="0" smtClean="0"/>
              <a:t>4К </a:t>
            </a:r>
            <a:r>
              <a:rPr lang="en-US" sz="1400" dirty="0" smtClean="0"/>
              <a:t>VR </a:t>
            </a:r>
            <a:r>
              <a:rPr lang="bg-BG" sz="1400" dirty="0" smtClean="0"/>
              <a:t>с над </a:t>
            </a:r>
            <a:r>
              <a:rPr lang="en-US" sz="1400" dirty="0"/>
              <a:t>2 </a:t>
            </a:r>
            <a:r>
              <a:rPr lang="en-US" sz="1400" dirty="0" err="1"/>
              <a:t>Gbps</a:t>
            </a:r>
            <a:endParaRPr lang="bg-BG" sz="1400" dirty="0" smtClean="0"/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bg-BG" sz="1400" dirty="0"/>
              <a:t>Балансиращи роботи с 1 милисекунда </a:t>
            </a:r>
            <a:r>
              <a:rPr lang="bg-BG" sz="1400" dirty="0" err="1"/>
              <a:t>времезакъснение</a:t>
            </a:r>
            <a:endParaRPr lang="ru-RU" sz="1400" dirty="0"/>
          </a:p>
        </p:txBody>
      </p:sp>
      <p:sp>
        <p:nvSpPr>
          <p:cNvPr id="10" name="AutoShape 6" descr="Bildergebnis für Schloss icon"/>
          <p:cNvSpPr>
            <a:spLocks noGrp="1" noChangeAspect="1" noChangeArrowheads="1"/>
          </p:cNvSpPr>
          <p:nvPr>
            <p:ph type="body" sz="quarter" idx="12"/>
          </p:nvPr>
        </p:nvSpPr>
        <p:spPr bwMode="auto">
          <a:xfrm>
            <a:off x="6854568" y="1399555"/>
            <a:ext cx="2289432" cy="317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bg-BG" sz="1400" b="1" dirty="0">
                <a:solidFill>
                  <a:srgbClr val="DA291C"/>
                </a:solidFill>
              </a:rPr>
              <a:t>Първа 5</a:t>
            </a:r>
            <a:r>
              <a:rPr lang="en-US" sz="1400" b="1" dirty="0">
                <a:solidFill>
                  <a:srgbClr val="DA291C"/>
                </a:solidFill>
              </a:rPr>
              <a:t>G </a:t>
            </a:r>
            <a:r>
              <a:rPr lang="bg-BG" sz="1400" b="1" dirty="0" smtClean="0">
                <a:solidFill>
                  <a:srgbClr val="DA291C"/>
                </a:solidFill>
              </a:rPr>
              <a:t>станция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dirty="0" smtClean="0"/>
              <a:t>(</a:t>
            </a:r>
            <a:r>
              <a:rPr lang="bg-BG" dirty="0" smtClean="0"/>
              <a:t>1 юли)</a:t>
            </a:r>
            <a:endParaRPr lang="bg-BG" dirty="0"/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bg-BG" sz="1400" dirty="0" err="1" smtClean="0"/>
              <a:t>Супербърз</a:t>
            </a:r>
            <a:r>
              <a:rPr lang="bg-BG" sz="1400" dirty="0" smtClean="0"/>
              <a:t> </a:t>
            </a:r>
            <a:r>
              <a:rPr lang="bg-BG" sz="1400" dirty="0"/>
              <a:t>мобилен широколентов </a:t>
            </a:r>
            <a:r>
              <a:rPr lang="bg-BG" sz="1400" dirty="0" smtClean="0"/>
              <a:t>достъп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400" dirty="0" smtClean="0"/>
              <a:t>16 HD </a:t>
            </a:r>
            <a:r>
              <a:rPr lang="bg-BG" sz="1400" dirty="0" smtClean="0"/>
              <a:t>канала едновременно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bg-BG" sz="1400" i="1" dirty="0" smtClean="0">
                <a:solidFill>
                  <a:srgbClr val="FF0000"/>
                </a:solidFill>
              </a:rPr>
              <a:t>Тестове на приложения</a:t>
            </a:r>
            <a:endParaRPr lang="ru-RU" sz="1400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93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44" name="think-cell Folie" r:id="rId6" imgW="359" imgH="355" progId="TCLayout.ActiveDocument.1">
                  <p:embed/>
                </p:oleObj>
              </mc:Choice>
              <mc:Fallback>
                <p:oleObj name="think-cell Folie" r:id="rId6" imgW="359" imgH="355" progId="TCLayout.ActiveDocument.1">
                  <p:embed/>
                  <p:pic>
                    <p:nvPicPr>
                      <p:cNvPr id="24" name="Objekt 2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hteck 3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AT" sz="2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6" name="Titel 1"/>
          <p:cNvSpPr>
            <a:spLocks noGrp="1"/>
          </p:cNvSpPr>
          <p:nvPr>
            <p:ph type="title"/>
          </p:nvPr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bg-BG" dirty="0">
                <a:solidFill>
                  <a:srgbClr val="DA291C"/>
                </a:solidFill>
              </a:rPr>
              <a:t>А1 </a:t>
            </a:r>
            <a:r>
              <a:rPr lang="bg-BG" dirty="0" smtClean="0">
                <a:solidFill>
                  <a:srgbClr val="DA291C"/>
                </a:solidFill>
              </a:rPr>
              <a:t>Австрия </a:t>
            </a:r>
            <a:r>
              <a:rPr lang="bg-BG" dirty="0">
                <a:solidFill>
                  <a:srgbClr val="DA291C"/>
                </a:solidFill>
              </a:rPr>
              <a:t>и 5</a:t>
            </a:r>
            <a:r>
              <a:rPr lang="en-US" dirty="0" smtClean="0">
                <a:solidFill>
                  <a:srgbClr val="DA291C"/>
                </a:solidFill>
              </a:rPr>
              <a:t>G</a:t>
            </a:r>
            <a:endParaRPr lang="de-AT" dirty="0">
              <a:solidFill>
                <a:srgbClr val="DA291C"/>
              </a:solidFill>
            </a:endParaRPr>
          </a:p>
        </p:txBody>
      </p:sp>
      <p:pic>
        <p:nvPicPr>
          <p:cNvPr id="22" name="Grafik 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060"/>
          <a:stretch/>
        </p:blipFill>
        <p:spPr>
          <a:xfrm>
            <a:off x="6819900" y="1326910"/>
            <a:ext cx="2324099" cy="3694298"/>
          </a:xfrm>
          <a:prstGeom prst="rect">
            <a:avLst/>
          </a:prstGeom>
        </p:spPr>
      </p:pic>
      <p:sp>
        <p:nvSpPr>
          <p:cNvPr id="23" name="AutoShape 6" descr="Bildergebnis für Schloss icon"/>
          <p:cNvSpPr>
            <a:spLocks noGrp="1" noChangeAspect="1" noChangeArrowheads="1"/>
          </p:cNvSpPr>
          <p:nvPr>
            <p:ph type="body" sz="quarter" idx="12"/>
          </p:nvPr>
        </p:nvSpPr>
        <p:spPr bwMode="auto">
          <a:xfrm>
            <a:off x="403731" y="1326910"/>
            <a:ext cx="3573909" cy="3245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bg-BG" sz="1400" b="1" dirty="0" smtClean="0">
                <a:solidFill>
                  <a:srgbClr val="DA291C"/>
                </a:solidFill>
              </a:rPr>
              <a:t>Март 2019 г.: </a:t>
            </a:r>
            <a:r>
              <a:rPr lang="bg-BG" sz="1400" dirty="0"/>
              <a:t>честоти за 5</a:t>
            </a:r>
            <a:r>
              <a:rPr lang="en-US" sz="1400" dirty="0"/>
              <a:t>G</a:t>
            </a:r>
            <a:endParaRPr lang="bg-BG" sz="1400" dirty="0"/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bg-BG" sz="1400" b="1" dirty="0" smtClean="0">
                <a:solidFill>
                  <a:srgbClr val="DA291C"/>
                </a:solidFill>
              </a:rPr>
              <a:t>Септември 2019 г: </a:t>
            </a:r>
            <a:r>
              <a:rPr lang="bg-BG" sz="1400" dirty="0"/>
              <a:t>излъчване на 8К</a:t>
            </a:r>
            <a:r>
              <a:rPr lang="en-US" sz="1400" dirty="0"/>
              <a:t> </a:t>
            </a:r>
            <a:r>
              <a:rPr lang="bg-BG" sz="1400" dirty="0"/>
              <a:t>видео чрез 5</a:t>
            </a:r>
            <a:r>
              <a:rPr lang="en-US" sz="1400" dirty="0"/>
              <a:t>G </a:t>
            </a:r>
            <a:r>
              <a:rPr lang="bg-BG" sz="1400" dirty="0"/>
              <a:t>мрежа в </a:t>
            </a:r>
            <a:r>
              <a:rPr lang="bg-BG" dirty="0" err="1" smtClean="0"/>
              <a:t>Алпбах</a:t>
            </a:r>
            <a:endParaRPr lang="bg-BG" dirty="0" smtClean="0"/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bg-BG" sz="1400" b="1" dirty="0" smtClean="0">
                <a:solidFill>
                  <a:srgbClr val="DA291C"/>
                </a:solidFill>
              </a:rPr>
              <a:t>Декември 2019 г.: </a:t>
            </a:r>
            <a:r>
              <a:rPr lang="bg-BG" sz="1400" dirty="0" smtClean="0"/>
              <a:t>първият 5</a:t>
            </a:r>
            <a:r>
              <a:rPr lang="en-US" sz="1400" dirty="0" smtClean="0"/>
              <a:t>G </a:t>
            </a:r>
            <a:r>
              <a:rPr lang="bg-BG" sz="1400" dirty="0" smtClean="0"/>
              <a:t>град - </a:t>
            </a:r>
            <a:r>
              <a:rPr lang="ru-RU" sz="1400" dirty="0" smtClean="0"/>
              <a:t>Гмюнд 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rgbClr val="DA291C"/>
                </a:solidFill>
              </a:rPr>
              <a:t>2020 </a:t>
            </a:r>
            <a:r>
              <a:rPr lang="ru-RU" sz="1400" b="1" dirty="0">
                <a:solidFill>
                  <a:srgbClr val="DA291C"/>
                </a:solidFill>
              </a:rPr>
              <a:t>г</a:t>
            </a:r>
            <a:r>
              <a:rPr lang="ru-RU" sz="1400" b="1" dirty="0" smtClean="0">
                <a:solidFill>
                  <a:srgbClr val="DA291C"/>
                </a:solidFill>
              </a:rPr>
              <a:t>.: </a:t>
            </a:r>
            <a:r>
              <a:rPr lang="ru-RU" sz="1400" dirty="0"/>
              <a:t>всички областни градове </a:t>
            </a:r>
            <a:endParaRPr lang="ru-RU" sz="1400" dirty="0" smtClean="0"/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rgbClr val="DA291C"/>
                </a:solidFill>
              </a:rPr>
              <a:t>2025 </a:t>
            </a:r>
            <a:r>
              <a:rPr lang="ru-RU" sz="1400" b="1" dirty="0">
                <a:solidFill>
                  <a:srgbClr val="DA291C"/>
                </a:solidFill>
              </a:rPr>
              <a:t>г</a:t>
            </a:r>
            <a:r>
              <a:rPr lang="ru-RU" sz="1400" b="1" dirty="0" smtClean="0">
                <a:solidFill>
                  <a:srgbClr val="DA291C"/>
                </a:solidFill>
              </a:rPr>
              <a:t>.:</a:t>
            </a:r>
            <a:r>
              <a:rPr lang="ru-RU" sz="1400" dirty="0" smtClean="0"/>
              <a:t> </a:t>
            </a:r>
            <a:r>
              <a:rPr lang="ru-RU" sz="1400" dirty="0"/>
              <a:t>цяла </a:t>
            </a:r>
            <a:r>
              <a:rPr lang="ru-RU" sz="1400" dirty="0" smtClean="0"/>
              <a:t>Австрия</a:t>
            </a:r>
            <a:endParaRPr lang="ru-RU" sz="14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600" y="1326910"/>
            <a:ext cx="2781300" cy="18542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600" y="3181110"/>
            <a:ext cx="2720340" cy="1813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27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el 1"/>
          <p:cNvSpPr>
            <a:spLocks noGrp="1"/>
          </p:cNvSpPr>
          <p:nvPr>
            <p:ph type="title"/>
          </p:nvPr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bg-BG" dirty="0" smtClean="0">
                <a:solidFill>
                  <a:srgbClr val="DA291C"/>
                </a:solidFill>
              </a:rPr>
              <a:t>5</a:t>
            </a:r>
            <a:r>
              <a:rPr lang="en-US" dirty="0" smtClean="0">
                <a:solidFill>
                  <a:srgbClr val="DA291C"/>
                </a:solidFill>
              </a:rPr>
              <a:t>G </a:t>
            </a:r>
            <a:r>
              <a:rPr lang="bg-BG" dirty="0" smtClean="0">
                <a:solidFill>
                  <a:srgbClr val="DA291C"/>
                </a:solidFill>
              </a:rPr>
              <a:t>ще промени нашия свят…</a:t>
            </a:r>
            <a:endParaRPr lang="de-AT" dirty="0">
              <a:solidFill>
                <a:srgbClr val="DA291C"/>
              </a:solidFill>
            </a:endParaRPr>
          </a:p>
        </p:txBody>
      </p:sp>
      <p:sp>
        <p:nvSpPr>
          <p:cNvPr id="69" name="Shape 13384"/>
          <p:cNvSpPr/>
          <p:nvPr/>
        </p:nvSpPr>
        <p:spPr>
          <a:xfrm>
            <a:off x="1263123" y="1354644"/>
            <a:ext cx="1405305" cy="14053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547" y="17321"/>
                </a:moveTo>
                <a:cubicBezTo>
                  <a:pt x="8949" y="18285"/>
                  <a:pt x="5244" y="16150"/>
                  <a:pt x="4279" y="12548"/>
                </a:cubicBezTo>
                <a:cubicBezTo>
                  <a:pt x="3314" y="8946"/>
                  <a:pt x="5454" y="5244"/>
                  <a:pt x="9053" y="4280"/>
                </a:cubicBezTo>
                <a:cubicBezTo>
                  <a:pt x="12655" y="3315"/>
                  <a:pt x="16356" y="5452"/>
                  <a:pt x="17321" y="9053"/>
                </a:cubicBezTo>
                <a:cubicBezTo>
                  <a:pt x="18286" y="12655"/>
                  <a:pt x="16149" y="16356"/>
                  <a:pt x="12547" y="17321"/>
                </a:cubicBezTo>
                <a:close/>
                <a:moveTo>
                  <a:pt x="19008" y="6913"/>
                </a:moveTo>
                <a:lnTo>
                  <a:pt x="18923" y="6927"/>
                </a:lnTo>
                <a:cubicBezTo>
                  <a:pt x="18370" y="5767"/>
                  <a:pt x="17585" y="4759"/>
                  <a:pt x="16638" y="3957"/>
                </a:cubicBezTo>
                <a:lnTo>
                  <a:pt x="16677" y="3873"/>
                </a:lnTo>
                <a:lnTo>
                  <a:pt x="17447" y="2170"/>
                </a:lnTo>
                <a:lnTo>
                  <a:pt x="14946" y="726"/>
                </a:lnTo>
                <a:lnTo>
                  <a:pt x="13856" y="2245"/>
                </a:lnTo>
                <a:lnTo>
                  <a:pt x="13803" y="2320"/>
                </a:lnTo>
                <a:cubicBezTo>
                  <a:pt x="12637" y="1905"/>
                  <a:pt x="11375" y="1728"/>
                  <a:pt x="10089" y="1831"/>
                </a:cubicBezTo>
                <a:lnTo>
                  <a:pt x="10058" y="1745"/>
                </a:lnTo>
                <a:lnTo>
                  <a:pt x="9399" y="0"/>
                </a:lnTo>
                <a:lnTo>
                  <a:pt x="6609" y="747"/>
                </a:lnTo>
                <a:lnTo>
                  <a:pt x="6911" y="2593"/>
                </a:lnTo>
                <a:lnTo>
                  <a:pt x="6927" y="2683"/>
                </a:lnTo>
                <a:cubicBezTo>
                  <a:pt x="5767" y="3234"/>
                  <a:pt x="4761" y="4015"/>
                  <a:pt x="3956" y="4963"/>
                </a:cubicBezTo>
                <a:lnTo>
                  <a:pt x="3872" y="4924"/>
                </a:lnTo>
                <a:lnTo>
                  <a:pt x="2170" y="4157"/>
                </a:lnTo>
                <a:lnTo>
                  <a:pt x="725" y="6655"/>
                </a:lnTo>
                <a:lnTo>
                  <a:pt x="2243" y="7744"/>
                </a:lnTo>
                <a:lnTo>
                  <a:pt x="2319" y="7798"/>
                </a:lnTo>
                <a:cubicBezTo>
                  <a:pt x="1904" y="8964"/>
                  <a:pt x="1728" y="10230"/>
                  <a:pt x="1834" y="11511"/>
                </a:cubicBezTo>
                <a:lnTo>
                  <a:pt x="1744" y="11543"/>
                </a:lnTo>
                <a:lnTo>
                  <a:pt x="0" y="12206"/>
                </a:lnTo>
                <a:lnTo>
                  <a:pt x="746" y="14991"/>
                </a:lnTo>
                <a:lnTo>
                  <a:pt x="2591" y="14689"/>
                </a:lnTo>
                <a:lnTo>
                  <a:pt x="2681" y="14673"/>
                </a:lnTo>
                <a:cubicBezTo>
                  <a:pt x="3233" y="15834"/>
                  <a:pt x="4019" y="16842"/>
                  <a:pt x="4962" y="17644"/>
                </a:cubicBezTo>
                <a:lnTo>
                  <a:pt x="4923" y="17729"/>
                </a:lnTo>
                <a:lnTo>
                  <a:pt x="4156" y="19430"/>
                </a:lnTo>
                <a:lnTo>
                  <a:pt x="6654" y="20876"/>
                </a:lnTo>
                <a:lnTo>
                  <a:pt x="7743" y="19357"/>
                </a:lnTo>
                <a:lnTo>
                  <a:pt x="7797" y="19281"/>
                </a:lnTo>
                <a:cubicBezTo>
                  <a:pt x="8963" y="19697"/>
                  <a:pt x="10229" y="19873"/>
                  <a:pt x="11510" y="19770"/>
                </a:cubicBezTo>
                <a:lnTo>
                  <a:pt x="11542" y="19856"/>
                </a:lnTo>
                <a:lnTo>
                  <a:pt x="12205" y="21600"/>
                </a:lnTo>
                <a:lnTo>
                  <a:pt x="14990" y="20854"/>
                </a:lnTo>
                <a:lnTo>
                  <a:pt x="14689" y="19009"/>
                </a:lnTo>
                <a:lnTo>
                  <a:pt x="14673" y="18923"/>
                </a:lnTo>
                <a:cubicBezTo>
                  <a:pt x="15837" y="18366"/>
                  <a:pt x="16843" y="17585"/>
                  <a:pt x="17643" y="16639"/>
                </a:cubicBezTo>
                <a:lnTo>
                  <a:pt x="17728" y="16677"/>
                </a:lnTo>
                <a:lnTo>
                  <a:pt x="19431" y="17448"/>
                </a:lnTo>
                <a:lnTo>
                  <a:pt x="20875" y="14947"/>
                </a:lnTo>
                <a:lnTo>
                  <a:pt x="19356" y="13857"/>
                </a:lnTo>
                <a:lnTo>
                  <a:pt x="19280" y="13804"/>
                </a:lnTo>
                <a:cubicBezTo>
                  <a:pt x="19696" y="12637"/>
                  <a:pt x="19873" y="11375"/>
                  <a:pt x="19770" y="10090"/>
                </a:cubicBezTo>
                <a:lnTo>
                  <a:pt x="19856" y="10059"/>
                </a:lnTo>
                <a:lnTo>
                  <a:pt x="21600" y="9396"/>
                </a:lnTo>
                <a:lnTo>
                  <a:pt x="20854" y="6610"/>
                </a:lnTo>
                <a:cubicBezTo>
                  <a:pt x="20854" y="6610"/>
                  <a:pt x="19008" y="6913"/>
                  <a:pt x="19008" y="6913"/>
                </a:cubicBezTo>
                <a:close/>
              </a:path>
            </a:pathLst>
          </a:custGeom>
          <a:solidFill>
            <a:srgbClr val="666666"/>
          </a:solidFill>
          <a:ln w="12700" cap="flat">
            <a:noFill/>
            <a:miter lim="400000"/>
          </a:ln>
          <a:effectLst/>
        </p:spPr>
        <p:txBody>
          <a:bodyPr wrap="square" lIns="28575" tIns="28575" rIns="28575" bIns="28575" numCol="1" anchor="ctr">
            <a:noAutofit/>
          </a:bodyPr>
          <a:lstStyle/>
          <a:p>
            <a:endParaRPr lang="de-DE" sz="900" dirty="0">
              <a:solidFill>
                <a:srgbClr val="000000"/>
              </a:solidFill>
              <a:latin typeface="Gill Sans MT" panose="020B0502020104020203" pitchFamily="34" charset="0"/>
            </a:endParaRPr>
          </a:p>
        </p:txBody>
      </p:sp>
      <p:sp>
        <p:nvSpPr>
          <p:cNvPr id="70" name="Shape 13383"/>
          <p:cNvSpPr/>
          <p:nvPr/>
        </p:nvSpPr>
        <p:spPr>
          <a:xfrm>
            <a:off x="3747390" y="1086764"/>
            <a:ext cx="3125186" cy="28090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547" y="17321"/>
                </a:moveTo>
                <a:cubicBezTo>
                  <a:pt x="8949" y="18285"/>
                  <a:pt x="5244" y="16150"/>
                  <a:pt x="4279" y="12548"/>
                </a:cubicBezTo>
                <a:cubicBezTo>
                  <a:pt x="3314" y="8946"/>
                  <a:pt x="5454" y="5244"/>
                  <a:pt x="9053" y="4280"/>
                </a:cubicBezTo>
                <a:cubicBezTo>
                  <a:pt x="12655" y="3315"/>
                  <a:pt x="16356" y="5452"/>
                  <a:pt x="17321" y="9053"/>
                </a:cubicBezTo>
                <a:cubicBezTo>
                  <a:pt x="18286" y="12655"/>
                  <a:pt x="16149" y="16356"/>
                  <a:pt x="12547" y="17321"/>
                </a:cubicBezTo>
                <a:close/>
                <a:moveTo>
                  <a:pt x="19008" y="6913"/>
                </a:moveTo>
                <a:lnTo>
                  <a:pt x="18923" y="6927"/>
                </a:lnTo>
                <a:cubicBezTo>
                  <a:pt x="18370" y="5767"/>
                  <a:pt x="17585" y="4759"/>
                  <a:pt x="16638" y="3957"/>
                </a:cubicBezTo>
                <a:lnTo>
                  <a:pt x="16677" y="3873"/>
                </a:lnTo>
                <a:lnTo>
                  <a:pt x="17447" y="2170"/>
                </a:lnTo>
                <a:lnTo>
                  <a:pt x="14946" y="726"/>
                </a:lnTo>
                <a:lnTo>
                  <a:pt x="13856" y="2245"/>
                </a:lnTo>
                <a:lnTo>
                  <a:pt x="13803" y="2320"/>
                </a:lnTo>
                <a:cubicBezTo>
                  <a:pt x="12637" y="1905"/>
                  <a:pt x="11375" y="1728"/>
                  <a:pt x="10089" y="1831"/>
                </a:cubicBezTo>
                <a:lnTo>
                  <a:pt x="10058" y="1745"/>
                </a:lnTo>
                <a:lnTo>
                  <a:pt x="9399" y="0"/>
                </a:lnTo>
                <a:lnTo>
                  <a:pt x="6609" y="747"/>
                </a:lnTo>
                <a:lnTo>
                  <a:pt x="6911" y="2593"/>
                </a:lnTo>
                <a:lnTo>
                  <a:pt x="6927" y="2683"/>
                </a:lnTo>
                <a:cubicBezTo>
                  <a:pt x="5767" y="3234"/>
                  <a:pt x="4761" y="4015"/>
                  <a:pt x="3956" y="4963"/>
                </a:cubicBezTo>
                <a:lnTo>
                  <a:pt x="3872" y="4924"/>
                </a:lnTo>
                <a:lnTo>
                  <a:pt x="2170" y="4157"/>
                </a:lnTo>
                <a:lnTo>
                  <a:pt x="725" y="6655"/>
                </a:lnTo>
                <a:lnTo>
                  <a:pt x="2243" y="7744"/>
                </a:lnTo>
                <a:lnTo>
                  <a:pt x="2319" y="7798"/>
                </a:lnTo>
                <a:cubicBezTo>
                  <a:pt x="1904" y="8964"/>
                  <a:pt x="1728" y="10230"/>
                  <a:pt x="1834" y="11511"/>
                </a:cubicBezTo>
                <a:lnTo>
                  <a:pt x="1744" y="11543"/>
                </a:lnTo>
                <a:lnTo>
                  <a:pt x="0" y="12206"/>
                </a:lnTo>
                <a:lnTo>
                  <a:pt x="746" y="14991"/>
                </a:lnTo>
                <a:lnTo>
                  <a:pt x="2591" y="14689"/>
                </a:lnTo>
                <a:lnTo>
                  <a:pt x="2681" y="14673"/>
                </a:lnTo>
                <a:cubicBezTo>
                  <a:pt x="3233" y="15834"/>
                  <a:pt x="4019" y="16842"/>
                  <a:pt x="4962" y="17644"/>
                </a:cubicBezTo>
                <a:lnTo>
                  <a:pt x="4923" y="17729"/>
                </a:lnTo>
                <a:lnTo>
                  <a:pt x="4156" y="19430"/>
                </a:lnTo>
                <a:lnTo>
                  <a:pt x="6654" y="20876"/>
                </a:lnTo>
                <a:lnTo>
                  <a:pt x="7743" y="19357"/>
                </a:lnTo>
                <a:lnTo>
                  <a:pt x="7797" y="19281"/>
                </a:lnTo>
                <a:cubicBezTo>
                  <a:pt x="8963" y="19697"/>
                  <a:pt x="10229" y="19873"/>
                  <a:pt x="11510" y="19770"/>
                </a:cubicBezTo>
                <a:lnTo>
                  <a:pt x="11542" y="19856"/>
                </a:lnTo>
                <a:lnTo>
                  <a:pt x="12205" y="21600"/>
                </a:lnTo>
                <a:lnTo>
                  <a:pt x="14990" y="20854"/>
                </a:lnTo>
                <a:lnTo>
                  <a:pt x="14689" y="19009"/>
                </a:lnTo>
                <a:lnTo>
                  <a:pt x="14673" y="18923"/>
                </a:lnTo>
                <a:cubicBezTo>
                  <a:pt x="15837" y="18366"/>
                  <a:pt x="16843" y="17585"/>
                  <a:pt x="17643" y="16639"/>
                </a:cubicBezTo>
                <a:lnTo>
                  <a:pt x="17728" y="16677"/>
                </a:lnTo>
                <a:lnTo>
                  <a:pt x="19431" y="17448"/>
                </a:lnTo>
                <a:lnTo>
                  <a:pt x="20875" y="14947"/>
                </a:lnTo>
                <a:lnTo>
                  <a:pt x="19356" y="13857"/>
                </a:lnTo>
                <a:lnTo>
                  <a:pt x="19280" y="13804"/>
                </a:lnTo>
                <a:cubicBezTo>
                  <a:pt x="19696" y="12637"/>
                  <a:pt x="19873" y="11375"/>
                  <a:pt x="19770" y="10090"/>
                </a:cubicBezTo>
                <a:lnTo>
                  <a:pt x="19856" y="10059"/>
                </a:lnTo>
                <a:lnTo>
                  <a:pt x="21600" y="9396"/>
                </a:lnTo>
                <a:lnTo>
                  <a:pt x="20854" y="6610"/>
                </a:lnTo>
                <a:cubicBezTo>
                  <a:pt x="20854" y="6610"/>
                  <a:pt x="19008" y="6913"/>
                  <a:pt x="19008" y="6913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</p:spPr>
        <p:txBody>
          <a:bodyPr wrap="square" lIns="28575" tIns="28575" rIns="28575" bIns="28575" numCol="1" anchor="ctr">
            <a:noAutofit/>
          </a:bodyPr>
          <a:lstStyle/>
          <a:p>
            <a:endParaRPr lang="de-DE" sz="900" dirty="0">
              <a:solidFill>
                <a:srgbClr val="000000"/>
              </a:solidFill>
              <a:latin typeface="Gill Sans MT" panose="020B0502020104020203" pitchFamily="34" charset="0"/>
            </a:endParaRPr>
          </a:p>
        </p:txBody>
      </p:sp>
      <p:sp>
        <p:nvSpPr>
          <p:cNvPr id="71" name="Shape 13384"/>
          <p:cNvSpPr/>
          <p:nvPr/>
        </p:nvSpPr>
        <p:spPr>
          <a:xfrm rot="19097495">
            <a:off x="6069646" y="292107"/>
            <a:ext cx="1407782" cy="14077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547" y="17321"/>
                </a:moveTo>
                <a:cubicBezTo>
                  <a:pt x="8949" y="18285"/>
                  <a:pt x="5244" y="16150"/>
                  <a:pt x="4279" y="12548"/>
                </a:cubicBezTo>
                <a:cubicBezTo>
                  <a:pt x="3314" y="8946"/>
                  <a:pt x="5454" y="5244"/>
                  <a:pt x="9053" y="4280"/>
                </a:cubicBezTo>
                <a:cubicBezTo>
                  <a:pt x="12655" y="3315"/>
                  <a:pt x="16356" y="5452"/>
                  <a:pt x="17321" y="9053"/>
                </a:cubicBezTo>
                <a:cubicBezTo>
                  <a:pt x="18286" y="12655"/>
                  <a:pt x="16149" y="16356"/>
                  <a:pt x="12547" y="17321"/>
                </a:cubicBezTo>
                <a:close/>
                <a:moveTo>
                  <a:pt x="19008" y="6913"/>
                </a:moveTo>
                <a:lnTo>
                  <a:pt x="18923" y="6927"/>
                </a:lnTo>
                <a:cubicBezTo>
                  <a:pt x="18370" y="5767"/>
                  <a:pt x="17585" y="4759"/>
                  <a:pt x="16638" y="3957"/>
                </a:cubicBezTo>
                <a:lnTo>
                  <a:pt x="16677" y="3873"/>
                </a:lnTo>
                <a:lnTo>
                  <a:pt x="17447" y="2170"/>
                </a:lnTo>
                <a:lnTo>
                  <a:pt x="14946" y="726"/>
                </a:lnTo>
                <a:lnTo>
                  <a:pt x="13856" y="2245"/>
                </a:lnTo>
                <a:lnTo>
                  <a:pt x="13803" y="2320"/>
                </a:lnTo>
                <a:cubicBezTo>
                  <a:pt x="12637" y="1905"/>
                  <a:pt x="11375" y="1728"/>
                  <a:pt x="10089" y="1831"/>
                </a:cubicBezTo>
                <a:lnTo>
                  <a:pt x="10058" y="1745"/>
                </a:lnTo>
                <a:lnTo>
                  <a:pt x="9399" y="0"/>
                </a:lnTo>
                <a:lnTo>
                  <a:pt x="6609" y="747"/>
                </a:lnTo>
                <a:lnTo>
                  <a:pt x="6911" y="2593"/>
                </a:lnTo>
                <a:lnTo>
                  <a:pt x="6927" y="2683"/>
                </a:lnTo>
                <a:cubicBezTo>
                  <a:pt x="5767" y="3234"/>
                  <a:pt x="4761" y="4015"/>
                  <a:pt x="3956" y="4963"/>
                </a:cubicBezTo>
                <a:lnTo>
                  <a:pt x="3872" y="4924"/>
                </a:lnTo>
                <a:lnTo>
                  <a:pt x="2170" y="4157"/>
                </a:lnTo>
                <a:lnTo>
                  <a:pt x="725" y="6655"/>
                </a:lnTo>
                <a:lnTo>
                  <a:pt x="2243" y="7744"/>
                </a:lnTo>
                <a:lnTo>
                  <a:pt x="2319" y="7798"/>
                </a:lnTo>
                <a:cubicBezTo>
                  <a:pt x="1904" y="8964"/>
                  <a:pt x="1728" y="10230"/>
                  <a:pt x="1834" y="11511"/>
                </a:cubicBezTo>
                <a:lnTo>
                  <a:pt x="1744" y="11543"/>
                </a:lnTo>
                <a:lnTo>
                  <a:pt x="0" y="12206"/>
                </a:lnTo>
                <a:lnTo>
                  <a:pt x="746" y="14991"/>
                </a:lnTo>
                <a:lnTo>
                  <a:pt x="2591" y="14689"/>
                </a:lnTo>
                <a:lnTo>
                  <a:pt x="2681" y="14673"/>
                </a:lnTo>
                <a:cubicBezTo>
                  <a:pt x="3233" y="15834"/>
                  <a:pt x="4019" y="16842"/>
                  <a:pt x="4962" y="17644"/>
                </a:cubicBezTo>
                <a:lnTo>
                  <a:pt x="4923" y="17729"/>
                </a:lnTo>
                <a:lnTo>
                  <a:pt x="4156" y="19430"/>
                </a:lnTo>
                <a:lnTo>
                  <a:pt x="6654" y="20876"/>
                </a:lnTo>
                <a:lnTo>
                  <a:pt x="7743" y="19357"/>
                </a:lnTo>
                <a:lnTo>
                  <a:pt x="7797" y="19281"/>
                </a:lnTo>
                <a:cubicBezTo>
                  <a:pt x="8963" y="19697"/>
                  <a:pt x="10229" y="19873"/>
                  <a:pt x="11510" y="19770"/>
                </a:cubicBezTo>
                <a:lnTo>
                  <a:pt x="11542" y="19856"/>
                </a:lnTo>
                <a:lnTo>
                  <a:pt x="12205" y="21600"/>
                </a:lnTo>
                <a:lnTo>
                  <a:pt x="14990" y="20854"/>
                </a:lnTo>
                <a:lnTo>
                  <a:pt x="14689" y="19009"/>
                </a:lnTo>
                <a:lnTo>
                  <a:pt x="14673" y="18923"/>
                </a:lnTo>
                <a:cubicBezTo>
                  <a:pt x="15837" y="18366"/>
                  <a:pt x="16843" y="17585"/>
                  <a:pt x="17643" y="16639"/>
                </a:cubicBezTo>
                <a:lnTo>
                  <a:pt x="17728" y="16677"/>
                </a:lnTo>
                <a:lnTo>
                  <a:pt x="19431" y="17448"/>
                </a:lnTo>
                <a:lnTo>
                  <a:pt x="20875" y="14947"/>
                </a:lnTo>
                <a:lnTo>
                  <a:pt x="19356" y="13857"/>
                </a:lnTo>
                <a:lnTo>
                  <a:pt x="19280" y="13804"/>
                </a:lnTo>
                <a:cubicBezTo>
                  <a:pt x="19696" y="12637"/>
                  <a:pt x="19873" y="11375"/>
                  <a:pt x="19770" y="10090"/>
                </a:cubicBezTo>
                <a:lnTo>
                  <a:pt x="19856" y="10059"/>
                </a:lnTo>
                <a:lnTo>
                  <a:pt x="21600" y="9396"/>
                </a:lnTo>
                <a:lnTo>
                  <a:pt x="20854" y="6610"/>
                </a:lnTo>
                <a:cubicBezTo>
                  <a:pt x="20854" y="6610"/>
                  <a:pt x="19008" y="6913"/>
                  <a:pt x="19008" y="6913"/>
                </a:cubicBezTo>
                <a:close/>
              </a:path>
            </a:pathLst>
          </a:custGeom>
          <a:solidFill>
            <a:srgbClr val="666666"/>
          </a:solidFill>
          <a:ln w="12700" cap="flat">
            <a:noFill/>
            <a:miter lim="400000"/>
          </a:ln>
          <a:effectLst/>
        </p:spPr>
        <p:txBody>
          <a:bodyPr wrap="square" lIns="28575" tIns="28575" rIns="28575" bIns="28575" numCol="1" anchor="ctr">
            <a:noAutofit/>
          </a:bodyPr>
          <a:lstStyle/>
          <a:p>
            <a:endParaRPr lang="de-DE" sz="900" dirty="0">
              <a:solidFill>
                <a:srgbClr val="000000"/>
              </a:solidFill>
              <a:latin typeface="Gill Sans MT" panose="020B0502020104020203" pitchFamily="34" charset="0"/>
            </a:endParaRPr>
          </a:p>
        </p:txBody>
      </p:sp>
      <p:sp>
        <p:nvSpPr>
          <p:cNvPr id="72" name="Shape 13385"/>
          <p:cNvSpPr/>
          <p:nvPr/>
        </p:nvSpPr>
        <p:spPr>
          <a:xfrm>
            <a:off x="969829" y="2646775"/>
            <a:ext cx="2080156" cy="20499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547" y="17321"/>
                </a:moveTo>
                <a:cubicBezTo>
                  <a:pt x="8949" y="18285"/>
                  <a:pt x="5244" y="16150"/>
                  <a:pt x="4279" y="12548"/>
                </a:cubicBezTo>
                <a:cubicBezTo>
                  <a:pt x="3314" y="8946"/>
                  <a:pt x="5454" y="5244"/>
                  <a:pt x="9053" y="4280"/>
                </a:cubicBezTo>
                <a:cubicBezTo>
                  <a:pt x="12655" y="3315"/>
                  <a:pt x="16356" y="5452"/>
                  <a:pt x="17321" y="9053"/>
                </a:cubicBezTo>
                <a:cubicBezTo>
                  <a:pt x="18286" y="12655"/>
                  <a:pt x="16149" y="16356"/>
                  <a:pt x="12547" y="17321"/>
                </a:cubicBezTo>
                <a:close/>
                <a:moveTo>
                  <a:pt x="19008" y="6913"/>
                </a:moveTo>
                <a:lnTo>
                  <a:pt x="18923" y="6927"/>
                </a:lnTo>
                <a:cubicBezTo>
                  <a:pt x="18370" y="5767"/>
                  <a:pt x="17585" y="4759"/>
                  <a:pt x="16638" y="3957"/>
                </a:cubicBezTo>
                <a:lnTo>
                  <a:pt x="16677" y="3873"/>
                </a:lnTo>
                <a:lnTo>
                  <a:pt x="17447" y="2170"/>
                </a:lnTo>
                <a:lnTo>
                  <a:pt x="14946" y="726"/>
                </a:lnTo>
                <a:lnTo>
                  <a:pt x="13856" y="2245"/>
                </a:lnTo>
                <a:lnTo>
                  <a:pt x="13803" y="2320"/>
                </a:lnTo>
                <a:cubicBezTo>
                  <a:pt x="12637" y="1905"/>
                  <a:pt x="11375" y="1728"/>
                  <a:pt x="10089" y="1831"/>
                </a:cubicBezTo>
                <a:lnTo>
                  <a:pt x="10058" y="1745"/>
                </a:lnTo>
                <a:lnTo>
                  <a:pt x="9399" y="0"/>
                </a:lnTo>
                <a:lnTo>
                  <a:pt x="6609" y="747"/>
                </a:lnTo>
                <a:lnTo>
                  <a:pt x="6911" y="2593"/>
                </a:lnTo>
                <a:lnTo>
                  <a:pt x="6927" y="2683"/>
                </a:lnTo>
                <a:cubicBezTo>
                  <a:pt x="5767" y="3234"/>
                  <a:pt x="4761" y="4015"/>
                  <a:pt x="3956" y="4963"/>
                </a:cubicBezTo>
                <a:lnTo>
                  <a:pt x="3872" y="4924"/>
                </a:lnTo>
                <a:lnTo>
                  <a:pt x="2170" y="4157"/>
                </a:lnTo>
                <a:lnTo>
                  <a:pt x="725" y="6655"/>
                </a:lnTo>
                <a:lnTo>
                  <a:pt x="2243" y="7744"/>
                </a:lnTo>
                <a:lnTo>
                  <a:pt x="2319" y="7798"/>
                </a:lnTo>
                <a:cubicBezTo>
                  <a:pt x="1904" y="8964"/>
                  <a:pt x="1728" y="10230"/>
                  <a:pt x="1834" y="11511"/>
                </a:cubicBezTo>
                <a:lnTo>
                  <a:pt x="1744" y="11543"/>
                </a:lnTo>
                <a:lnTo>
                  <a:pt x="0" y="12206"/>
                </a:lnTo>
                <a:lnTo>
                  <a:pt x="746" y="14991"/>
                </a:lnTo>
                <a:lnTo>
                  <a:pt x="2591" y="14689"/>
                </a:lnTo>
                <a:lnTo>
                  <a:pt x="2681" y="14673"/>
                </a:lnTo>
                <a:cubicBezTo>
                  <a:pt x="3233" y="15834"/>
                  <a:pt x="4019" y="16842"/>
                  <a:pt x="4962" y="17644"/>
                </a:cubicBezTo>
                <a:lnTo>
                  <a:pt x="4923" y="17729"/>
                </a:lnTo>
                <a:lnTo>
                  <a:pt x="4156" y="19430"/>
                </a:lnTo>
                <a:lnTo>
                  <a:pt x="6654" y="20876"/>
                </a:lnTo>
                <a:lnTo>
                  <a:pt x="7743" y="19357"/>
                </a:lnTo>
                <a:lnTo>
                  <a:pt x="7797" y="19281"/>
                </a:lnTo>
                <a:cubicBezTo>
                  <a:pt x="8963" y="19697"/>
                  <a:pt x="10229" y="19873"/>
                  <a:pt x="11510" y="19770"/>
                </a:cubicBezTo>
                <a:lnTo>
                  <a:pt x="11542" y="19856"/>
                </a:lnTo>
                <a:lnTo>
                  <a:pt x="12205" y="21600"/>
                </a:lnTo>
                <a:lnTo>
                  <a:pt x="14990" y="20854"/>
                </a:lnTo>
                <a:lnTo>
                  <a:pt x="14689" y="19009"/>
                </a:lnTo>
                <a:lnTo>
                  <a:pt x="14673" y="18923"/>
                </a:lnTo>
                <a:cubicBezTo>
                  <a:pt x="15837" y="18366"/>
                  <a:pt x="16843" y="17585"/>
                  <a:pt x="17643" y="16639"/>
                </a:cubicBezTo>
                <a:lnTo>
                  <a:pt x="17728" y="16677"/>
                </a:lnTo>
                <a:lnTo>
                  <a:pt x="19431" y="17448"/>
                </a:lnTo>
                <a:lnTo>
                  <a:pt x="20875" y="14947"/>
                </a:lnTo>
                <a:lnTo>
                  <a:pt x="19356" y="13857"/>
                </a:lnTo>
                <a:lnTo>
                  <a:pt x="19280" y="13804"/>
                </a:lnTo>
                <a:cubicBezTo>
                  <a:pt x="19696" y="12637"/>
                  <a:pt x="19873" y="11375"/>
                  <a:pt x="19770" y="10090"/>
                </a:cubicBezTo>
                <a:lnTo>
                  <a:pt x="19856" y="10059"/>
                </a:lnTo>
                <a:lnTo>
                  <a:pt x="21600" y="9396"/>
                </a:lnTo>
                <a:lnTo>
                  <a:pt x="20854" y="6610"/>
                </a:lnTo>
                <a:cubicBezTo>
                  <a:pt x="20854" y="6610"/>
                  <a:pt x="19008" y="6913"/>
                  <a:pt x="19008" y="6913"/>
                </a:cubicBezTo>
                <a:close/>
              </a:path>
            </a:pathLst>
          </a:custGeom>
          <a:solidFill>
            <a:srgbClr val="666666"/>
          </a:solidFill>
          <a:ln w="12700" cap="flat">
            <a:noFill/>
            <a:miter lim="400000"/>
          </a:ln>
          <a:effectLst/>
        </p:spPr>
        <p:txBody>
          <a:bodyPr wrap="square" lIns="28575" tIns="28575" rIns="28575" bIns="28575" numCol="1" anchor="ctr">
            <a:noAutofit/>
          </a:bodyPr>
          <a:lstStyle/>
          <a:p>
            <a:endParaRPr lang="de-DE" sz="900" dirty="0">
              <a:solidFill>
                <a:srgbClr val="000000"/>
              </a:solidFill>
              <a:latin typeface="Gill Sans MT" panose="020B0502020104020203" pitchFamily="34" charset="0"/>
            </a:endParaRPr>
          </a:p>
        </p:txBody>
      </p:sp>
      <p:sp>
        <p:nvSpPr>
          <p:cNvPr id="73" name="Shape 13386"/>
          <p:cNvSpPr/>
          <p:nvPr/>
        </p:nvSpPr>
        <p:spPr>
          <a:xfrm rot="506076">
            <a:off x="2581902" y="1195188"/>
            <a:ext cx="864000" cy="837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547" y="17321"/>
                </a:moveTo>
                <a:cubicBezTo>
                  <a:pt x="8949" y="18285"/>
                  <a:pt x="5244" y="16150"/>
                  <a:pt x="4279" y="12548"/>
                </a:cubicBezTo>
                <a:cubicBezTo>
                  <a:pt x="3314" y="8946"/>
                  <a:pt x="5454" y="5244"/>
                  <a:pt x="9053" y="4280"/>
                </a:cubicBezTo>
                <a:cubicBezTo>
                  <a:pt x="12655" y="3315"/>
                  <a:pt x="16356" y="5452"/>
                  <a:pt x="17321" y="9053"/>
                </a:cubicBezTo>
                <a:cubicBezTo>
                  <a:pt x="18286" y="12655"/>
                  <a:pt x="16149" y="16356"/>
                  <a:pt x="12547" y="17321"/>
                </a:cubicBezTo>
                <a:close/>
                <a:moveTo>
                  <a:pt x="19008" y="6913"/>
                </a:moveTo>
                <a:lnTo>
                  <a:pt x="18923" y="6927"/>
                </a:lnTo>
                <a:cubicBezTo>
                  <a:pt x="18370" y="5767"/>
                  <a:pt x="17585" y="4759"/>
                  <a:pt x="16638" y="3957"/>
                </a:cubicBezTo>
                <a:lnTo>
                  <a:pt x="16677" y="3873"/>
                </a:lnTo>
                <a:lnTo>
                  <a:pt x="17447" y="2170"/>
                </a:lnTo>
                <a:lnTo>
                  <a:pt x="14946" y="726"/>
                </a:lnTo>
                <a:lnTo>
                  <a:pt x="13856" y="2245"/>
                </a:lnTo>
                <a:lnTo>
                  <a:pt x="13803" y="2320"/>
                </a:lnTo>
                <a:cubicBezTo>
                  <a:pt x="12637" y="1905"/>
                  <a:pt x="11375" y="1728"/>
                  <a:pt x="10089" y="1831"/>
                </a:cubicBezTo>
                <a:lnTo>
                  <a:pt x="10058" y="1745"/>
                </a:lnTo>
                <a:lnTo>
                  <a:pt x="9399" y="0"/>
                </a:lnTo>
                <a:lnTo>
                  <a:pt x="6609" y="747"/>
                </a:lnTo>
                <a:lnTo>
                  <a:pt x="6911" y="2593"/>
                </a:lnTo>
                <a:lnTo>
                  <a:pt x="6927" y="2683"/>
                </a:lnTo>
                <a:cubicBezTo>
                  <a:pt x="5767" y="3234"/>
                  <a:pt x="4761" y="4015"/>
                  <a:pt x="3956" y="4963"/>
                </a:cubicBezTo>
                <a:lnTo>
                  <a:pt x="3872" y="4924"/>
                </a:lnTo>
                <a:lnTo>
                  <a:pt x="2170" y="4157"/>
                </a:lnTo>
                <a:lnTo>
                  <a:pt x="725" y="6655"/>
                </a:lnTo>
                <a:lnTo>
                  <a:pt x="2243" y="7744"/>
                </a:lnTo>
                <a:lnTo>
                  <a:pt x="2319" y="7798"/>
                </a:lnTo>
                <a:cubicBezTo>
                  <a:pt x="1904" y="8964"/>
                  <a:pt x="1728" y="10230"/>
                  <a:pt x="1834" y="11511"/>
                </a:cubicBezTo>
                <a:lnTo>
                  <a:pt x="1744" y="11543"/>
                </a:lnTo>
                <a:lnTo>
                  <a:pt x="0" y="12206"/>
                </a:lnTo>
                <a:lnTo>
                  <a:pt x="746" y="14991"/>
                </a:lnTo>
                <a:lnTo>
                  <a:pt x="2591" y="14689"/>
                </a:lnTo>
                <a:lnTo>
                  <a:pt x="2681" y="14673"/>
                </a:lnTo>
                <a:cubicBezTo>
                  <a:pt x="3233" y="15834"/>
                  <a:pt x="4019" y="16842"/>
                  <a:pt x="4962" y="17644"/>
                </a:cubicBezTo>
                <a:lnTo>
                  <a:pt x="4923" y="17729"/>
                </a:lnTo>
                <a:lnTo>
                  <a:pt x="4156" y="19430"/>
                </a:lnTo>
                <a:lnTo>
                  <a:pt x="6654" y="20876"/>
                </a:lnTo>
                <a:lnTo>
                  <a:pt x="7743" y="19357"/>
                </a:lnTo>
                <a:lnTo>
                  <a:pt x="7797" y="19281"/>
                </a:lnTo>
                <a:cubicBezTo>
                  <a:pt x="8963" y="19697"/>
                  <a:pt x="10229" y="19873"/>
                  <a:pt x="11510" y="19770"/>
                </a:cubicBezTo>
                <a:lnTo>
                  <a:pt x="11542" y="19856"/>
                </a:lnTo>
                <a:lnTo>
                  <a:pt x="12205" y="21600"/>
                </a:lnTo>
                <a:lnTo>
                  <a:pt x="14990" y="20854"/>
                </a:lnTo>
                <a:lnTo>
                  <a:pt x="14689" y="19009"/>
                </a:lnTo>
                <a:lnTo>
                  <a:pt x="14673" y="18923"/>
                </a:lnTo>
                <a:cubicBezTo>
                  <a:pt x="15837" y="18366"/>
                  <a:pt x="16843" y="17585"/>
                  <a:pt x="17643" y="16639"/>
                </a:cubicBezTo>
                <a:lnTo>
                  <a:pt x="17728" y="16677"/>
                </a:lnTo>
                <a:lnTo>
                  <a:pt x="19431" y="17448"/>
                </a:lnTo>
                <a:lnTo>
                  <a:pt x="20875" y="14947"/>
                </a:lnTo>
                <a:lnTo>
                  <a:pt x="19356" y="13857"/>
                </a:lnTo>
                <a:lnTo>
                  <a:pt x="19280" y="13804"/>
                </a:lnTo>
                <a:cubicBezTo>
                  <a:pt x="19696" y="12637"/>
                  <a:pt x="19873" y="11375"/>
                  <a:pt x="19770" y="10090"/>
                </a:cubicBezTo>
                <a:lnTo>
                  <a:pt x="19856" y="10059"/>
                </a:lnTo>
                <a:lnTo>
                  <a:pt x="21600" y="9396"/>
                </a:lnTo>
                <a:lnTo>
                  <a:pt x="20854" y="6610"/>
                </a:lnTo>
                <a:cubicBezTo>
                  <a:pt x="20854" y="6610"/>
                  <a:pt x="19008" y="6913"/>
                  <a:pt x="19008" y="6913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</p:spPr>
        <p:txBody>
          <a:bodyPr wrap="square" lIns="28575" tIns="28575" rIns="28575" bIns="28575" numCol="1" anchor="ctr">
            <a:noAutofit/>
          </a:bodyPr>
          <a:lstStyle/>
          <a:p>
            <a:endParaRPr lang="de-DE" sz="900" dirty="0">
              <a:solidFill>
                <a:srgbClr val="000000"/>
              </a:solidFill>
              <a:latin typeface="Gill Sans MT" panose="020B0502020104020203" pitchFamily="34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1510774" y="1932041"/>
            <a:ext cx="898922" cy="3808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bg-BG" sz="1000" dirty="0" smtClean="0">
                <a:solidFill>
                  <a:srgbClr val="000000"/>
                </a:solidFill>
              </a:rPr>
              <a:t>Иновации</a:t>
            </a:r>
            <a:endParaRPr lang="de-DE" sz="1000" dirty="0">
              <a:solidFill>
                <a:srgbClr val="000000"/>
              </a:solidFill>
            </a:endParaRPr>
          </a:p>
        </p:txBody>
      </p:sp>
      <p:sp>
        <p:nvSpPr>
          <p:cNvPr id="75" name="Shape 13387"/>
          <p:cNvSpPr/>
          <p:nvPr/>
        </p:nvSpPr>
        <p:spPr>
          <a:xfrm rot="156619">
            <a:off x="6787917" y="1667969"/>
            <a:ext cx="1404000" cy="1404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547" y="17321"/>
                </a:moveTo>
                <a:cubicBezTo>
                  <a:pt x="8949" y="18285"/>
                  <a:pt x="5244" y="16150"/>
                  <a:pt x="4279" y="12548"/>
                </a:cubicBezTo>
                <a:cubicBezTo>
                  <a:pt x="3314" y="8946"/>
                  <a:pt x="5454" y="5244"/>
                  <a:pt x="9053" y="4280"/>
                </a:cubicBezTo>
                <a:cubicBezTo>
                  <a:pt x="12655" y="3315"/>
                  <a:pt x="16356" y="5452"/>
                  <a:pt x="17321" y="9053"/>
                </a:cubicBezTo>
                <a:cubicBezTo>
                  <a:pt x="18286" y="12655"/>
                  <a:pt x="16149" y="16356"/>
                  <a:pt x="12547" y="17321"/>
                </a:cubicBezTo>
                <a:close/>
                <a:moveTo>
                  <a:pt x="19008" y="6913"/>
                </a:moveTo>
                <a:lnTo>
                  <a:pt x="18923" y="6927"/>
                </a:lnTo>
                <a:cubicBezTo>
                  <a:pt x="18370" y="5767"/>
                  <a:pt x="17585" y="4759"/>
                  <a:pt x="16638" y="3957"/>
                </a:cubicBezTo>
                <a:lnTo>
                  <a:pt x="16677" y="3873"/>
                </a:lnTo>
                <a:lnTo>
                  <a:pt x="17447" y="2170"/>
                </a:lnTo>
                <a:lnTo>
                  <a:pt x="14946" y="726"/>
                </a:lnTo>
                <a:lnTo>
                  <a:pt x="13856" y="2245"/>
                </a:lnTo>
                <a:lnTo>
                  <a:pt x="13803" y="2320"/>
                </a:lnTo>
                <a:cubicBezTo>
                  <a:pt x="12637" y="1905"/>
                  <a:pt x="11375" y="1728"/>
                  <a:pt x="10089" y="1831"/>
                </a:cubicBezTo>
                <a:lnTo>
                  <a:pt x="10058" y="1745"/>
                </a:lnTo>
                <a:lnTo>
                  <a:pt x="9399" y="0"/>
                </a:lnTo>
                <a:lnTo>
                  <a:pt x="6609" y="747"/>
                </a:lnTo>
                <a:lnTo>
                  <a:pt x="6911" y="2593"/>
                </a:lnTo>
                <a:lnTo>
                  <a:pt x="6927" y="2683"/>
                </a:lnTo>
                <a:cubicBezTo>
                  <a:pt x="5767" y="3234"/>
                  <a:pt x="4761" y="4015"/>
                  <a:pt x="3956" y="4963"/>
                </a:cubicBezTo>
                <a:lnTo>
                  <a:pt x="3872" y="4924"/>
                </a:lnTo>
                <a:lnTo>
                  <a:pt x="2170" y="4157"/>
                </a:lnTo>
                <a:lnTo>
                  <a:pt x="725" y="6655"/>
                </a:lnTo>
                <a:lnTo>
                  <a:pt x="2243" y="7744"/>
                </a:lnTo>
                <a:lnTo>
                  <a:pt x="2319" y="7798"/>
                </a:lnTo>
                <a:cubicBezTo>
                  <a:pt x="1904" y="8964"/>
                  <a:pt x="1728" y="10230"/>
                  <a:pt x="1834" y="11511"/>
                </a:cubicBezTo>
                <a:lnTo>
                  <a:pt x="1744" y="11543"/>
                </a:lnTo>
                <a:lnTo>
                  <a:pt x="0" y="12206"/>
                </a:lnTo>
                <a:lnTo>
                  <a:pt x="746" y="14991"/>
                </a:lnTo>
                <a:lnTo>
                  <a:pt x="2591" y="14689"/>
                </a:lnTo>
                <a:lnTo>
                  <a:pt x="2681" y="14673"/>
                </a:lnTo>
                <a:cubicBezTo>
                  <a:pt x="3233" y="15834"/>
                  <a:pt x="4019" y="16842"/>
                  <a:pt x="4962" y="17644"/>
                </a:cubicBezTo>
                <a:lnTo>
                  <a:pt x="4923" y="17729"/>
                </a:lnTo>
                <a:lnTo>
                  <a:pt x="4156" y="19430"/>
                </a:lnTo>
                <a:lnTo>
                  <a:pt x="6654" y="20876"/>
                </a:lnTo>
                <a:lnTo>
                  <a:pt x="7743" y="19357"/>
                </a:lnTo>
                <a:lnTo>
                  <a:pt x="7797" y="19281"/>
                </a:lnTo>
                <a:cubicBezTo>
                  <a:pt x="8963" y="19697"/>
                  <a:pt x="10229" y="19873"/>
                  <a:pt x="11510" y="19770"/>
                </a:cubicBezTo>
                <a:lnTo>
                  <a:pt x="11542" y="19856"/>
                </a:lnTo>
                <a:lnTo>
                  <a:pt x="12205" y="21600"/>
                </a:lnTo>
                <a:lnTo>
                  <a:pt x="14990" y="20854"/>
                </a:lnTo>
                <a:lnTo>
                  <a:pt x="14689" y="19009"/>
                </a:lnTo>
                <a:lnTo>
                  <a:pt x="14673" y="18923"/>
                </a:lnTo>
                <a:cubicBezTo>
                  <a:pt x="15837" y="18366"/>
                  <a:pt x="16843" y="17585"/>
                  <a:pt x="17643" y="16639"/>
                </a:cubicBezTo>
                <a:lnTo>
                  <a:pt x="17728" y="16677"/>
                </a:lnTo>
                <a:lnTo>
                  <a:pt x="19431" y="17448"/>
                </a:lnTo>
                <a:lnTo>
                  <a:pt x="20875" y="14947"/>
                </a:lnTo>
                <a:lnTo>
                  <a:pt x="19356" y="13857"/>
                </a:lnTo>
                <a:lnTo>
                  <a:pt x="19280" y="13804"/>
                </a:lnTo>
                <a:cubicBezTo>
                  <a:pt x="19696" y="12637"/>
                  <a:pt x="19873" y="11375"/>
                  <a:pt x="19770" y="10090"/>
                </a:cubicBezTo>
                <a:lnTo>
                  <a:pt x="19856" y="10059"/>
                </a:lnTo>
                <a:lnTo>
                  <a:pt x="21600" y="9396"/>
                </a:lnTo>
                <a:lnTo>
                  <a:pt x="20854" y="6610"/>
                </a:lnTo>
                <a:cubicBezTo>
                  <a:pt x="20854" y="6610"/>
                  <a:pt x="19008" y="6913"/>
                  <a:pt x="19008" y="6913"/>
                </a:cubicBezTo>
                <a:close/>
              </a:path>
            </a:pathLst>
          </a:custGeom>
          <a:solidFill>
            <a:srgbClr val="666666"/>
          </a:solidFill>
          <a:ln w="12700" cap="flat">
            <a:noFill/>
            <a:miter lim="400000"/>
          </a:ln>
          <a:effectLst/>
        </p:spPr>
        <p:txBody>
          <a:bodyPr wrap="square" lIns="28575" tIns="28575" rIns="28575" bIns="28575" numCol="1" anchor="ctr">
            <a:noAutofit/>
          </a:bodyPr>
          <a:lstStyle/>
          <a:p>
            <a:endParaRPr lang="de-DE" sz="900" dirty="0">
              <a:solidFill>
                <a:srgbClr val="000000"/>
              </a:solidFill>
              <a:latin typeface="Gill Sans MT" panose="020B0502020104020203" pitchFamily="34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6310355" y="756844"/>
            <a:ext cx="922002" cy="46042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bg-BG" sz="1000" dirty="0" smtClean="0">
                <a:solidFill>
                  <a:srgbClr val="000000"/>
                </a:solidFill>
              </a:rPr>
              <a:t>Нови приложения</a:t>
            </a:r>
            <a:endParaRPr lang="de-DE" sz="1000" spc="-15" dirty="0">
              <a:solidFill>
                <a:srgbClr val="000000"/>
              </a:solidFill>
            </a:endParaRPr>
          </a:p>
        </p:txBody>
      </p:sp>
      <p:sp>
        <p:nvSpPr>
          <p:cNvPr id="77" name="Shape 13384"/>
          <p:cNvSpPr/>
          <p:nvPr/>
        </p:nvSpPr>
        <p:spPr>
          <a:xfrm rot="20844394">
            <a:off x="840566" y="2338419"/>
            <a:ext cx="648000" cy="64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547" y="17321"/>
                </a:moveTo>
                <a:cubicBezTo>
                  <a:pt x="8949" y="18285"/>
                  <a:pt x="5244" y="16150"/>
                  <a:pt x="4279" y="12548"/>
                </a:cubicBezTo>
                <a:cubicBezTo>
                  <a:pt x="3314" y="8946"/>
                  <a:pt x="5454" y="5244"/>
                  <a:pt x="9053" y="4280"/>
                </a:cubicBezTo>
                <a:cubicBezTo>
                  <a:pt x="12655" y="3315"/>
                  <a:pt x="16356" y="5452"/>
                  <a:pt x="17321" y="9053"/>
                </a:cubicBezTo>
                <a:cubicBezTo>
                  <a:pt x="18286" y="12655"/>
                  <a:pt x="16149" y="16356"/>
                  <a:pt x="12547" y="17321"/>
                </a:cubicBezTo>
                <a:close/>
                <a:moveTo>
                  <a:pt x="19008" y="6913"/>
                </a:moveTo>
                <a:lnTo>
                  <a:pt x="18923" y="6927"/>
                </a:lnTo>
                <a:cubicBezTo>
                  <a:pt x="18370" y="5767"/>
                  <a:pt x="17585" y="4759"/>
                  <a:pt x="16638" y="3957"/>
                </a:cubicBezTo>
                <a:lnTo>
                  <a:pt x="16677" y="3873"/>
                </a:lnTo>
                <a:lnTo>
                  <a:pt x="17447" y="2170"/>
                </a:lnTo>
                <a:lnTo>
                  <a:pt x="14946" y="726"/>
                </a:lnTo>
                <a:lnTo>
                  <a:pt x="13856" y="2245"/>
                </a:lnTo>
                <a:lnTo>
                  <a:pt x="13803" y="2320"/>
                </a:lnTo>
                <a:cubicBezTo>
                  <a:pt x="12637" y="1905"/>
                  <a:pt x="11375" y="1728"/>
                  <a:pt x="10089" y="1831"/>
                </a:cubicBezTo>
                <a:lnTo>
                  <a:pt x="10058" y="1745"/>
                </a:lnTo>
                <a:lnTo>
                  <a:pt x="9399" y="0"/>
                </a:lnTo>
                <a:lnTo>
                  <a:pt x="6609" y="747"/>
                </a:lnTo>
                <a:lnTo>
                  <a:pt x="6911" y="2593"/>
                </a:lnTo>
                <a:lnTo>
                  <a:pt x="6927" y="2683"/>
                </a:lnTo>
                <a:cubicBezTo>
                  <a:pt x="5767" y="3234"/>
                  <a:pt x="4761" y="4015"/>
                  <a:pt x="3956" y="4963"/>
                </a:cubicBezTo>
                <a:lnTo>
                  <a:pt x="3872" y="4924"/>
                </a:lnTo>
                <a:lnTo>
                  <a:pt x="2170" y="4157"/>
                </a:lnTo>
                <a:lnTo>
                  <a:pt x="725" y="6655"/>
                </a:lnTo>
                <a:lnTo>
                  <a:pt x="2243" y="7744"/>
                </a:lnTo>
                <a:lnTo>
                  <a:pt x="2319" y="7798"/>
                </a:lnTo>
                <a:cubicBezTo>
                  <a:pt x="1904" y="8964"/>
                  <a:pt x="1728" y="10230"/>
                  <a:pt x="1834" y="11511"/>
                </a:cubicBezTo>
                <a:lnTo>
                  <a:pt x="1744" y="11543"/>
                </a:lnTo>
                <a:lnTo>
                  <a:pt x="0" y="12206"/>
                </a:lnTo>
                <a:lnTo>
                  <a:pt x="746" y="14991"/>
                </a:lnTo>
                <a:lnTo>
                  <a:pt x="2591" y="14689"/>
                </a:lnTo>
                <a:lnTo>
                  <a:pt x="2681" y="14673"/>
                </a:lnTo>
                <a:cubicBezTo>
                  <a:pt x="3233" y="15834"/>
                  <a:pt x="4019" y="16842"/>
                  <a:pt x="4962" y="17644"/>
                </a:cubicBezTo>
                <a:lnTo>
                  <a:pt x="4923" y="17729"/>
                </a:lnTo>
                <a:lnTo>
                  <a:pt x="4156" y="19430"/>
                </a:lnTo>
                <a:lnTo>
                  <a:pt x="6654" y="20876"/>
                </a:lnTo>
                <a:lnTo>
                  <a:pt x="7743" y="19357"/>
                </a:lnTo>
                <a:lnTo>
                  <a:pt x="7797" y="19281"/>
                </a:lnTo>
                <a:cubicBezTo>
                  <a:pt x="8963" y="19697"/>
                  <a:pt x="10229" y="19873"/>
                  <a:pt x="11510" y="19770"/>
                </a:cubicBezTo>
                <a:lnTo>
                  <a:pt x="11542" y="19856"/>
                </a:lnTo>
                <a:lnTo>
                  <a:pt x="12205" y="21600"/>
                </a:lnTo>
                <a:lnTo>
                  <a:pt x="14990" y="20854"/>
                </a:lnTo>
                <a:lnTo>
                  <a:pt x="14689" y="19009"/>
                </a:lnTo>
                <a:lnTo>
                  <a:pt x="14673" y="18923"/>
                </a:lnTo>
                <a:cubicBezTo>
                  <a:pt x="15837" y="18366"/>
                  <a:pt x="16843" y="17585"/>
                  <a:pt x="17643" y="16639"/>
                </a:cubicBezTo>
                <a:lnTo>
                  <a:pt x="17728" y="16677"/>
                </a:lnTo>
                <a:lnTo>
                  <a:pt x="19431" y="17448"/>
                </a:lnTo>
                <a:lnTo>
                  <a:pt x="20875" y="14947"/>
                </a:lnTo>
                <a:lnTo>
                  <a:pt x="19356" y="13857"/>
                </a:lnTo>
                <a:lnTo>
                  <a:pt x="19280" y="13804"/>
                </a:lnTo>
                <a:cubicBezTo>
                  <a:pt x="19696" y="12637"/>
                  <a:pt x="19873" y="11375"/>
                  <a:pt x="19770" y="10090"/>
                </a:cubicBezTo>
                <a:lnTo>
                  <a:pt x="19856" y="10059"/>
                </a:lnTo>
                <a:lnTo>
                  <a:pt x="21600" y="9396"/>
                </a:lnTo>
                <a:lnTo>
                  <a:pt x="20854" y="6610"/>
                </a:lnTo>
                <a:cubicBezTo>
                  <a:pt x="20854" y="6610"/>
                  <a:pt x="19008" y="6913"/>
                  <a:pt x="19008" y="6913"/>
                </a:cubicBezTo>
                <a:close/>
              </a:path>
            </a:pathLst>
          </a:custGeom>
          <a:solidFill>
            <a:srgbClr val="666666"/>
          </a:solidFill>
          <a:ln w="12700" cap="flat">
            <a:noFill/>
            <a:miter lim="400000"/>
          </a:ln>
          <a:effectLst/>
        </p:spPr>
        <p:txBody>
          <a:bodyPr wrap="square" lIns="28575" tIns="28575" rIns="28575" bIns="28575" numCol="1" anchor="ctr">
            <a:noAutofit/>
          </a:bodyPr>
          <a:lstStyle/>
          <a:p>
            <a:endParaRPr lang="de-DE" sz="900" dirty="0">
              <a:solidFill>
                <a:srgbClr val="000000"/>
              </a:solidFill>
              <a:latin typeface="Gill Sans MT" panose="020B0502020104020203" pitchFamily="34" charset="0"/>
            </a:endParaRPr>
          </a:p>
        </p:txBody>
      </p:sp>
      <p:sp>
        <p:nvSpPr>
          <p:cNvPr id="78" name="Shape 13384"/>
          <p:cNvSpPr/>
          <p:nvPr/>
        </p:nvSpPr>
        <p:spPr>
          <a:xfrm rot="21037042">
            <a:off x="7403204" y="1292710"/>
            <a:ext cx="405000" cy="4043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547" y="17321"/>
                </a:moveTo>
                <a:cubicBezTo>
                  <a:pt x="8949" y="18285"/>
                  <a:pt x="5244" y="16150"/>
                  <a:pt x="4279" y="12548"/>
                </a:cubicBezTo>
                <a:cubicBezTo>
                  <a:pt x="3314" y="8946"/>
                  <a:pt x="5454" y="5244"/>
                  <a:pt x="9053" y="4280"/>
                </a:cubicBezTo>
                <a:cubicBezTo>
                  <a:pt x="12655" y="3315"/>
                  <a:pt x="16356" y="5452"/>
                  <a:pt x="17321" y="9053"/>
                </a:cubicBezTo>
                <a:cubicBezTo>
                  <a:pt x="18286" y="12655"/>
                  <a:pt x="16149" y="16356"/>
                  <a:pt x="12547" y="17321"/>
                </a:cubicBezTo>
                <a:close/>
                <a:moveTo>
                  <a:pt x="19008" y="6913"/>
                </a:moveTo>
                <a:lnTo>
                  <a:pt x="18923" y="6927"/>
                </a:lnTo>
                <a:cubicBezTo>
                  <a:pt x="18370" y="5767"/>
                  <a:pt x="17585" y="4759"/>
                  <a:pt x="16638" y="3957"/>
                </a:cubicBezTo>
                <a:lnTo>
                  <a:pt x="16677" y="3873"/>
                </a:lnTo>
                <a:lnTo>
                  <a:pt x="17447" y="2170"/>
                </a:lnTo>
                <a:lnTo>
                  <a:pt x="14946" y="726"/>
                </a:lnTo>
                <a:lnTo>
                  <a:pt x="13856" y="2245"/>
                </a:lnTo>
                <a:lnTo>
                  <a:pt x="13803" y="2320"/>
                </a:lnTo>
                <a:cubicBezTo>
                  <a:pt x="12637" y="1905"/>
                  <a:pt x="11375" y="1728"/>
                  <a:pt x="10089" y="1831"/>
                </a:cubicBezTo>
                <a:lnTo>
                  <a:pt x="10058" y="1745"/>
                </a:lnTo>
                <a:lnTo>
                  <a:pt x="9399" y="0"/>
                </a:lnTo>
                <a:lnTo>
                  <a:pt x="6609" y="747"/>
                </a:lnTo>
                <a:lnTo>
                  <a:pt x="6911" y="2593"/>
                </a:lnTo>
                <a:lnTo>
                  <a:pt x="6927" y="2683"/>
                </a:lnTo>
                <a:cubicBezTo>
                  <a:pt x="5767" y="3234"/>
                  <a:pt x="4761" y="4015"/>
                  <a:pt x="3956" y="4963"/>
                </a:cubicBezTo>
                <a:lnTo>
                  <a:pt x="3872" y="4924"/>
                </a:lnTo>
                <a:lnTo>
                  <a:pt x="2170" y="4157"/>
                </a:lnTo>
                <a:lnTo>
                  <a:pt x="725" y="6655"/>
                </a:lnTo>
                <a:lnTo>
                  <a:pt x="2243" y="7744"/>
                </a:lnTo>
                <a:lnTo>
                  <a:pt x="2319" y="7798"/>
                </a:lnTo>
                <a:cubicBezTo>
                  <a:pt x="1904" y="8964"/>
                  <a:pt x="1728" y="10230"/>
                  <a:pt x="1834" y="11511"/>
                </a:cubicBezTo>
                <a:lnTo>
                  <a:pt x="1744" y="11543"/>
                </a:lnTo>
                <a:lnTo>
                  <a:pt x="0" y="12206"/>
                </a:lnTo>
                <a:lnTo>
                  <a:pt x="746" y="14991"/>
                </a:lnTo>
                <a:lnTo>
                  <a:pt x="2591" y="14689"/>
                </a:lnTo>
                <a:lnTo>
                  <a:pt x="2681" y="14673"/>
                </a:lnTo>
                <a:cubicBezTo>
                  <a:pt x="3233" y="15834"/>
                  <a:pt x="4019" y="16842"/>
                  <a:pt x="4962" y="17644"/>
                </a:cubicBezTo>
                <a:lnTo>
                  <a:pt x="4923" y="17729"/>
                </a:lnTo>
                <a:lnTo>
                  <a:pt x="4156" y="19430"/>
                </a:lnTo>
                <a:lnTo>
                  <a:pt x="6654" y="20876"/>
                </a:lnTo>
                <a:lnTo>
                  <a:pt x="7743" y="19357"/>
                </a:lnTo>
                <a:lnTo>
                  <a:pt x="7797" y="19281"/>
                </a:lnTo>
                <a:cubicBezTo>
                  <a:pt x="8963" y="19697"/>
                  <a:pt x="10229" y="19873"/>
                  <a:pt x="11510" y="19770"/>
                </a:cubicBezTo>
                <a:lnTo>
                  <a:pt x="11542" y="19856"/>
                </a:lnTo>
                <a:lnTo>
                  <a:pt x="12205" y="21600"/>
                </a:lnTo>
                <a:lnTo>
                  <a:pt x="14990" y="20854"/>
                </a:lnTo>
                <a:lnTo>
                  <a:pt x="14689" y="19009"/>
                </a:lnTo>
                <a:lnTo>
                  <a:pt x="14673" y="18923"/>
                </a:lnTo>
                <a:cubicBezTo>
                  <a:pt x="15837" y="18366"/>
                  <a:pt x="16843" y="17585"/>
                  <a:pt x="17643" y="16639"/>
                </a:cubicBezTo>
                <a:lnTo>
                  <a:pt x="17728" y="16677"/>
                </a:lnTo>
                <a:lnTo>
                  <a:pt x="19431" y="17448"/>
                </a:lnTo>
                <a:lnTo>
                  <a:pt x="20875" y="14947"/>
                </a:lnTo>
                <a:lnTo>
                  <a:pt x="19356" y="13857"/>
                </a:lnTo>
                <a:lnTo>
                  <a:pt x="19280" y="13804"/>
                </a:lnTo>
                <a:cubicBezTo>
                  <a:pt x="19696" y="12637"/>
                  <a:pt x="19873" y="11375"/>
                  <a:pt x="19770" y="10090"/>
                </a:cubicBezTo>
                <a:lnTo>
                  <a:pt x="19856" y="10059"/>
                </a:lnTo>
                <a:lnTo>
                  <a:pt x="21600" y="9396"/>
                </a:lnTo>
                <a:lnTo>
                  <a:pt x="20854" y="6610"/>
                </a:lnTo>
                <a:cubicBezTo>
                  <a:pt x="20854" y="6610"/>
                  <a:pt x="19008" y="6913"/>
                  <a:pt x="19008" y="6913"/>
                </a:cubicBezTo>
                <a:close/>
              </a:path>
            </a:pathLst>
          </a:custGeom>
          <a:solidFill>
            <a:srgbClr val="666666"/>
          </a:solidFill>
          <a:ln w="12700" cap="flat">
            <a:noFill/>
            <a:miter lim="400000"/>
          </a:ln>
          <a:effectLst/>
        </p:spPr>
        <p:txBody>
          <a:bodyPr wrap="square" lIns="28575" tIns="28575" rIns="28575" bIns="28575" numCol="1" anchor="ctr">
            <a:noAutofit/>
          </a:bodyPr>
          <a:lstStyle/>
          <a:p>
            <a:endParaRPr lang="de-DE" sz="900" dirty="0">
              <a:solidFill>
                <a:srgbClr val="000000"/>
              </a:solidFill>
              <a:latin typeface="Gill Sans MT" panose="020B0502020104020203" pitchFamily="34" charset="0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2493597" y="1153734"/>
            <a:ext cx="3950184" cy="3943855"/>
            <a:chOff x="2648486" y="1125000"/>
            <a:chExt cx="4615909" cy="4608513"/>
          </a:xfrm>
        </p:grpSpPr>
        <p:sp>
          <p:nvSpPr>
            <p:cNvPr id="81" name="Pie 80"/>
            <p:cNvSpPr/>
            <p:nvPr/>
          </p:nvSpPr>
          <p:spPr>
            <a:xfrm>
              <a:off x="2648487" y="1125000"/>
              <a:ext cx="4608513" cy="4608513"/>
            </a:xfrm>
            <a:prstGeom prst="pie">
              <a:avLst>
                <a:gd name="adj1" fmla="val 1354908"/>
                <a:gd name="adj2" fmla="val 4050988"/>
              </a:avLst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txBody>
            <a:bodyPr tIns="1215000" rIns="67500" bIns="67500">
              <a:noAutofit/>
            </a:bodyPr>
            <a:lstStyle/>
            <a:p>
              <a:pPr>
                <a:spcBef>
                  <a:spcPts val="1125"/>
                </a:spcBef>
              </a:pPr>
              <a:endParaRPr lang="de-DE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2" name="Pie 81"/>
            <p:cNvSpPr/>
            <p:nvPr/>
          </p:nvSpPr>
          <p:spPr>
            <a:xfrm rot="5400000">
              <a:off x="2648487" y="1125000"/>
              <a:ext cx="4608513" cy="4608513"/>
            </a:xfrm>
            <a:prstGeom prst="pie">
              <a:avLst>
                <a:gd name="adj1" fmla="val 1354908"/>
                <a:gd name="adj2" fmla="val 4050988"/>
              </a:avLst>
            </a:prstGeom>
            <a:solidFill>
              <a:schemeClr val="accent5"/>
            </a:solidFill>
            <a:ln w="9525" cap="flat">
              <a:solidFill>
                <a:schemeClr val="bg1"/>
              </a:solidFill>
              <a:miter lim="400000"/>
            </a:ln>
            <a:effectLst/>
          </p:spPr>
          <p:txBody>
            <a:bodyPr wrap="square" lIns="28575" tIns="28575" rIns="28575" bIns="28575" numCol="1" anchor="ctr">
              <a:noAutofit/>
            </a:bodyPr>
            <a:lstStyle/>
            <a:p>
              <a:pPr>
                <a:lnSpc>
                  <a:spcPct val="200000"/>
                </a:lnSpc>
              </a:pPr>
              <a:endParaRPr lang="de-DE" sz="1050" dirty="0">
                <a:solidFill>
                  <a:srgbClr val="000000"/>
                </a:solidFill>
                <a:latin typeface="Gill Sans MT" panose="020B0502020104020203" pitchFamily="34" charset="0"/>
              </a:endParaRPr>
            </a:p>
          </p:txBody>
        </p:sp>
        <p:sp>
          <p:nvSpPr>
            <p:cNvPr id="88" name="Pie 87"/>
            <p:cNvSpPr/>
            <p:nvPr/>
          </p:nvSpPr>
          <p:spPr>
            <a:xfrm rot="13497449">
              <a:off x="2648487" y="1125000"/>
              <a:ext cx="4608513" cy="4608513"/>
            </a:xfrm>
            <a:prstGeom prst="pie">
              <a:avLst>
                <a:gd name="adj1" fmla="val 1354908"/>
                <a:gd name="adj2" fmla="val 4050988"/>
              </a:avLst>
            </a:prstGeom>
            <a:solidFill>
              <a:schemeClr val="accent1"/>
            </a:solidFill>
            <a:ln w="9525" cap="flat">
              <a:solidFill>
                <a:schemeClr val="bg1"/>
              </a:solidFill>
              <a:miter lim="400000"/>
            </a:ln>
            <a:effectLst/>
          </p:spPr>
          <p:txBody>
            <a:bodyPr wrap="square" lIns="28575" tIns="28575" rIns="28575" bIns="28575" numCol="1" anchor="ctr">
              <a:noAutofit/>
            </a:bodyPr>
            <a:lstStyle/>
            <a:p>
              <a:pPr>
                <a:lnSpc>
                  <a:spcPct val="200000"/>
                </a:lnSpc>
              </a:pPr>
              <a:endParaRPr lang="de-DE" sz="1050" dirty="0">
                <a:solidFill>
                  <a:srgbClr val="000000"/>
                </a:solidFill>
                <a:latin typeface="Gill Sans MT" panose="020B0502020104020203" pitchFamily="34" charset="0"/>
              </a:endParaRPr>
            </a:p>
          </p:txBody>
        </p:sp>
        <p:sp>
          <p:nvSpPr>
            <p:cNvPr id="110" name="Pie 109"/>
            <p:cNvSpPr/>
            <p:nvPr/>
          </p:nvSpPr>
          <p:spPr>
            <a:xfrm rot="16200000">
              <a:off x="2648487" y="1125000"/>
              <a:ext cx="4608513" cy="4608514"/>
            </a:xfrm>
            <a:prstGeom prst="pie">
              <a:avLst>
                <a:gd name="adj1" fmla="val 1354908"/>
                <a:gd name="adj2" fmla="val 4050988"/>
              </a:avLst>
            </a:prstGeom>
            <a:solidFill>
              <a:schemeClr val="accent2"/>
            </a:solidFill>
            <a:ln w="9525" cap="flat">
              <a:solidFill>
                <a:schemeClr val="bg1"/>
              </a:solidFill>
              <a:miter lim="400000"/>
            </a:ln>
            <a:effectLst/>
          </p:spPr>
          <p:txBody>
            <a:bodyPr wrap="square" lIns="28575" tIns="28575" rIns="28575" bIns="28575" numCol="1" anchor="ctr">
              <a:noAutofit/>
            </a:bodyPr>
            <a:lstStyle/>
            <a:p>
              <a:pPr>
                <a:lnSpc>
                  <a:spcPct val="200000"/>
                </a:lnSpc>
              </a:pPr>
              <a:endParaRPr lang="de-DE" sz="1050" dirty="0">
                <a:solidFill>
                  <a:srgbClr val="000000"/>
                </a:solidFill>
                <a:latin typeface="Gill Sans MT" panose="020B0502020104020203" pitchFamily="34" charset="0"/>
              </a:endParaRPr>
            </a:p>
          </p:txBody>
        </p:sp>
        <p:sp>
          <p:nvSpPr>
            <p:cNvPr id="111" name="Pie 110"/>
            <p:cNvSpPr/>
            <p:nvPr/>
          </p:nvSpPr>
          <p:spPr>
            <a:xfrm rot="18900000">
              <a:off x="2648487" y="1125000"/>
              <a:ext cx="4608513" cy="4608513"/>
            </a:xfrm>
            <a:prstGeom prst="pie">
              <a:avLst>
                <a:gd name="adj1" fmla="val 1354908"/>
                <a:gd name="adj2" fmla="val 4050988"/>
              </a:avLst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txBody>
            <a:bodyPr tIns="1215000" rIns="67500" bIns="67500">
              <a:noAutofit/>
            </a:bodyPr>
            <a:lstStyle/>
            <a:p>
              <a:pPr>
                <a:spcBef>
                  <a:spcPts val="1125"/>
                </a:spcBef>
              </a:pPr>
              <a:endParaRPr lang="de-DE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2" name="Pie 111"/>
            <p:cNvSpPr/>
            <p:nvPr/>
          </p:nvSpPr>
          <p:spPr>
            <a:xfrm rot="2700000">
              <a:off x="2648486" y="1125000"/>
              <a:ext cx="4608513" cy="4608513"/>
            </a:xfrm>
            <a:prstGeom prst="pie">
              <a:avLst>
                <a:gd name="adj1" fmla="val 1354908"/>
                <a:gd name="adj2" fmla="val 4050988"/>
              </a:avLst>
            </a:prstGeom>
            <a:solidFill>
              <a:schemeClr val="tx2">
                <a:lumMod val="60000"/>
                <a:lumOff val="40000"/>
              </a:schemeClr>
            </a:solidFill>
            <a:ln w="9525" cap="flat">
              <a:solidFill>
                <a:schemeClr val="bg1"/>
              </a:solidFill>
              <a:miter lim="400000"/>
            </a:ln>
            <a:effectLst/>
          </p:spPr>
          <p:txBody>
            <a:bodyPr wrap="square" lIns="28575" tIns="28575" rIns="28575" bIns="28575" numCol="1" anchor="ctr">
              <a:noAutofit/>
            </a:bodyPr>
            <a:lstStyle/>
            <a:p>
              <a:pPr>
                <a:lnSpc>
                  <a:spcPct val="200000"/>
                </a:lnSpc>
              </a:pPr>
              <a:endParaRPr lang="de-DE" dirty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MT" panose="020B0502020104020203" pitchFamily="34" charset="0"/>
                <a:ea typeface="Gill Sans"/>
                <a:cs typeface="Gill Sans"/>
              </a:endParaRPr>
            </a:p>
          </p:txBody>
        </p:sp>
        <p:sp>
          <p:nvSpPr>
            <p:cNvPr id="113" name="Pie 112"/>
            <p:cNvSpPr/>
            <p:nvPr/>
          </p:nvSpPr>
          <p:spPr>
            <a:xfrm rot="8102476">
              <a:off x="2648487" y="1125000"/>
              <a:ext cx="4608513" cy="4608513"/>
            </a:xfrm>
            <a:prstGeom prst="pie">
              <a:avLst>
                <a:gd name="adj1" fmla="val 1354908"/>
                <a:gd name="adj2" fmla="val 4050988"/>
              </a:avLst>
            </a:prstGeom>
            <a:solidFill>
              <a:schemeClr val="accent5">
                <a:lumMod val="50000"/>
              </a:schemeClr>
            </a:solidFill>
            <a:ln w="9525" cap="flat">
              <a:solidFill>
                <a:schemeClr val="bg1"/>
              </a:solidFill>
              <a:miter lim="400000"/>
            </a:ln>
            <a:effectLst/>
          </p:spPr>
          <p:txBody>
            <a:bodyPr wrap="square" lIns="28575" tIns="28575" rIns="28575" bIns="28575" numCol="1" anchor="ctr">
              <a:noAutofit/>
            </a:bodyPr>
            <a:lstStyle/>
            <a:p>
              <a:pPr>
                <a:lnSpc>
                  <a:spcPct val="200000"/>
                </a:lnSpc>
              </a:pPr>
              <a:endParaRPr lang="de-DE" sz="1050" dirty="0">
                <a:solidFill>
                  <a:srgbClr val="000000"/>
                </a:solidFill>
                <a:latin typeface="Gill Sans MT" panose="020B0502020104020203" pitchFamily="34" charset="0"/>
              </a:endParaRPr>
            </a:p>
          </p:txBody>
        </p:sp>
        <p:sp>
          <p:nvSpPr>
            <p:cNvPr id="114" name="Pie 113"/>
            <p:cNvSpPr/>
            <p:nvPr/>
          </p:nvSpPr>
          <p:spPr>
            <a:xfrm rot="10800000">
              <a:off x="2648487" y="1125000"/>
              <a:ext cx="4608514" cy="4608513"/>
            </a:xfrm>
            <a:prstGeom prst="pie">
              <a:avLst>
                <a:gd name="adj1" fmla="val 1354908"/>
                <a:gd name="adj2" fmla="val 4050988"/>
              </a:avLst>
            </a:prstGeom>
            <a:solidFill>
              <a:schemeClr val="tx1"/>
            </a:solidFill>
            <a:ln w="9525">
              <a:solidFill>
                <a:schemeClr val="bg1"/>
              </a:solidFill>
            </a:ln>
          </p:spPr>
          <p:txBody>
            <a:bodyPr tIns="1215000" rIns="67500" bIns="67500">
              <a:noAutofit/>
            </a:bodyPr>
            <a:lstStyle/>
            <a:p>
              <a:pPr>
                <a:spcBef>
                  <a:spcPts val="1125"/>
                </a:spcBef>
              </a:pPr>
              <a:endParaRPr lang="de-DE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5" name="Octagon 114"/>
            <p:cNvSpPr/>
            <p:nvPr/>
          </p:nvSpPr>
          <p:spPr>
            <a:xfrm>
              <a:off x="4052743" y="2529256"/>
              <a:ext cx="1800000" cy="1800000"/>
            </a:xfrm>
            <a:prstGeom prst="octagon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4800" b="1" dirty="0">
                  <a:solidFill>
                    <a:srgbClr val="DA291C"/>
                  </a:solidFill>
                </a:rPr>
                <a:t>5G</a:t>
              </a: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3127169" y="2109624"/>
              <a:ext cx="1422090" cy="361799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0" bIns="675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900" spc="-15" dirty="0">
                <a:solidFill>
                  <a:srgbClr val="FFFFFF"/>
                </a:solidFill>
                <a:latin typeface="A1 Einfach Fett" pitchFamily="2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3082755" y="1974908"/>
              <a:ext cx="1267262" cy="1142599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67500" rIns="0" bIns="675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ru-RU" sz="1400" b="1" spc="-30" dirty="0">
                  <a:solidFill>
                    <a:srgbClr val="FFFFFF"/>
                  </a:solidFill>
                </a:rPr>
                <a:t>10 г. </a:t>
              </a:r>
              <a:r>
                <a:rPr lang="ru-RU" sz="1100" spc="-30" dirty="0">
                  <a:solidFill>
                    <a:srgbClr val="FFFFFF"/>
                  </a:solidFill>
                </a:rPr>
                <a:t>живот на батерията</a:t>
              </a: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5485696" y="1974908"/>
              <a:ext cx="1331219" cy="627608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67500" rIns="0" bIns="675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de-DE" sz="1400" b="1" spc="-30" dirty="0">
                  <a:solidFill>
                    <a:srgbClr val="FFFFFF"/>
                  </a:solidFill>
                </a:rPr>
                <a:t>1-10 </a:t>
              </a:r>
              <a:r>
                <a:rPr lang="de-DE" sz="1400" b="1" spc="-30" dirty="0" err="1">
                  <a:solidFill>
                    <a:srgbClr val="FFFFFF"/>
                  </a:solidFill>
                </a:rPr>
                <a:t>Gb</a:t>
              </a:r>
              <a:r>
                <a:rPr lang="de-DE" sz="1400" b="1" spc="-30" dirty="0">
                  <a:solidFill>
                    <a:srgbClr val="FFFFFF"/>
                  </a:solidFill>
                </a:rPr>
                <a:t>/s</a:t>
              </a:r>
            </a:p>
            <a:p>
              <a:pPr algn="ctr">
                <a:lnSpc>
                  <a:spcPts val="1500"/>
                </a:lnSpc>
              </a:pPr>
              <a:r>
                <a:rPr lang="bg-BG" sz="1100" spc="-30" dirty="0" smtClean="0">
                  <a:solidFill>
                    <a:srgbClr val="FFFFFF"/>
                  </a:solidFill>
                </a:rPr>
                <a:t>скорост</a:t>
              </a:r>
              <a:endParaRPr lang="de-DE" sz="1100" spc="-30" dirty="0">
                <a:solidFill>
                  <a:srgbClr val="FFFFFF"/>
                </a:solidFill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3096443" y="4197201"/>
              <a:ext cx="1202781" cy="70989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67500" rIns="0" bIns="675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de-DE" sz="1400" b="1" spc="-30" dirty="0" smtClean="0">
                  <a:solidFill>
                    <a:srgbClr val="FFFFFF"/>
                  </a:solidFill>
                </a:rPr>
                <a:t>99,999%</a:t>
              </a:r>
              <a:endParaRPr lang="de-DE" sz="1400" b="1" spc="-30" dirty="0">
                <a:solidFill>
                  <a:srgbClr val="FFFFFF"/>
                </a:solidFill>
              </a:endParaRPr>
            </a:p>
            <a:p>
              <a:pPr algn="ctr">
                <a:lnSpc>
                  <a:spcPts val="1500"/>
                </a:lnSpc>
              </a:pPr>
              <a:r>
                <a:rPr lang="bg-BG" sz="1100" spc="-30" dirty="0" smtClean="0">
                  <a:solidFill>
                    <a:srgbClr val="FFFFFF"/>
                  </a:solidFill>
                </a:rPr>
                <a:t>надеждност</a:t>
              </a:r>
              <a:endParaRPr lang="de-DE" sz="1100" spc="-30" dirty="0">
                <a:solidFill>
                  <a:srgbClr val="FFFFFF"/>
                </a:solidFill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5526108" y="4147437"/>
              <a:ext cx="1202781" cy="715540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67500" rIns="0" bIns="675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de-DE" sz="1400" b="1" spc="-30" dirty="0">
                  <a:solidFill>
                    <a:srgbClr val="FFFFFF"/>
                  </a:solidFill>
                </a:rPr>
                <a:t>1 </a:t>
              </a:r>
              <a:r>
                <a:rPr lang="bg-BG" sz="1400" b="1" spc="-30" dirty="0" smtClean="0">
                  <a:solidFill>
                    <a:srgbClr val="FFFFFF"/>
                  </a:solidFill>
                </a:rPr>
                <a:t>мс</a:t>
              </a:r>
              <a:endParaRPr lang="de-DE" sz="1400" b="1" spc="-30" dirty="0">
                <a:solidFill>
                  <a:srgbClr val="FFFFFF"/>
                </a:solidFill>
              </a:endParaRPr>
            </a:p>
            <a:p>
              <a:pPr algn="ctr">
                <a:lnSpc>
                  <a:spcPts val="1500"/>
                </a:lnSpc>
              </a:pPr>
              <a:r>
                <a:rPr lang="bg-BG" sz="1100" spc="-30" dirty="0" smtClean="0">
                  <a:solidFill>
                    <a:srgbClr val="FFFFFF"/>
                  </a:solidFill>
                </a:rPr>
                <a:t>Време-закъснение</a:t>
              </a:r>
              <a:endParaRPr lang="de-DE" sz="1100" spc="-30" dirty="0">
                <a:solidFill>
                  <a:srgbClr val="FFFFFF"/>
                </a:solidFill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4323327" y="1163948"/>
              <a:ext cx="1202781" cy="119198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67500" rIns="0" bIns="675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dirty="0" smtClean="0">
                  <a:solidFill>
                    <a:srgbClr val="FFFFFF"/>
                  </a:solidFill>
                </a:rPr>
                <a:t>1/10X</a:t>
              </a:r>
              <a:endParaRPr lang="de-DE" sz="1400" b="1" dirty="0">
                <a:solidFill>
                  <a:srgbClr val="FFFFFF"/>
                </a:solidFill>
              </a:endParaRPr>
            </a:p>
            <a:p>
              <a:pPr algn="ctr"/>
              <a:r>
                <a:rPr lang="bg-BG" sz="1100" dirty="0" smtClean="0">
                  <a:solidFill>
                    <a:srgbClr val="FFFFFF"/>
                  </a:solidFill>
                </a:rPr>
                <a:t>По-ниска консумация на енергия</a:t>
              </a:r>
              <a:endParaRPr lang="de-DE" sz="1100" dirty="0">
                <a:solidFill>
                  <a:srgbClr val="FFFFFF"/>
                </a:solidFill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4052743" y="4904437"/>
              <a:ext cx="1742475" cy="639039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67500" rIns="0" bIns="675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bg-BG" sz="1400" b="1" spc="-30" dirty="0">
                  <a:solidFill>
                    <a:srgbClr val="FFFFFF"/>
                  </a:solidFill>
                </a:rPr>
                <a:t>1 млн. </a:t>
              </a:r>
              <a:r>
                <a:rPr lang="bg-BG" sz="1100" spc="-30" dirty="0">
                  <a:solidFill>
                    <a:srgbClr val="FFFFFF"/>
                  </a:solidFill>
                </a:rPr>
                <a:t>устройства/</a:t>
              </a:r>
              <a:r>
                <a:rPr lang="de-DE" sz="1100" spc="-30" dirty="0">
                  <a:solidFill>
                    <a:srgbClr val="FFFFFF"/>
                  </a:solidFill>
                </a:rPr>
                <a:t>km2</a:t>
              </a:r>
            </a:p>
          </p:txBody>
        </p:sp>
        <p:sp>
          <p:nvSpPr>
            <p:cNvPr id="123" name="Rectangle 122"/>
            <p:cNvSpPr/>
            <p:nvPr/>
          </p:nvSpPr>
          <p:spPr>
            <a:xfrm>
              <a:off x="2697782" y="3106434"/>
              <a:ext cx="1202781" cy="675140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67500" rIns="0" bIns="675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bg-BG" sz="1100" b="1" dirty="0">
                  <a:solidFill>
                    <a:srgbClr val="FFFFFF"/>
                  </a:solidFill>
                </a:rPr>
                <a:t>Подобрен </a:t>
              </a:r>
              <a:r>
                <a:rPr lang="bg-BG" sz="1100" dirty="0">
                  <a:solidFill>
                    <a:srgbClr val="FFFFFF"/>
                  </a:solidFill>
                </a:rPr>
                <a:t>обхват</a:t>
              </a:r>
              <a:endParaRPr lang="de-DE" sz="1100" dirty="0">
                <a:solidFill>
                  <a:srgbClr val="FFFFFF"/>
                </a:solidFill>
              </a:endParaRPr>
            </a:p>
          </p:txBody>
        </p:sp>
        <p:sp>
          <p:nvSpPr>
            <p:cNvPr id="124" name="Rectangle 123"/>
            <p:cNvSpPr/>
            <p:nvPr/>
          </p:nvSpPr>
          <p:spPr>
            <a:xfrm>
              <a:off x="5807047" y="3082281"/>
              <a:ext cx="1457348" cy="72809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en-US" sz="1400" b="1" spc="-30" dirty="0">
                  <a:solidFill>
                    <a:srgbClr val="FFFFFF"/>
                  </a:solidFill>
                </a:rPr>
                <a:t>x</a:t>
              </a:r>
              <a:r>
                <a:rPr lang="de-DE" sz="1400" b="1" spc="-30" dirty="0" smtClean="0">
                  <a:solidFill>
                    <a:srgbClr val="FFFFFF"/>
                  </a:solidFill>
                </a:rPr>
                <a:t>10 </a:t>
              </a:r>
              <a:r>
                <a:rPr lang="de-DE" sz="1400" b="1" spc="-30" dirty="0">
                  <a:solidFill>
                    <a:srgbClr val="FFFFFF"/>
                  </a:solidFill>
                </a:rPr>
                <a:t>000</a:t>
              </a:r>
            </a:p>
            <a:p>
              <a:pPr algn="ctr">
                <a:lnSpc>
                  <a:spcPts val="1500"/>
                </a:lnSpc>
              </a:pPr>
              <a:r>
                <a:rPr lang="bg-BG" sz="1100" spc="-30" dirty="0">
                  <a:solidFill>
                    <a:srgbClr val="FFFFFF"/>
                  </a:solidFill>
                </a:rPr>
                <a:t>трафик</a:t>
              </a:r>
              <a:endParaRPr lang="de-DE" sz="11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25" name="Rectangle 124"/>
          <p:cNvSpPr/>
          <p:nvPr/>
        </p:nvSpPr>
        <p:spPr>
          <a:xfrm>
            <a:off x="1394171" y="3394489"/>
            <a:ext cx="1185031" cy="64152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bg-BG" sz="1000" dirty="0" smtClean="0">
                <a:solidFill>
                  <a:srgbClr val="000000"/>
                </a:solidFill>
              </a:rPr>
              <a:t>Промяна в потребителските навиците</a:t>
            </a:r>
            <a:endParaRPr lang="de-DE" sz="1000" dirty="0">
              <a:solidFill>
                <a:srgbClr val="000000"/>
              </a:solidFill>
            </a:endParaRPr>
          </a:p>
        </p:txBody>
      </p:sp>
      <p:sp>
        <p:nvSpPr>
          <p:cNvPr id="126" name="Rectangle 125"/>
          <p:cNvSpPr/>
          <p:nvPr/>
        </p:nvSpPr>
        <p:spPr>
          <a:xfrm>
            <a:off x="7040456" y="2243090"/>
            <a:ext cx="898922" cy="20228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dirty="0" smtClean="0">
                <a:solidFill>
                  <a:srgbClr val="000000"/>
                </a:solidFill>
              </a:rPr>
              <a:t>IoT</a:t>
            </a:r>
            <a:endParaRPr lang="de-DE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662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851" name="think-cell Folie" r:id="rId6" imgW="180" imgH="180" progId="TCLayout.ActiveDocument.1">
                  <p:embed/>
                </p:oleObj>
              </mc:Choice>
              <mc:Fallback>
                <p:oleObj name="think-cell Folie" r:id="rId6" imgW="180" imgH="18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5844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AT" sz="2000" dirty="0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31800" y="180000"/>
            <a:ext cx="8283050" cy="7473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bg-BG" dirty="0" smtClean="0">
                <a:solidFill>
                  <a:srgbClr val="DA291C"/>
                </a:solidFill>
              </a:rPr>
              <a:t>…благодарение на новите технологии</a:t>
            </a:r>
            <a:endParaRPr lang="de-AT" dirty="0">
              <a:solidFill>
                <a:srgbClr val="DA291C"/>
              </a:solidFill>
            </a:endParaRPr>
          </a:p>
        </p:txBody>
      </p:sp>
      <p:sp>
        <p:nvSpPr>
          <p:cNvPr id="31" name="Freihandform: Form 92">
            <a:extLst>
              <a:ext uri="{FF2B5EF4-FFF2-40B4-BE49-F238E27FC236}">
                <a16:creationId xmlns:a16="http://schemas.microsoft.com/office/drawing/2014/main" xmlns="" id="{9CCE4FBB-C6D7-4D20-BD85-12CC464B62E5}"/>
              </a:ext>
            </a:extLst>
          </p:cNvPr>
          <p:cNvSpPr/>
          <p:nvPr/>
        </p:nvSpPr>
        <p:spPr>
          <a:xfrm>
            <a:off x="607251" y="927303"/>
            <a:ext cx="7933922" cy="4145440"/>
          </a:xfrm>
          <a:custGeom>
            <a:avLst/>
            <a:gdLst>
              <a:gd name="connsiteX0" fmla="*/ 0 w 4852857"/>
              <a:gd name="connsiteY0" fmla="*/ 0 h 3348000"/>
              <a:gd name="connsiteX1" fmla="*/ 4852857 w 4852857"/>
              <a:gd name="connsiteY1" fmla="*/ 0 h 3348000"/>
              <a:gd name="connsiteX2" fmla="*/ 4852857 w 4852857"/>
              <a:gd name="connsiteY2" fmla="*/ 3348000 h 3348000"/>
              <a:gd name="connsiteX3" fmla="*/ 0 w 4852857"/>
              <a:gd name="connsiteY3" fmla="*/ 3348000 h 33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52857" h="3348000">
                <a:moveTo>
                  <a:pt x="0" y="0"/>
                </a:moveTo>
                <a:lnTo>
                  <a:pt x="4852857" y="0"/>
                </a:lnTo>
                <a:lnTo>
                  <a:pt x="4852857" y="3348000"/>
                </a:lnTo>
                <a:lnTo>
                  <a:pt x="0" y="3348000"/>
                </a:lnTo>
                <a:close/>
              </a:path>
            </a:pathLst>
          </a:custGeom>
          <a:solidFill>
            <a:srgbClr val="666666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5115" indent="-175115" defTabSz="454354">
              <a:defRPr/>
            </a:pPr>
            <a:endParaRPr lang="en-GB" sz="1193" kern="0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BB0FF5FC-77AA-40A7-98E1-41303E17092D}"/>
              </a:ext>
            </a:extLst>
          </p:cNvPr>
          <p:cNvSpPr/>
          <p:nvPr/>
        </p:nvSpPr>
        <p:spPr>
          <a:xfrm>
            <a:off x="5917390" y="975600"/>
            <a:ext cx="2520000" cy="1971341"/>
          </a:xfrm>
          <a:prstGeom prst="rect">
            <a:avLst/>
          </a:prstGeom>
          <a:solidFill>
            <a:schemeClr val="bg1"/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08708">
              <a:defRPr/>
            </a:pPr>
            <a:endParaRPr lang="en-US" sz="1193" dirty="0">
              <a:solidFill>
                <a:srgbClr val="FFFFFF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B3BCA4B5-5FF2-4594-B885-0BA30E1A46DA}"/>
              </a:ext>
            </a:extLst>
          </p:cNvPr>
          <p:cNvSpPr/>
          <p:nvPr/>
        </p:nvSpPr>
        <p:spPr>
          <a:xfrm>
            <a:off x="5918400" y="3025442"/>
            <a:ext cx="2520000" cy="1980000"/>
          </a:xfrm>
          <a:prstGeom prst="rect">
            <a:avLst/>
          </a:prstGeom>
          <a:solidFill>
            <a:schemeClr val="bg1"/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08708">
              <a:defRPr/>
            </a:pPr>
            <a:endParaRPr lang="en-US" sz="1193" dirty="0">
              <a:solidFill>
                <a:srgbClr val="FFFFFF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xmlns="" id="{BB0FF5FC-77AA-40A7-98E1-41303E17092D}"/>
              </a:ext>
            </a:extLst>
          </p:cNvPr>
          <p:cNvSpPr/>
          <p:nvPr/>
        </p:nvSpPr>
        <p:spPr>
          <a:xfrm>
            <a:off x="3298781" y="976130"/>
            <a:ext cx="2520000" cy="1980000"/>
          </a:xfrm>
          <a:prstGeom prst="rect">
            <a:avLst/>
          </a:prstGeom>
          <a:solidFill>
            <a:schemeClr val="bg1"/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08708">
              <a:defRPr/>
            </a:pPr>
            <a:endParaRPr lang="en-US" sz="1193" dirty="0">
              <a:solidFill>
                <a:srgbClr val="FFFFFF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xmlns="" id="{BB0FF5FC-77AA-40A7-98E1-41303E17092D}"/>
              </a:ext>
            </a:extLst>
          </p:cNvPr>
          <p:cNvSpPr/>
          <p:nvPr/>
        </p:nvSpPr>
        <p:spPr>
          <a:xfrm>
            <a:off x="680884" y="975600"/>
            <a:ext cx="2520000" cy="1980000"/>
          </a:xfrm>
          <a:prstGeom prst="rect">
            <a:avLst/>
          </a:prstGeom>
          <a:solidFill>
            <a:schemeClr val="bg1"/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08708">
              <a:defRPr/>
            </a:pPr>
            <a:endParaRPr lang="en-US" sz="1193" dirty="0">
              <a:solidFill>
                <a:srgbClr val="FFFFFF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xmlns="" id="{BB0FF5FC-77AA-40A7-98E1-41303E17092D}"/>
              </a:ext>
            </a:extLst>
          </p:cNvPr>
          <p:cNvSpPr/>
          <p:nvPr/>
        </p:nvSpPr>
        <p:spPr>
          <a:xfrm>
            <a:off x="680884" y="3024000"/>
            <a:ext cx="2520000" cy="1980000"/>
          </a:xfrm>
          <a:prstGeom prst="rect">
            <a:avLst/>
          </a:prstGeom>
          <a:solidFill>
            <a:schemeClr val="bg1"/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08708">
              <a:defRPr/>
            </a:pPr>
            <a:endParaRPr lang="en-US" sz="1193" dirty="0">
              <a:solidFill>
                <a:srgbClr val="FFFFFF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xmlns="" id="{BB0FF5FC-77AA-40A7-98E1-41303E17092D}"/>
              </a:ext>
            </a:extLst>
          </p:cNvPr>
          <p:cNvSpPr/>
          <p:nvPr/>
        </p:nvSpPr>
        <p:spPr>
          <a:xfrm>
            <a:off x="3298781" y="3025442"/>
            <a:ext cx="2520000" cy="1980000"/>
          </a:xfrm>
          <a:prstGeom prst="rect">
            <a:avLst/>
          </a:prstGeom>
          <a:solidFill>
            <a:schemeClr val="bg1"/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08708">
              <a:defRPr/>
            </a:pPr>
            <a:endParaRPr lang="en-US" sz="1193" dirty="0">
              <a:solidFill>
                <a:srgbClr val="FFFFFF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xmlns="" id="{CBDFF2BB-ADAC-4E6B-BA68-59A4A158D1F5}"/>
              </a:ext>
            </a:extLst>
          </p:cNvPr>
          <p:cNvSpPr/>
          <p:nvPr/>
        </p:nvSpPr>
        <p:spPr>
          <a:xfrm>
            <a:off x="972954" y="978191"/>
            <a:ext cx="1980000" cy="340469"/>
          </a:xfrm>
          <a:prstGeom prst="rect">
            <a:avLst/>
          </a:prstGeom>
        </p:spPr>
        <p:txBody>
          <a:bodyPr wrap="square" tIns="72000">
            <a:spAutoFit/>
          </a:bodyPr>
          <a:lstStyle/>
          <a:p>
            <a:pPr algn="ctr" defTabSz="908708">
              <a:lnSpc>
                <a:spcPct val="90000"/>
              </a:lnSpc>
              <a:defRPr/>
            </a:pPr>
            <a:r>
              <a:rPr lang="bg-BG" sz="1600" dirty="0" smtClean="0"/>
              <a:t>Нов спектър</a:t>
            </a:r>
            <a:endParaRPr lang="en-US" sz="1600" dirty="0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xmlns="" id="{7663B6CD-B554-4862-9540-E212AD0CFF41}"/>
              </a:ext>
            </a:extLst>
          </p:cNvPr>
          <p:cNvSpPr/>
          <p:nvPr/>
        </p:nvSpPr>
        <p:spPr>
          <a:xfrm>
            <a:off x="680884" y="2355635"/>
            <a:ext cx="25192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08708">
              <a:defRPr/>
            </a:pPr>
            <a:r>
              <a:rPr lang="en-US" sz="1200" dirty="0"/>
              <a:t>&lt;3 GHz, 3-6 GHz</a:t>
            </a:r>
            <a:r>
              <a:rPr lang="en-US" sz="1200" dirty="0" smtClean="0"/>
              <a:t>, </a:t>
            </a:r>
            <a:r>
              <a:rPr lang="bg-BG" sz="1200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24 </a:t>
            </a:r>
            <a:r>
              <a:rPr lang="en-US" sz="1200" kern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Hz</a:t>
            </a:r>
          </a:p>
          <a:p>
            <a:pPr algn="ctr" defTabSz="908708">
              <a:defRPr/>
            </a:pPr>
            <a:r>
              <a:rPr lang="en-US" sz="1200" dirty="0" smtClean="0"/>
              <a:t>cm/</a:t>
            </a:r>
            <a:r>
              <a:rPr lang="en-US" sz="1200" dirty="0" err="1" smtClean="0"/>
              <a:t>mmWave</a:t>
            </a:r>
            <a:endParaRPr lang="en-US" sz="1200" dirty="0"/>
          </a:p>
        </p:txBody>
      </p:sp>
      <p:sp>
        <p:nvSpPr>
          <p:cNvPr id="113" name="Freihandform: Form 21">
            <a:extLst>
              <a:ext uri="{FF2B5EF4-FFF2-40B4-BE49-F238E27FC236}">
                <a16:creationId xmlns:a16="http://schemas.microsoft.com/office/drawing/2014/main" xmlns="" id="{A423FD0B-AB4E-4D3B-B814-FD7CDCFBEB81}"/>
              </a:ext>
            </a:extLst>
          </p:cNvPr>
          <p:cNvSpPr/>
          <p:nvPr/>
        </p:nvSpPr>
        <p:spPr>
          <a:xfrm>
            <a:off x="1227716" y="1531806"/>
            <a:ext cx="1413885" cy="735434"/>
          </a:xfrm>
          <a:custGeom>
            <a:avLst/>
            <a:gdLst>
              <a:gd name="connsiteX0" fmla="*/ 0 w 709613"/>
              <a:gd name="connsiteY0" fmla="*/ 210988 h 370532"/>
              <a:gd name="connsiteX1" fmla="*/ 102394 w 709613"/>
              <a:gd name="connsiteY1" fmla="*/ 3819 h 370532"/>
              <a:gd name="connsiteX2" fmla="*/ 226219 w 709613"/>
              <a:gd name="connsiteY2" fmla="*/ 370532 h 370532"/>
              <a:gd name="connsiteX3" fmla="*/ 354807 w 709613"/>
              <a:gd name="connsiteY3" fmla="*/ 1438 h 370532"/>
              <a:gd name="connsiteX4" fmla="*/ 476250 w 709613"/>
              <a:gd name="connsiteY4" fmla="*/ 370532 h 370532"/>
              <a:gd name="connsiteX5" fmla="*/ 607219 w 709613"/>
              <a:gd name="connsiteY5" fmla="*/ 3819 h 370532"/>
              <a:gd name="connsiteX6" fmla="*/ 709613 w 709613"/>
              <a:gd name="connsiteY6" fmla="*/ 210988 h 370532"/>
              <a:gd name="connsiteX0" fmla="*/ 0 w 709613"/>
              <a:gd name="connsiteY0" fmla="*/ 210988 h 370532"/>
              <a:gd name="connsiteX1" fmla="*/ 102394 w 709613"/>
              <a:gd name="connsiteY1" fmla="*/ 3819 h 370532"/>
              <a:gd name="connsiteX2" fmla="*/ 226219 w 709613"/>
              <a:gd name="connsiteY2" fmla="*/ 370532 h 370532"/>
              <a:gd name="connsiteX3" fmla="*/ 354807 w 709613"/>
              <a:gd name="connsiteY3" fmla="*/ 1438 h 370532"/>
              <a:gd name="connsiteX4" fmla="*/ 476250 w 709613"/>
              <a:gd name="connsiteY4" fmla="*/ 370532 h 370532"/>
              <a:gd name="connsiteX5" fmla="*/ 607219 w 709613"/>
              <a:gd name="connsiteY5" fmla="*/ 3819 h 370532"/>
              <a:gd name="connsiteX6" fmla="*/ 709613 w 709613"/>
              <a:gd name="connsiteY6" fmla="*/ 210988 h 370532"/>
              <a:gd name="connsiteX0" fmla="*/ 0 w 709613"/>
              <a:gd name="connsiteY0" fmla="*/ 210988 h 370532"/>
              <a:gd name="connsiteX1" fmla="*/ 102394 w 709613"/>
              <a:gd name="connsiteY1" fmla="*/ 3819 h 370532"/>
              <a:gd name="connsiteX2" fmla="*/ 226219 w 709613"/>
              <a:gd name="connsiteY2" fmla="*/ 370532 h 370532"/>
              <a:gd name="connsiteX3" fmla="*/ 354807 w 709613"/>
              <a:gd name="connsiteY3" fmla="*/ 1438 h 370532"/>
              <a:gd name="connsiteX4" fmla="*/ 476250 w 709613"/>
              <a:gd name="connsiteY4" fmla="*/ 370532 h 370532"/>
              <a:gd name="connsiteX5" fmla="*/ 607219 w 709613"/>
              <a:gd name="connsiteY5" fmla="*/ 3819 h 370532"/>
              <a:gd name="connsiteX6" fmla="*/ 709613 w 709613"/>
              <a:gd name="connsiteY6" fmla="*/ 210988 h 370532"/>
              <a:gd name="connsiteX0" fmla="*/ 0 w 709613"/>
              <a:gd name="connsiteY0" fmla="*/ 209562 h 369106"/>
              <a:gd name="connsiteX1" fmla="*/ 102394 w 709613"/>
              <a:gd name="connsiteY1" fmla="*/ 2393 h 369106"/>
              <a:gd name="connsiteX2" fmla="*/ 226219 w 709613"/>
              <a:gd name="connsiteY2" fmla="*/ 369106 h 369106"/>
              <a:gd name="connsiteX3" fmla="*/ 354807 w 709613"/>
              <a:gd name="connsiteY3" fmla="*/ 12 h 369106"/>
              <a:gd name="connsiteX4" fmla="*/ 476250 w 709613"/>
              <a:gd name="connsiteY4" fmla="*/ 369106 h 369106"/>
              <a:gd name="connsiteX5" fmla="*/ 607219 w 709613"/>
              <a:gd name="connsiteY5" fmla="*/ 2393 h 369106"/>
              <a:gd name="connsiteX6" fmla="*/ 709613 w 709613"/>
              <a:gd name="connsiteY6" fmla="*/ 209562 h 369106"/>
              <a:gd name="connsiteX0" fmla="*/ 0 w 709613"/>
              <a:gd name="connsiteY0" fmla="*/ 209562 h 369106"/>
              <a:gd name="connsiteX1" fmla="*/ 102394 w 709613"/>
              <a:gd name="connsiteY1" fmla="*/ 2393 h 369106"/>
              <a:gd name="connsiteX2" fmla="*/ 226219 w 709613"/>
              <a:gd name="connsiteY2" fmla="*/ 369106 h 369106"/>
              <a:gd name="connsiteX3" fmla="*/ 354807 w 709613"/>
              <a:gd name="connsiteY3" fmla="*/ 12 h 369106"/>
              <a:gd name="connsiteX4" fmla="*/ 476250 w 709613"/>
              <a:gd name="connsiteY4" fmla="*/ 369106 h 369106"/>
              <a:gd name="connsiteX5" fmla="*/ 607219 w 709613"/>
              <a:gd name="connsiteY5" fmla="*/ 2393 h 369106"/>
              <a:gd name="connsiteX6" fmla="*/ 709613 w 709613"/>
              <a:gd name="connsiteY6" fmla="*/ 209562 h 369106"/>
              <a:gd name="connsiteX0" fmla="*/ 0 w 709613"/>
              <a:gd name="connsiteY0" fmla="*/ 209562 h 369106"/>
              <a:gd name="connsiteX1" fmla="*/ 102394 w 709613"/>
              <a:gd name="connsiteY1" fmla="*/ 2393 h 369106"/>
              <a:gd name="connsiteX2" fmla="*/ 226219 w 709613"/>
              <a:gd name="connsiteY2" fmla="*/ 369106 h 369106"/>
              <a:gd name="connsiteX3" fmla="*/ 354807 w 709613"/>
              <a:gd name="connsiteY3" fmla="*/ 12 h 369106"/>
              <a:gd name="connsiteX4" fmla="*/ 476250 w 709613"/>
              <a:gd name="connsiteY4" fmla="*/ 369106 h 369106"/>
              <a:gd name="connsiteX5" fmla="*/ 607219 w 709613"/>
              <a:gd name="connsiteY5" fmla="*/ 2393 h 369106"/>
              <a:gd name="connsiteX6" fmla="*/ 709613 w 709613"/>
              <a:gd name="connsiteY6" fmla="*/ 209562 h 369106"/>
              <a:gd name="connsiteX0" fmla="*/ 0 w 709613"/>
              <a:gd name="connsiteY0" fmla="*/ 209562 h 369106"/>
              <a:gd name="connsiteX1" fmla="*/ 102394 w 709613"/>
              <a:gd name="connsiteY1" fmla="*/ 2393 h 369106"/>
              <a:gd name="connsiteX2" fmla="*/ 226219 w 709613"/>
              <a:gd name="connsiteY2" fmla="*/ 369106 h 369106"/>
              <a:gd name="connsiteX3" fmla="*/ 354807 w 709613"/>
              <a:gd name="connsiteY3" fmla="*/ 12 h 369106"/>
              <a:gd name="connsiteX4" fmla="*/ 476250 w 709613"/>
              <a:gd name="connsiteY4" fmla="*/ 369106 h 369106"/>
              <a:gd name="connsiteX5" fmla="*/ 607219 w 709613"/>
              <a:gd name="connsiteY5" fmla="*/ 2393 h 369106"/>
              <a:gd name="connsiteX6" fmla="*/ 709613 w 709613"/>
              <a:gd name="connsiteY6" fmla="*/ 209562 h 369106"/>
              <a:gd name="connsiteX0" fmla="*/ 0 w 709613"/>
              <a:gd name="connsiteY0" fmla="*/ 209562 h 369106"/>
              <a:gd name="connsiteX1" fmla="*/ 102394 w 709613"/>
              <a:gd name="connsiteY1" fmla="*/ 2393 h 369106"/>
              <a:gd name="connsiteX2" fmla="*/ 226219 w 709613"/>
              <a:gd name="connsiteY2" fmla="*/ 369106 h 369106"/>
              <a:gd name="connsiteX3" fmla="*/ 354807 w 709613"/>
              <a:gd name="connsiteY3" fmla="*/ 12 h 369106"/>
              <a:gd name="connsiteX4" fmla="*/ 476250 w 709613"/>
              <a:gd name="connsiteY4" fmla="*/ 369106 h 369106"/>
              <a:gd name="connsiteX5" fmla="*/ 607219 w 709613"/>
              <a:gd name="connsiteY5" fmla="*/ 2393 h 369106"/>
              <a:gd name="connsiteX6" fmla="*/ 709613 w 709613"/>
              <a:gd name="connsiteY6" fmla="*/ 209562 h 369106"/>
              <a:gd name="connsiteX0" fmla="*/ 0 w 709613"/>
              <a:gd name="connsiteY0" fmla="*/ 209562 h 369106"/>
              <a:gd name="connsiteX1" fmla="*/ 102394 w 709613"/>
              <a:gd name="connsiteY1" fmla="*/ 2393 h 369106"/>
              <a:gd name="connsiteX2" fmla="*/ 226219 w 709613"/>
              <a:gd name="connsiteY2" fmla="*/ 369106 h 369106"/>
              <a:gd name="connsiteX3" fmla="*/ 354807 w 709613"/>
              <a:gd name="connsiteY3" fmla="*/ 12 h 369106"/>
              <a:gd name="connsiteX4" fmla="*/ 476250 w 709613"/>
              <a:gd name="connsiteY4" fmla="*/ 369106 h 369106"/>
              <a:gd name="connsiteX5" fmla="*/ 607219 w 709613"/>
              <a:gd name="connsiteY5" fmla="*/ 2393 h 369106"/>
              <a:gd name="connsiteX6" fmla="*/ 709613 w 709613"/>
              <a:gd name="connsiteY6" fmla="*/ 209562 h 369106"/>
              <a:gd name="connsiteX0" fmla="*/ 0 w 709613"/>
              <a:gd name="connsiteY0" fmla="*/ 209562 h 369106"/>
              <a:gd name="connsiteX1" fmla="*/ 102394 w 709613"/>
              <a:gd name="connsiteY1" fmla="*/ 2393 h 369106"/>
              <a:gd name="connsiteX2" fmla="*/ 226219 w 709613"/>
              <a:gd name="connsiteY2" fmla="*/ 369106 h 369106"/>
              <a:gd name="connsiteX3" fmla="*/ 354807 w 709613"/>
              <a:gd name="connsiteY3" fmla="*/ 12 h 369106"/>
              <a:gd name="connsiteX4" fmla="*/ 476250 w 709613"/>
              <a:gd name="connsiteY4" fmla="*/ 369106 h 369106"/>
              <a:gd name="connsiteX5" fmla="*/ 607219 w 709613"/>
              <a:gd name="connsiteY5" fmla="*/ 2393 h 369106"/>
              <a:gd name="connsiteX6" fmla="*/ 709613 w 709613"/>
              <a:gd name="connsiteY6" fmla="*/ 209562 h 369106"/>
              <a:gd name="connsiteX0" fmla="*/ 0 w 709613"/>
              <a:gd name="connsiteY0" fmla="*/ 209562 h 369106"/>
              <a:gd name="connsiteX1" fmla="*/ 102394 w 709613"/>
              <a:gd name="connsiteY1" fmla="*/ 2393 h 369106"/>
              <a:gd name="connsiteX2" fmla="*/ 226219 w 709613"/>
              <a:gd name="connsiteY2" fmla="*/ 369106 h 369106"/>
              <a:gd name="connsiteX3" fmla="*/ 354807 w 709613"/>
              <a:gd name="connsiteY3" fmla="*/ 12 h 369106"/>
              <a:gd name="connsiteX4" fmla="*/ 476250 w 709613"/>
              <a:gd name="connsiteY4" fmla="*/ 369106 h 369106"/>
              <a:gd name="connsiteX5" fmla="*/ 607219 w 709613"/>
              <a:gd name="connsiteY5" fmla="*/ 2393 h 369106"/>
              <a:gd name="connsiteX6" fmla="*/ 709613 w 709613"/>
              <a:gd name="connsiteY6" fmla="*/ 209562 h 369106"/>
              <a:gd name="connsiteX0" fmla="*/ 0 w 709613"/>
              <a:gd name="connsiteY0" fmla="*/ 209562 h 369106"/>
              <a:gd name="connsiteX1" fmla="*/ 102394 w 709613"/>
              <a:gd name="connsiteY1" fmla="*/ 2393 h 369106"/>
              <a:gd name="connsiteX2" fmla="*/ 226219 w 709613"/>
              <a:gd name="connsiteY2" fmla="*/ 369106 h 369106"/>
              <a:gd name="connsiteX3" fmla="*/ 354807 w 709613"/>
              <a:gd name="connsiteY3" fmla="*/ 12 h 369106"/>
              <a:gd name="connsiteX4" fmla="*/ 476250 w 709613"/>
              <a:gd name="connsiteY4" fmla="*/ 369106 h 369106"/>
              <a:gd name="connsiteX5" fmla="*/ 607219 w 709613"/>
              <a:gd name="connsiteY5" fmla="*/ 2393 h 369106"/>
              <a:gd name="connsiteX6" fmla="*/ 709613 w 709613"/>
              <a:gd name="connsiteY6" fmla="*/ 209562 h 369106"/>
              <a:gd name="connsiteX0" fmla="*/ 0 w 709613"/>
              <a:gd name="connsiteY0" fmla="*/ 209562 h 369106"/>
              <a:gd name="connsiteX1" fmla="*/ 102394 w 709613"/>
              <a:gd name="connsiteY1" fmla="*/ 2393 h 369106"/>
              <a:gd name="connsiteX2" fmla="*/ 226219 w 709613"/>
              <a:gd name="connsiteY2" fmla="*/ 369106 h 369106"/>
              <a:gd name="connsiteX3" fmla="*/ 354807 w 709613"/>
              <a:gd name="connsiteY3" fmla="*/ 12 h 369106"/>
              <a:gd name="connsiteX4" fmla="*/ 476250 w 709613"/>
              <a:gd name="connsiteY4" fmla="*/ 369106 h 369106"/>
              <a:gd name="connsiteX5" fmla="*/ 607219 w 709613"/>
              <a:gd name="connsiteY5" fmla="*/ 2393 h 369106"/>
              <a:gd name="connsiteX6" fmla="*/ 709613 w 709613"/>
              <a:gd name="connsiteY6" fmla="*/ 209562 h 369106"/>
              <a:gd name="connsiteX0" fmla="*/ 0 w 709613"/>
              <a:gd name="connsiteY0" fmla="*/ 209562 h 369106"/>
              <a:gd name="connsiteX1" fmla="*/ 102394 w 709613"/>
              <a:gd name="connsiteY1" fmla="*/ 2393 h 369106"/>
              <a:gd name="connsiteX2" fmla="*/ 226219 w 709613"/>
              <a:gd name="connsiteY2" fmla="*/ 369106 h 369106"/>
              <a:gd name="connsiteX3" fmla="*/ 354807 w 709613"/>
              <a:gd name="connsiteY3" fmla="*/ 12 h 369106"/>
              <a:gd name="connsiteX4" fmla="*/ 476250 w 709613"/>
              <a:gd name="connsiteY4" fmla="*/ 369106 h 369106"/>
              <a:gd name="connsiteX5" fmla="*/ 607219 w 709613"/>
              <a:gd name="connsiteY5" fmla="*/ 2393 h 369106"/>
              <a:gd name="connsiteX6" fmla="*/ 709613 w 709613"/>
              <a:gd name="connsiteY6" fmla="*/ 209562 h 369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9613" h="369106">
                <a:moveTo>
                  <a:pt x="0" y="209562"/>
                </a:moveTo>
                <a:cubicBezTo>
                  <a:pt x="70445" y="206982"/>
                  <a:pt x="19447" y="1996"/>
                  <a:pt x="102394" y="2393"/>
                </a:cubicBezTo>
                <a:cubicBezTo>
                  <a:pt x="185341" y="2790"/>
                  <a:pt x="143669" y="369503"/>
                  <a:pt x="226219" y="369106"/>
                </a:cubicBezTo>
                <a:cubicBezTo>
                  <a:pt x="308769" y="368709"/>
                  <a:pt x="272654" y="2393"/>
                  <a:pt x="354807" y="12"/>
                </a:cubicBezTo>
                <a:cubicBezTo>
                  <a:pt x="436960" y="-2369"/>
                  <a:pt x="403225" y="368709"/>
                  <a:pt x="476250" y="369106"/>
                </a:cubicBezTo>
                <a:cubicBezTo>
                  <a:pt x="549275" y="369503"/>
                  <a:pt x="523082" y="-1972"/>
                  <a:pt x="607219" y="2393"/>
                </a:cubicBezTo>
                <a:cubicBezTo>
                  <a:pt x="691356" y="6758"/>
                  <a:pt x="651669" y="214126"/>
                  <a:pt x="709613" y="209562"/>
                </a:cubicBezTo>
              </a:path>
            </a:pathLst>
          </a:custGeom>
          <a:noFill/>
          <a:ln w="2540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0024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FFFFFF"/>
              </a:solidFill>
              <a:latin typeface="Nokia Pure Text Light"/>
            </a:endParaRPr>
          </a:p>
        </p:txBody>
      </p:sp>
      <p:cxnSp>
        <p:nvCxnSpPr>
          <p:cNvPr id="114" name="Gerader Verbinder 23">
            <a:extLst>
              <a:ext uri="{FF2B5EF4-FFF2-40B4-BE49-F238E27FC236}">
                <a16:creationId xmlns:a16="http://schemas.microsoft.com/office/drawing/2014/main" xmlns="" id="{17A2CCCA-6928-4CBE-974B-CAC88316BACD}"/>
              </a:ext>
            </a:extLst>
          </p:cNvPr>
          <p:cNvCxnSpPr/>
          <p:nvPr/>
        </p:nvCxnSpPr>
        <p:spPr>
          <a:xfrm>
            <a:off x="972954" y="1924953"/>
            <a:ext cx="1980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14">
            <a:extLst>
              <a:ext uri="{FF2B5EF4-FFF2-40B4-BE49-F238E27FC236}">
                <a16:creationId xmlns:a16="http://schemas.microsoft.com/office/drawing/2014/main" xmlns="" id="{DD8A673F-5064-43BC-A287-70BEE1133321}"/>
              </a:ext>
            </a:extLst>
          </p:cNvPr>
          <p:cNvSpPr/>
          <p:nvPr/>
        </p:nvSpPr>
        <p:spPr>
          <a:xfrm>
            <a:off x="691850" y="3025442"/>
            <a:ext cx="2521673" cy="340469"/>
          </a:xfrm>
          <a:prstGeom prst="rect">
            <a:avLst/>
          </a:prstGeom>
        </p:spPr>
        <p:txBody>
          <a:bodyPr wrap="square" tIns="72000">
            <a:spAutoFit/>
          </a:bodyPr>
          <a:lstStyle/>
          <a:p>
            <a:pPr algn="ctr" defTabSz="908708">
              <a:lnSpc>
                <a:spcPct val="90000"/>
              </a:lnSpc>
              <a:defRPr/>
            </a:pPr>
            <a:r>
              <a:rPr lang="bg-BG" sz="1600" dirty="0" smtClean="0"/>
              <a:t>Паралелни връзки</a:t>
            </a:r>
            <a:endParaRPr lang="en-US" sz="1600" dirty="0"/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xmlns="" id="{603FCAFB-64E4-4CCE-B93D-798C59477D60}"/>
              </a:ext>
            </a:extLst>
          </p:cNvPr>
          <p:cNvSpPr/>
          <p:nvPr/>
        </p:nvSpPr>
        <p:spPr>
          <a:xfrm>
            <a:off x="680884" y="4502766"/>
            <a:ext cx="2520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08708">
              <a:defRPr/>
            </a:pPr>
            <a:r>
              <a:rPr lang="bg-BG" sz="1200" dirty="0"/>
              <a:t>Акумулиране и дублиране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50" y="3669504"/>
            <a:ext cx="2395222" cy="721542"/>
          </a:xfrm>
          <a:prstGeom prst="rect">
            <a:avLst/>
          </a:prstGeom>
        </p:spPr>
      </p:pic>
      <p:sp>
        <p:nvSpPr>
          <p:cNvPr id="118" name="Rectangle 117">
            <a:extLst>
              <a:ext uri="{FF2B5EF4-FFF2-40B4-BE49-F238E27FC236}">
                <a16:creationId xmlns:a16="http://schemas.microsoft.com/office/drawing/2014/main" xmlns="" id="{427982EB-11F4-4C8A-B14C-E516F98FE61A}"/>
              </a:ext>
            </a:extLst>
          </p:cNvPr>
          <p:cNvSpPr/>
          <p:nvPr/>
        </p:nvSpPr>
        <p:spPr>
          <a:xfrm>
            <a:off x="3298779" y="978191"/>
            <a:ext cx="2520001" cy="562068"/>
          </a:xfrm>
          <a:prstGeom prst="rect">
            <a:avLst/>
          </a:prstGeom>
        </p:spPr>
        <p:txBody>
          <a:bodyPr wrap="square" tIns="72000">
            <a:spAutoFit/>
          </a:bodyPr>
          <a:lstStyle/>
          <a:p>
            <a:pPr algn="ctr" defTabSz="908708">
              <a:lnSpc>
                <a:spcPct val="90000"/>
              </a:lnSpc>
              <a:defRPr/>
            </a:pPr>
            <a:r>
              <a:rPr lang="en-US" sz="1600" dirty="0" err="1" smtClean="0"/>
              <a:t>mMIMO</a:t>
            </a:r>
            <a:r>
              <a:rPr lang="en-US" sz="1600" dirty="0" smtClean="0"/>
              <a:t> </a:t>
            </a:r>
            <a:r>
              <a:rPr lang="en-US" sz="1600" dirty="0"/>
              <a:t>&amp; beamforming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xmlns="" id="{869B0F93-B426-4736-BCC6-007C163192C1}"/>
              </a:ext>
            </a:extLst>
          </p:cNvPr>
          <p:cNvGrpSpPr/>
          <p:nvPr/>
        </p:nvGrpSpPr>
        <p:grpSpPr>
          <a:xfrm>
            <a:off x="4009299" y="1752875"/>
            <a:ext cx="1157396" cy="1090508"/>
            <a:chOff x="6178336" y="1925468"/>
            <a:chExt cx="903418" cy="851208"/>
          </a:xfrm>
        </p:grpSpPr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xmlns="" id="{469FB228-31B9-4F6D-8CDD-FE1F794EC502}"/>
                </a:ext>
              </a:extLst>
            </p:cNvPr>
            <p:cNvGrpSpPr/>
            <p:nvPr/>
          </p:nvGrpSpPr>
          <p:grpSpPr>
            <a:xfrm rot="20186924">
              <a:off x="6261555" y="1925468"/>
              <a:ext cx="820199" cy="619980"/>
              <a:chOff x="3787783" y="2243618"/>
              <a:chExt cx="1093599" cy="826640"/>
            </a:xfrm>
          </p:grpSpPr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xmlns="" id="{594B2870-548B-43D6-A536-4FD993F1163A}"/>
                  </a:ext>
                </a:extLst>
              </p:cNvPr>
              <p:cNvSpPr/>
              <p:nvPr/>
            </p:nvSpPr>
            <p:spPr>
              <a:xfrm rot="1800000">
                <a:off x="3801983" y="2643459"/>
                <a:ext cx="915076" cy="227827"/>
              </a:xfrm>
              <a:prstGeom prst="ellipse">
                <a:avLst/>
              </a:prstGeom>
              <a:solidFill>
                <a:schemeClr val="bg1">
                  <a:lumMod val="85000"/>
                  <a:alpha val="66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3663" tIns="53663" rIns="53663" bIns="536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340766">
                  <a:defRPr/>
                </a:pPr>
                <a:endParaRPr lang="en-US" sz="894" dirty="0" err="1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xmlns="" id="{F91344FC-1BCB-4783-8DFF-0A13C70FFE1A}"/>
                  </a:ext>
                </a:extLst>
              </p:cNvPr>
              <p:cNvSpPr/>
              <p:nvPr/>
            </p:nvSpPr>
            <p:spPr>
              <a:xfrm rot="951853">
                <a:off x="3842490" y="2582015"/>
                <a:ext cx="1006831" cy="224556"/>
              </a:xfrm>
              <a:prstGeom prst="ellipse">
                <a:avLst/>
              </a:prstGeom>
              <a:solidFill>
                <a:schemeClr val="bg1">
                  <a:lumMod val="75000"/>
                  <a:alpha val="66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3663" tIns="53663" rIns="53663" bIns="5366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340766">
                  <a:defRPr/>
                </a:pPr>
                <a:endParaRPr lang="en-US" sz="894" dirty="0" err="1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xmlns="" id="{66679C8A-7EAE-48DC-A3F9-6DCE1538ED46}"/>
                  </a:ext>
                </a:extLst>
              </p:cNvPr>
              <p:cNvSpPr/>
              <p:nvPr/>
            </p:nvSpPr>
            <p:spPr>
              <a:xfrm rot="2883718">
                <a:off x="3779658" y="2688930"/>
                <a:ext cx="520570" cy="242085"/>
              </a:xfrm>
              <a:prstGeom prst="ellipse">
                <a:avLst/>
              </a:prstGeom>
              <a:solidFill>
                <a:schemeClr val="bg1">
                  <a:lumMod val="95000"/>
                  <a:alpha val="66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3663" tIns="53663" rIns="53663" bIns="53663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340766">
                  <a:defRPr/>
                </a:pPr>
                <a:endParaRPr lang="en-US" sz="894" dirty="0" err="1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xmlns="" id="{77F41DDA-F011-4AE8-86C6-2AE9837D9176}"/>
                  </a:ext>
                </a:extLst>
              </p:cNvPr>
              <p:cNvSpPr/>
              <p:nvPr/>
            </p:nvSpPr>
            <p:spPr>
              <a:xfrm rot="257874">
                <a:off x="3874551" y="2488866"/>
                <a:ext cx="1006831" cy="224556"/>
              </a:xfrm>
              <a:prstGeom prst="ellipse">
                <a:avLst/>
              </a:prstGeom>
              <a:solidFill>
                <a:schemeClr val="bg1">
                  <a:lumMod val="65000"/>
                  <a:alpha val="66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3663" tIns="53663" rIns="53663" bIns="5366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340766">
                  <a:defRPr/>
                </a:pPr>
                <a:endParaRPr lang="en-US" sz="894" dirty="0" err="1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xmlns="" id="{0BEA592A-9C0C-4726-AD4C-107821BDE47D}"/>
                  </a:ext>
                </a:extLst>
              </p:cNvPr>
              <p:cNvSpPr/>
              <p:nvPr/>
            </p:nvSpPr>
            <p:spPr>
              <a:xfrm rot="20411001">
                <a:off x="3867749" y="2243618"/>
                <a:ext cx="1006831" cy="224556"/>
              </a:xfrm>
              <a:prstGeom prst="ellipse">
                <a:avLst/>
              </a:prstGeom>
              <a:solidFill>
                <a:schemeClr val="bg2">
                  <a:lumMod val="50000"/>
                  <a:alpha val="66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3663" tIns="53663" rIns="53663" bIns="5366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340766">
                  <a:defRPr/>
                </a:pPr>
                <a:endParaRPr lang="en-US" sz="894" dirty="0" err="1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xmlns="" id="{4F7ADEF6-2BA7-409C-85AB-23EFF8B35DAB}"/>
                  </a:ext>
                </a:extLst>
              </p:cNvPr>
              <p:cNvSpPr/>
              <p:nvPr/>
            </p:nvSpPr>
            <p:spPr>
              <a:xfrm rot="21334502">
                <a:off x="3874551" y="2373410"/>
                <a:ext cx="1006831" cy="224556"/>
              </a:xfrm>
              <a:prstGeom prst="ellipse">
                <a:avLst/>
              </a:prstGeom>
              <a:solidFill>
                <a:schemeClr val="bg1">
                  <a:lumMod val="50000"/>
                  <a:alpha val="66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3663" tIns="53663" rIns="53663" bIns="5366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340766">
                  <a:defRPr/>
                </a:pPr>
                <a:endParaRPr lang="en-US" sz="894" dirty="0" err="1">
                  <a:solidFill>
                    <a:srgbClr val="FFFFFF"/>
                  </a:solidFill>
                  <a:latin typeface="Arial"/>
                </a:endParaRPr>
              </a:p>
            </p:txBody>
          </p:sp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xmlns="" id="{AF9CC6D0-B484-472E-9910-EA24B03A363D}"/>
                  </a:ext>
                </a:extLst>
              </p:cNvPr>
              <p:cNvGrpSpPr/>
              <p:nvPr/>
            </p:nvGrpSpPr>
            <p:grpSpPr>
              <a:xfrm>
                <a:off x="3787783" y="2539774"/>
                <a:ext cx="95171" cy="95566"/>
                <a:chOff x="1410580" y="2220929"/>
                <a:chExt cx="95171" cy="95566"/>
              </a:xfrm>
            </p:grpSpPr>
            <p:sp>
              <p:nvSpPr>
                <p:cNvPr id="129" name="Oval 128">
                  <a:extLst>
                    <a:ext uri="{FF2B5EF4-FFF2-40B4-BE49-F238E27FC236}">
                      <a16:creationId xmlns:a16="http://schemas.microsoft.com/office/drawing/2014/main" xmlns="" id="{A21150AB-8841-49AC-9BB5-770DF448CA25}"/>
                    </a:ext>
                  </a:extLst>
                </p:cNvPr>
                <p:cNvSpPr/>
                <p:nvPr/>
              </p:nvSpPr>
              <p:spPr>
                <a:xfrm>
                  <a:off x="1410580" y="2220929"/>
                  <a:ext cx="95171" cy="9556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tIns="67078" bIns="67078" rtlCol="0" anchor="t" anchorCtr="0"/>
                <a:lstStyle/>
                <a:p>
                  <a:pPr algn="ctr" defTabSz="340766">
                    <a:defRPr/>
                  </a:pPr>
                  <a:endParaRPr lang="en-US" sz="1342" dirty="0">
                    <a:solidFill>
                      <a:srgbClr val="124191"/>
                    </a:solidFill>
                    <a:latin typeface="Arial"/>
                  </a:endParaRPr>
                </a:p>
              </p:txBody>
            </p:sp>
            <p:sp>
              <p:nvSpPr>
                <p:cNvPr id="130" name="Oval 129">
                  <a:extLst>
                    <a:ext uri="{FF2B5EF4-FFF2-40B4-BE49-F238E27FC236}">
                      <a16:creationId xmlns:a16="http://schemas.microsoft.com/office/drawing/2014/main" xmlns="" id="{69C92B47-53CB-4C15-966D-7E13530B5FDA}"/>
                    </a:ext>
                  </a:extLst>
                </p:cNvPr>
                <p:cNvSpPr/>
                <p:nvPr/>
              </p:nvSpPr>
              <p:spPr>
                <a:xfrm>
                  <a:off x="1438526" y="2238182"/>
                  <a:ext cx="45719" cy="56787"/>
                </a:xfrm>
                <a:prstGeom prst="ellipse">
                  <a:avLst/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tIns="67078" bIns="67078" rtlCol="0" anchor="t" anchorCtr="0"/>
                <a:lstStyle/>
                <a:p>
                  <a:pPr algn="ctr" defTabSz="340766">
                    <a:defRPr/>
                  </a:pPr>
                  <a:endParaRPr lang="en-US" sz="1342" dirty="0">
                    <a:solidFill>
                      <a:srgbClr val="124191"/>
                    </a:solidFill>
                    <a:latin typeface="Arial"/>
                  </a:endParaRPr>
                </a:p>
              </p:txBody>
            </p:sp>
          </p:grpSp>
        </p:grpSp>
        <p:sp>
          <p:nvSpPr>
            <p:cNvPr id="121" name="Freeform 10">
              <a:extLst>
                <a:ext uri="{FF2B5EF4-FFF2-40B4-BE49-F238E27FC236}">
                  <a16:creationId xmlns:a16="http://schemas.microsoft.com/office/drawing/2014/main" xmlns="" id="{2E942991-DB8D-465F-A5D6-EC5B2D342E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8336" y="2188960"/>
              <a:ext cx="90868" cy="587716"/>
            </a:xfrm>
            <a:custGeom>
              <a:avLst/>
              <a:gdLst>
                <a:gd name="T0" fmla="*/ 282 w 814"/>
                <a:gd name="T1" fmla="*/ 1375 h 5843"/>
                <a:gd name="T2" fmla="*/ 282 w 814"/>
                <a:gd name="T3" fmla="*/ 1375 h 5843"/>
                <a:gd name="T4" fmla="*/ 813 w 814"/>
                <a:gd name="T5" fmla="*/ 656 h 5843"/>
                <a:gd name="T6" fmla="*/ 813 w 814"/>
                <a:gd name="T7" fmla="*/ 343 h 5843"/>
                <a:gd name="T8" fmla="*/ 407 w 814"/>
                <a:gd name="T9" fmla="*/ 0 h 5843"/>
                <a:gd name="T10" fmla="*/ 0 w 814"/>
                <a:gd name="T11" fmla="*/ 343 h 5843"/>
                <a:gd name="T12" fmla="*/ 0 w 814"/>
                <a:gd name="T13" fmla="*/ 5530 h 5843"/>
                <a:gd name="T14" fmla="*/ 438 w 814"/>
                <a:gd name="T15" fmla="*/ 5842 h 5843"/>
                <a:gd name="T16" fmla="*/ 813 w 814"/>
                <a:gd name="T17" fmla="*/ 5561 h 5843"/>
                <a:gd name="T18" fmla="*/ 813 w 814"/>
                <a:gd name="T19" fmla="*/ 2062 h 5843"/>
                <a:gd name="T20" fmla="*/ 282 w 814"/>
                <a:gd name="T21" fmla="*/ 1375 h 5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4" h="5843">
                  <a:moveTo>
                    <a:pt x="282" y="1375"/>
                  </a:moveTo>
                  <a:lnTo>
                    <a:pt x="282" y="1375"/>
                  </a:lnTo>
                  <a:cubicBezTo>
                    <a:pt x="282" y="1031"/>
                    <a:pt x="501" y="749"/>
                    <a:pt x="813" y="656"/>
                  </a:cubicBezTo>
                  <a:cubicBezTo>
                    <a:pt x="813" y="343"/>
                    <a:pt x="813" y="343"/>
                    <a:pt x="813" y="343"/>
                  </a:cubicBezTo>
                  <a:cubicBezTo>
                    <a:pt x="813" y="343"/>
                    <a:pt x="782" y="0"/>
                    <a:pt x="407" y="0"/>
                  </a:cubicBezTo>
                  <a:cubicBezTo>
                    <a:pt x="407" y="0"/>
                    <a:pt x="0" y="0"/>
                    <a:pt x="0" y="343"/>
                  </a:cubicBezTo>
                  <a:cubicBezTo>
                    <a:pt x="0" y="5530"/>
                    <a:pt x="0" y="5530"/>
                    <a:pt x="0" y="5530"/>
                  </a:cubicBezTo>
                  <a:cubicBezTo>
                    <a:pt x="0" y="5842"/>
                    <a:pt x="438" y="5842"/>
                    <a:pt x="438" y="5842"/>
                  </a:cubicBezTo>
                  <a:cubicBezTo>
                    <a:pt x="782" y="5842"/>
                    <a:pt x="813" y="5561"/>
                    <a:pt x="813" y="5561"/>
                  </a:cubicBezTo>
                  <a:cubicBezTo>
                    <a:pt x="813" y="2062"/>
                    <a:pt x="813" y="2062"/>
                    <a:pt x="813" y="2062"/>
                  </a:cubicBezTo>
                  <a:cubicBezTo>
                    <a:pt x="501" y="1968"/>
                    <a:pt x="282" y="1718"/>
                    <a:pt x="282" y="1375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34076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91">
                <a:solidFill>
                  <a:srgbClr val="124191"/>
                </a:solidFill>
                <a:latin typeface="Arial" charset="0"/>
              </a:endParaRPr>
            </a:p>
          </p:txBody>
        </p:sp>
      </p:grpSp>
      <p:sp>
        <p:nvSpPr>
          <p:cNvPr id="131" name="Rectangle 130">
            <a:extLst>
              <a:ext uri="{FF2B5EF4-FFF2-40B4-BE49-F238E27FC236}">
                <a16:creationId xmlns:a16="http://schemas.microsoft.com/office/drawing/2014/main" xmlns="" id="{3E2EE72A-9B7E-4A63-A56A-165B2C65BF96}"/>
              </a:ext>
            </a:extLst>
          </p:cNvPr>
          <p:cNvSpPr/>
          <p:nvPr/>
        </p:nvSpPr>
        <p:spPr>
          <a:xfrm>
            <a:off x="3311420" y="3021337"/>
            <a:ext cx="2507361" cy="340469"/>
          </a:xfrm>
          <a:prstGeom prst="rect">
            <a:avLst/>
          </a:prstGeom>
        </p:spPr>
        <p:txBody>
          <a:bodyPr wrap="square" tIns="72000">
            <a:spAutoFit/>
          </a:bodyPr>
          <a:lstStyle/>
          <a:p>
            <a:pPr algn="ctr" defTabSz="908708">
              <a:lnSpc>
                <a:spcPct val="90000"/>
              </a:lnSpc>
              <a:defRPr/>
            </a:pPr>
            <a:r>
              <a:rPr lang="bg-BG" sz="1600" dirty="0" smtClean="0"/>
              <a:t>Логически разрези</a:t>
            </a:r>
            <a:endParaRPr lang="en-US" sz="1600" dirty="0"/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xmlns="" id="{ACE4FA54-4E11-42CC-81AF-8860DB295DC8}"/>
              </a:ext>
            </a:extLst>
          </p:cNvPr>
          <p:cNvSpPr/>
          <p:nvPr/>
        </p:nvSpPr>
        <p:spPr>
          <a:xfrm>
            <a:off x="3311420" y="4502766"/>
            <a:ext cx="25048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08708">
              <a:defRPr/>
            </a:pPr>
            <a:r>
              <a:rPr lang="bg-BG" sz="1200" dirty="0" smtClean="0"/>
              <a:t>Централизация и разпределеност</a:t>
            </a:r>
            <a:endParaRPr lang="en-US" sz="1200" dirty="0"/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xmlns="" id="{F50CDDFA-ED23-41C7-949C-875545223CEB}"/>
              </a:ext>
            </a:extLst>
          </p:cNvPr>
          <p:cNvSpPr/>
          <p:nvPr/>
        </p:nvSpPr>
        <p:spPr>
          <a:xfrm>
            <a:off x="5917390" y="973894"/>
            <a:ext cx="2520000" cy="562068"/>
          </a:xfrm>
          <a:prstGeom prst="rect">
            <a:avLst/>
          </a:prstGeom>
        </p:spPr>
        <p:txBody>
          <a:bodyPr wrap="square" tIns="72000">
            <a:spAutoFit/>
          </a:bodyPr>
          <a:lstStyle/>
          <a:p>
            <a:pPr algn="ctr" defTabSz="908708">
              <a:lnSpc>
                <a:spcPct val="90000"/>
              </a:lnSpc>
              <a:defRPr/>
            </a:pPr>
            <a:r>
              <a:rPr lang="bg-BG" sz="1600" dirty="0" smtClean="0"/>
              <a:t>Гъвкав радио интерфейс</a:t>
            </a:r>
            <a:endParaRPr lang="en-US" sz="1600" dirty="0"/>
          </a:p>
        </p:txBody>
      </p:sp>
      <p:pic>
        <p:nvPicPr>
          <p:cNvPr id="160" name="Picture 159">
            <a:extLst>
              <a:ext uri="{FF2B5EF4-FFF2-40B4-BE49-F238E27FC236}">
                <a16:creationId xmlns:a16="http://schemas.microsoft.com/office/drawing/2014/main" xmlns="" id="{79489F76-3DB6-4E35-A193-A7BB76484BE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1791" y="1604342"/>
            <a:ext cx="2278210" cy="867732"/>
          </a:xfrm>
          <a:prstGeom prst="rect">
            <a:avLst/>
          </a:prstGeom>
        </p:spPr>
      </p:pic>
      <p:sp>
        <p:nvSpPr>
          <p:cNvPr id="161" name="Rectangle 160">
            <a:extLst>
              <a:ext uri="{FF2B5EF4-FFF2-40B4-BE49-F238E27FC236}">
                <a16:creationId xmlns:a16="http://schemas.microsoft.com/office/drawing/2014/main" xmlns="" id="{F9776C5C-99A1-45C4-B184-337821D3E936}"/>
              </a:ext>
            </a:extLst>
          </p:cNvPr>
          <p:cNvSpPr/>
          <p:nvPr/>
        </p:nvSpPr>
        <p:spPr>
          <a:xfrm>
            <a:off x="5924164" y="3023858"/>
            <a:ext cx="2520000" cy="562068"/>
          </a:xfrm>
          <a:prstGeom prst="rect">
            <a:avLst/>
          </a:prstGeom>
        </p:spPr>
        <p:txBody>
          <a:bodyPr wrap="square" tIns="72000">
            <a:spAutoFit/>
          </a:bodyPr>
          <a:lstStyle/>
          <a:p>
            <a:pPr algn="ctr" defTabSz="908708">
              <a:lnSpc>
                <a:spcPct val="90000"/>
              </a:lnSpc>
              <a:defRPr/>
            </a:pPr>
            <a:r>
              <a:rPr lang="bg-BG" sz="1600" dirty="0" smtClean="0"/>
              <a:t>Оптимизирана комуникация</a:t>
            </a:r>
            <a:endParaRPr lang="en-US" sz="1600" dirty="0"/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xmlns="" id="{0A95F761-7C86-464E-86C7-DA15A6D3A40F}"/>
              </a:ext>
            </a:extLst>
          </p:cNvPr>
          <p:cNvSpPr/>
          <p:nvPr/>
        </p:nvSpPr>
        <p:spPr>
          <a:xfrm>
            <a:off x="6206380" y="3594853"/>
            <a:ext cx="100633" cy="726087"/>
          </a:xfrm>
          <a:prstGeom prst="rect">
            <a:avLst/>
          </a:prstGeom>
          <a:solidFill>
            <a:schemeClr val="accent1"/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08708">
              <a:defRPr/>
            </a:pPr>
            <a:endParaRPr lang="en-US" sz="1193" dirty="0">
              <a:solidFill>
                <a:srgbClr val="FFFFFF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cxnSp>
        <p:nvCxnSpPr>
          <p:cNvPr id="164" name="Straight Arrow Connector 163">
            <a:extLst>
              <a:ext uri="{FF2B5EF4-FFF2-40B4-BE49-F238E27FC236}">
                <a16:creationId xmlns:a16="http://schemas.microsoft.com/office/drawing/2014/main" xmlns="" id="{1FB609DC-FBB6-47F1-A6CA-1CAC677B170B}"/>
              </a:ext>
            </a:extLst>
          </p:cNvPr>
          <p:cNvCxnSpPr>
            <a:cxnSpLocks/>
          </p:cNvCxnSpPr>
          <p:nvPr/>
        </p:nvCxnSpPr>
        <p:spPr>
          <a:xfrm flipV="1">
            <a:off x="6358406" y="3835210"/>
            <a:ext cx="1649713" cy="298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xmlns="" id="{B251075F-AF65-4802-B053-A5A516B24EC8}"/>
              </a:ext>
            </a:extLst>
          </p:cNvPr>
          <p:cNvCxnSpPr>
            <a:cxnSpLocks/>
          </p:cNvCxnSpPr>
          <p:nvPr/>
        </p:nvCxnSpPr>
        <p:spPr>
          <a:xfrm flipH="1">
            <a:off x="6358406" y="4075462"/>
            <a:ext cx="16200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Rectangle 166">
            <a:extLst>
              <a:ext uri="{FF2B5EF4-FFF2-40B4-BE49-F238E27FC236}">
                <a16:creationId xmlns:a16="http://schemas.microsoft.com/office/drawing/2014/main" xmlns="" id="{ACE4FA54-4E11-42CC-81AF-8860DB295DC8}"/>
              </a:ext>
            </a:extLst>
          </p:cNvPr>
          <p:cNvSpPr/>
          <p:nvPr/>
        </p:nvSpPr>
        <p:spPr>
          <a:xfrm>
            <a:off x="5910813" y="4500626"/>
            <a:ext cx="2520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08708">
              <a:defRPr/>
            </a:pPr>
            <a:r>
              <a:rPr lang="bg-BG" sz="1200" dirty="0" smtClean="0"/>
              <a:t>Подходяща за масово </a:t>
            </a:r>
            <a:r>
              <a:rPr lang="en-US" sz="1200" dirty="0" err="1" smtClean="0"/>
              <a:t>IoT</a:t>
            </a:r>
            <a:endParaRPr lang="en-US" sz="1200" dirty="0"/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xmlns="" id="{0A95F761-7C86-464E-86C7-DA15A6D3A40F}"/>
              </a:ext>
            </a:extLst>
          </p:cNvPr>
          <p:cNvSpPr/>
          <p:nvPr/>
        </p:nvSpPr>
        <p:spPr>
          <a:xfrm>
            <a:off x="8041984" y="3588112"/>
            <a:ext cx="100633" cy="726087"/>
          </a:xfrm>
          <a:prstGeom prst="rect">
            <a:avLst/>
          </a:prstGeom>
          <a:solidFill>
            <a:schemeClr val="accent1"/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08708">
              <a:defRPr/>
            </a:pPr>
            <a:endParaRPr lang="en-US" sz="1193" dirty="0">
              <a:solidFill>
                <a:srgbClr val="FFFFFF"/>
              </a:solidFill>
              <a:latin typeface="Nokia Pure Text Light" panose="020B0403020202020204" pitchFamily="34" charset="0"/>
              <a:ea typeface="Nokia Pure Text Light" panose="020B0403020202020204" pitchFamily="34" charset="0"/>
            </a:endParaRP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xmlns="" id="{F58CD047-5054-4563-B2E8-25608EF12748}"/>
              </a:ext>
            </a:extLst>
          </p:cNvPr>
          <p:cNvGrpSpPr/>
          <p:nvPr/>
        </p:nvGrpSpPr>
        <p:grpSpPr>
          <a:xfrm>
            <a:off x="3781169" y="3556900"/>
            <a:ext cx="1462707" cy="751647"/>
            <a:chOff x="125392" y="955548"/>
            <a:chExt cx="2070344" cy="1392596"/>
          </a:xfrm>
        </p:grpSpPr>
        <p:sp>
          <p:nvSpPr>
            <p:cNvPr id="140" name="Oval 139">
              <a:extLst>
                <a:ext uri="{FF2B5EF4-FFF2-40B4-BE49-F238E27FC236}">
                  <a16:creationId xmlns:a16="http://schemas.microsoft.com/office/drawing/2014/main" xmlns="" id="{7DB840FC-B84B-4DA7-A486-7585598D57E2}"/>
                </a:ext>
              </a:extLst>
            </p:cNvPr>
            <p:cNvSpPr/>
            <p:nvPr/>
          </p:nvSpPr>
          <p:spPr>
            <a:xfrm>
              <a:off x="125392" y="1550700"/>
              <a:ext cx="990223" cy="67449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435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193" dirty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xmlns="" id="{912C344F-B48D-4923-AD4C-557D8F3897E0}"/>
                </a:ext>
              </a:extLst>
            </p:cNvPr>
            <p:cNvSpPr/>
            <p:nvPr/>
          </p:nvSpPr>
          <p:spPr>
            <a:xfrm rot="16200000">
              <a:off x="753305" y="1481778"/>
              <a:ext cx="990223" cy="74251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435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193" dirty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xmlns="" id="{E0FE3B1C-FA91-45E8-BABF-289E8FF38477}"/>
                </a:ext>
              </a:extLst>
            </p:cNvPr>
            <p:cNvSpPr/>
            <p:nvPr/>
          </p:nvSpPr>
          <p:spPr>
            <a:xfrm rot="16200000">
              <a:off x="311181" y="1175039"/>
              <a:ext cx="1002116" cy="8240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435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193" dirty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xmlns="" id="{EF5D788F-9CBE-42B1-96E0-78B5A16FF3C9}"/>
                </a:ext>
              </a:extLst>
            </p:cNvPr>
            <p:cNvSpPr/>
            <p:nvPr/>
          </p:nvSpPr>
          <p:spPr>
            <a:xfrm rot="10800000">
              <a:off x="1206130" y="1491630"/>
              <a:ext cx="989606" cy="65114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435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193" dirty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xmlns="" id="{34D107AE-38B6-4709-BFCA-9A42739FC65F}"/>
                </a:ext>
              </a:extLst>
            </p:cNvPr>
            <p:cNvSpPr/>
            <p:nvPr/>
          </p:nvSpPr>
          <p:spPr>
            <a:xfrm rot="5400000">
              <a:off x="736143" y="1124777"/>
              <a:ext cx="989606" cy="65114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435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193" dirty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xmlns="" id="{E400DD2E-5A2C-4A1D-A315-5F5FB5439706}"/>
                </a:ext>
              </a:extLst>
            </p:cNvPr>
            <p:cNvSpPr/>
            <p:nvPr/>
          </p:nvSpPr>
          <p:spPr>
            <a:xfrm>
              <a:off x="794988" y="1222274"/>
              <a:ext cx="989606" cy="65114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435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193" dirty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xmlns="" id="{78FDA2B3-66CE-46D2-95F0-76BDCF4DD0C3}"/>
              </a:ext>
            </a:extLst>
          </p:cNvPr>
          <p:cNvSpPr/>
          <p:nvPr/>
        </p:nvSpPr>
        <p:spPr>
          <a:xfrm>
            <a:off x="3693388" y="3680542"/>
            <a:ext cx="1764315" cy="119705"/>
          </a:xfrm>
          <a:prstGeom prst="rect">
            <a:avLst/>
          </a:prstGeom>
          <a:solidFill>
            <a:srgbClr val="666666">
              <a:alpha val="78000"/>
            </a:srgbClr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50" tIns="72000" rIns="71550" bIns="715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4354">
              <a:defRPr/>
            </a:pPr>
            <a:r>
              <a:rPr lang="en-US" sz="1000" dirty="0" err="1">
                <a:solidFill>
                  <a:srgbClr val="FFFFFF"/>
                </a:solidFill>
                <a:ea typeface="Nokia Pure Text Light" panose="020B0403020202020204" pitchFamily="34" charset="0"/>
              </a:rPr>
              <a:t>eMBB</a:t>
            </a:r>
            <a:endParaRPr lang="en-US" sz="1000" dirty="0">
              <a:solidFill>
                <a:srgbClr val="FFFFFF"/>
              </a:solidFill>
              <a:ea typeface="Nokia Pure Text Light" panose="020B0403020202020204" pitchFamily="34" charset="0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xmlns="" id="{BD4BF9F2-543B-4F3E-9870-540092A38FC7}"/>
              </a:ext>
            </a:extLst>
          </p:cNvPr>
          <p:cNvSpPr/>
          <p:nvPr/>
        </p:nvSpPr>
        <p:spPr>
          <a:xfrm>
            <a:off x="3693388" y="3849230"/>
            <a:ext cx="1764315" cy="119705"/>
          </a:xfrm>
          <a:prstGeom prst="rect">
            <a:avLst/>
          </a:prstGeom>
          <a:solidFill>
            <a:srgbClr val="666666">
              <a:alpha val="78000"/>
            </a:srgbClr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50" tIns="71550" rIns="71550" bIns="715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4354">
              <a:defRPr/>
            </a:pPr>
            <a:r>
              <a:rPr lang="en-US" sz="1000" dirty="0">
                <a:solidFill>
                  <a:srgbClr val="FFFFFF"/>
                </a:solidFill>
                <a:ea typeface="Nokia Pure Text Light" panose="020B0403020202020204" pitchFamily="34" charset="0"/>
              </a:rPr>
              <a:t>URLLC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xmlns="" id="{F09C2985-6527-470B-99FC-C06B0F403196}"/>
              </a:ext>
            </a:extLst>
          </p:cNvPr>
          <p:cNvSpPr/>
          <p:nvPr/>
        </p:nvSpPr>
        <p:spPr>
          <a:xfrm>
            <a:off x="3693388" y="4019195"/>
            <a:ext cx="1764315" cy="119705"/>
          </a:xfrm>
          <a:prstGeom prst="rect">
            <a:avLst/>
          </a:prstGeom>
          <a:solidFill>
            <a:srgbClr val="666666">
              <a:alpha val="78000"/>
            </a:srgbClr>
          </a:solidFill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50" tIns="71550" rIns="71550" bIns="7155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4354">
              <a:defRPr/>
            </a:pPr>
            <a:r>
              <a:rPr lang="en-US" sz="1000" dirty="0" err="1">
                <a:solidFill>
                  <a:srgbClr val="FFFFFF"/>
                </a:solidFill>
                <a:ea typeface="Nokia Pure Text Light" panose="020B0403020202020204" pitchFamily="34" charset="0"/>
              </a:rPr>
              <a:t>mMTC</a:t>
            </a:r>
            <a:endParaRPr lang="en-US" sz="1000" dirty="0">
              <a:solidFill>
                <a:srgbClr val="FFFFFF"/>
              </a:solidFill>
              <a:ea typeface="Nokia Pure Text Light" panose="020B0403020202020204" pitchFamily="34" charset="0"/>
            </a:endParaRP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xmlns="" id="{919EAE66-0B06-4A1B-9B95-B8CCD687F156}"/>
              </a:ext>
            </a:extLst>
          </p:cNvPr>
          <p:cNvGrpSpPr/>
          <p:nvPr/>
        </p:nvGrpSpPr>
        <p:grpSpPr>
          <a:xfrm>
            <a:off x="4912771" y="4113708"/>
            <a:ext cx="488538" cy="311841"/>
            <a:chOff x="794988" y="955550"/>
            <a:chExt cx="989606" cy="917872"/>
          </a:xfrm>
          <a:solidFill>
            <a:schemeClr val="tx1"/>
          </a:solidFill>
        </p:grpSpPr>
        <p:sp>
          <p:nvSpPr>
            <p:cNvPr id="153" name="Oval 152">
              <a:extLst>
                <a:ext uri="{FF2B5EF4-FFF2-40B4-BE49-F238E27FC236}">
                  <a16:creationId xmlns:a16="http://schemas.microsoft.com/office/drawing/2014/main" xmlns="" id="{9B78BCE5-7285-437A-9714-ED489D746422}"/>
                </a:ext>
              </a:extLst>
            </p:cNvPr>
            <p:cNvSpPr/>
            <p:nvPr/>
          </p:nvSpPr>
          <p:spPr>
            <a:xfrm rot="5400000">
              <a:off x="898077" y="1070237"/>
              <a:ext cx="773130" cy="54375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435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193" dirty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xmlns="" id="{2A215CC4-B736-4E27-BBA1-14FCA0D61E76}"/>
                </a:ext>
              </a:extLst>
            </p:cNvPr>
            <p:cNvSpPr/>
            <p:nvPr/>
          </p:nvSpPr>
          <p:spPr>
            <a:xfrm>
              <a:off x="794988" y="1222274"/>
              <a:ext cx="989606" cy="65114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435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193" dirty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xmlns="" id="{96BF8337-5F95-4E83-AA4C-30A6BE9C7A52}"/>
              </a:ext>
            </a:extLst>
          </p:cNvPr>
          <p:cNvGrpSpPr/>
          <p:nvPr/>
        </p:nvGrpSpPr>
        <p:grpSpPr>
          <a:xfrm>
            <a:off x="4333148" y="4220490"/>
            <a:ext cx="488538" cy="311841"/>
            <a:chOff x="794988" y="955550"/>
            <a:chExt cx="989606" cy="917872"/>
          </a:xfrm>
          <a:solidFill>
            <a:schemeClr val="tx1"/>
          </a:solidFill>
        </p:grpSpPr>
        <p:sp>
          <p:nvSpPr>
            <p:cNvPr id="150" name="Oval 149">
              <a:extLst>
                <a:ext uri="{FF2B5EF4-FFF2-40B4-BE49-F238E27FC236}">
                  <a16:creationId xmlns:a16="http://schemas.microsoft.com/office/drawing/2014/main" xmlns="" id="{6C51F4F1-0DB1-4DFD-BF25-907A37CB8830}"/>
                </a:ext>
              </a:extLst>
            </p:cNvPr>
            <p:cNvSpPr/>
            <p:nvPr/>
          </p:nvSpPr>
          <p:spPr>
            <a:xfrm rot="5400000">
              <a:off x="898077" y="1070237"/>
              <a:ext cx="773130" cy="54375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435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193" dirty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151" name="Oval 150">
              <a:extLst>
                <a:ext uri="{FF2B5EF4-FFF2-40B4-BE49-F238E27FC236}">
                  <a16:creationId xmlns:a16="http://schemas.microsoft.com/office/drawing/2014/main" xmlns="" id="{579D2F33-CE16-4A53-95DB-BC3F6D6A0B53}"/>
                </a:ext>
              </a:extLst>
            </p:cNvPr>
            <p:cNvSpPr/>
            <p:nvPr/>
          </p:nvSpPr>
          <p:spPr>
            <a:xfrm>
              <a:off x="794988" y="1222274"/>
              <a:ext cx="989606" cy="65114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435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193" dirty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xmlns="" id="{97F1C569-AB59-4764-A993-48953D26AA45}"/>
              </a:ext>
            </a:extLst>
          </p:cNvPr>
          <p:cNvGrpSpPr/>
          <p:nvPr/>
        </p:nvGrpSpPr>
        <p:grpSpPr>
          <a:xfrm>
            <a:off x="3681445" y="4107621"/>
            <a:ext cx="488538" cy="311841"/>
            <a:chOff x="794988" y="955550"/>
            <a:chExt cx="989606" cy="917872"/>
          </a:xfrm>
          <a:solidFill>
            <a:schemeClr val="tx1"/>
          </a:solidFill>
        </p:grpSpPr>
        <p:sp>
          <p:nvSpPr>
            <p:cNvPr id="147" name="Oval 146">
              <a:extLst>
                <a:ext uri="{FF2B5EF4-FFF2-40B4-BE49-F238E27FC236}">
                  <a16:creationId xmlns:a16="http://schemas.microsoft.com/office/drawing/2014/main" xmlns="" id="{460CDE33-C952-4CF5-AEE3-D9E68E4F8651}"/>
                </a:ext>
              </a:extLst>
            </p:cNvPr>
            <p:cNvSpPr/>
            <p:nvPr/>
          </p:nvSpPr>
          <p:spPr>
            <a:xfrm rot="5400000">
              <a:off x="898077" y="1070237"/>
              <a:ext cx="773130" cy="54375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435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193" dirty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xmlns="" id="{D165F6FC-7219-4CDE-8D8F-217175BDF60D}"/>
                </a:ext>
              </a:extLst>
            </p:cNvPr>
            <p:cNvSpPr/>
            <p:nvPr/>
          </p:nvSpPr>
          <p:spPr>
            <a:xfrm>
              <a:off x="794988" y="1222274"/>
              <a:ext cx="989606" cy="65114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550" tIns="71550" rIns="71550" bIns="7155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435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193" dirty="0">
                <a:solidFill>
                  <a:srgbClr val="FFFFFF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297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G9yF5YECl6fB.CRjYU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vYxiaOLE2GDtB.fAL5h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JYFLSX3USV2CH2oYCz8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OHgIke20WfyJehMC0Nq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dCwDEzF0WUCE4fa.4AQ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eUs5MVc0qSzmmvLXPs_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PrAMr.cEycKL0JBV3B.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9YbxwbHUuuBPs_9uc4g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Xvuc2P80K0BBKmQG.ma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0tzuNOiU.INaIzO.d5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DMsi6nC0WunQnozyrBb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s4uTJyc02FcJcIETPU4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rEzLb030isGN7aWLMDg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oX2gjM8UKNH2lPdUsaK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_zH7QEvEq1uOEI6jkqI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hZTb_Dm0iBsvlpGkIS3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E6i.fXMEevfqDXWxLHK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e192d6RUOo6mBdnCx8g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ALHMw9QhGLoZqxbJUz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A8d5cRlWBD48uKFwKS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A8d5cRlWBD48uKFwKS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A8d5cRlWBD48uKFwKS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A8d5cRlWBD48uKFwKS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A8d5cRlWBD48uKFwK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e2YfA2R8mqr4CyKgZH.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e2YfA2R8mqr4CyKgZH.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e2YfA2R8mqr4CyKgZH.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e2YfA2R8mqr4CyKgZH.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ALHMw9QhGLoZqxbJUzn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A8d5cRlWBD48uKFwKS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ALHMw9QhGLoZqxbJUzn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L2kYFRPk276knI5YClV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L2kYFRPk276knI5YCl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__4icZ6kGl4Cq8MEi7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Yn93XJw06HK9PEy.pD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L2kYFRPk276knI5YCl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L2kYFRPk276knI5YCl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L2kYFRPk276knI5YCl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L2kYFRPk276knI5YCl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L2kYFRPk276knI5YClV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V9i1kYNECfMQc00_pwN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APgbfzmUiUDrrhfizMm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tTrfC7GUGtJPv7EWQO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V9i1kYNECfMQc00_pwN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V9i1kYNECfMQc00_pw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I6GvTJg0SVKFgx20cgS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I6GvTJg0SVKFgx20cgS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C_UwJ.aUet8n4254gub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C_UwJ.aUet8n4254gub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C_UwJ.aUet8n4254gub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__4icZ6kGl4Cq8MEi7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Yn93XJw06HK9PEy.pDC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V9i1kYNECfMQc00_pwN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APgbfzmUiUDrrhfizMm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tTrfC7GUGtJPv7EWQO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mbf_VAFUGUb44PD5G4x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DafRdLG06EKNM9ozXI6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.az_7jC0O4sjsPZxMtJ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t4WsJeEE2XJG98z3uwe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C_UwJ.aUet8n4254gub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G9yF5YECl6fB.CRjYU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C_UwJ.aUet8n4254gub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C_UwJ.aUet8n4254gub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C_UwJ.aUet8n4254gub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C_UwJ.aUet8n4254gu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C_UwJ.aUet8n4254gub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rSl6D70Eywy2sbgWku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2carnKgU0qMe.OHdE1sE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__4icZ6kGl4Cq8MEi7y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Yn93XJw06HK9PEy.pDC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AxjmxAxkmdaWZD31v8.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L2kYFRPk276knI5YClV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L2kYFRPk276knI5YClV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L2kYFRPk276knI5YCl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I6GvTJg0SVKFgx20cg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BrM4gvRzaLjQUIBt_Z_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I6GvTJg0SVKFgx20cgS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I6GvTJg0SVKFgx20cgS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__4icZ6kGl4Cq8MEi7y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Yn93XJw06HK9PEy.pDC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V9i1kYNECfMQc00_pwN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APgbfzmUiUDrrhfizMm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tTrfC7GUGtJPv7EWQOJ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L2kYFRPk276knI5YClV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L2kYFRPk276knI5YClV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L2kYFRPk276knI5YCl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L2kYFRPk276knI5YClV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L2kYFRPk276knI5YClV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mbf_VAFUGUb44PD5G4x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DafRdLG06EKNM9ozXI6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.az_7jC0O4sjsPZxMtJ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daUr9bke0fiMt4daXZ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DVZaEoG06R38.SDQmQE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0z9FUUFkGUGbqF_UwKZ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ZcnyVmMEWU_X79qw51M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t4WsJeEE2XJG98z3uwe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C_UwJ.aUet8n4254gub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rrl7T.HUKkw7Hzc65u9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8_2Qs57UmhDeUsdi8C9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Vq_XqIDEWR7.fOlCyYK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xZycHcl02exQQLQ2Gqb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SwVBWckUKx4EhykVSvl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gXniOl8UOLFeekq00Lh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m1AxwDaE.SpBPg6YxKD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2ORmzZ50i9TxDqxRF4E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32xjV7vk2f8_VkQYfVWg"/>
</p:tagLst>
</file>

<file path=ppt/theme/theme1.xml><?xml version="1.0" encoding="utf-8"?>
<a:theme xmlns:a="http://schemas.openxmlformats.org/drawingml/2006/main" name="1_A1">
  <a:themeElements>
    <a:clrScheme name="Telekom Austria Group 2018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A281C"/>
      </a:accent1>
      <a:accent2>
        <a:srgbClr val="000000"/>
      </a:accent2>
      <a:accent3>
        <a:srgbClr val="6195AC"/>
      </a:accent3>
      <a:accent4>
        <a:srgbClr val="868C96"/>
      </a:accent4>
      <a:accent5>
        <a:srgbClr val="A3A9B0"/>
      </a:accent5>
      <a:accent6>
        <a:srgbClr val="C3C6CA"/>
      </a:accent6>
      <a:hlink>
        <a:srgbClr val="DA291C"/>
      </a:hlink>
      <a:folHlink>
        <a:srgbClr val="868C96"/>
      </a:folHlink>
    </a:clrScheme>
    <a:fontScheme name="Consolas-Verdana">
      <a:majorFont>
        <a:latin typeface="Consolas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defRPr sz="1200" b="1" dirty="0" smtClean="0">
            <a:latin typeface="Verdana"/>
            <a:cs typeface="Verdan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A1_Austria_16-9_intern_PC_Vorlage_180820.pptx [Read-Only]" id="{C0C1DE81-C0EF-4D9B-9F2D-CDE7AAA7F014}" vid="{AACCA25F-3E49-4BA7-BF61-95185EAB98EF}"/>
    </a:ext>
  </a:extLst>
</a:theme>
</file>

<file path=ppt/theme/theme10.xml><?xml version="1.0" encoding="utf-8"?>
<a:theme xmlns:a="http://schemas.openxmlformats.org/drawingml/2006/main" name="1_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April 2016">
      <a:majorFont>
        <a:latin typeface="Nokia Pure Headline Light"/>
        <a:ea typeface=""/>
        <a:cs typeface=""/>
      </a:majorFont>
      <a:minorFont>
        <a:latin typeface="Nokia Pure Tex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70000"/>
          </a:schemeClr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Aft>
            <a:spcPts val="600"/>
          </a:spcAft>
          <a:defRPr dirty="0" err="1" smtClean="0">
            <a:solidFill>
              <a:schemeClr val="tx2"/>
            </a:solidFill>
            <a:latin typeface="Nokia Pure Text Light" panose="020B0304040602060303" pitchFamily="34" charset="0"/>
            <a:ea typeface="Nokia Pure Text Light" panose="020B0304040602060303" pitchFamily="34" charset="0"/>
            <a:cs typeface="Nokia Pure Text Light" panose="020B03040406020603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Headline Light" panose="020B03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Nokia_Pure_PPT_CORP_V7.2" id="{B44D0753-7E01-4186-8CA7-FA118B8C83F5}" vid="{BE84E20C-9062-4FFF-9CFD-8AC696091FDF}"/>
    </a:ext>
  </a:extLst>
</a:theme>
</file>

<file path=ppt/theme/theme11.xml><?xml version="1.0" encoding="utf-8"?>
<a:theme xmlns:a="http://schemas.openxmlformats.org/drawingml/2006/main" name="A1">
  <a:themeElements>
    <a:clrScheme name="Telekom Austria Group 2018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A281C"/>
      </a:accent1>
      <a:accent2>
        <a:srgbClr val="000000"/>
      </a:accent2>
      <a:accent3>
        <a:srgbClr val="6195AC"/>
      </a:accent3>
      <a:accent4>
        <a:srgbClr val="868C96"/>
      </a:accent4>
      <a:accent5>
        <a:srgbClr val="A3A9B0"/>
      </a:accent5>
      <a:accent6>
        <a:srgbClr val="C3C6CA"/>
      </a:accent6>
      <a:hlink>
        <a:srgbClr val="DA291C"/>
      </a:hlink>
      <a:folHlink>
        <a:srgbClr val="868C96"/>
      </a:folHlink>
    </a:clrScheme>
    <a:fontScheme name="Consolas-Verdana">
      <a:majorFont>
        <a:latin typeface="Consolas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defRPr sz="1200" b="1" dirty="0" smtClean="0">
            <a:latin typeface="Verdana"/>
            <a:cs typeface="Verdana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2_A1">
  <a:themeElements>
    <a:clrScheme name="Telekom Austria Group 2018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A281C"/>
      </a:accent1>
      <a:accent2>
        <a:srgbClr val="000000"/>
      </a:accent2>
      <a:accent3>
        <a:srgbClr val="6195AC"/>
      </a:accent3>
      <a:accent4>
        <a:srgbClr val="868C96"/>
      </a:accent4>
      <a:accent5>
        <a:srgbClr val="A3A9B0"/>
      </a:accent5>
      <a:accent6>
        <a:srgbClr val="C3C6CA"/>
      </a:accent6>
      <a:hlink>
        <a:srgbClr val="DA291C"/>
      </a:hlink>
      <a:folHlink>
        <a:srgbClr val="868C96"/>
      </a:folHlink>
    </a:clrScheme>
    <a:fontScheme name="Consolas-Verdana">
      <a:majorFont>
        <a:latin typeface="Consolas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defRPr sz="1200" b="1" dirty="0" smtClean="0">
            <a:latin typeface="Verdana"/>
            <a:cs typeface="Verdan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A1_Austria_16-9_intern_PC_Vorlage_180820.pptx [Read-Only]" id="{C0C1DE81-C0EF-4D9B-9F2D-CDE7AAA7F014}" vid="{AACCA25F-3E49-4BA7-BF61-95185EAB98EF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5G Master | 2019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defRPr sz="140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72000" rIns="72000" bIns="72000" rtlCol="0">
        <a:spAutoFit/>
      </a:bodyPr>
      <a:lstStyle>
        <a:defPPr algn="l" defTabSz="360000">
          <a:spcAft>
            <a:spcPts val="600"/>
          </a:spcAft>
          <a:tabLst>
            <a:tab pos="360000" algn="l"/>
          </a:tabLst>
          <a:defRPr sz="120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Nokia Pure PowerPoint.potx" id="{6205CDBA-22D6-4D7B-AFCF-904B849D1A79}" vid="{4B5F5FB7-7E9B-4B8B-941F-65FF29DB7DBE}"/>
    </a:ext>
  </a:extLst>
</a:theme>
</file>

<file path=ppt/theme/theme3.xml><?xml version="1.0" encoding="utf-8"?>
<a:theme xmlns:a="http://schemas.openxmlformats.org/drawingml/2006/main" name="5G Master | 2019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defRPr sz="140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72000" rIns="72000" bIns="72000" rtlCol="0">
        <a:spAutoFit/>
      </a:bodyPr>
      <a:lstStyle>
        <a:defPPr algn="l" defTabSz="360000">
          <a:spcAft>
            <a:spcPts val="600"/>
          </a:spcAft>
          <a:tabLst>
            <a:tab pos="360000" algn="l"/>
          </a:tabLst>
          <a:defRPr sz="120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Nokia Pure PowerPoint.potx" id="{6205CDBA-22D6-4D7B-AFCF-904B849D1A79}" vid="{4B5F5FB7-7E9B-4B8B-941F-65FF29DB7DBE}"/>
    </a:ext>
  </a:extLst>
</a:theme>
</file>

<file path=ppt/theme/theme4.xml><?xml version="1.0" encoding="utf-8"?>
<a:theme xmlns:a="http://schemas.openxmlformats.org/drawingml/2006/main" name="Nokia White Master with headlin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  <a:prstDash val="solid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72000" rIns="72000" bIns="72000" rtlCol="0">
        <a:spAutoFit/>
      </a:bodyPr>
      <a:lstStyle>
        <a:defPPr algn="l" defTabSz="360000">
          <a:spcAft>
            <a:spcPts val="600"/>
          </a:spcAft>
          <a:tabLst>
            <a:tab pos="360000" algn="l"/>
          </a:tabLst>
          <a:defRPr sz="120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Nokia Pure PowerPoint.potx" id="{6205CDBA-22D6-4D7B-AFCF-904B849D1A79}" vid="{4B5F5FB7-7E9B-4B8B-941F-65FF29DB7DBE}"/>
    </a:ext>
  </a:extLst>
</a:theme>
</file>

<file path=ppt/theme/theme5.xml><?xml version="1.0" encoding="utf-8"?>
<a:theme xmlns:a="http://schemas.openxmlformats.org/drawingml/2006/main" name="3_5G Master | 2019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defRPr sz="140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72000" rIns="72000" bIns="72000" rtlCol="0">
        <a:spAutoFit/>
      </a:bodyPr>
      <a:lstStyle>
        <a:defPPr algn="l" defTabSz="360000">
          <a:spcAft>
            <a:spcPts val="600"/>
          </a:spcAft>
          <a:tabLst>
            <a:tab pos="360000" algn="l"/>
          </a:tabLst>
          <a:defRPr sz="120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Nokia Pure PowerPoint.potx" id="{6205CDBA-22D6-4D7B-AFCF-904B849D1A79}" vid="{4B5F5FB7-7E9B-4B8B-941F-65FF29DB7DBE}"/>
    </a:ext>
  </a:extLst>
</a:theme>
</file>

<file path=ppt/theme/theme6.xml><?xml version="1.0" encoding="utf-8"?>
<a:theme xmlns:a="http://schemas.openxmlformats.org/drawingml/2006/main" name="1_MASTER White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  <a:prstDash val="solid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Nokia_Pure_PPT_Corp_V3" id="{D41AD829-12A8-4EF5-BE0E-10F9FA9F9C89}" vid="{4B9D66C0-F3B8-4B54-AE9B-B455545A0BE0}"/>
    </a:ext>
  </a:extLst>
</a:theme>
</file>

<file path=ppt/theme/theme7.xml><?xml version="1.0" encoding="utf-8"?>
<a:theme xmlns:a="http://schemas.openxmlformats.org/drawingml/2006/main" name="2_5G Master | 2019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defRPr sz="140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72000" rIns="72000" bIns="72000" rtlCol="0">
        <a:spAutoFit/>
      </a:bodyPr>
      <a:lstStyle>
        <a:defPPr algn="l" defTabSz="360000">
          <a:spcAft>
            <a:spcPts val="600"/>
          </a:spcAft>
          <a:tabLst>
            <a:tab pos="360000" algn="l"/>
          </a:tabLst>
          <a:defRPr sz="120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Nokia Pure PowerPoint.potx" id="{6205CDBA-22D6-4D7B-AFCF-904B849D1A79}" vid="{4B5F5FB7-7E9B-4B8B-941F-65FF29DB7DBE}"/>
    </a:ext>
  </a:extLst>
</a:theme>
</file>

<file path=ppt/theme/theme8.xml><?xml version="1.0" encoding="utf-8"?>
<a:theme xmlns:a="http://schemas.openxmlformats.org/drawingml/2006/main" name="PPT_Example_Newtheme_v31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6213" indent="-176213"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90000" tIns="90000" rIns="72000" bIns="46800" rtlCol="0">
        <a:spAutoFit/>
      </a:bodyPr>
      <a:lstStyle>
        <a:defPPr marL="171450" marR="0" indent="-171450" algn="l" defTabSz="4572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tabLst/>
          <a:defRPr sz="1200" dirty="0" err="1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_Example_Newtheme_v31" id="{14F027FA-0CD9-45EA-88DA-76E6A07877D1}" vid="{ACBB1A93-D84C-42F2-9F2A-74C91FD7EF76}"/>
    </a:ext>
  </a:extLst>
</a:theme>
</file>

<file path=ppt/theme/theme9.xml><?xml version="1.0" encoding="utf-8"?>
<a:theme xmlns:a="http://schemas.openxmlformats.org/drawingml/2006/main" name="4_5G Master | 2019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  <a:prstDash val="solid"/>
          <a:miter lim="800000"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defRPr sz="140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72000" rIns="72000" bIns="72000" rtlCol="0">
        <a:spAutoFit/>
      </a:bodyPr>
      <a:lstStyle>
        <a:defPPr algn="l" defTabSz="360000">
          <a:spcAft>
            <a:spcPts val="600"/>
          </a:spcAft>
          <a:tabLst>
            <a:tab pos="360000" algn="l"/>
          </a:tabLst>
          <a:defRPr sz="1200" smtClean="0">
            <a:solidFill>
              <a:schemeClr val="tx2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Nokia Pure PowerPoint.potx" id="{6205CDBA-22D6-4D7B-AFCF-904B849D1A79}" vid="{4B5F5FB7-7E9B-4B8B-941F-65FF29DB7DB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0C2B3562B4064FBD4CEE266FEB072A" ma:contentTypeVersion="0" ma:contentTypeDescription="Create a new document." ma:contentTypeScope="" ma:versionID="46d4c58c6a4efbb914409351226916a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9FF1AE9-F989-4DBF-9787-D341E46FFC4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C05BFB2-D21D-4CB9-B0A4-F6EC78D60FCB}">
  <ds:schemaRefs>
    <ds:schemaRef ds:uri="http://schemas.microsoft.com/office/2006/metadata/properties"/>
    <ds:schemaRef ds:uri="http://purl.org/dc/terms/"/>
    <ds:schemaRef ds:uri="http://www.w3.org/XML/1998/namespace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0DFDEF03-AF5A-4A1B-956F-2D2C306FFAA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1_Austria_16-9_intern_PC_Vorlage_180820</Template>
  <TotalTime>4575</TotalTime>
  <Words>1075</Words>
  <Application>Microsoft Office PowerPoint</Application>
  <PresentationFormat>On-screen Show (16:9)</PresentationFormat>
  <Paragraphs>393</Paragraphs>
  <Slides>24</Slides>
  <Notes>13</Notes>
  <HiddenSlides>0</HiddenSlides>
  <MMClips>9</MMClips>
  <ScaleCrop>false</ScaleCrop>
  <HeadingPairs>
    <vt:vector size="6" baseType="variant"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7" baseType="lpstr">
      <vt:lpstr>1_A1</vt:lpstr>
      <vt:lpstr>1_5G Master | 2019</vt:lpstr>
      <vt:lpstr>5G Master | 2019</vt:lpstr>
      <vt:lpstr>Nokia White Master with headline</vt:lpstr>
      <vt:lpstr>3_5G Master | 2019</vt:lpstr>
      <vt:lpstr>1_MASTER White</vt:lpstr>
      <vt:lpstr>2_5G Master | 2019</vt:lpstr>
      <vt:lpstr>PPT_Example_Newtheme_v31</vt:lpstr>
      <vt:lpstr>4_5G Master | 2019</vt:lpstr>
      <vt:lpstr>1_Nokia White Master with headline</vt:lpstr>
      <vt:lpstr>A1</vt:lpstr>
      <vt:lpstr>2_A1</vt:lpstr>
      <vt:lpstr>think-cell Folie</vt:lpstr>
      <vt:lpstr>5G бъдеще за нови хоризонти</vt:lpstr>
      <vt:lpstr>Красимир Петров Директор, „Конвергентна мрежа и услуги“, А1 България </vt:lpstr>
      <vt:lpstr>А1 Group и América Móvil </vt:lpstr>
      <vt:lpstr>Еволюцията на мобилните мрежи и комуникации</vt:lpstr>
      <vt:lpstr>А1 България – технологичен лидер</vt:lpstr>
      <vt:lpstr>А1 България и 5G</vt:lpstr>
      <vt:lpstr>А1 Австрия и 5G</vt:lpstr>
      <vt:lpstr>5G ще промени нашия свят…</vt:lpstr>
      <vt:lpstr>…благодарение на новите технологии</vt:lpstr>
      <vt:lpstr> </vt:lpstr>
      <vt:lpstr>5G мрежа за радиодостъп</vt:lpstr>
      <vt:lpstr> </vt:lpstr>
      <vt:lpstr> </vt:lpstr>
      <vt:lpstr> </vt:lpstr>
      <vt:lpstr>Логически профили на 5G мрежата</vt:lpstr>
      <vt:lpstr>Приложения на 5G</vt:lpstr>
      <vt:lpstr>Сигурност в 5G мрежите</vt:lpstr>
      <vt:lpstr>5G в България от 1 юли досега</vt:lpstr>
      <vt:lpstr>Предизвикателствата пред А1 и 5G</vt:lpstr>
      <vt:lpstr>Интернет на нещата (IoT)</vt:lpstr>
      <vt:lpstr> </vt:lpstr>
      <vt:lpstr> </vt:lpstr>
      <vt:lpstr>Реализирани проекти</vt:lpstr>
      <vt:lpstr>За 5G бъдеще с необятни възможности</vt:lpstr>
    </vt:vector>
  </TitlesOfParts>
  <Manager/>
  <Company>A1 Telekom Austria AG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Siquans-Egger Michaela</dc:creator>
  <cp:keywords/>
  <dc:description>Power Point Master Template for internal use only</dc:description>
  <cp:lastModifiedBy>upo</cp:lastModifiedBy>
  <cp:revision>565</cp:revision>
  <cp:lastPrinted>2019-02-19T11:48:29Z</cp:lastPrinted>
  <dcterms:created xsi:type="dcterms:W3CDTF">2018-11-29T10:57:34Z</dcterms:created>
  <dcterms:modified xsi:type="dcterms:W3CDTF">2019-09-05T05:58:0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A0C2B3562B4064FBD4CEE266FEB072A</vt:lpwstr>
  </property>
</Properties>
</file>